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274" r:id="rId3"/>
    <p:sldId id="258" r:id="rId4"/>
    <p:sldId id="275" r:id="rId5"/>
    <p:sldId id="276" r:id="rId6"/>
    <p:sldId id="271" r:id="rId7"/>
    <p:sldId id="278" r:id="rId8"/>
    <p:sldId id="279" r:id="rId9"/>
    <p:sldId id="272" r:id="rId10"/>
    <p:sldId id="280" r:id="rId11"/>
    <p:sldId id="281" r:id="rId12"/>
    <p:sldId id="273" r:id="rId13"/>
    <p:sldId id="282" r:id="rId14"/>
    <p:sldId id="283" r:id="rId15"/>
    <p:sldId id="277" r:id="rId16"/>
    <p:sldId id="261" r:id="rId17"/>
  </p:sldIdLst>
  <p:sldSz cx="12192000" cy="6858000"/>
  <p:notesSz cx="6858000" cy="91440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4F08"/>
    <a:srgbClr val="C96807"/>
    <a:srgbClr val="F1DECB"/>
    <a:srgbClr val="1C0F33"/>
    <a:srgbClr val="311A5A"/>
    <a:srgbClr val="3D2070"/>
    <a:srgbClr val="514A88"/>
    <a:srgbClr val="A0F2FE"/>
    <a:srgbClr val="2F0256"/>
    <a:srgbClr val="1E01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590B2BB-CF40-41FC-AB0C-ACBBFC548A7C}" v="2" dt="2022-09-13T10:04:20.73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6335" autoAdjust="0"/>
    <p:restoredTop sz="96182" autoAdjust="0"/>
  </p:normalViewPr>
  <p:slideViewPr>
    <p:cSldViewPr snapToGrid="0">
      <p:cViewPr varScale="1">
        <p:scale>
          <a:sx n="58" d="100"/>
          <a:sy n="58" d="100"/>
        </p:scale>
        <p:origin x="556" y="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  <pc:docChgLst>
    <pc:chgData name="Soleil Yi" userId="c719b956-004a-4243-81dc-14be649b7814" providerId="ADAL" clId="{6590B2BB-CF40-41FC-AB0C-ACBBFC548A7C}"/>
    <pc:docChg chg="modSld">
      <pc:chgData name="Soleil Yi" userId="c719b956-004a-4243-81dc-14be649b7814" providerId="ADAL" clId="{6590B2BB-CF40-41FC-AB0C-ACBBFC548A7C}" dt="2022-09-13T10:04:20.731" v="1"/>
      <pc:docMkLst>
        <pc:docMk/>
      </pc:docMkLst>
      <pc:sldChg chg="modSp">
        <pc:chgData name="Soleil Yi" userId="c719b956-004a-4243-81dc-14be649b7814" providerId="ADAL" clId="{6590B2BB-CF40-41FC-AB0C-ACBBFC548A7C}" dt="2022-09-13T10:04:20.731" v="1"/>
        <pc:sldMkLst>
          <pc:docMk/>
          <pc:sldMk cId="2271741893" sldId="256"/>
        </pc:sldMkLst>
        <pc:spChg chg="mod">
          <ac:chgData name="Soleil Yi" userId="c719b956-004a-4243-81dc-14be649b7814" providerId="ADAL" clId="{6590B2BB-CF40-41FC-AB0C-ACBBFC548A7C}" dt="2022-09-13T10:04:20.731" v="1"/>
          <ac:spMkLst>
            <pc:docMk/>
            <pc:sldMk cId="2271741893" sldId="256"/>
            <ac:spMk id="7" creationId="{00000000-0000-0000-0000-000000000000}"/>
          </ac:spMkLst>
        </pc:spChg>
      </pc:sldChg>
      <pc:sldChg chg="modSp">
        <pc:chgData name="Soleil Yi" userId="c719b956-004a-4243-81dc-14be649b7814" providerId="ADAL" clId="{6590B2BB-CF40-41FC-AB0C-ACBBFC548A7C}" dt="2022-09-13T10:03:53.710" v="0"/>
        <pc:sldMkLst>
          <pc:docMk/>
          <pc:sldMk cId="1259043032" sldId="261"/>
        </pc:sldMkLst>
        <pc:spChg chg="mod">
          <ac:chgData name="Soleil Yi" userId="c719b956-004a-4243-81dc-14be649b7814" providerId="ADAL" clId="{6590B2BB-CF40-41FC-AB0C-ACBBFC548A7C}" dt="2022-09-13T10:03:53.710" v="0"/>
          <ac:spMkLst>
            <pc:docMk/>
            <pc:sldMk cId="1259043032" sldId="261"/>
            <ac:spMk id="7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9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9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1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组合 10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26" name="矩形 225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矩形 4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 dpi="0" rotWithShape="1">
              <a:blip r:embed="rId4">
                <a:alphaModFix amt="10000"/>
              </a:blip>
              <a:srcRect/>
              <a:tile tx="0" ty="0" sx="100000" sy="100000" flip="none" algn="tl"/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472939"/>
            <a:ext cx="5873174" cy="2908561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4953592"/>
            <a:ext cx="587317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0" y="5249863"/>
            <a:ext cx="587317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16" name="组合 15"/>
          <p:cNvGrpSpPr/>
          <p:nvPr userDrawn="1"/>
        </p:nvGrpSpPr>
        <p:grpSpPr>
          <a:xfrm>
            <a:off x="6742752" y="1472939"/>
            <a:ext cx="4939773" cy="4073195"/>
            <a:chOff x="6742752" y="1472939"/>
            <a:chExt cx="4939773" cy="4073195"/>
          </a:xfrm>
        </p:grpSpPr>
        <p:grpSp>
          <p:nvGrpSpPr>
            <p:cNvPr id="9" name="组合 8"/>
            <p:cNvGrpSpPr/>
            <p:nvPr userDrawn="1"/>
          </p:nvGrpSpPr>
          <p:grpSpPr>
            <a:xfrm>
              <a:off x="6742752" y="1472939"/>
              <a:ext cx="4939773" cy="4073195"/>
              <a:chOff x="6369056" y="1472939"/>
              <a:chExt cx="5396597" cy="4449879"/>
            </a:xfrm>
          </p:grpSpPr>
          <p:grpSp>
            <p:nvGrpSpPr>
              <p:cNvPr id="8" name="组合 7"/>
              <p:cNvGrpSpPr/>
              <p:nvPr userDrawn="1"/>
            </p:nvGrpSpPr>
            <p:grpSpPr>
              <a:xfrm>
                <a:off x="6369056" y="1472939"/>
                <a:ext cx="5396597" cy="4449879"/>
                <a:chOff x="6811369" y="1604585"/>
                <a:chExt cx="4704904" cy="3879529"/>
              </a:xfrm>
            </p:grpSpPr>
            <p:sp>
              <p:nvSpPr>
                <p:cNvPr id="157" name="任意多边形: 形状 156"/>
                <p:cNvSpPr>
                  <a:spLocks noChangeAspect="1"/>
                </p:cNvSpPr>
                <p:nvPr userDrawn="1"/>
              </p:nvSpPr>
              <p:spPr bwMode="auto">
                <a:xfrm>
                  <a:off x="6811369" y="2662130"/>
                  <a:ext cx="4175719" cy="2821984"/>
                </a:xfrm>
                <a:custGeom>
                  <a:avLst/>
                  <a:gdLst>
                    <a:gd name="connsiteX0" fmla="*/ 261366 w 607286"/>
                    <a:gd name="connsiteY0" fmla="*/ 271255 h 410409"/>
                    <a:gd name="connsiteX1" fmla="*/ 256800 w 607286"/>
                    <a:gd name="connsiteY1" fmla="*/ 273535 h 410409"/>
                    <a:gd name="connsiteX2" fmla="*/ 256998 w 607286"/>
                    <a:gd name="connsiteY2" fmla="*/ 280574 h 410409"/>
                    <a:gd name="connsiteX3" fmla="*/ 266628 w 607286"/>
                    <a:gd name="connsiteY3" fmla="*/ 283152 h 410409"/>
                    <a:gd name="connsiteX4" fmla="*/ 297503 w 607286"/>
                    <a:gd name="connsiteY4" fmla="*/ 283053 h 410409"/>
                    <a:gd name="connsiteX5" fmla="*/ 305544 w 607286"/>
                    <a:gd name="connsiteY5" fmla="*/ 262729 h 410409"/>
                    <a:gd name="connsiteX6" fmla="*/ 286185 w 607286"/>
                    <a:gd name="connsiteY6" fmla="*/ 264612 h 410409"/>
                    <a:gd name="connsiteX7" fmla="*/ 284498 w 607286"/>
                    <a:gd name="connsiteY7" fmla="*/ 264910 h 410409"/>
                    <a:gd name="connsiteX8" fmla="*/ 332150 w 607286"/>
                    <a:gd name="connsiteY8" fmla="*/ 280475 h 410409"/>
                    <a:gd name="connsiteX9" fmla="*/ 342872 w 607286"/>
                    <a:gd name="connsiteY9" fmla="*/ 279087 h 410409"/>
                    <a:gd name="connsiteX10" fmla="*/ 305544 w 607286"/>
                    <a:gd name="connsiteY10" fmla="*/ 262729 h 410409"/>
                    <a:gd name="connsiteX11" fmla="*/ 174996 w 607286"/>
                    <a:gd name="connsiteY11" fmla="*/ 221287 h 410409"/>
                    <a:gd name="connsiteX12" fmla="*/ 169635 w 607286"/>
                    <a:gd name="connsiteY12" fmla="*/ 226740 h 410409"/>
                    <a:gd name="connsiteX13" fmla="*/ 163083 w 607286"/>
                    <a:gd name="connsiteY13" fmla="*/ 240620 h 410409"/>
                    <a:gd name="connsiteX14" fmla="*/ 196241 w 607286"/>
                    <a:gd name="connsiteY14" fmla="*/ 249345 h 410409"/>
                    <a:gd name="connsiteX15" fmla="*/ 197532 w 607286"/>
                    <a:gd name="connsiteY15" fmla="*/ 247461 h 410409"/>
                    <a:gd name="connsiteX16" fmla="*/ 174996 w 607286"/>
                    <a:gd name="connsiteY16" fmla="*/ 221287 h 410409"/>
                    <a:gd name="connsiteX17" fmla="*/ 440163 w 607286"/>
                    <a:gd name="connsiteY17" fmla="*/ 213058 h 410409"/>
                    <a:gd name="connsiteX18" fmla="*/ 438277 w 607286"/>
                    <a:gd name="connsiteY18" fmla="*/ 225650 h 410409"/>
                    <a:gd name="connsiteX19" fmla="*/ 453168 w 607286"/>
                    <a:gd name="connsiteY19" fmla="*/ 264117 h 410409"/>
                    <a:gd name="connsiteX20" fmla="*/ 415145 w 607286"/>
                    <a:gd name="connsiteY20" fmla="*/ 303972 h 410409"/>
                    <a:gd name="connsiteX21" fmla="*/ 379207 w 607286"/>
                    <a:gd name="connsiteY21" fmla="*/ 312399 h 410409"/>
                    <a:gd name="connsiteX22" fmla="*/ 273279 w 607286"/>
                    <a:gd name="connsiteY22" fmla="*/ 325486 h 410409"/>
                    <a:gd name="connsiteX23" fmla="*/ 272783 w 607286"/>
                    <a:gd name="connsiteY23" fmla="*/ 325486 h 410409"/>
                    <a:gd name="connsiteX24" fmla="*/ 193362 w 607286"/>
                    <a:gd name="connsiteY24" fmla="*/ 302386 h 410409"/>
                    <a:gd name="connsiteX25" fmla="*/ 217685 w 607286"/>
                    <a:gd name="connsiteY25" fmla="*/ 332723 h 410409"/>
                    <a:gd name="connsiteX26" fmla="*/ 375236 w 607286"/>
                    <a:gd name="connsiteY26" fmla="*/ 332228 h 410409"/>
                    <a:gd name="connsiteX27" fmla="*/ 467067 w 607286"/>
                    <a:gd name="connsiteY27" fmla="*/ 276212 h 410409"/>
                    <a:gd name="connsiteX28" fmla="*/ 457040 w 607286"/>
                    <a:gd name="connsiteY28" fmla="*/ 233977 h 410409"/>
                    <a:gd name="connsiteX29" fmla="*/ 440163 w 607286"/>
                    <a:gd name="connsiteY29" fmla="*/ 213058 h 410409"/>
                    <a:gd name="connsiteX30" fmla="*/ 329828 w 607286"/>
                    <a:gd name="connsiteY30" fmla="*/ 213041 h 410409"/>
                    <a:gd name="connsiteX31" fmla="*/ 276853 w 607286"/>
                    <a:gd name="connsiteY31" fmla="*/ 214347 h 410409"/>
                    <a:gd name="connsiteX32" fmla="*/ 195844 w 607286"/>
                    <a:gd name="connsiteY32" fmla="*/ 283648 h 410409"/>
                    <a:gd name="connsiteX33" fmla="*/ 196737 w 607286"/>
                    <a:gd name="connsiteY33" fmla="*/ 285928 h 410409"/>
                    <a:gd name="connsiteX34" fmla="*/ 213912 w 607286"/>
                    <a:gd name="connsiteY34" fmla="*/ 299412 h 410409"/>
                    <a:gd name="connsiteX35" fmla="*/ 211232 w 607286"/>
                    <a:gd name="connsiteY35" fmla="*/ 274130 h 410409"/>
                    <a:gd name="connsiteX36" fmla="*/ 277052 w 607286"/>
                    <a:gd name="connsiteY36" fmla="*/ 227831 h 410409"/>
                    <a:gd name="connsiteX37" fmla="*/ 326591 w 607286"/>
                    <a:gd name="connsiteY37" fmla="*/ 227632 h 410409"/>
                    <a:gd name="connsiteX38" fmla="*/ 385462 w 607286"/>
                    <a:gd name="connsiteY38" fmla="*/ 259556 h 410409"/>
                    <a:gd name="connsiteX39" fmla="*/ 391617 w 607286"/>
                    <a:gd name="connsiteY39" fmla="*/ 258367 h 410409"/>
                    <a:gd name="connsiteX40" fmla="*/ 395985 w 607286"/>
                    <a:gd name="connsiteY40" fmla="*/ 266595 h 410409"/>
                    <a:gd name="connsiteX41" fmla="*/ 353495 w 607286"/>
                    <a:gd name="connsiteY41" fmla="*/ 290687 h 410409"/>
                    <a:gd name="connsiteX42" fmla="*/ 325499 w 607286"/>
                    <a:gd name="connsiteY42" fmla="*/ 294454 h 410409"/>
                    <a:gd name="connsiteX43" fmla="*/ 277548 w 607286"/>
                    <a:gd name="connsiteY43" fmla="*/ 296536 h 410409"/>
                    <a:gd name="connsiteX44" fmla="*/ 266429 w 607286"/>
                    <a:gd name="connsiteY44" fmla="*/ 296437 h 410409"/>
                    <a:gd name="connsiteX45" fmla="*/ 239923 w 607286"/>
                    <a:gd name="connsiteY45" fmla="*/ 278195 h 410409"/>
                    <a:gd name="connsiteX46" fmla="*/ 284001 w 607286"/>
                    <a:gd name="connsiteY46" fmla="*/ 251526 h 410409"/>
                    <a:gd name="connsiteX47" fmla="*/ 342475 w 607286"/>
                    <a:gd name="connsiteY47" fmla="*/ 259655 h 410409"/>
                    <a:gd name="connsiteX48" fmla="*/ 356374 w 607286"/>
                    <a:gd name="connsiteY48" fmla="*/ 276510 h 410409"/>
                    <a:gd name="connsiteX49" fmla="*/ 376229 w 607286"/>
                    <a:gd name="connsiteY49" fmla="*/ 269768 h 410409"/>
                    <a:gd name="connsiteX50" fmla="*/ 326094 w 607286"/>
                    <a:gd name="connsiteY50" fmla="*/ 240917 h 410409"/>
                    <a:gd name="connsiteX51" fmla="*/ 325201 w 607286"/>
                    <a:gd name="connsiteY51" fmla="*/ 240818 h 410409"/>
                    <a:gd name="connsiteX52" fmla="*/ 223939 w 607286"/>
                    <a:gd name="connsiteY52" fmla="*/ 277798 h 410409"/>
                    <a:gd name="connsiteX53" fmla="*/ 226421 w 607286"/>
                    <a:gd name="connsiteY53" fmla="*/ 294157 h 410409"/>
                    <a:gd name="connsiteX54" fmla="*/ 289660 w 607286"/>
                    <a:gd name="connsiteY54" fmla="*/ 310119 h 410409"/>
                    <a:gd name="connsiteX55" fmla="*/ 339397 w 607286"/>
                    <a:gd name="connsiteY55" fmla="*/ 307938 h 410409"/>
                    <a:gd name="connsiteX56" fmla="*/ 408692 w 607286"/>
                    <a:gd name="connsiteY56" fmla="*/ 271453 h 410409"/>
                    <a:gd name="connsiteX57" fmla="*/ 400651 w 607286"/>
                    <a:gd name="connsiteY57" fmla="*/ 248551 h 410409"/>
                    <a:gd name="connsiteX58" fmla="*/ 329828 w 607286"/>
                    <a:gd name="connsiteY58" fmla="*/ 213041 h 410409"/>
                    <a:gd name="connsiteX59" fmla="*/ 210537 w 607286"/>
                    <a:gd name="connsiteY59" fmla="*/ 202450 h 410409"/>
                    <a:gd name="connsiteX60" fmla="*/ 186512 w 607286"/>
                    <a:gd name="connsiteY60" fmla="*/ 212761 h 410409"/>
                    <a:gd name="connsiteX61" fmla="*/ 205772 w 607286"/>
                    <a:gd name="connsiteY61" fmla="*/ 236555 h 410409"/>
                    <a:gd name="connsiteX62" fmla="*/ 207956 w 607286"/>
                    <a:gd name="connsiteY62" fmla="*/ 234077 h 410409"/>
                    <a:gd name="connsiteX63" fmla="*/ 210537 w 607286"/>
                    <a:gd name="connsiteY63" fmla="*/ 202450 h 410409"/>
                    <a:gd name="connsiteX64" fmla="*/ 292440 w 607286"/>
                    <a:gd name="connsiteY64" fmla="*/ 190355 h 410409"/>
                    <a:gd name="connsiteX65" fmla="*/ 290156 w 607286"/>
                    <a:gd name="connsiteY65" fmla="*/ 199377 h 410409"/>
                    <a:gd name="connsiteX66" fmla="*/ 411075 w 607286"/>
                    <a:gd name="connsiteY66" fmla="*/ 240323 h 410409"/>
                    <a:gd name="connsiteX67" fmla="*/ 420903 w 607286"/>
                    <a:gd name="connsiteY67" fmla="*/ 276410 h 410409"/>
                    <a:gd name="connsiteX68" fmla="*/ 412564 w 607286"/>
                    <a:gd name="connsiteY68" fmla="*/ 290786 h 410409"/>
                    <a:gd name="connsiteX69" fmla="*/ 439964 w 607286"/>
                    <a:gd name="connsiteY69" fmla="*/ 265207 h 410409"/>
                    <a:gd name="connsiteX70" fmla="*/ 368585 w 607286"/>
                    <a:gd name="connsiteY70" fmla="*/ 195808 h 410409"/>
                    <a:gd name="connsiteX71" fmla="*/ 339695 w 607286"/>
                    <a:gd name="connsiteY71" fmla="*/ 191644 h 410409"/>
                    <a:gd name="connsiteX72" fmla="*/ 292440 w 607286"/>
                    <a:gd name="connsiteY72" fmla="*/ 190355 h 410409"/>
                    <a:gd name="connsiteX73" fmla="*/ 440163 w 607286"/>
                    <a:gd name="connsiteY73" fmla="*/ 175979 h 410409"/>
                    <a:gd name="connsiteX74" fmla="*/ 441156 w 607286"/>
                    <a:gd name="connsiteY74" fmla="*/ 192338 h 410409"/>
                    <a:gd name="connsiteX75" fmla="*/ 441156 w 607286"/>
                    <a:gd name="connsiteY75" fmla="*/ 196700 h 410409"/>
                    <a:gd name="connsiteX76" fmla="*/ 480965 w 607286"/>
                    <a:gd name="connsiteY76" fmla="*/ 265207 h 410409"/>
                    <a:gd name="connsiteX77" fmla="*/ 487815 w 607286"/>
                    <a:gd name="connsiteY77" fmla="*/ 247362 h 410409"/>
                    <a:gd name="connsiteX78" fmla="*/ 458231 w 607286"/>
                    <a:gd name="connsiteY78" fmla="*/ 192932 h 410409"/>
                    <a:gd name="connsiteX79" fmla="*/ 440163 w 607286"/>
                    <a:gd name="connsiteY79" fmla="*/ 175979 h 410409"/>
                    <a:gd name="connsiteX80" fmla="*/ 217288 w 607286"/>
                    <a:gd name="connsiteY80" fmla="*/ 173897 h 410409"/>
                    <a:gd name="connsiteX81" fmla="*/ 138959 w 607286"/>
                    <a:gd name="connsiteY81" fmla="*/ 236654 h 410409"/>
                    <a:gd name="connsiteX82" fmla="*/ 141043 w 607286"/>
                    <a:gd name="connsiteY82" fmla="*/ 254500 h 410409"/>
                    <a:gd name="connsiteX83" fmla="*/ 184030 w 607286"/>
                    <a:gd name="connsiteY83" fmla="*/ 271751 h 410409"/>
                    <a:gd name="connsiteX84" fmla="*/ 188895 w 607286"/>
                    <a:gd name="connsiteY84" fmla="*/ 262332 h 410409"/>
                    <a:gd name="connsiteX85" fmla="*/ 151070 w 607286"/>
                    <a:gd name="connsiteY85" fmla="*/ 246172 h 410409"/>
                    <a:gd name="connsiteX86" fmla="*/ 159707 w 607286"/>
                    <a:gd name="connsiteY86" fmla="*/ 218016 h 410409"/>
                    <a:gd name="connsiteX87" fmla="*/ 213317 w 607286"/>
                    <a:gd name="connsiteY87" fmla="*/ 188174 h 410409"/>
                    <a:gd name="connsiteX88" fmla="*/ 217288 w 607286"/>
                    <a:gd name="connsiteY88" fmla="*/ 173897 h 410409"/>
                    <a:gd name="connsiteX89" fmla="*/ 475604 w 607286"/>
                    <a:gd name="connsiteY89" fmla="*/ 172608 h 410409"/>
                    <a:gd name="connsiteX90" fmla="*/ 482752 w 607286"/>
                    <a:gd name="connsiteY90" fmla="*/ 201360 h 410409"/>
                    <a:gd name="connsiteX91" fmla="*/ 484440 w 607286"/>
                    <a:gd name="connsiteY91" fmla="*/ 203739 h 410409"/>
                    <a:gd name="connsiteX92" fmla="*/ 486227 w 607286"/>
                    <a:gd name="connsiteY92" fmla="*/ 184803 h 410409"/>
                    <a:gd name="connsiteX93" fmla="*/ 475604 w 607286"/>
                    <a:gd name="connsiteY93" fmla="*/ 172608 h 410409"/>
                    <a:gd name="connsiteX94" fmla="*/ 136080 w 607286"/>
                    <a:gd name="connsiteY94" fmla="*/ 167949 h 410409"/>
                    <a:gd name="connsiteX95" fmla="*/ 116125 w 607286"/>
                    <a:gd name="connsiteY95" fmla="*/ 177665 h 410409"/>
                    <a:gd name="connsiteX96" fmla="*/ 116522 w 607286"/>
                    <a:gd name="connsiteY96" fmla="*/ 188075 h 410409"/>
                    <a:gd name="connsiteX97" fmla="*/ 127145 w 607286"/>
                    <a:gd name="connsiteY97" fmla="*/ 175979 h 410409"/>
                    <a:gd name="connsiteX98" fmla="*/ 136080 w 607286"/>
                    <a:gd name="connsiteY98" fmla="*/ 167949 h 410409"/>
                    <a:gd name="connsiteX99" fmla="*/ 337908 w 607286"/>
                    <a:gd name="connsiteY99" fmla="*/ 166957 h 410409"/>
                    <a:gd name="connsiteX100" fmla="*/ 344560 w 607286"/>
                    <a:gd name="connsiteY100" fmla="*/ 178953 h 410409"/>
                    <a:gd name="connsiteX101" fmla="*/ 360047 w 607286"/>
                    <a:gd name="connsiteY101" fmla="*/ 181035 h 410409"/>
                    <a:gd name="connsiteX102" fmla="*/ 358061 w 607286"/>
                    <a:gd name="connsiteY102" fmla="*/ 178160 h 410409"/>
                    <a:gd name="connsiteX103" fmla="*/ 337908 w 607286"/>
                    <a:gd name="connsiteY103" fmla="*/ 166957 h 410409"/>
                    <a:gd name="connsiteX104" fmla="*/ 322024 w 607286"/>
                    <a:gd name="connsiteY104" fmla="*/ 165569 h 410409"/>
                    <a:gd name="connsiteX105" fmla="*/ 302367 w 607286"/>
                    <a:gd name="connsiteY105" fmla="*/ 173501 h 410409"/>
                    <a:gd name="connsiteX106" fmla="*/ 299588 w 607286"/>
                    <a:gd name="connsiteY106" fmla="*/ 176673 h 410409"/>
                    <a:gd name="connsiteX107" fmla="*/ 328576 w 607286"/>
                    <a:gd name="connsiteY107" fmla="*/ 177367 h 410409"/>
                    <a:gd name="connsiteX108" fmla="*/ 478880 w 607286"/>
                    <a:gd name="connsiteY108" fmla="*/ 145443 h 410409"/>
                    <a:gd name="connsiteX109" fmla="*/ 474413 w 607286"/>
                    <a:gd name="connsiteY109" fmla="*/ 157241 h 410409"/>
                    <a:gd name="connsiteX110" fmla="*/ 498835 w 607286"/>
                    <a:gd name="connsiteY110" fmla="*/ 180639 h 410409"/>
                    <a:gd name="connsiteX111" fmla="*/ 492680 w 607286"/>
                    <a:gd name="connsiteY111" fmla="*/ 216925 h 410409"/>
                    <a:gd name="connsiteX112" fmla="*/ 495757 w 607286"/>
                    <a:gd name="connsiteY112" fmla="*/ 223171 h 410409"/>
                    <a:gd name="connsiteX113" fmla="*/ 510947 w 607286"/>
                    <a:gd name="connsiteY113" fmla="*/ 187579 h 410409"/>
                    <a:gd name="connsiteX114" fmla="*/ 478880 w 607286"/>
                    <a:gd name="connsiteY114" fmla="*/ 145443 h 410409"/>
                    <a:gd name="connsiteX115" fmla="*/ 320039 w 607286"/>
                    <a:gd name="connsiteY115" fmla="*/ 142866 h 410409"/>
                    <a:gd name="connsiteX116" fmla="*/ 276456 w 607286"/>
                    <a:gd name="connsiteY116" fmla="*/ 175880 h 410409"/>
                    <a:gd name="connsiteX117" fmla="*/ 270003 w 607286"/>
                    <a:gd name="connsiteY117" fmla="*/ 202153 h 410409"/>
                    <a:gd name="connsiteX118" fmla="*/ 276556 w 607286"/>
                    <a:gd name="connsiteY118" fmla="*/ 201062 h 410409"/>
                    <a:gd name="connsiteX119" fmla="*/ 293234 w 607286"/>
                    <a:gd name="connsiteY119" fmla="*/ 163983 h 410409"/>
                    <a:gd name="connsiteX120" fmla="*/ 326094 w 607286"/>
                    <a:gd name="connsiteY120" fmla="*/ 152383 h 410409"/>
                    <a:gd name="connsiteX121" fmla="*/ 375435 w 607286"/>
                    <a:gd name="connsiteY121" fmla="*/ 183811 h 410409"/>
                    <a:gd name="connsiteX122" fmla="*/ 385660 w 607286"/>
                    <a:gd name="connsiteY122" fmla="*/ 186786 h 410409"/>
                    <a:gd name="connsiteX123" fmla="*/ 373052 w 607286"/>
                    <a:gd name="connsiteY123" fmla="*/ 160909 h 410409"/>
                    <a:gd name="connsiteX124" fmla="*/ 320039 w 607286"/>
                    <a:gd name="connsiteY124" fmla="*/ 142866 h 410409"/>
                    <a:gd name="connsiteX125" fmla="*/ 231782 w 607286"/>
                    <a:gd name="connsiteY125" fmla="*/ 142072 h 410409"/>
                    <a:gd name="connsiteX126" fmla="*/ 136477 w 607286"/>
                    <a:gd name="connsiteY126" fmla="*/ 185398 h 410409"/>
                    <a:gd name="connsiteX127" fmla="*/ 108878 w 607286"/>
                    <a:gd name="connsiteY127" fmla="*/ 251625 h 410409"/>
                    <a:gd name="connsiteX128" fmla="*/ 180357 w 607286"/>
                    <a:gd name="connsiteY128" fmla="*/ 294157 h 410409"/>
                    <a:gd name="connsiteX129" fmla="*/ 180655 w 607286"/>
                    <a:gd name="connsiteY129" fmla="*/ 291976 h 410409"/>
                    <a:gd name="connsiteX130" fmla="*/ 182045 w 607286"/>
                    <a:gd name="connsiteY130" fmla="*/ 284838 h 410409"/>
                    <a:gd name="connsiteX131" fmla="*/ 130123 w 607286"/>
                    <a:gd name="connsiteY131" fmla="*/ 262035 h 410409"/>
                    <a:gd name="connsiteX132" fmla="*/ 126152 w 607286"/>
                    <a:gd name="connsiteY132" fmla="*/ 233085 h 410409"/>
                    <a:gd name="connsiteX133" fmla="*/ 222946 w 607286"/>
                    <a:gd name="connsiteY133" fmla="*/ 159026 h 410409"/>
                    <a:gd name="connsiteX134" fmla="*/ 231782 w 607286"/>
                    <a:gd name="connsiteY134" fmla="*/ 142072 h 410409"/>
                    <a:gd name="connsiteX135" fmla="*/ 430136 w 607286"/>
                    <a:gd name="connsiteY135" fmla="*/ 140090 h 410409"/>
                    <a:gd name="connsiteX136" fmla="*/ 436092 w 607286"/>
                    <a:gd name="connsiteY136" fmla="*/ 155655 h 410409"/>
                    <a:gd name="connsiteX137" fmla="*/ 464684 w 607286"/>
                    <a:gd name="connsiteY137" fmla="*/ 180639 h 410409"/>
                    <a:gd name="connsiteX138" fmla="*/ 430136 w 607286"/>
                    <a:gd name="connsiteY138" fmla="*/ 140090 h 410409"/>
                    <a:gd name="connsiteX139" fmla="*/ 162487 w 607286"/>
                    <a:gd name="connsiteY139" fmla="*/ 134934 h 410409"/>
                    <a:gd name="connsiteX140" fmla="*/ 102326 w 607286"/>
                    <a:gd name="connsiteY140" fmla="*/ 151788 h 410409"/>
                    <a:gd name="connsiteX141" fmla="*/ 85250 w 607286"/>
                    <a:gd name="connsiteY141" fmla="*/ 178953 h 410409"/>
                    <a:gd name="connsiteX142" fmla="*/ 99546 w 607286"/>
                    <a:gd name="connsiteY142" fmla="*/ 221486 h 410409"/>
                    <a:gd name="connsiteX143" fmla="*/ 107786 w 607286"/>
                    <a:gd name="connsiteY143" fmla="*/ 201459 h 410409"/>
                    <a:gd name="connsiteX144" fmla="*/ 104411 w 607286"/>
                    <a:gd name="connsiteY144" fmla="*/ 171617 h 410409"/>
                    <a:gd name="connsiteX145" fmla="*/ 153254 w 607286"/>
                    <a:gd name="connsiteY145" fmla="*/ 153176 h 410409"/>
                    <a:gd name="connsiteX146" fmla="*/ 162487 w 607286"/>
                    <a:gd name="connsiteY146" fmla="*/ 134934 h 410409"/>
                    <a:gd name="connsiteX147" fmla="*/ 340005 w 607286"/>
                    <a:gd name="connsiteY147" fmla="*/ 123012 h 410409"/>
                    <a:gd name="connsiteX148" fmla="*/ 305048 w 607286"/>
                    <a:gd name="connsiteY148" fmla="*/ 124326 h 410409"/>
                    <a:gd name="connsiteX149" fmla="*/ 256502 w 607286"/>
                    <a:gd name="connsiteY149" fmla="*/ 165073 h 410409"/>
                    <a:gd name="connsiteX150" fmla="*/ 242702 w 607286"/>
                    <a:gd name="connsiteY150" fmla="*/ 210282 h 410409"/>
                    <a:gd name="connsiteX151" fmla="*/ 256402 w 607286"/>
                    <a:gd name="connsiteY151" fmla="*/ 205424 h 410409"/>
                    <a:gd name="connsiteX152" fmla="*/ 264047 w 607286"/>
                    <a:gd name="connsiteY152" fmla="*/ 171319 h 410409"/>
                    <a:gd name="connsiteX153" fmla="*/ 319840 w 607286"/>
                    <a:gd name="connsiteY153" fmla="*/ 129680 h 410409"/>
                    <a:gd name="connsiteX154" fmla="*/ 382682 w 607286"/>
                    <a:gd name="connsiteY154" fmla="*/ 151788 h 410409"/>
                    <a:gd name="connsiteX155" fmla="*/ 399360 w 607286"/>
                    <a:gd name="connsiteY155" fmla="*/ 192635 h 410409"/>
                    <a:gd name="connsiteX156" fmla="*/ 407898 w 607286"/>
                    <a:gd name="connsiteY156" fmla="*/ 197493 h 410409"/>
                    <a:gd name="connsiteX157" fmla="*/ 387447 w 607286"/>
                    <a:gd name="connsiteY157" fmla="*/ 140684 h 410409"/>
                    <a:gd name="connsiteX158" fmla="*/ 385263 w 607286"/>
                    <a:gd name="connsiteY158" fmla="*/ 138602 h 410409"/>
                    <a:gd name="connsiteX159" fmla="*/ 363422 w 607286"/>
                    <a:gd name="connsiteY159" fmla="*/ 127498 h 410409"/>
                    <a:gd name="connsiteX160" fmla="*/ 340005 w 607286"/>
                    <a:gd name="connsiteY160" fmla="*/ 123012 h 410409"/>
                    <a:gd name="connsiteX161" fmla="*/ 255013 w 607286"/>
                    <a:gd name="connsiteY161" fmla="*/ 114907 h 410409"/>
                    <a:gd name="connsiteX162" fmla="*/ 183236 w 607286"/>
                    <a:gd name="connsiteY162" fmla="*/ 131464 h 410409"/>
                    <a:gd name="connsiteX163" fmla="*/ 170528 w 607286"/>
                    <a:gd name="connsiteY163" fmla="*/ 146831 h 410409"/>
                    <a:gd name="connsiteX164" fmla="*/ 242901 w 607286"/>
                    <a:gd name="connsiteY164" fmla="*/ 126804 h 410409"/>
                    <a:gd name="connsiteX165" fmla="*/ 247170 w 607286"/>
                    <a:gd name="connsiteY165" fmla="*/ 122244 h 410409"/>
                    <a:gd name="connsiteX166" fmla="*/ 255013 w 607286"/>
                    <a:gd name="connsiteY166" fmla="*/ 114907 h 410409"/>
                    <a:gd name="connsiteX167" fmla="*/ 335327 w 607286"/>
                    <a:gd name="connsiteY167" fmla="*/ 102118 h 410409"/>
                    <a:gd name="connsiteX168" fmla="*/ 256700 w 607286"/>
                    <a:gd name="connsiteY168" fmla="*/ 131365 h 410409"/>
                    <a:gd name="connsiteX169" fmla="*/ 221656 w 607286"/>
                    <a:gd name="connsiteY169" fmla="*/ 222080 h 410409"/>
                    <a:gd name="connsiteX170" fmla="*/ 228009 w 607286"/>
                    <a:gd name="connsiteY170" fmla="*/ 217817 h 410409"/>
                    <a:gd name="connsiteX171" fmla="*/ 244489 w 607286"/>
                    <a:gd name="connsiteY171" fmla="*/ 159323 h 410409"/>
                    <a:gd name="connsiteX172" fmla="*/ 303062 w 607286"/>
                    <a:gd name="connsiteY172" fmla="*/ 111239 h 410409"/>
                    <a:gd name="connsiteX173" fmla="*/ 394893 w 607286"/>
                    <a:gd name="connsiteY173" fmla="*/ 129580 h 410409"/>
                    <a:gd name="connsiteX174" fmla="*/ 396481 w 607286"/>
                    <a:gd name="connsiteY174" fmla="*/ 130968 h 410409"/>
                    <a:gd name="connsiteX175" fmla="*/ 420903 w 607286"/>
                    <a:gd name="connsiteY175" fmla="*/ 206912 h 410409"/>
                    <a:gd name="connsiteX176" fmla="*/ 426860 w 607286"/>
                    <a:gd name="connsiteY176" fmla="*/ 212364 h 410409"/>
                    <a:gd name="connsiteX177" fmla="*/ 409784 w 607286"/>
                    <a:gd name="connsiteY177" fmla="*/ 132158 h 410409"/>
                    <a:gd name="connsiteX178" fmla="*/ 335327 w 607286"/>
                    <a:gd name="connsiteY178" fmla="*/ 102118 h 410409"/>
                    <a:gd name="connsiteX179" fmla="*/ 259790 w 607286"/>
                    <a:gd name="connsiteY179" fmla="*/ 93815 h 410409"/>
                    <a:gd name="connsiteX180" fmla="*/ 221259 w 607286"/>
                    <a:gd name="connsiteY180" fmla="*/ 96070 h 410409"/>
                    <a:gd name="connsiteX181" fmla="*/ 166955 w 607286"/>
                    <a:gd name="connsiteY181" fmla="*/ 121748 h 410409"/>
                    <a:gd name="connsiteX182" fmla="*/ 174102 w 607286"/>
                    <a:gd name="connsiteY182" fmla="*/ 121946 h 410409"/>
                    <a:gd name="connsiteX183" fmla="*/ 174500 w 607286"/>
                    <a:gd name="connsiteY183" fmla="*/ 121550 h 410409"/>
                    <a:gd name="connsiteX184" fmla="*/ 270698 w 607286"/>
                    <a:gd name="connsiteY184" fmla="*/ 104002 h 410409"/>
                    <a:gd name="connsiteX185" fmla="*/ 283207 w 607286"/>
                    <a:gd name="connsiteY185" fmla="*/ 97954 h 410409"/>
                    <a:gd name="connsiteX186" fmla="*/ 259790 w 607286"/>
                    <a:gd name="connsiteY186" fmla="*/ 93815 h 410409"/>
                    <a:gd name="connsiteX187" fmla="*/ 375534 w 607286"/>
                    <a:gd name="connsiteY187" fmla="*/ 85066 h 410409"/>
                    <a:gd name="connsiteX188" fmla="*/ 349027 w 607286"/>
                    <a:gd name="connsiteY188" fmla="*/ 86354 h 410409"/>
                    <a:gd name="connsiteX189" fmla="*/ 351509 w 607286"/>
                    <a:gd name="connsiteY189" fmla="*/ 89824 h 410409"/>
                    <a:gd name="connsiteX190" fmla="*/ 414947 w 607286"/>
                    <a:gd name="connsiteY190" fmla="*/ 117882 h 410409"/>
                    <a:gd name="connsiteX191" fmla="*/ 437085 w 607286"/>
                    <a:gd name="connsiteY191" fmla="*/ 128986 h 410409"/>
                    <a:gd name="connsiteX192" fmla="*/ 410380 w 607286"/>
                    <a:gd name="connsiteY192" fmla="*/ 95376 h 410409"/>
                    <a:gd name="connsiteX193" fmla="*/ 375534 w 607286"/>
                    <a:gd name="connsiteY193" fmla="*/ 85066 h 410409"/>
                    <a:gd name="connsiteX194" fmla="*/ 273401 w 607286"/>
                    <a:gd name="connsiteY194" fmla="*/ 69636 h 410409"/>
                    <a:gd name="connsiteX195" fmla="*/ 235257 w 607286"/>
                    <a:gd name="connsiteY195" fmla="*/ 69698 h 410409"/>
                    <a:gd name="connsiteX196" fmla="*/ 140448 w 607286"/>
                    <a:gd name="connsiteY196" fmla="*/ 123334 h 410409"/>
                    <a:gd name="connsiteX197" fmla="*/ 151567 w 607286"/>
                    <a:gd name="connsiteY197" fmla="*/ 122145 h 410409"/>
                    <a:gd name="connsiteX198" fmla="*/ 219174 w 607286"/>
                    <a:gd name="connsiteY198" fmla="*/ 83083 h 410409"/>
                    <a:gd name="connsiteX199" fmla="*/ 301672 w 607286"/>
                    <a:gd name="connsiteY199" fmla="*/ 92204 h 410409"/>
                    <a:gd name="connsiteX200" fmla="*/ 332845 w 607286"/>
                    <a:gd name="connsiteY200" fmla="*/ 88932 h 410409"/>
                    <a:gd name="connsiteX201" fmla="*/ 273401 w 607286"/>
                    <a:gd name="connsiteY201" fmla="*/ 69636 h 410409"/>
                    <a:gd name="connsiteX202" fmla="*/ 356957 w 607286"/>
                    <a:gd name="connsiteY202" fmla="*/ 58061 h 410409"/>
                    <a:gd name="connsiteX203" fmla="*/ 309217 w 607286"/>
                    <a:gd name="connsiteY203" fmla="*/ 62560 h 410409"/>
                    <a:gd name="connsiteX204" fmla="*/ 337213 w 607286"/>
                    <a:gd name="connsiteY204" fmla="*/ 75548 h 410409"/>
                    <a:gd name="connsiteX205" fmla="*/ 416634 w 607286"/>
                    <a:gd name="connsiteY205" fmla="*/ 83777 h 410409"/>
                    <a:gd name="connsiteX206" fmla="*/ 449197 w 607286"/>
                    <a:gd name="connsiteY206" fmla="*/ 120658 h 410409"/>
                    <a:gd name="connsiteX207" fmla="*/ 449395 w 607286"/>
                    <a:gd name="connsiteY207" fmla="*/ 138107 h 410409"/>
                    <a:gd name="connsiteX208" fmla="*/ 462500 w 607286"/>
                    <a:gd name="connsiteY208" fmla="*/ 151293 h 410409"/>
                    <a:gd name="connsiteX209" fmla="*/ 466471 w 607286"/>
                    <a:gd name="connsiteY209" fmla="*/ 119666 h 410409"/>
                    <a:gd name="connsiteX210" fmla="*/ 422492 w 607286"/>
                    <a:gd name="connsiteY210" fmla="*/ 75647 h 410409"/>
                    <a:gd name="connsiteX211" fmla="*/ 356957 w 607286"/>
                    <a:gd name="connsiteY211" fmla="*/ 58061 h 410409"/>
                    <a:gd name="connsiteX212" fmla="*/ 332671 w 607286"/>
                    <a:gd name="connsiteY212" fmla="*/ 45049 h 410409"/>
                    <a:gd name="connsiteX213" fmla="*/ 428349 w 607286"/>
                    <a:gd name="connsiteY213" fmla="*/ 63849 h 410409"/>
                    <a:gd name="connsiteX214" fmla="*/ 479377 w 607286"/>
                    <a:gd name="connsiteY214" fmla="*/ 116692 h 410409"/>
                    <a:gd name="connsiteX215" fmla="*/ 480965 w 607286"/>
                    <a:gd name="connsiteY215" fmla="*/ 131068 h 410409"/>
                    <a:gd name="connsiteX216" fmla="*/ 524051 w 607286"/>
                    <a:gd name="connsiteY216" fmla="*/ 185993 h 410409"/>
                    <a:gd name="connsiteX217" fmla="*/ 500225 w 607286"/>
                    <a:gd name="connsiteY217" fmla="*/ 237348 h 410409"/>
                    <a:gd name="connsiteX218" fmla="*/ 501118 w 607286"/>
                    <a:gd name="connsiteY218" fmla="*/ 247659 h 410409"/>
                    <a:gd name="connsiteX219" fmla="*/ 478384 w 607286"/>
                    <a:gd name="connsiteY219" fmla="*/ 285036 h 410409"/>
                    <a:gd name="connsiteX220" fmla="*/ 377619 w 607286"/>
                    <a:gd name="connsiteY220" fmla="*/ 345215 h 410409"/>
                    <a:gd name="connsiteX221" fmla="*/ 284597 w 607286"/>
                    <a:gd name="connsiteY221" fmla="*/ 354733 h 410409"/>
                    <a:gd name="connsiteX222" fmla="*/ 213714 w 607286"/>
                    <a:gd name="connsiteY222" fmla="*/ 345414 h 410409"/>
                    <a:gd name="connsiteX223" fmla="*/ 180754 w 607286"/>
                    <a:gd name="connsiteY223" fmla="*/ 307442 h 410409"/>
                    <a:gd name="connsiteX224" fmla="*/ 95575 w 607286"/>
                    <a:gd name="connsiteY224" fmla="*/ 251922 h 410409"/>
                    <a:gd name="connsiteX225" fmla="*/ 96171 w 607286"/>
                    <a:gd name="connsiteY225" fmla="*/ 238835 h 410409"/>
                    <a:gd name="connsiteX226" fmla="*/ 72046 w 607286"/>
                    <a:gd name="connsiteY226" fmla="*/ 177665 h 410409"/>
                    <a:gd name="connsiteX227" fmla="*/ 94582 w 607286"/>
                    <a:gd name="connsiteY227" fmla="*/ 141081 h 410409"/>
                    <a:gd name="connsiteX228" fmla="*/ 125755 w 607286"/>
                    <a:gd name="connsiteY228" fmla="*/ 126507 h 410409"/>
                    <a:gd name="connsiteX229" fmla="*/ 141838 w 607286"/>
                    <a:gd name="connsiteY229" fmla="*/ 95773 h 410409"/>
                    <a:gd name="connsiteX230" fmla="*/ 234363 w 607286"/>
                    <a:gd name="connsiteY230" fmla="*/ 56512 h 410409"/>
                    <a:gd name="connsiteX231" fmla="*/ 283604 w 607286"/>
                    <a:gd name="connsiteY231" fmla="*/ 57405 h 410409"/>
                    <a:gd name="connsiteX232" fmla="*/ 332671 w 607286"/>
                    <a:gd name="connsiteY232" fmla="*/ 45049 h 410409"/>
                    <a:gd name="connsiteX233" fmla="*/ 303693 w 607286"/>
                    <a:gd name="connsiteY233" fmla="*/ 13185 h 410409"/>
                    <a:gd name="connsiteX234" fmla="*/ 13204 w 607286"/>
                    <a:gd name="connsiteY234" fmla="*/ 205204 h 410409"/>
                    <a:gd name="connsiteX235" fmla="*/ 303693 w 607286"/>
                    <a:gd name="connsiteY235" fmla="*/ 397125 h 410409"/>
                    <a:gd name="connsiteX236" fmla="*/ 594082 w 607286"/>
                    <a:gd name="connsiteY236" fmla="*/ 205204 h 410409"/>
                    <a:gd name="connsiteX237" fmla="*/ 303693 w 607286"/>
                    <a:gd name="connsiteY237" fmla="*/ 13185 h 410409"/>
                    <a:gd name="connsiteX238" fmla="*/ 303693 w 607286"/>
                    <a:gd name="connsiteY238" fmla="*/ 0 h 410409"/>
                    <a:gd name="connsiteX239" fmla="*/ 517439 w 607286"/>
                    <a:gd name="connsiteY239" fmla="*/ 59281 h 410409"/>
                    <a:gd name="connsiteX240" fmla="*/ 607286 w 607286"/>
                    <a:gd name="connsiteY240" fmla="*/ 205204 h 410409"/>
                    <a:gd name="connsiteX241" fmla="*/ 517439 w 607286"/>
                    <a:gd name="connsiteY241" fmla="*/ 351128 h 410409"/>
                    <a:gd name="connsiteX242" fmla="*/ 303693 w 607286"/>
                    <a:gd name="connsiteY242" fmla="*/ 410409 h 410409"/>
                    <a:gd name="connsiteX243" fmla="*/ 89946 w 607286"/>
                    <a:gd name="connsiteY243" fmla="*/ 351128 h 410409"/>
                    <a:gd name="connsiteX244" fmla="*/ 0 w 607286"/>
                    <a:gd name="connsiteY244" fmla="*/ 205204 h 410409"/>
                    <a:gd name="connsiteX245" fmla="*/ 89946 w 607286"/>
                    <a:gd name="connsiteY245" fmla="*/ 59281 h 410409"/>
                    <a:gd name="connsiteX246" fmla="*/ 303693 w 607286"/>
                    <a:gd name="connsiteY246" fmla="*/ 0 h 4104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</a:cxnLst>
                  <a:rect l="l" t="t" r="r" b="b"/>
                  <a:pathLst>
                    <a:path w="607286" h="410409">
                      <a:moveTo>
                        <a:pt x="261366" y="271255"/>
                      </a:moveTo>
                      <a:cubicBezTo>
                        <a:pt x="259480" y="272048"/>
                        <a:pt x="257991" y="272841"/>
                        <a:pt x="256800" y="273535"/>
                      </a:cubicBezTo>
                      <a:cubicBezTo>
                        <a:pt x="254218" y="275221"/>
                        <a:pt x="254318" y="279087"/>
                        <a:pt x="256998" y="280574"/>
                      </a:cubicBezTo>
                      <a:cubicBezTo>
                        <a:pt x="259579" y="281962"/>
                        <a:pt x="263054" y="283152"/>
                        <a:pt x="266628" y="283152"/>
                      </a:cubicBezTo>
                      <a:cubicBezTo>
                        <a:pt x="266628" y="283152"/>
                        <a:pt x="287277" y="283450"/>
                        <a:pt x="297503" y="283053"/>
                      </a:cubicBezTo>
                      <a:close/>
                      <a:moveTo>
                        <a:pt x="305544" y="262729"/>
                      </a:moveTo>
                      <a:cubicBezTo>
                        <a:pt x="299885" y="262729"/>
                        <a:pt x="293532" y="263324"/>
                        <a:pt x="286185" y="264612"/>
                      </a:cubicBezTo>
                      <a:cubicBezTo>
                        <a:pt x="285590" y="264712"/>
                        <a:pt x="285093" y="264811"/>
                        <a:pt x="284498" y="264910"/>
                      </a:cubicBezTo>
                      <a:lnTo>
                        <a:pt x="332150" y="280475"/>
                      </a:lnTo>
                      <a:cubicBezTo>
                        <a:pt x="335823" y="280079"/>
                        <a:pt x="339397" y="279583"/>
                        <a:pt x="342872" y="279087"/>
                      </a:cubicBezTo>
                      <a:cubicBezTo>
                        <a:pt x="338901" y="272346"/>
                        <a:pt x="329073" y="262729"/>
                        <a:pt x="305544" y="262729"/>
                      </a:cubicBezTo>
                      <a:close/>
                      <a:moveTo>
                        <a:pt x="174996" y="221287"/>
                      </a:moveTo>
                      <a:cubicBezTo>
                        <a:pt x="173209" y="222973"/>
                        <a:pt x="171323" y="224856"/>
                        <a:pt x="169635" y="226740"/>
                      </a:cubicBezTo>
                      <a:cubicBezTo>
                        <a:pt x="164175" y="232887"/>
                        <a:pt x="161792" y="237844"/>
                        <a:pt x="163083" y="240620"/>
                      </a:cubicBezTo>
                      <a:cubicBezTo>
                        <a:pt x="165763" y="246370"/>
                        <a:pt x="183037" y="249245"/>
                        <a:pt x="196241" y="249345"/>
                      </a:cubicBezTo>
                      <a:cubicBezTo>
                        <a:pt x="196638" y="248750"/>
                        <a:pt x="197035" y="248056"/>
                        <a:pt x="197532" y="247461"/>
                      </a:cubicBezTo>
                      <a:cubicBezTo>
                        <a:pt x="184924" y="241810"/>
                        <a:pt x="178173" y="230904"/>
                        <a:pt x="174996" y="221287"/>
                      </a:cubicBezTo>
                      <a:close/>
                      <a:moveTo>
                        <a:pt x="440163" y="213058"/>
                      </a:moveTo>
                      <a:cubicBezTo>
                        <a:pt x="439567" y="218610"/>
                        <a:pt x="438773" y="222973"/>
                        <a:pt x="438277" y="225650"/>
                      </a:cubicBezTo>
                      <a:cubicBezTo>
                        <a:pt x="446715" y="237547"/>
                        <a:pt x="452076" y="250733"/>
                        <a:pt x="453168" y="264117"/>
                      </a:cubicBezTo>
                      <a:cubicBezTo>
                        <a:pt x="454856" y="285432"/>
                        <a:pt x="433412" y="297528"/>
                        <a:pt x="415145" y="303972"/>
                      </a:cubicBezTo>
                      <a:cubicBezTo>
                        <a:pt x="399360" y="309524"/>
                        <a:pt x="383476" y="311804"/>
                        <a:pt x="379207" y="312399"/>
                      </a:cubicBezTo>
                      <a:cubicBezTo>
                        <a:pt x="356969" y="320231"/>
                        <a:pt x="323811" y="324891"/>
                        <a:pt x="273279" y="325486"/>
                      </a:cubicBezTo>
                      <a:cubicBezTo>
                        <a:pt x="273081" y="325486"/>
                        <a:pt x="272882" y="325486"/>
                        <a:pt x="272783" y="325486"/>
                      </a:cubicBezTo>
                      <a:cubicBezTo>
                        <a:pt x="266231" y="325089"/>
                        <a:pt x="215997" y="321223"/>
                        <a:pt x="193362" y="302386"/>
                      </a:cubicBezTo>
                      <a:cubicBezTo>
                        <a:pt x="194553" y="316167"/>
                        <a:pt x="203985" y="328460"/>
                        <a:pt x="217685" y="332723"/>
                      </a:cubicBezTo>
                      <a:cubicBezTo>
                        <a:pt x="255708" y="344620"/>
                        <a:pt x="308721" y="344422"/>
                        <a:pt x="375236" y="332228"/>
                      </a:cubicBezTo>
                      <a:cubicBezTo>
                        <a:pt x="430037" y="322115"/>
                        <a:pt x="461805" y="302782"/>
                        <a:pt x="467067" y="276212"/>
                      </a:cubicBezTo>
                      <a:cubicBezTo>
                        <a:pt x="470243" y="260052"/>
                        <a:pt x="463294" y="244387"/>
                        <a:pt x="457040" y="233977"/>
                      </a:cubicBezTo>
                      <a:cubicBezTo>
                        <a:pt x="451778" y="225352"/>
                        <a:pt x="445623" y="218313"/>
                        <a:pt x="440163" y="213058"/>
                      </a:cubicBezTo>
                      <a:close/>
                      <a:moveTo>
                        <a:pt x="329828" y="213041"/>
                      </a:moveTo>
                      <a:cubicBezTo>
                        <a:pt x="314876" y="211075"/>
                        <a:pt x="297304" y="211075"/>
                        <a:pt x="276853" y="214347"/>
                      </a:cubicBezTo>
                      <a:cubicBezTo>
                        <a:pt x="223741" y="222874"/>
                        <a:pt x="203290" y="254797"/>
                        <a:pt x="195844" y="283648"/>
                      </a:cubicBezTo>
                      <a:cubicBezTo>
                        <a:pt x="196142" y="284738"/>
                        <a:pt x="196440" y="285432"/>
                        <a:pt x="196737" y="285928"/>
                      </a:cubicBezTo>
                      <a:cubicBezTo>
                        <a:pt x="199120" y="291282"/>
                        <a:pt x="205573" y="295743"/>
                        <a:pt x="213912" y="299412"/>
                      </a:cubicBezTo>
                      <a:cubicBezTo>
                        <a:pt x="210438" y="293860"/>
                        <a:pt x="207856" y="285532"/>
                        <a:pt x="211232" y="274130"/>
                      </a:cubicBezTo>
                      <a:cubicBezTo>
                        <a:pt x="218677" y="248849"/>
                        <a:pt x="241412" y="232887"/>
                        <a:pt x="277052" y="227831"/>
                      </a:cubicBezTo>
                      <a:cubicBezTo>
                        <a:pt x="301077" y="224460"/>
                        <a:pt x="323017" y="227137"/>
                        <a:pt x="326591" y="227632"/>
                      </a:cubicBezTo>
                      <a:cubicBezTo>
                        <a:pt x="359550" y="227831"/>
                        <a:pt x="377420" y="247263"/>
                        <a:pt x="385462" y="259556"/>
                      </a:cubicBezTo>
                      <a:cubicBezTo>
                        <a:pt x="387149" y="258267"/>
                        <a:pt x="389433" y="257673"/>
                        <a:pt x="391617" y="258367"/>
                      </a:cubicBezTo>
                      <a:cubicBezTo>
                        <a:pt x="395091" y="259457"/>
                        <a:pt x="397077" y="263125"/>
                        <a:pt x="395985" y="266595"/>
                      </a:cubicBezTo>
                      <a:cubicBezTo>
                        <a:pt x="392609" y="277798"/>
                        <a:pt x="378612" y="285730"/>
                        <a:pt x="353495" y="290687"/>
                      </a:cubicBezTo>
                      <a:cubicBezTo>
                        <a:pt x="353395" y="290687"/>
                        <a:pt x="335823" y="293562"/>
                        <a:pt x="325499" y="294454"/>
                      </a:cubicBezTo>
                      <a:cubicBezTo>
                        <a:pt x="306736" y="296239"/>
                        <a:pt x="288667" y="296536"/>
                        <a:pt x="277548" y="296536"/>
                      </a:cubicBezTo>
                      <a:cubicBezTo>
                        <a:pt x="271294" y="296536"/>
                        <a:pt x="267224" y="296437"/>
                        <a:pt x="266429" y="296437"/>
                      </a:cubicBezTo>
                      <a:cubicBezTo>
                        <a:pt x="254615" y="296338"/>
                        <a:pt x="240816" y="288803"/>
                        <a:pt x="239923" y="278195"/>
                      </a:cubicBezTo>
                      <a:cubicBezTo>
                        <a:pt x="238334" y="259457"/>
                        <a:pt x="272684" y="253509"/>
                        <a:pt x="284001" y="251526"/>
                      </a:cubicBezTo>
                      <a:cubicBezTo>
                        <a:pt x="309118" y="247163"/>
                        <a:pt x="328775" y="249939"/>
                        <a:pt x="342475" y="259655"/>
                      </a:cubicBezTo>
                      <a:cubicBezTo>
                        <a:pt x="350119" y="265108"/>
                        <a:pt x="354190" y="271652"/>
                        <a:pt x="356374" y="276510"/>
                      </a:cubicBezTo>
                      <a:cubicBezTo>
                        <a:pt x="364614" y="274626"/>
                        <a:pt x="371464" y="272346"/>
                        <a:pt x="376229" y="269768"/>
                      </a:cubicBezTo>
                      <a:cubicBezTo>
                        <a:pt x="370967" y="260647"/>
                        <a:pt x="356274" y="240917"/>
                        <a:pt x="326094" y="240917"/>
                      </a:cubicBezTo>
                      <a:cubicBezTo>
                        <a:pt x="325797" y="240917"/>
                        <a:pt x="325499" y="240818"/>
                        <a:pt x="325201" y="240818"/>
                      </a:cubicBezTo>
                      <a:cubicBezTo>
                        <a:pt x="324307" y="240719"/>
                        <a:pt x="238334" y="228822"/>
                        <a:pt x="223939" y="277798"/>
                      </a:cubicBezTo>
                      <a:cubicBezTo>
                        <a:pt x="221954" y="284639"/>
                        <a:pt x="222748" y="289795"/>
                        <a:pt x="226421" y="294157"/>
                      </a:cubicBezTo>
                      <a:cubicBezTo>
                        <a:pt x="234562" y="303774"/>
                        <a:pt x="257097" y="309425"/>
                        <a:pt x="289660" y="310119"/>
                      </a:cubicBezTo>
                      <a:cubicBezTo>
                        <a:pt x="315670" y="310714"/>
                        <a:pt x="339397" y="307938"/>
                        <a:pt x="339397" y="307938"/>
                      </a:cubicBezTo>
                      <a:cubicBezTo>
                        <a:pt x="388638" y="300998"/>
                        <a:pt x="402438" y="286523"/>
                        <a:pt x="408692" y="271453"/>
                      </a:cubicBezTo>
                      <a:cubicBezTo>
                        <a:pt x="410479" y="267190"/>
                        <a:pt x="408593" y="258565"/>
                        <a:pt x="400651" y="248551"/>
                      </a:cubicBezTo>
                      <a:cubicBezTo>
                        <a:pt x="395960" y="242529"/>
                        <a:pt x="374684" y="218939"/>
                        <a:pt x="329828" y="213041"/>
                      </a:cubicBezTo>
                      <a:close/>
                      <a:moveTo>
                        <a:pt x="210537" y="202450"/>
                      </a:moveTo>
                      <a:cubicBezTo>
                        <a:pt x="202893" y="204631"/>
                        <a:pt x="194553" y="207804"/>
                        <a:pt x="186512" y="212761"/>
                      </a:cubicBezTo>
                      <a:cubicBezTo>
                        <a:pt x="187803" y="219205"/>
                        <a:pt x="191972" y="232094"/>
                        <a:pt x="205772" y="236555"/>
                      </a:cubicBezTo>
                      <a:cubicBezTo>
                        <a:pt x="206566" y="235762"/>
                        <a:pt x="207261" y="234870"/>
                        <a:pt x="207956" y="234077"/>
                      </a:cubicBezTo>
                      <a:cubicBezTo>
                        <a:pt x="207956" y="228921"/>
                        <a:pt x="208154" y="217123"/>
                        <a:pt x="210537" y="202450"/>
                      </a:cubicBezTo>
                      <a:close/>
                      <a:moveTo>
                        <a:pt x="292440" y="190355"/>
                      </a:moveTo>
                      <a:cubicBezTo>
                        <a:pt x="291348" y="193626"/>
                        <a:pt x="290653" y="196799"/>
                        <a:pt x="290156" y="199377"/>
                      </a:cubicBezTo>
                      <a:cubicBezTo>
                        <a:pt x="350715" y="194023"/>
                        <a:pt x="392014" y="216231"/>
                        <a:pt x="411075" y="240323"/>
                      </a:cubicBezTo>
                      <a:cubicBezTo>
                        <a:pt x="421300" y="253211"/>
                        <a:pt x="424974" y="266694"/>
                        <a:pt x="420903" y="276410"/>
                      </a:cubicBezTo>
                      <a:cubicBezTo>
                        <a:pt x="418818" y="281566"/>
                        <a:pt x="416138" y="286325"/>
                        <a:pt x="412564" y="290786"/>
                      </a:cubicBezTo>
                      <a:cubicBezTo>
                        <a:pt x="427753" y="285135"/>
                        <a:pt x="440957" y="276807"/>
                        <a:pt x="439964" y="265207"/>
                      </a:cubicBezTo>
                      <a:cubicBezTo>
                        <a:pt x="437482" y="234077"/>
                        <a:pt x="405416" y="202946"/>
                        <a:pt x="368585" y="195808"/>
                      </a:cubicBezTo>
                      <a:cubicBezTo>
                        <a:pt x="368485" y="195808"/>
                        <a:pt x="356076" y="193428"/>
                        <a:pt x="339695" y="191644"/>
                      </a:cubicBezTo>
                      <a:cubicBezTo>
                        <a:pt x="321329" y="189661"/>
                        <a:pt x="305048" y="189264"/>
                        <a:pt x="292440" y="190355"/>
                      </a:cubicBezTo>
                      <a:close/>
                      <a:moveTo>
                        <a:pt x="440163" y="175979"/>
                      </a:moveTo>
                      <a:cubicBezTo>
                        <a:pt x="440758" y="181234"/>
                        <a:pt x="441156" y="186687"/>
                        <a:pt x="441156" y="192338"/>
                      </a:cubicBezTo>
                      <a:cubicBezTo>
                        <a:pt x="441156" y="193825"/>
                        <a:pt x="441156" y="195312"/>
                        <a:pt x="441156" y="196700"/>
                      </a:cubicBezTo>
                      <a:cubicBezTo>
                        <a:pt x="457040" y="208399"/>
                        <a:pt x="479675" y="235960"/>
                        <a:pt x="480965" y="265207"/>
                      </a:cubicBezTo>
                      <a:cubicBezTo>
                        <a:pt x="485433" y="259854"/>
                        <a:pt x="487617" y="253905"/>
                        <a:pt x="487815" y="247362"/>
                      </a:cubicBezTo>
                      <a:cubicBezTo>
                        <a:pt x="488312" y="232391"/>
                        <a:pt x="477987" y="213653"/>
                        <a:pt x="458231" y="192932"/>
                      </a:cubicBezTo>
                      <a:cubicBezTo>
                        <a:pt x="451877" y="186389"/>
                        <a:pt x="445524" y="180540"/>
                        <a:pt x="440163" y="175979"/>
                      </a:cubicBezTo>
                      <a:close/>
                      <a:moveTo>
                        <a:pt x="217288" y="173897"/>
                      </a:moveTo>
                      <a:cubicBezTo>
                        <a:pt x="172117" y="185100"/>
                        <a:pt x="147695" y="204730"/>
                        <a:pt x="138959" y="236654"/>
                      </a:cubicBezTo>
                      <a:cubicBezTo>
                        <a:pt x="136973" y="243793"/>
                        <a:pt x="137668" y="249642"/>
                        <a:pt x="141043" y="254500"/>
                      </a:cubicBezTo>
                      <a:cubicBezTo>
                        <a:pt x="147000" y="263125"/>
                        <a:pt x="162289" y="269173"/>
                        <a:pt x="184030" y="271751"/>
                      </a:cubicBezTo>
                      <a:cubicBezTo>
                        <a:pt x="185122" y="268677"/>
                        <a:pt x="186810" y="265505"/>
                        <a:pt x="188895" y="262332"/>
                      </a:cubicBezTo>
                      <a:cubicBezTo>
                        <a:pt x="175889" y="261539"/>
                        <a:pt x="156729" y="258168"/>
                        <a:pt x="151070" y="246172"/>
                      </a:cubicBezTo>
                      <a:cubicBezTo>
                        <a:pt x="147298" y="238141"/>
                        <a:pt x="150177" y="228624"/>
                        <a:pt x="159707" y="218016"/>
                      </a:cubicBezTo>
                      <a:cubicBezTo>
                        <a:pt x="172812" y="203243"/>
                        <a:pt x="191277" y="193032"/>
                        <a:pt x="213317" y="188174"/>
                      </a:cubicBezTo>
                      <a:cubicBezTo>
                        <a:pt x="214409" y="183514"/>
                        <a:pt x="215699" y="178755"/>
                        <a:pt x="217288" y="173897"/>
                      </a:cubicBezTo>
                      <a:close/>
                      <a:moveTo>
                        <a:pt x="475604" y="172608"/>
                      </a:moveTo>
                      <a:cubicBezTo>
                        <a:pt x="479476" y="181630"/>
                        <a:pt x="481958" y="191247"/>
                        <a:pt x="482752" y="201360"/>
                      </a:cubicBezTo>
                      <a:cubicBezTo>
                        <a:pt x="483348" y="202153"/>
                        <a:pt x="483944" y="202946"/>
                        <a:pt x="484440" y="203739"/>
                      </a:cubicBezTo>
                      <a:cubicBezTo>
                        <a:pt x="486723" y="198385"/>
                        <a:pt x="488411" y="191346"/>
                        <a:pt x="486227" y="184803"/>
                      </a:cubicBezTo>
                      <a:cubicBezTo>
                        <a:pt x="484639" y="180044"/>
                        <a:pt x="481065" y="175979"/>
                        <a:pt x="475604" y="172608"/>
                      </a:cubicBezTo>
                      <a:close/>
                      <a:moveTo>
                        <a:pt x="136080" y="167949"/>
                      </a:moveTo>
                      <a:cubicBezTo>
                        <a:pt x="122380" y="170328"/>
                        <a:pt x="117714" y="174690"/>
                        <a:pt x="116125" y="177665"/>
                      </a:cubicBezTo>
                      <a:cubicBezTo>
                        <a:pt x="114239" y="181333"/>
                        <a:pt x="115430" y="185596"/>
                        <a:pt x="116522" y="188075"/>
                      </a:cubicBezTo>
                      <a:cubicBezTo>
                        <a:pt x="119600" y="184010"/>
                        <a:pt x="123074" y="179945"/>
                        <a:pt x="127145" y="175979"/>
                      </a:cubicBezTo>
                      <a:cubicBezTo>
                        <a:pt x="129925" y="173203"/>
                        <a:pt x="132903" y="170526"/>
                        <a:pt x="136080" y="167949"/>
                      </a:cubicBezTo>
                      <a:close/>
                      <a:moveTo>
                        <a:pt x="337908" y="166957"/>
                      </a:moveTo>
                      <a:lnTo>
                        <a:pt x="344560" y="178953"/>
                      </a:lnTo>
                      <a:cubicBezTo>
                        <a:pt x="350516" y="179647"/>
                        <a:pt x="355778" y="180341"/>
                        <a:pt x="360047" y="181035"/>
                      </a:cubicBezTo>
                      <a:cubicBezTo>
                        <a:pt x="359451" y="180044"/>
                        <a:pt x="358856" y="179053"/>
                        <a:pt x="358061" y="178160"/>
                      </a:cubicBezTo>
                      <a:cubicBezTo>
                        <a:pt x="353594" y="172608"/>
                        <a:pt x="346843" y="168841"/>
                        <a:pt x="337908" y="166957"/>
                      </a:cubicBezTo>
                      <a:close/>
                      <a:moveTo>
                        <a:pt x="322024" y="165569"/>
                      </a:moveTo>
                      <a:cubicBezTo>
                        <a:pt x="313983" y="165966"/>
                        <a:pt x="307530" y="168643"/>
                        <a:pt x="302367" y="173501"/>
                      </a:cubicBezTo>
                      <a:cubicBezTo>
                        <a:pt x="301375" y="174492"/>
                        <a:pt x="300382" y="175583"/>
                        <a:pt x="299588" y="176673"/>
                      </a:cubicBezTo>
                      <a:cubicBezTo>
                        <a:pt x="308225" y="176376"/>
                        <a:pt x="317854" y="176574"/>
                        <a:pt x="328576" y="177367"/>
                      </a:cubicBezTo>
                      <a:close/>
                      <a:moveTo>
                        <a:pt x="478880" y="145443"/>
                      </a:moveTo>
                      <a:cubicBezTo>
                        <a:pt x="477590" y="150103"/>
                        <a:pt x="475902" y="154069"/>
                        <a:pt x="474413" y="157241"/>
                      </a:cubicBezTo>
                      <a:cubicBezTo>
                        <a:pt x="487319" y="162595"/>
                        <a:pt x="495460" y="170526"/>
                        <a:pt x="498835" y="180639"/>
                      </a:cubicBezTo>
                      <a:cubicBezTo>
                        <a:pt x="503700" y="195312"/>
                        <a:pt x="496651" y="210183"/>
                        <a:pt x="492680" y="216925"/>
                      </a:cubicBezTo>
                      <a:cubicBezTo>
                        <a:pt x="493772" y="219007"/>
                        <a:pt x="494765" y="221089"/>
                        <a:pt x="495757" y="223171"/>
                      </a:cubicBezTo>
                      <a:cubicBezTo>
                        <a:pt x="507174" y="211274"/>
                        <a:pt x="512237" y="199278"/>
                        <a:pt x="510947" y="187579"/>
                      </a:cubicBezTo>
                      <a:cubicBezTo>
                        <a:pt x="508663" y="168147"/>
                        <a:pt x="489801" y="152780"/>
                        <a:pt x="478880" y="145443"/>
                      </a:cubicBezTo>
                      <a:close/>
                      <a:moveTo>
                        <a:pt x="320039" y="142866"/>
                      </a:moveTo>
                      <a:cubicBezTo>
                        <a:pt x="299687" y="143163"/>
                        <a:pt x="284994" y="154267"/>
                        <a:pt x="276456" y="175880"/>
                      </a:cubicBezTo>
                      <a:cubicBezTo>
                        <a:pt x="272584" y="185596"/>
                        <a:pt x="270798" y="195411"/>
                        <a:pt x="270003" y="202153"/>
                      </a:cubicBezTo>
                      <a:cubicBezTo>
                        <a:pt x="271592" y="201855"/>
                        <a:pt x="275960" y="201161"/>
                        <a:pt x="276556" y="201062"/>
                      </a:cubicBezTo>
                      <a:cubicBezTo>
                        <a:pt x="277648" y="192338"/>
                        <a:pt x="281222" y="175483"/>
                        <a:pt x="293234" y="163983"/>
                      </a:cubicBezTo>
                      <a:cubicBezTo>
                        <a:pt x="301772" y="155853"/>
                        <a:pt x="312891" y="151987"/>
                        <a:pt x="326094" y="152383"/>
                      </a:cubicBezTo>
                      <a:cubicBezTo>
                        <a:pt x="362529" y="153474"/>
                        <a:pt x="372655" y="173996"/>
                        <a:pt x="375435" y="183811"/>
                      </a:cubicBezTo>
                      <a:cubicBezTo>
                        <a:pt x="378909" y="184605"/>
                        <a:pt x="382285" y="185596"/>
                        <a:pt x="385660" y="186786"/>
                      </a:cubicBezTo>
                      <a:cubicBezTo>
                        <a:pt x="384171" y="177268"/>
                        <a:pt x="379803" y="167949"/>
                        <a:pt x="373052" y="160909"/>
                      </a:cubicBezTo>
                      <a:cubicBezTo>
                        <a:pt x="361437" y="148715"/>
                        <a:pt x="343170" y="142568"/>
                        <a:pt x="320039" y="142866"/>
                      </a:cubicBezTo>
                      <a:close/>
                      <a:moveTo>
                        <a:pt x="231782" y="142072"/>
                      </a:moveTo>
                      <a:cubicBezTo>
                        <a:pt x="189689" y="149806"/>
                        <a:pt x="157722" y="164280"/>
                        <a:pt x="136477" y="185398"/>
                      </a:cubicBezTo>
                      <a:cubicBezTo>
                        <a:pt x="112948" y="208696"/>
                        <a:pt x="108481" y="234275"/>
                        <a:pt x="108878" y="251625"/>
                      </a:cubicBezTo>
                      <a:cubicBezTo>
                        <a:pt x="109176" y="269669"/>
                        <a:pt x="122181" y="291183"/>
                        <a:pt x="180357" y="294157"/>
                      </a:cubicBezTo>
                      <a:cubicBezTo>
                        <a:pt x="180456" y="293463"/>
                        <a:pt x="180555" y="292670"/>
                        <a:pt x="180655" y="291976"/>
                      </a:cubicBezTo>
                      <a:cubicBezTo>
                        <a:pt x="181052" y="289696"/>
                        <a:pt x="181548" y="287316"/>
                        <a:pt x="182045" y="284838"/>
                      </a:cubicBezTo>
                      <a:cubicBezTo>
                        <a:pt x="156034" y="281764"/>
                        <a:pt x="138562" y="274130"/>
                        <a:pt x="130123" y="262035"/>
                      </a:cubicBezTo>
                      <a:cubicBezTo>
                        <a:pt x="124464" y="253905"/>
                        <a:pt x="123174" y="244189"/>
                        <a:pt x="126152" y="233085"/>
                      </a:cubicBezTo>
                      <a:cubicBezTo>
                        <a:pt x="136874" y="194519"/>
                        <a:pt x="167649" y="170923"/>
                        <a:pt x="222946" y="159026"/>
                      </a:cubicBezTo>
                      <a:cubicBezTo>
                        <a:pt x="225428" y="153276"/>
                        <a:pt x="228407" y="147624"/>
                        <a:pt x="231782" y="142072"/>
                      </a:cubicBezTo>
                      <a:close/>
                      <a:moveTo>
                        <a:pt x="430136" y="140090"/>
                      </a:moveTo>
                      <a:cubicBezTo>
                        <a:pt x="432518" y="145047"/>
                        <a:pt x="434504" y="150202"/>
                        <a:pt x="436092" y="155655"/>
                      </a:cubicBezTo>
                      <a:cubicBezTo>
                        <a:pt x="440560" y="159026"/>
                        <a:pt x="452374" y="168246"/>
                        <a:pt x="464684" y="180639"/>
                      </a:cubicBezTo>
                      <a:cubicBezTo>
                        <a:pt x="457139" y="160909"/>
                        <a:pt x="442446" y="147922"/>
                        <a:pt x="430136" y="140090"/>
                      </a:cubicBezTo>
                      <a:close/>
                      <a:moveTo>
                        <a:pt x="162487" y="134934"/>
                      </a:moveTo>
                      <a:cubicBezTo>
                        <a:pt x="143128" y="135132"/>
                        <a:pt x="120195" y="138900"/>
                        <a:pt x="102326" y="151788"/>
                      </a:cubicBezTo>
                      <a:cubicBezTo>
                        <a:pt x="91902" y="159323"/>
                        <a:pt x="86243" y="168246"/>
                        <a:pt x="85250" y="178953"/>
                      </a:cubicBezTo>
                      <a:cubicBezTo>
                        <a:pt x="83662" y="194816"/>
                        <a:pt x="92497" y="211175"/>
                        <a:pt x="99546" y="221486"/>
                      </a:cubicBezTo>
                      <a:cubicBezTo>
                        <a:pt x="101432" y="215041"/>
                        <a:pt x="104113" y="208300"/>
                        <a:pt x="107786" y="201459"/>
                      </a:cubicBezTo>
                      <a:cubicBezTo>
                        <a:pt x="104907" y="196502"/>
                        <a:pt x="98255" y="183217"/>
                        <a:pt x="104411" y="171617"/>
                      </a:cubicBezTo>
                      <a:cubicBezTo>
                        <a:pt x="110665" y="159819"/>
                        <a:pt x="126549" y="153771"/>
                        <a:pt x="153254" y="153176"/>
                      </a:cubicBezTo>
                      <a:cubicBezTo>
                        <a:pt x="154346" y="149706"/>
                        <a:pt x="157027" y="142667"/>
                        <a:pt x="162487" y="134934"/>
                      </a:cubicBezTo>
                      <a:close/>
                      <a:moveTo>
                        <a:pt x="340005" y="123012"/>
                      </a:moveTo>
                      <a:cubicBezTo>
                        <a:pt x="330264" y="122170"/>
                        <a:pt x="318599" y="122294"/>
                        <a:pt x="305048" y="124326"/>
                      </a:cubicBezTo>
                      <a:cubicBezTo>
                        <a:pt x="284299" y="127399"/>
                        <a:pt x="268018" y="141081"/>
                        <a:pt x="256502" y="165073"/>
                      </a:cubicBezTo>
                      <a:cubicBezTo>
                        <a:pt x="250446" y="177665"/>
                        <a:pt x="245780" y="192833"/>
                        <a:pt x="242702" y="210282"/>
                      </a:cubicBezTo>
                      <a:cubicBezTo>
                        <a:pt x="246971" y="208498"/>
                        <a:pt x="251538" y="206812"/>
                        <a:pt x="256402" y="205424"/>
                      </a:cubicBezTo>
                      <a:cubicBezTo>
                        <a:pt x="256998" y="198385"/>
                        <a:pt x="258686" y="185001"/>
                        <a:pt x="264047" y="171319"/>
                      </a:cubicBezTo>
                      <a:cubicBezTo>
                        <a:pt x="274570" y="144452"/>
                        <a:pt x="293830" y="130076"/>
                        <a:pt x="319840" y="129680"/>
                      </a:cubicBezTo>
                      <a:cubicBezTo>
                        <a:pt x="353792" y="129085"/>
                        <a:pt x="372754" y="141378"/>
                        <a:pt x="382682" y="151788"/>
                      </a:cubicBezTo>
                      <a:cubicBezTo>
                        <a:pt x="393205" y="162892"/>
                        <a:pt x="399162" y="177565"/>
                        <a:pt x="399360" y="192635"/>
                      </a:cubicBezTo>
                      <a:cubicBezTo>
                        <a:pt x="402239" y="194122"/>
                        <a:pt x="405118" y="195708"/>
                        <a:pt x="407898" y="197493"/>
                      </a:cubicBezTo>
                      <a:cubicBezTo>
                        <a:pt x="407997" y="159918"/>
                        <a:pt x="393801" y="146633"/>
                        <a:pt x="387447" y="140684"/>
                      </a:cubicBezTo>
                      <a:cubicBezTo>
                        <a:pt x="386554" y="139891"/>
                        <a:pt x="385859" y="139197"/>
                        <a:pt x="385263" y="138602"/>
                      </a:cubicBezTo>
                      <a:cubicBezTo>
                        <a:pt x="383774" y="137016"/>
                        <a:pt x="376527" y="131563"/>
                        <a:pt x="363422" y="127498"/>
                      </a:cubicBezTo>
                      <a:cubicBezTo>
                        <a:pt x="357565" y="125664"/>
                        <a:pt x="349747" y="123855"/>
                        <a:pt x="340005" y="123012"/>
                      </a:cubicBezTo>
                      <a:close/>
                      <a:moveTo>
                        <a:pt x="255013" y="114907"/>
                      </a:moveTo>
                      <a:cubicBezTo>
                        <a:pt x="224436" y="111338"/>
                        <a:pt x="199914" y="116989"/>
                        <a:pt x="183236" y="131464"/>
                      </a:cubicBezTo>
                      <a:cubicBezTo>
                        <a:pt x="177379" y="136620"/>
                        <a:pt x="173308" y="142172"/>
                        <a:pt x="170528" y="146831"/>
                      </a:cubicBezTo>
                      <a:cubicBezTo>
                        <a:pt x="190880" y="137512"/>
                        <a:pt x="215104" y="130869"/>
                        <a:pt x="242901" y="126804"/>
                      </a:cubicBezTo>
                      <a:cubicBezTo>
                        <a:pt x="244291" y="125218"/>
                        <a:pt x="245681" y="123731"/>
                        <a:pt x="247170" y="122244"/>
                      </a:cubicBezTo>
                      <a:cubicBezTo>
                        <a:pt x="249652" y="119666"/>
                        <a:pt x="252233" y="117188"/>
                        <a:pt x="255013" y="114907"/>
                      </a:cubicBezTo>
                      <a:close/>
                      <a:moveTo>
                        <a:pt x="335327" y="102118"/>
                      </a:moveTo>
                      <a:cubicBezTo>
                        <a:pt x="302169" y="101721"/>
                        <a:pt x="275861" y="111636"/>
                        <a:pt x="256700" y="131365"/>
                      </a:cubicBezTo>
                      <a:cubicBezTo>
                        <a:pt x="229598" y="159323"/>
                        <a:pt x="223145" y="200566"/>
                        <a:pt x="221656" y="222080"/>
                      </a:cubicBezTo>
                      <a:cubicBezTo>
                        <a:pt x="223741" y="220593"/>
                        <a:pt x="225825" y="219205"/>
                        <a:pt x="228009" y="217817"/>
                      </a:cubicBezTo>
                      <a:cubicBezTo>
                        <a:pt x="231286" y="195014"/>
                        <a:pt x="236845" y="175384"/>
                        <a:pt x="244489" y="159323"/>
                      </a:cubicBezTo>
                      <a:cubicBezTo>
                        <a:pt x="258090" y="131167"/>
                        <a:pt x="277747" y="115007"/>
                        <a:pt x="303062" y="111239"/>
                      </a:cubicBezTo>
                      <a:cubicBezTo>
                        <a:pt x="356671" y="103308"/>
                        <a:pt x="387546" y="121748"/>
                        <a:pt x="394893" y="129580"/>
                      </a:cubicBezTo>
                      <a:cubicBezTo>
                        <a:pt x="395290" y="129977"/>
                        <a:pt x="395886" y="130473"/>
                        <a:pt x="396481" y="130968"/>
                      </a:cubicBezTo>
                      <a:cubicBezTo>
                        <a:pt x="403927" y="138107"/>
                        <a:pt x="423584" y="156547"/>
                        <a:pt x="420903" y="206912"/>
                      </a:cubicBezTo>
                      <a:cubicBezTo>
                        <a:pt x="422889" y="208696"/>
                        <a:pt x="424974" y="210481"/>
                        <a:pt x="426860" y="212364"/>
                      </a:cubicBezTo>
                      <a:cubicBezTo>
                        <a:pt x="429044" y="193131"/>
                        <a:pt x="429640" y="157439"/>
                        <a:pt x="409784" y="132158"/>
                      </a:cubicBezTo>
                      <a:cubicBezTo>
                        <a:pt x="394496" y="112528"/>
                        <a:pt x="369478" y="102415"/>
                        <a:pt x="335327" y="102118"/>
                      </a:cubicBezTo>
                      <a:close/>
                      <a:moveTo>
                        <a:pt x="259790" y="93815"/>
                      </a:moveTo>
                      <a:cubicBezTo>
                        <a:pt x="249602" y="93195"/>
                        <a:pt x="236895" y="93641"/>
                        <a:pt x="221259" y="96070"/>
                      </a:cubicBezTo>
                      <a:cubicBezTo>
                        <a:pt x="187108" y="101424"/>
                        <a:pt x="172812" y="113619"/>
                        <a:pt x="166955" y="121748"/>
                      </a:cubicBezTo>
                      <a:cubicBezTo>
                        <a:pt x="169337" y="121748"/>
                        <a:pt x="171720" y="121847"/>
                        <a:pt x="174102" y="121946"/>
                      </a:cubicBezTo>
                      <a:cubicBezTo>
                        <a:pt x="174202" y="121847"/>
                        <a:pt x="174400" y="121649"/>
                        <a:pt x="174500" y="121550"/>
                      </a:cubicBezTo>
                      <a:cubicBezTo>
                        <a:pt x="190086" y="107967"/>
                        <a:pt x="219273" y="94087"/>
                        <a:pt x="270698" y="104002"/>
                      </a:cubicBezTo>
                      <a:cubicBezTo>
                        <a:pt x="274669" y="101721"/>
                        <a:pt x="278839" y="99739"/>
                        <a:pt x="283207" y="97954"/>
                      </a:cubicBezTo>
                      <a:cubicBezTo>
                        <a:pt x="277648" y="96120"/>
                        <a:pt x="269979" y="94435"/>
                        <a:pt x="259790" y="93815"/>
                      </a:cubicBezTo>
                      <a:close/>
                      <a:moveTo>
                        <a:pt x="375534" y="85066"/>
                      </a:moveTo>
                      <a:cubicBezTo>
                        <a:pt x="364887" y="84124"/>
                        <a:pt x="355629" y="85115"/>
                        <a:pt x="349027" y="86354"/>
                      </a:cubicBezTo>
                      <a:cubicBezTo>
                        <a:pt x="350020" y="87643"/>
                        <a:pt x="350814" y="88833"/>
                        <a:pt x="351509" y="89824"/>
                      </a:cubicBezTo>
                      <a:cubicBezTo>
                        <a:pt x="378512" y="92600"/>
                        <a:pt x="399857" y="102019"/>
                        <a:pt x="414947" y="117882"/>
                      </a:cubicBezTo>
                      <a:cubicBezTo>
                        <a:pt x="418421" y="119170"/>
                        <a:pt x="427058" y="122640"/>
                        <a:pt x="437085" y="128986"/>
                      </a:cubicBezTo>
                      <a:cubicBezTo>
                        <a:pt x="436787" y="120757"/>
                        <a:pt x="432419" y="107174"/>
                        <a:pt x="410380" y="95376"/>
                      </a:cubicBezTo>
                      <a:cubicBezTo>
                        <a:pt x="398218" y="88883"/>
                        <a:pt x="386181" y="86008"/>
                        <a:pt x="375534" y="85066"/>
                      </a:cubicBezTo>
                      <a:close/>
                      <a:moveTo>
                        <a:pt x="273401" y="69636"/>
                      </a:moveTo>
                      <a:cubicBezTo>
                        <a:pt x="262459" y="68794"/>
                        <a:pt x="249826" y="68707"/>
                        <a:pt x="235257" y="69698"/>
                      </a:cubicBezTo>
                      <a:cubicBezTo>
                        <a:pt x="167252" y="74358"/>
                        <a:pt x="146603" y="106976"/>
                        <a:pt x="140448" y="123334"/>
                      </a:cubicBezTo>
                      <a:cubicBezTo>
                        <a:pt x="144022" y="122839"/>
                        <a:pt x="147794" y="122442"/>
                        <a:pt x="151567" y="122145"/>
                      </a:cubicBezTo>
                      <a:cubicBezTo>
                        <a:pt x="155836" y="112032"/>
                        <a:pt x="170330" y="90617"/>
                        <a:pt x="219174" y="83083"/>
                      </a:cubicBezTo>
                      <a:cubicBezTo>
                        <a:pt x="270003" y="75151"/>
                        <a:pt x="293830" y="86850"/>
                        <a:pt x="301672" y="92204"/>
                      </a:cubicBezTo>
                      <a:cubicBezTo>
                        <a:pt x="311401" y="90023"/>
                        <a:pt x="321825" y="88932"/>
                        <a:pt x="332845" y="88932"/>
                      </a:cubicBezTo>
                      <a:cubicBezTo>
                        <a:pt x="323836" y="81497"/>
                        <a:pt x="306227" y="72165"/>
                        <a:pt x="273401" y="69636"/>
                      </a:cubicBezTo>
                      <a:close/>
                      <a:moveTo>
                        <a:pt x="356957" y="58061"/>
                      </a:moveTo>
                      <a:cubicBezTo>
                        <a:pt x="337585" y="56958"/>
                        <a:pt x="321180" y="59536"/>
                        <a:pt x="309217" y="62560"/>
                      </a:cubicBezTo>
                      <a:cubicBezTo>
                        <a:pt x="321528" y="66228"/>
                        <a:pt x="330562" y="70888"/>
                        <a:pt x="337213" y="75548"/>
                      </a:cubicBezTo>
                      <a:cubicBezTo>
                        <a:pt x="347935" y="72375"/>
                        <a:pt x="381391" y="64940"/>
                        <a:pt x="416634" y="83777"/>
                      </a:cubicBezTo>
                      <a:cubicBezTo>
                        <a:pt x="439369" y="95872"/>
                        <a:pt x="446914" y="110545"/>
                        <a:pt x="449197" y="120658"/>
                      </a:cubicBezTo>
                      <a:cubicBezTo>
                        <a:pt x="450984" y="128292"/>
                        <a:pt x="450190" y="134538"/>
                        <a:pt x="449395" y="138107"/>
                      </a:cubicBezTo>
                      <a:cubicBezTo>
                        <a:pt x="454260" y="142172"/>
                        <a:pt x="458727" y="146633"/>
                        <a:pt x="462500" y="151293"/>
                      </a:cubicBezTo>
                      <a:cubicBezTo>
                        <a:pt x="465776" y="144749"/>
                        <a:pt x="469747" y="132852"/>
                        <a:pt x="466471" y="119666"/>
                      </a:cubicBezTo>
                      <a:cubicBezTo>
                        <a:pt x="462301" y="102713"/>
                        <a:pt x="447509" y="87941"/>
                        <a:pt x="422492" y="75647"/>
                      </a:cubicBezTo>
                      <a:cubicBezTo>
                        <a:pt x="398666" y="63948"/>
                        <a:pt x="376328" y="59164"/>
                        <a:pt x="356957" y="58061"/>
                      </a:cubicBezTo>
                      <a:close/>
                      <a:moveTo>
                        <a:pt x="332671" y="45049"/>
                      </a:moveTo>
                      <a:cubicBezTo>
                        <a:pt x="358235" y="42806"/>
                        <a:pt x="391567" y="45756"/>
                        <a:pt x="428349" y="63849"/>
                      </a:cubicBezTo>
                      <a:cubicBezTo>
                        <a:pt x="457040" y="77927"/>
                        <a:pt x="474215" y="95674"/>
                        <a:pt x="479377" y="116692"/>
                      </a:cubicBezTo>
                      <a:cubicBezTo>
                        <a:pt x="480568" y="121649"/>
                        <a:pt x="481065" y="126507"/>
                        <a:pt x="480965" y="131068"/>
                      </a:cubicBezTo>
                      <a:cubicBezTo>
                        <a:pt x="491489" y="137413"/>
                        <a:pt x="520775" y="157340"/>
                        <a:pt x="524051" y="185993"/>
                      </a:cubicBezTo>
                      <a:cubicBezTo>
                        <a:pt x="526136" y="203640"/>
                        <a:pt x="518095" y="220891"/>
                        <a:pt x="500225" y="237348"/>
                      </a:cubicBezTo>
                      <a:cubicBezTo>
                        <a:pt x="500821" y="240818"/>
                        <a:pt x="501218" y="244288"/>
                        <a:pt x="501118" y="247659"/>
                      </a:cubicBezTo>
                      <a:cubicBezTo>
                        <a:pt x="500622" y="262530"/>
                        <a:pt x="492978" y="275122"/>
                        <a:pt x="478384" y="285036"/>
                      </a:cubicBezTo>
                      <a:cubicBezTo>
                        <a:pt x="468953" y="314481"/>
                        <a:pt x="435100" y="334607"/>
                        <a:pt x="377619" y="345215"/>
                      </a:cubicBezTo>
                      <a:cubicBezTo>
                        <a:pt x="343170" y="351560"/>
                        <a:pt x="312096" y="354733"/>
                        <a:pt x="284597" y="354733"/>
                      </a:cubicBezTo>
                      <a:cubicBezTo>
                        <a:pt x="257395" y="354733"/>
                        <a:pt x="233668" y="351560"/>
                        <a:pt x="213714" y="345414"/>
                      </a:cubicBezTo>
                      <a:cubicBezTo>
                        <a:pt x="196142" y="339862"/>
                        <a:pt x="183732" y="324792"/>
                        <a:pt x="180754" y="307442"/>
                      </a:cubicBezTo>
                      <a:cubicBezTo>
                        <a:pt x="126450" y="304765"/>
                        <a:pt x="96270" y="285234"/>
                        <a:pt x="95575" y="251922"/>
                      </a:cubicBezTo>
                      <a:cubicBezTo>
                        <a:pt x="95575" y="247957"/>
                        <a:pt x="95674" y="243594"/>
                        <a:pt x="96171" y="238835"/>
                      </a:cubicBezTo>
                      <a:cubicBezTo>
                        <a:pt x="89519" y="231003"/>
                        <a:pt x="69366" y="204830"/>
                        <a:pt x="72046" y="177665"/>
                      </a:cubicBezTo>
                      <a:cubicBezTo>
                        <a:pt x="73436" y="163190"/>
                        <a:pt x="81081" y="150797"/>
                        <a:pt x="94582" y="141081"/>
                      </a:cubicBezTo>
                      <a:cubicBezTo>
                        <a:pt x="103616" y="134538"/>
                        <a:pt x="114040" y="129680"/>
                        <a:pt x="125755" y="126507"/>
                      </a:cubicBezTo>
                      <a:cubicBezTo>
                        <a:pt x="127343" y="120063"/>
                        <a:pt x="131414" y="108067"/>
                        <a:pt x="141838" y="95773"/>
                      </a:cubicBezTo>
                      <a:cubicBezTo>
                        <a:pt x="166061" y="66922"/>
                        <a:pt x="205474" y="58495"/>
                        <a:pt x="234363" y="56512"/>
                      </a:cubicBezTo>
                      <a:cubicBezTo>
                        <a:pt x="253623" y="55224"/>
                        <a:pt x="269904" y="55719"/>
                        <a:pt x="283604" y="57405"/>
                      </a:cubicBezTo>
                      <a:cubicBezTo>
                        <a:pt x="289313" y="54728"/>
                        <a:pt x="307108" y="47292"/>
                        <a:pt x="332671" y="45049"/>
                      </a:cubicBezTo>
                      <a:close/>
                      <a:moveTo>
                        <a:pt x="303693" y="13185"/>
                      </a:moveTo>
                      <a:cubicBezTo>
                        <a:pt x="143557" y="13185"/>
                        <a:pt x="13204" y="99331"/>
                        <a:pt x="13204" y="205204"/>
                      </a:cubicBezTo>
                      <a:cubicBezTo>
                        <a:pt x="13204" y="311078"/>
                        <a:pt x="143557" y="397125"/>
                        <a:pt x="303693" y="397125"/>
                      </a:cubicBezTo>
                      <a:cubicBezTo>
                        <a:pt x="463829" y="397125"/>
                        <a:pt x="594082" y="311078"/>
                        <a:pt x="594082" y="205204"/>
                      </a:cubicBezTo>
                      <a:cubicBezTo>
                        <a:pt x="594082" y="99331"/>
                        <a:pt x="463829" y="13185"/>
                        <a:pt x="303693" y="13185"/>
                      </a:cubicBezTo>
                      <a:close/>
                      <a:moveTo>
                        <a:pt x="303693" y="0"/>
                      </a:moveTo>
                      <a:cubicBezTo>
                        <a:pt x="384307" y="0"/>
                        <a:pt x="460255" y="21016"/>
                        <a:pt x="517439" y="59281"/>
                      </a:cubicBezTo>
                      <a:cubicBezTo>
                        <a:pt x="575418" y="98042"/>
                        <a:pt x="607286" y="149888"/>
                        <a:pt x="607286" y="205204"/>
                      </a:cubicBezTo>
                      <a:cubicBezTo>
                        <a:pt x="607286" y="260520"/>
                        <a:pt x="575418" y="312268"/>
                        <a:pt x="517439" y="351128"/>
                      </a:cubicBezTo>
                      <a:cubicBezTo>
                        <a:pt x="460255" y="389294"/>
                        <a:pt x="384307" y="410409"/>
                        <a:pt x="303693" y="410409"/>
                      </a:cubicBezTo>
                      <a:cubicBezTo>
                        <a:pt x="222979" y="410409"/>
                        <a:pt x="147131" y="389294"/>
                        <a:pt x="89946" y="351128"/>
                      </a:cubicBezTo>
                      <a:cubicBezTo>
                        <a:pt x="31968" y="312268"/>
                        <a:pt x="0" y="260520"/>
                        <a:pt x="0" y="205204"/>
                      </a:cubicBezTo>
                      <a:cubicBezTo>
                        <a:pt x="0" y="149888"/>
                        <a:pt x="31968" y="98042"/>
                        <a:pt x="89946" y="59281"/>
                      </a:cubicBezTo>
                      <a:cubicBezTo>
                        <a:pt x="147131" y="21016"/>
                        <a:pt x="222979" y="0"/>
                        <a:pt x="303693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84000">
                      <a:schemeClr val="accent2">
                        <a:lumMod val="40000"/>
                        <a:lumOff val="60000"/>
                      </a:schemeClr>
                    </a:gs>
                    <a:gs pos="0">
                      <a:schemeClr val="accent2"/>
                    </a:gs>
                    <a:gs pos="55000">
                      <a:schemeClr val="accent2"/>
                    </a:gs>
                  </a:gsLst>
                  <a:lin ang="135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sp>
            <p:sp>
              <p:nvSpPr>
                <p:cNvPr id="191" name="任意多边形: 形状 190"/>
                <p:cNvSpPr>
                  <a:spLocks noChangeAspect="1"/>
                </p:cNvSpPr>
                <p:nvPr userDrawn="1"/>
              </p:nvSpPr>
              <p:spPr bwMode="auto">
                <a:xfrm rot="5090663">
                  <a:off x="8902696" y="1189227"/>
                  <a:ext cx="2198220" cy="3028935"/>
                </a:xfrm>
                <a:custGeom>
                  <a:avLst/>
                  <a:gdLst>
                    <a:gd name="connsiteX0" fmla="*/ 350405 w 438988"/>
                    <a:gd name="connsiteY0" fmla="*/ 511675 h 604882"/>
                    <a:gd name="connsiteX1" fmla="*/ 351090 w 438988"/>
                    <a:gd name="connsiteY1" fmla="*/ 511789 h 604882"/>
                    <a:gd name="connsiteX2" fmla="*/ 401879 w 438988"/>
                    <a:gd name="connsiteY2" fmla="*/ 581847 h 604882"/>
                    <a:gd name="connsiteX3" fmla="*/ 405417 w 438988"/>
                    <a:gd name="connsiteY3" fmla="*/ 603754 h 604882"/>
                    <a:gd name="connsiteX4" fmla="*/ 385330 w 438988"/>
                    <a:gd name="connsiteY4" fmla="*/ 594398 h 604882"/>
                    <a:gd name="connsiteX5" fmla="*/ 331459 w 438988"/>
                    <a:gd name="connsiteY5" fmla="*/ 526736 h 604882"/>
                    <a:gd name="connsiteX6" fmla="*/ 331459 w 438988"/>
                    <a:gd name="connsiteY6" fmla="*/ 526052 h 604882"/>
                    <a:gd name="connsiteX7" fmla="*/ 350405 w 438988"/>
                    <a:gd name="connsiteY7" fmla="*/ 511675 h 604882"/>
                    <a:gd name="connsiteX8" fmla="*/ 334159 w 438988"/>
                    <a:gd name="connsiteY8" fmla="*/ 489209 h 604882"/>
                    <a:gd name="connsiteX9" fmla="*/ 334615 w 438988"/>
                    <a:gd name="connsiteY9" fmla="*/ 489209 h 604882"/>
                    <a:gd name="connsiteX10" fmla="*/ 344323 w 438988"/>
                    <a:gd name="connsiteY10" fmla="*/ 502573 h 604882"/>
                    <a:gd name="connsiteX11" fmla="*/ 344209 w 438988"/>
                    <a:gd name="connsiteY11" fmla="*/ 503258 h 604882"/>
                    <a:gd name="connsiteX12" fmla="*/ 325022 w 438988"/>
                    <a:gd name="connsiteY12" fmla="*/ 517878 h 604882"/>
                    <a:gd name="connsiteX13" fmla="*/ 324336 w 438988"/>
                    <a:gd name="connsiteY13" fmla="*/ 517764 h 604882"/>
                    <a:gd name="connsiteX14" fmla="*/ 314172 w 438988"/>
                    <a:gd name="connsiteY14" fmla="*/ 504971 h 604882"/>
                    <a:gd name="connsiteX15" fmla="*/ 314172 w 438988"/>
                    <a:gd name="connsiteY15" fmla="*/ 504286 h 604882"/>
                    <a:gd name="connsiteX16" fmla="*/ 334159 w 438988"/>
                    <a:gd name="connsiteY16" fmla="*/ 489209 h 604882"/>
                    <a:gd name="connsiteX17" fmla="*/ 397994 w 438988"/>
                    <a:gd name="connsiteY17" fmla="*/ 485452 h 604882"/>
                    <a:gd name="connsiteX18" fmla="*/ 398566 w 438988"/>
                    <a:gd name="connsiteY18" fmla="*/ 485794 h 604882"/>
                    <a:gd name="connsiteX19" fmla="*/ 435710 w 438988"/>
                    <a:gd name="connsiteY19" fmla="*/ 563914 h 604882"/>
                    <a:gd name="connsiteX20" fmla="*/ 435139 w 438988"/>
                    <a:gd name="connsiteY20" fmla="*/ 586039 h 604882"/>
                    <a:gd name="connsiteX21" fmla="*/ 417081 w 438988"/>
                    <a:gd name="connsiteY21" fmla="*/ 573152 h 604882"/>
                    <a:gd name="connsiteX22" fmla="*/ 376508 w 438988"/>
                    <a:gd name="connsiteY22" fmla="*/ 496742 h 604882"/>
                    <a:gd name="connsiteX23" fmla="*/ 376622 w 438988"/>
                    <a:gd name="connsiteY23" fmla="*/ 496172 h 604882"/>
                    <a:gd name="connsiteX24" fmla="*/ 397994 w 438988"/>
                    <a:gd name="connsiteY24" fmla="*/ 485452 h 604882"/>
                    <a:gd name="connsiteX25" fmla="*/ 386117 w 438988"/>
                    <a:gd name="connsiteY25" fmla="*/ 460374 h 604882"/>
                    <a:gd name="connsiteX26" fmla="*/ 386688 w 438988"/>
                    <a:gd name="connsiteY26" fmla="*/ 460488 h 604882"/>
                    <a:gd name="connsiteX27" fmla="*/ 393649 w 438988"/>
                    <a:gd name="connsiteY27" fmla="*/ 475313 h 604882"/>
                    <a:gd name="connsiteX28" fmla="*/ 393420 w 438988"/>
                    <a:gd name="connsiteY28" fmla="*/ 476111 h 604882"/>
                    <a:gd name="connsiteX29" fmla="*/ 371853 w 438988"/>
                    <a:gd name="connsiteY29" fmla="*/ 486831 h 604882"/>
                    <a:gd name="connsiteX30" fmla="*/ 371169 w 438988"/>
                    <a:gd name="connsiteY30" fmla="*/ 486603 h 604882"/>
                    <a:gd name="connsiteX31" fmla="*/ 363523 w 438988"/>
                    <a:gd name="connsiteY31" fmla="*/ 472234 h 604882"/>
                    <a:gd name="connsiteX32" fmla="*/ 363751 w 438988"/>
                    <a:gd name="connsiteY32" fmla="*/ 471550 h 604882"/>
                    <a:gd name="connsiteX33" fmla="*/ 386117 w 438988"/>
                    <a:gd name="connsiteY33" fmla="*/ 460374 h 604882"/>
                    <a:gd name="connsiteX34" fmla="*/ 98781 w 438988"/>
                    <a:gd name="connsiteY34" fmla="*/ 166247 h 604882"/>
                    <a:gd name="connsiteX35" fmla="*/ 100380 w 438988"/>
                    <a:gd name="connsiteY35" fmla="*/ 166703 h 604882"/>
                    <a:gd name="connsiteX36" fmla="*/ 327909 w 438988"/>
                    <a:gd name="connsiteY36" fmla="*/ 479880 h 604882"/>
                    <a:gd name="connsiteX37" fmla="*/ 327909 w 438988"/>
                    <a:gd name="connsiteY37" fmla="*/ 480792 h 604882"/>
                    <a:gd name="connsiteX38" fmla="*/ 307806 w 438988"/>
                    <a:gd name="connsiteY38" fmla="*/ 496075 h 604882"/>
                    <a:gd name="connsiteX39" fmla="*/ 306778 w 438988"/>
                    <a:gd name="connsiteY39" fmla="*/ 495733 h 604882"/>
                    <a:gd name="connsiteX40" fmla="*/ 65657 w 438988"/>
                    <a:gd name="connsiteY40" fmla="*/ 192592 h 604882"/>
                    <a:gd name="connsiteX41" fmla="*/ 65771 w 438988"/>
                    <a:gd name="connsiteY41" fmla="*/ 191338 h 604882"/>
                    <a:gd name="connsiteX42" fmla="*/ 98781 w 438988"/>
                    <a:gd name="connsiteY42" fmla="*/ 166247 h 604882"/>
                    <a:gd name="connsiteX43" fmla="*/ 47969 w 438988"/>
                    <a:gd name="connsiteY43" fmla="*/ 111537 h 604882"/>
                    <a:gd name="connsiteX44" fmla="*/ 43857 w 438988"/>
                    <a:gd name="connsiteY44" fmla="*/ 115416 h 604882"/>
                    <a:gd name="connsiteX45" fmla="*/ 40202 w 438988"/>
                    <a:gd name="connsiteY45" fmla="*/ 115758 h 604882"/>
                    <a:gd name="connsiteX46" fmla="*/ 35291 w 438988"/>
                    <a:gd name="connsiteY46" fmla="*/ 112906 h 604882"/>
                    <a:gd name="connsiteX47" fmla="*/ 35176 w 438988"/>
                    <a:gd name="connsiteY47" fmla="*/ 118496 h 604882"/>
                    <a:gd name="connsiteX48" fmla="*/ 32778 w 438988"/>
                    <a:gd name="connsiteY48" fmla="*/ 121348 h 604882"/>
                    <a:gd name="connsiteX49" fmla="*/ 27409 w 438988"/>
                    <a:gd name="connsiteY49" fmla="*/ 122717 h 604882"/>
                    <a:gd name="connsiteX50" fmla="*/ 31179 w 438988"/>
                    <a:gd name="connsiteY50" fmla="*/ 126824 h 604882"/>
                    <a:gd name="connsiteX51" fmla="*/ 31636 w 438988"/>
                    <a:gd name="connsiteY51" fmla="*/ 130589 h 604882"/>
                    <a:gd name="connsiteX52" fmla="*/ 28666 w 438988"/>
                    <a:gd name="connsiteY52" fmla="*/ 135380 h 604882"/>
                    <a:gd name="connsiteX53" fmla="*/ 34377 w 438988"/>
                    <a:gd name="connsiteY53" fmla="*/ 135494 h 604882"/>
                    <a:gd name="connsiteX54" fmla="*/ 37232 w 438988"/>
                    <a:gd name="connsiteY54" fmla="*/ 137890 h 604882"/>
                    <a:gd name="connsiteX55" fmla="*/ 38603 w 438988"/>
                    <a:gd name="connsiteY55" fmla="*/ 143365 h 604882"/>
                    <a:gd name="connsiteX56" fmla="*/ 42715 w 438988"/>
                    <a:gd name="connsiteY56" fmla="*/ 139487 h 604882"/>
                    <a:gd name="connsiteX57" fmla="*/ 46370 w 438988"/>
                    <a:gd name="connsiteY57" fmla="*/ 139030 h 604882"/>
                    <a:gd name="connsiteX58" fmla="*/ 51281 w 438988"/>
                    <a:gd name="connsiteY58" fmla="*/ 141996 h 604882"/>
                    <a:gd name="connsiteX59" fmla="*/ 51396 w 438988"/>
                    <a:gd name="connsiteY59" fmla="*/ 136292 h 604882"/>
                    <a:gd name="connsiteX60" fmla="*/ 53794 w 438988"/>
                    <a:gd name="connsiteY60" fmla="*/ 133440 h 604882"/>
                    <a:gd name="connsiteX61" fmla="*/ 59162 w 438988"/>
                    <a:gd name="connsiteY61" fmla="*/ 132072 h 604882"/>
                    <a:gd name="connsiteX62" fmla="*/ 55393 w 438988"/>
                    <a:gd name="connsiteY62" fmla="*/ 127965 h 604882"/>
                    <a:gd name="connsiteX63" fmla="*/ 54936 w 438988"/>
                    <a:gd name="connsiteY63" fmla="*/ 124314 h 604882"/>
                    <a:gd name="connsiteX64" fmla="*/ 57906 w 438988"/>
                    <a:gd name="connsiteY64" fmla="*/ 119523 h 604882"/>
                    <a:gd name="connsiteX65" fmla="*/ 52195 w 438988"/>
                    <a:gd name="connsiteY65" fmla="*/ 119295 h 604882"/>
                    <a:gd name="connsiteX66" fmla="*/ 49340 w 438988"/>
                    <a:gd name="connsiteY66" fmla="*/ 117013 h 604882"/>
                    <a:gd name="connsiteX67" fmla="*/ 47969 w 438988"/>
                    <a:gd name="connsiteY67" fmla="*/ 111537 h 604882"/>
                    <a:gd name="connsiteX68" fmla="*/ 214238 w 438988"/>
                    <a:gd name="connsiteY68" fmla="*/ 99660 h 604882"/>
                    <a:gd name="connsiteX69" fmla="*/ 215836 w 438988"/>
                    <a:gd name="connsiteY69" fmla="*/ 100458 h 604882"/>
                    <a:gd name="connsiteX70" fmla="*/ 381652 w 438988"/>
                    <a:gd name="connsiteY70" fmla="*/ 450000 h 604882"/>
                    <a:gd name="connsiteX71" fmla="*/ 381538 w 438988"/>
                    <a:gd name="connsiteY71" fmla="*/ 450913 h 604882"/>
                    <a:gd name="connsiteX72" fmla="*/ 358927 w 438988"/>
                    <a:gd name="connsiteY72" fmla="*/ 462203 h 604882"/>
                    <a:gd name="connsiteX73" fmla="*/ 358013 w 438988"/>
                    <a:gd name="connsiteY73" fmla="*/ 461747 h 604882"/>
                    <a:gd name="connsiteX74" fmla="*/ 176895 w 438988"/>
                    <a:gd name="connsiteY74" fmla="*/ 119504 h 604882"/>
                    <a:gd name="connsiteX75" fmla="*/ 177237 w 438988"/>
                    <a:gd name="connsiteY75" fmla="*/ 118249 h 604882"/>
                    <a:gd name="connsiteX76" fmla="*/ 214238 w 438988"/>
                    <a:gd name="connsiteY76" fmla="*/ 99660 h 604882"/>
                    <a:gd name="connsiteX77" fmla="*/ 29466 w 438988"/>
                    <a:gd name="connsiteY77" fmla="*/ 78868 h 604882"/>
                    <a:gd name="connsiteX78" fmla="*/ 42144 w 438988"/>
                    <a:gd name="connsiteY78" fmla="*/ 86554 h 604882"/>
                    <a:gd name="connsiteX79" fmla="*/ 85890 w 438988"/>
                    <a:gd name="connsiteY79" fmla="*/ 146788 h 604882"/>
                    <a:gd name="connsiteX80" fmla="*/ 85776 w 438988"/>
                    <a:gd name="connsiteY80" fmla="*/ 148955 h 604882"/>
                    <a:gd name="connsiteX81" fmla="*/ 52538 w 438988"/>
                    <a:gd name="connsiteY81" fmla="*/ 174167 h 604882"/>
                    <a:gd name="connsiteX82" fmla="*/ 50368 w 438988"/>
                    <a:gd name="connsiteY82" fmla="*/ 173482 h 604882"/>
                    <a:gd name="connsiteX83" fmla="*/ 4223 w 438988"/>
                    <a:gd name="connsiteY83" fmla="*/ 115416 h 604882"/>
                    <a:gd name="connsiteX84" fmla="*/ 7535 w 438988"/>
                    <a:gd name="connsiteY84" fmla="*/ 88265 h 604882"/>
                    <a:gd name="connsiteX85" fmla="*/ 15074 w 438988"/>
                    <a:gd name="connsiteY85" fmla="*/ 82561 h 604882"/>
                    <a:gd name="connsiteX86" fmla="*/ 29466 w 438988"/>
                    <a:gd name="connsiteY86" fmla="*/ 78868 h 604882"/>
                    <a:gd name="connsiteX87" fmla="*/ 161834 w 438988"/>
                    <a:gd name="connsiteY87" fmla="*/ 35554 h 604882"/>
                    <a:gd name="connsiteX88" fmla="*/ 160578 w 438988"/>
                    <a:gd name="connsiteY88" fmla="*/ 41028 h 604882"/>
                    <a:gd name="connsiteX89" fmla="*/ 157723 w 438988"/>
                    <a:gd name="connsiteY89" fmla="*/ 43423 h 604882"/>
                    <a:gd name="connsiteX90" fmla="*/ 152127 w 438988"/>
                    <a:gd name="connsiteY90" fmla="*/ 43765 h 604882"/>
                    <a:gd name="connsiteX91" fmla="*/ 155210 w 438988"/>
                    <a:gd name="connsiteY91" fmla="*/ 48555 h 604882"/>
                    <a:gd name="connsiteX92" fmla="*/ 154868 w 438988"/>
                    <a:gd name="connsiteY92" fmla="*/ 52204 h 604882"/>
                    <a:gd name="connsiteX93" fmla="*/ 151213 w 438988"/>
                    <a:gd name="connsiteY93" fmla="*/ 56423 h 604882"/>
                    <a:gd name="connsiteX94" fmla="*/ 156695 w 438988"/>
                    <a:gd name="connsiteY94" fmla="*/ 57678 h 604882"/>
                    <a:gd name="connsiteX95" fmla="*/ 159093 w 438988"/>
                    <a:gd name="connsiteY95" fmla="*/ 60415 h 604882"/>
                    <a:gd name="connsiteX96" fmla="*/ 159436 w 438988"/>
                    <a:gd name="connsiteY96" fmla="*/ 66117 h 604882"/>
                    <a:gd name="connsiteX97" fmla="*/ 164118 w 438988"/>
                    <a:gd name="connsiteY97" fmla="*/ 63038 h 604882"/>
                    <a:gd name="connsiteX98" fmla="*/ 167887 w 438988"/>
                    <a:gd name="connsiteY98" fmla="*/ 63266 h 604882"/>
                    <a:gd name="connsiteX99" fmla="*/ 172113 w 438988"/>
                    <a:gd name="connsiteY99" fmla="*/ 67029 h 604882"/>
                    <a:gd name="connsiteX100" fmla="*/ 173255 w 438988"/>
                    <a:gd name="connsiteY100" fmla="*/ 61555 h 604882"/>
                    <a:gd name="connsiteX101" fmla="*/ 176110 w 438988"/>
                    <a:gd name="connsiteY101" fmla="*/ 59160 h 604882"/>
                    <a:gd name="connsiteX102" fmla="*/ 181706 w 438988"/>
                    <a:gd name="connsiteY102" fmla="*/ 58818 h 604882"/>
                    <a:gd name="connsiteX103" fmla="*/ 178737 w 438988"/>
                    <a:gd name="connsiteY103" fmla="*/ 54028 h 604882"/>
                    <a:gd name="connsiteX104" fmla="*/ 178965 w 438988"/>
                    <a:gd name="connsiteY104" fmla="*/ 50379 h 604882"/>
                    <a:gd name="connsiteX105" fmla="*/ 182734 w 438988"/>
                    <a:gd name="connsiteY105" fmla="*/ 46160 h 604882"/>
                    <a:gd name="connsiteX106" fmla="*/ 177252 w 438988"/>
                    <a:gd name="connsiteY106" fmla="*/ 44905 h 604882"/>
                    <a:gd name="connsiteX107" fmla="*/ 174854 w 438988"/>
                    <a:gd name="connsiteY107" fmla="*/ 42168 h 604882"/>
                    <a:gd name="connsiteX108" fmla="*/ 174511 w 438988"/>
                    <a:gd name="connsiteY108" fmla="*/ 36466 h 604882"/>
                    <a:gd name="connsiteX109" fmla="*/ 169714 w 438988"/>
                    <a:gd name="connsiteY109" fmla="*/ 39545 h 604882"/>
                    <a:gd name="connsiteX110" fmla="*/ 166060 w 438988"/>
                    <a:gd name="connsiteY110" fmla="*/ 39317 h 604882"/>
                    <a:gd name="connsiteX111" fmla="*/ 161834 w 438988"/>
                    <a:gd name="connsiteY111" fmla="*/ 35554 h 604882"/>
                    <a:gd name="connsiteX112" fmla="*/ 162334 w 438988"/>
                    <a:gd name="connsiteY112" fmla="*/ 1043 h 604882"/>
                    <a:gd name="connsiteX113" fmla="*/ 173369 w 438988"/>
                    <a:gd name="connsiteY113" fmla="*/ 10922 h 604882"/>
                    <a:gd name="connsiteX114" fmla="*/ 205232 w 438988"/>
                    <a:gd name="connsiteY114" fmla="*/ 78091 h 604882"/>
                    <a:gd name="connsiteX115" fmla="*/ 204776 w 438988"/>
                    <a:gd name="connsiteY115" fmla="*/ 80257 h 604882"/>
                    <a:gd name="connsiteX116" fmla="*/ 167430 w 438988"/>
                    <a:gd name="connsiteY116" fmla="*/ 98846 h 604882"/>
                    <a:gd name="connsiteX117" fmla="*/ 165489 w 438988"/>
                    <a:gd name="connsiteY117" fmla="*/ 97819 h 604882"/>
                    <a:gd name="connsiteX118" fmla="*/ 130770 w 438988"/>
                    <a:gd name="connsiteY118" fmla="*/ 32247 h 604882"/>
                    <a:gd name="connsiteX119" fmla="*/ 139107 w 438988"/>
                    <a:gd name="connsiteY119" fmla="*/ 6246 h 604882"/>
                    <a:gd name="connsiteX120" fmla="*/ 147444 w 438988"/>
                    <a:gd name="connsiteY120" fmla="*/ 2027 h 604882"/>
                    <a:gd name="connsiteX121" fmla="*/ 162334 w 438988"/>
                    <a:gd name="connsiteY121" fmla="*/ 1043 h 6048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</a:cxnLst>
                  <a:rect l="l" t="t" r="r" b="b"/>
                  <a:pathLst>
                    <a:path w="438988" h="604882">
                      <a:moveTo>
                        <a:pt x="350405" y="511675"/>
                      </a:moveTo>
                      <a:cubicBezTo>
                        <a:pt x="350748" y="511447"/>
                        <a:pt x="351090" y="511789"/>
                        <a:pt x="351090" y="511789"/>
                      </a:cubicBezTo>
                      <a:lnTo>
                        <a:pt x="401879" y="581847"/>
                      </a:lnTo>
                      <a:cubicBezTo>
                        <a:pt x="408270" y="590518"/>
                        <a:pt x="409868" y="600445"/>
                        <a:pt x="405417" y="603754"/>
                      </a:cubicBezTo>
                      <a:cubicBezTo>
                        <a:pt x="401080" y="607063"/>
                        <a:pt x="391949" y="602841"/>
                        <a:pt x="385330" y="594398"/>
                      </a:cubicBezTo>
                      <a:lnTo>
                        <a:pt x="331459" y="526736"/>
                      </a:lnTo>
                      <a:cubicBezTo>
                        <a:pt x="331459" y="526736"/>
                        <a:pt x="331117" y="526280"/>
                        <a:pt x="331459" y="526052"/>
                      </a:cubicBezTo>
                      <a:cubicBezTo>
                        <a:pt x="336253" y="522515"/>
                        <a:pt x="345726" y="515326"/>
                        <a:pt x="350405" y="511675"/>
                      </a:cubicBezTo>
                      <a:close/>
                      <a:moveTo>
                        <a:pt x="334159" y="489209"/>
                      </a:moveTo>
                      <a:cubicBezTo>
                        <a:pt x="334387" y="488866"/>
                        <a:pt x="334615" y="489209"/>
                        <a:pt x="334615" y="489209"/>
                      </a:cubicBezTo>
                      <a:lnTo>
                        <a:pt x="344323" y="502573"/>
                      </a:lnTo>
                      <a:cubicBezTo>
                        <a:pt x="344323" y="502573"/>
                        <a:pt x="344666" y="502915"/>
                        <a:pt x="344209" y="503258"/>
                      </a:cubicBezTo>
                      <a:cubicBezTo>
                        <a:pt x="339412" y="506913"/>
                        <a:pt x="329933" y="514223"/>
                        <a:pt x="325022" y="517878"/>
                      </a:cubicBezTo>
                      <a:cubicBezTo>
                        <a:pt x="324565" y="518221"/>
                        <a:pt x="324336" y="517764"/>
                        <a:pt x="324336" y="517764"/>
                      </a:cubicBezTo>
                      <a:lnTo>
                        <a:pt x="314172" y="504971"/>
                      </a:lnTo>
                      <a:cubicBezTo>
                        <a:pt x="314172" y="504971"/>
                        <a:pt x="313829" y="504629"/>
                        <a:pt x="314172" y="504286"/>
                      </a:cubicBezTo>
                      <a:cubicBezTo>
                        <a:pt x="319197" y="500402"/>
                        <a:pt x="329019" y="492978"/>
                        <a:pt x="334159" y="489209"/>
                      </a:cubicBezTo>
                      <a:close/>
                      <a:moveTo>
                        <a:pt x="397994" y="485452"/>
                      </a:moveTo>
                      <a:cubicBezTo>
                        <a:pt x="398337" y="485338"/>
                        <a:pt x="398566" y="485794"/>
                        <a:pt x="398566" y="485794"/>
                      </a:cubicBezTo>
                      <a:lnTo>
                        <a:pt x="435710" y="563914"/>
                      </a:lnTo>
                      <a:cubicBezTo>
                        <a:pt x="440282" y="573608"/>
                        <a:pt x="440053" y="583530"/>
                        <a:pt x="435139" y="586039"/>
                      </a:cubicBezTo>
                      <a:cubicBezTo>
                        <a:pt x="430224" y="588434"/>
                        <a:pt x="422110" y="582732"/>
                        <a:pt x="417081" y="573152"/>
                      </a:cubicBezTo>
                      <a:lnTo>
                        <a:pt x="376508" y="496742"/>
                      </a:lnTo>
                      <a:cubicBezTo>
                        <a:pt x="376508" y="496742"/>
                        <a:pt x="376279" y="496286"/>
                        <a:pt x="376622" y="496172"/>
                      </a:cubicBezTo>
                      <a:cubicBezTo>
                        <a:pt x="381994" y="493435"/>
                        <a:pt x="392623" y="488189"/>
                        <a:pt x="397994" y="485452"/>
                      </a:cubicBezTo>
                      <a:close/>
                      <a:moveTo>
                        <a:pt x="386117" y="460374"/>
                      </a:moveTo>
                      <a:cubicBezTo>
                        <a:pt x="386460" y="460146"/>
                        <a:pt x="386688" y="460488"/>
                        <a:pt x="386688" y="460488"/>
                      </a:cubicBezTo>
                      <a:lnTo>
                        <a:pt x="393649" y="475313"/>
                      </a:lnTo>
                      <a:cubicBezTo>
                        <a:pt x="393649" y="475313"/>
                        <a:pt x="393991" y="475769"/>
                        <a:pt x="393420" y="476111"/>
                      </a:cubicBezTo>
                      <a:cubicBezTo>
                        <a:pt x="388057" y="478734"/>
                        <a:pt x="377331" y="484094"/>
                        <a:pt x="371853" y="486831"/>
                      </a:cubicBezTo>
                      <a:cubicBezTo>
                        <a:pt x="371397" y="487173"/>
                        <a:pt x="371169" y="486603"/>
                        <a:pt x="371169" y="486603"/>
                      </a:cubicBezTo>
                      <a:lnTo>
                        <a:pt x="363523" y="472234"/>
                      </a:lnTo>
                      <a:cubicBezTo>
                        <a:pt x="363523" y="472234"/>
                        <a:pt x="363295" y="471778"/>
                        <a:pt x="363751" y="471550"/>
                      </a:cubicBezTo>
                      <a:cubicBezTo>
                        <a:pt x="369457" y="468699"/>
                        <a:pt x="380412" y="463225"/>
                        <a:pt x="386117" y="460374"/>
                      </a:cubicBezTo>
                      <a:close/>
                      <a:moveTo>
                        <a:pt x="98781" y="166247"/>
                      </a:moveTo>
                      <a:cubicBezTo>
                        <a:pt x="99581" y="165677"/>
                        <a:pt x="100380" y="166703"/>
                        <a:pt x="100380" y="166703"/>
                      </a:cubicBezTo>
                      <a:lnTo>
                        <a:pt x="327909" y="479880"/>
                      </a:lnTo>
                      <a:cubicBezTo>
                        <a:pt x="327909" y="479880"/>
                        <a:pt x="328366" y="480450"/>
                        <a:pt x="327909" y="480792"/>
                      </a:cubicBezTo>
                      <a:cubicBezTo>
                        <a:pt x="322883" y="484556"/>
                        <a:pt x="312832" y="492197"/>
                        <a:pt x="307806" y="496075"/>
                      </a:cubicBezTo>
                      <a:cubicBezTo>
                        <a:pt x="307235" y="496417"/>
                        <a:pt x="306778" y="495733"/>
                        <a:pt x="306778" y="495733"/>
                      </a:cubicBezTo>
                      <a:lnTo>
                        <a:pt x="65657" y="192592"/>
                      </a:lnTo>
                      <a:cubicBezTo>
                        <a:pt x="65657" y="192592"/>
                        <a:pt x="65086" y="191794"/>
                        <a:pt x="65771" y="191338"/>
                      </a:cubicBezTo>
                      <a:cubicBezTo>
                        <a:pt x="73995" y="185065"/>
                        <a:pt x="90329" y="172634"/>
                        <a:pt x="98781" y="166247"/>
                      </a:cubicBezTo>
                      <a:close/>
                      <a:moveTo>
                        <a:pt x="47969" y="111537"/>
                      </a:moveTo>
                      <a:cubicBezTo>
                        <a:pt x="46484" y="111081"/>
                        <a:pt x="44657" y="112792"/>
                        <a:pt x="43857" y="115416"/>
                      </a:cubicBezTo>
                      <a:cubicBezTo>
                        <a:pt x="43058" y="117926"/>
                        <a:pt x="41458" y="118154"/>
                        <a:pt x="40202" y="115758"/>
                      </a:cubicBezTo>
                      <a:cubicBezTo>
                        <a:pt x="38831" y="113477"/>
                        <a:pt x="36661" y="112108"/>
                        <a:pt x="35291" y="112906"/>
                      </a:cubicBezTo>
                      <a:cubicBezTo>
                        <a:pt x="33920" y="113591"/>
                        <a:pt x="33920" y="116101"/>
                        <a:pt x="35176" y="118496"/>
                      </a:cubicBezTo>
                      <a:cubicBezTo>
                        <a:pt x="36433" y="120778"/>
                        <a:pt x="35405" y="122147"/>
                        <a:pt x="32778" y="121348"/>
                      </a:cubicBezTo>
                      <a:cubicBezTo>
                        <a:pt x="30265" y="120664"/>
                        <a:pt x="27752" y="121234"/>
                        <a:pt x="27409" y="122717"/>
                      </a:cubicBezTo>
                      <a:cubicBezTo>
                        <a:pt x="26953" y="124200"/>
                        <a:pt x="28666" y="126139"/>
                        <a:pt x="31179" y="126824"/>
                      </a:cubicBezTo>
                      <a:cubicBezTo>
                        <a:pt x="33806" y="127622"/>
                        <a:pt x="33920" y="129220"/>
                        <a:pt x="31636" y="130589"/>
                      </a:cubicBezTo>
                      <a:cubicBezTo>
                        <a:pt x="29237" y="131843"/>
                        <a:pt x="27981" y="134011"/>
                        <a:pt x="28666" y="135380"/>
                      </a:cubicBezTo>
                      <a:cubicBezTo>
                        <a:pt x="29465" y="136749"/>
                        <a:pt x="31978" y="136863"/>
                        <a:pt x="34377" y="135494"/>
                      </a:cubicBezTo>
                      <a:cubicBezTo>
                        <a:pt x="36661" y="134239"/>
                        <a:pt x="38032" y="135266"/>
                        <a:pt x="37232" y="137890"/>
                      </a:cubicBezTo>
                      <a:cubicBezTo>
                        <a:pt x="36547" y="140399"/>
                        <a:pt x="37118" y="142909"/>
                        <a:pt x="38603" y="143365"/>
                      </a:cubicBezTo>
                      <a:cubicBezTo>
                        <a:pt x="40088" y="143822"/>
                        <a:pt x="41915" y="141996"/>
                        <a:pt x="42715" y="139487"/>
                      </a:cubicBezTo>
                      <a:cubicBezTo>
                        <a:pt x="43514" y="136863"/>
                        <a:pt x="45113" y="136749"/>
                        <a:pt x="46370" y="139030"/>
                      </a:cubicBezTo>
                      <a:cubicBezTo>
                        <a:pt x="47741" y="141426"/>
                        <a:pt x="49911" y="142681"/>
                        <a:pt x="51281" y="141996"/>
                      </a:cubicBezTo>
                      <a:cubicBezTo>
                        <a:pt x="52652" y="141198"/>
                        <a:pt x="52652" y="138688"/>
                        <a:pt x="51396" y="136292"/>
                      </a:cubicBezTo>
                      <a:cubicBezTo>
                        <a:pt x="50139" y="134011"/>
                        <a:pt x="51167" y="132756"/>
                        <a:pt x="53794" y="133440"/>
                      </a:cubicBezTo>
                      <a:cubicBezTo>
                        <a:pt x="56307" y="134239"/>
                        <a:pt x="58820" y="133555"/>
                        <a:pt x="59162" y="132072"/>
                      </a:cubicBezTo>
                      <a:cubicBezTo>
                        <a:pt x="59619" y="130589"/>
                        <a:pt x="57906" y="128763"/>
                        <a:pt x="55393" y="127965"/>
                      </a:cubicBezTo>
                      <a:cubicBezTo>
                        <a:pt x="52766" y="127280"/>
                        <a:pt x="52652" y="125569"/>
                        <a:pt x="54936" y="124314"/>
                      </a:cubicBezTo>
                      <a:cubicBezTo>
                        <a:pt x="57335" y="123059"/>
                        <a:pt x="58591" y="120892"/>
                        <a:pt x="57906" y="119523"/>
                      </a:cubicBezTo>
                      <a:cubicBezTo>
                        <a:pt x="57107" y="118154"/>
                        <a:pt x="54594" y="118040"/>
                        <a:pt x="52195" y="119295"/>
                      </a:cubicBezTo>
                      <a:cubicBezTo>
                        <a:pt x="49911" y="120550"/>
                        <a:pt x="48540" y="119523"/>
                        <a:pt x="49340" y="117013"/>
                      </a:cubicBezTo>
                      <a:cubicBezTo>
                        <a:pt x="50139" y="114389"/>
                        <a:pt x="49454" y="111994"/>
                        <a:pt x="47969" y="111537"/>
                      </a:cubicBezTo>
                      <a:close/>
                      <a:moveTo>
                        <a:pt x="214238" y="99660"/>
                      </a:moveTo>
                      <a:cubicBezTo>
                        <a:pt x="215265" y="99204"/>
                        <a:pt x="215836" y="100458"/>
                        <a:pt x="215836" y="100458"/>
                      </a:cubicBezTo>
                      <a:lnTo>
                        <a:pt x="381652" y="450000"/>
                      </a:lnTo>
                      <a:cubicBezTo>
                        <a:pt x="381652" y="450000"/>
                        <a:pt x="381995" y="450685"/>
                        <a:pt x="381538" y="450913"/>
                      </a:cubicBezTo>
                      <a:cubicBezTo>
                        <a:pt x="375828" y="453764"/>
                        <a:pt x="364523" y="459466"/>
                        <a:pt x="358927" y="462203"/>
                      </a:cubicBezTo>
                      <a:cubicBezTo>
                        <a:pt x="358356" y="462545"/>
                        <a:pt x="358013" y="461747"/>
                        <a:pt x="358013" y="461747"/>
                      </a:cubicBezTo>
                      <a:lnTo>
                        <a:pt x="176895" y="119504"/>
                      </a:lnTo>
                      <a:cubicBezTo>
                        <a:pt x="176895" y="119504"/>
                        <a:pt x="176438" y="118591"/>
                        <a:pt x="177237" y="118249"/>
                      </a:cubicBezTo>
                      <a:cubicBezTo>
                        <a:pt x="186487" y="113573"/>
                        <a:pt x="204759" y="104450"/>
                        <a:pt x="214238" y="99660"/>
                      </a:cubicBezTo>
                      <a:close/>
                      <a:moveTo>
                        <a:pt x="29466" y="78868"/>
                      </a:moveTo>
                      <a:cubicBezTo>
                        <a:pt x="34377" y="79595"/>
                        <a:pt x="39003" y="82219"/>
                        <a:pt x="42144" y="86554"/>
                      </a:cubicBezTo>
                      <a:lnTo>
                        <a:pt x="85890" y="146788"/>
                      </a:lnTo>
                      <a:cubicBezTo>
                        <a:pt x="85890" y="146788"/>
                        <a:pt x="87032" y="147928"/>
                        <a:pt x="85776" y="148955"/>
                      </a:cubicBezTo>
                      <a:cubicBezTo>
                        <a:pt x="77552" y="155115"/>
                        <a:pt x="60762" y="167892"/>
                        <a:pt x="52538" y="174167"/>
                      </a:cubicBezTo>
                      <a:cubicBezTo>
                        <a:pt x="51510" y="174851"/>
                        <a:pt x="50368" y="173482"/>
                        <a:pt x="50368" y="173482"/>
                      </a:cubicBezTo>
                      <a:lnTo>
                        <a:pt x="4223" y="115416"/>
                      </a:lnTo>
                      <a:cubicBezTo>
                        <a:pt x="-2516" y="106974"/>
                        <a:pt x="-1031" y="94768"/>
                        <a:pt x="7535" y="88265"/>
                      </a:cubicBezTo>
                      <a:lnTo>
                        <a:pt x="15074" y="82561"/>
                      </a:lnTo>
                      <a:cubicBezTo>
                        <a:pt x="19357" y="79310"/>
                        <a:pt x="24554" y="78141"/>
                        <a:pt x="29466" y="78868"/>
                      </a:cubicBezTo>
                      <a:close/>
                      <a:moveTo>
                        <a:pt x="161834" y="35554"/>
                      </a:moveTo>
                      <a:cubicBezTo>
                        <a:pt x="160350" y="36010"/>
                        <a:pt x="159778" y="38519"/>
                        <a:pt x="160578" y="41028"/>
                      </a:cubicBezTo>
                      <a:cubicBezTo>
                        <a:pt x="161377" y="43537"/>
                        <a:pt x="160121" y="44677"/>
                        <a:pt x="157723" y="43423"/>
                      </a:cubicBezTo>
                      <a:cubicBezTo>
                        <a:pt x="155439" y="42168"/>
                        <a:pt x="152812" y="42396"/>
                        <a:pt x="152127" y="43765"/>
                      </a:cubicBezTo>
                      <a:cubicBezTo>
                        <a:pt x="151441" y="45133"/>
                        <a:pt x="152812" y="47300"/>
                        <a:pt x="155210" y="48555"/>
                      </a:cubicBezTo>
                      <a:cubicBezTo>
                        <a:pt x="157609" y="49695"/>
                        <a:pt x="157494" y="51406"/>
                        <a:pt x="154868" y="52204"/>
                      </a:cubicBezTo>
                      <a:cubicBezTo>
                        <a:pt x="152355" y="53002"/>
                        <a:pt x="150642" y="54941"/>
                        <a:pt x="151213" y="56423"/>
                      </a:cubicBezTo>
                      <a:cubicBezTo>
                        <a:pt x="151670" y="57906"/>
                        <a:pt x="154068" y="58476"/>
                        <a:pt x="156695" y="57678"/>
                      </a:cubicBezTo>
                      <a:cubicBezTo>
                        <a:pt x="159207" y="56765"/>
                        <a:pt x="160235" y="58020"/>
                        <a:pt x="159093" y="60415"/>
                      </a:cubicBezTo>
                      <a:cubicBezTo>
                        <a:pt x="157837" y="62809"/>
                        <a:pt x="158065" y="65318"/>
                        <a:pt x="159436" y="66117"/>
                      </a:cubicBezTo>
                      <a:cubicBezTo>
                        <a:pt x="160806" y="66801"/>
                        <a:pt x="162976" y="65432"/>
                        <a:pt x="164118" y="63038"/>
                      </a:cubicBezTo>
                      <a:cubicBezTo>
                        <a:pt x="165375" y="60643"/>
                        <a:pt x="167088" y="60757"/>
                        <a:pt x="167887" y="63266"/>
                      </a:cubicBezTo>
                      <a:cubicBezTo>
                        <a:pt x="168687" y="65889"/>
                        <a:pt x="170628" y="67485"/>
                        <a:pt x="172113" y="67029"/>
                      </a:cubicBezTo>
                      <a:cubicBezTo>
                        <a:pt x="173597" y="66573"/>
                        <a:pt x="174168" y="64064"/>
                        <a:pt x="173255" y="61555"/>
                      </a:cubicBezTo>
                      <a:cubicBezTo>
                        <a:pt x="172455" y="59046"/>
                        <a:pt x="173712" y="57906"/>
                        <a:pt x="176110" y="59160"/>
                      </a:cubicBezTo>
                      <a:cubicBezTo>
                        <a:pt x="178508" y="60301"/>
                        <a:pt x="181021" y="60187"/>
                        <a:pt x="181706" y="58818"/>
                      </a:cubicBezTo>
                      <a:cubicBezTo>
                        <a:pt x="182391" y="57450"/>
                        <a:pt x="181135" y="55283"/>
                        <a:pt x="178737" y="54028"/>
                      </a:cubicBezTo>
                      <a:cubicBezTo>
                        <a:pt x="176338" y="52888"/>
                        <a:pt x="176453" y="51177"/>
                        <a:pt x="178965" y="50379"/>
                      </a:cubicBezTo>
                      <a:cubicBezTo>
                        <a:pt x="181478" y="49581"/>
                        <a:pt x="183191" y="47642"/>
                        <a:pt x="182734" y="46160"/>
                      </a:cubicBezTo>
                      <a:cubicBezTo>
                        <a:pt x="182277" y="44677"/>
                        <a:pt x="179764" y="44107"/>
                        <a:pt x="177252" y="44905"/>
                      </a:cubicBezTo>
                      <a:cubicBezTo>
                        <a:pt x="174739" y="45818"/>
                        <a:pt x="173597" y="44563"/>
                        <a:pt x="174854" y="42168"/>
                      </a:cubicBezTo>
                      <a:cubicBezTo>
                        <a:pt x="175996" y="39774"/>
                        <a:pt x="175881" y="37265"/>
                        <a:pt x="174511" y="36466"/>
                      </a:cubicBezTo>
                      <a:cubicBezTo>
                        <a:pt x="173026" y="35782"/>
                        <a:pt x="170971" y="37151"/>
                        <a:pt x="169714" y="39545"/>
                      </a:cubicBezTo>
                      <a:cubicBezTo>
                        <a:pt x="168572" y="41940"/>
                        <a:pt x="166859" y="41826"/>
                        <a:pt x="166060" y="39317"/>
                      </a:cubicBezTo>
                      <a:cubicBezTo>
                        <a:pt x="165146" y="36695"/>
                        <a:pt x="163319" y="35098"/>
                        <a:pt x="161834" y="35554"/>
                      </a:cubicBezTo>
                      <a:close/>
                      <a:moveTo>
                        <a:pt x="162334" y="1043"/>
                      </a:moveTo>
                      <a:cubicBezTo>
                        <a:pt x="167031" y="2654"/>
                        <a:pt x="171085" y="6075"/>
                        <a:pt x="173369" y="10922"/>
                      </a:cubicBezTo>
                      <a:lnTo>
                        <a:pt x="205232" y="78091"/>
                      </a:lnTo>
                      <a:cubicBezTo>
                        <a:pt x="205232" y="78091"/>
                        <a:pt x="206146" y="79459"/>
                        <a:pt x="204776" y="80257"/>
                      </a:cubicBezTo>
                      <a:cubicBezTo>
                        <a:pt x="195525" y="84819"/>
                        <a:pt x="176681" y="94284"/>
                        <a:pt x="167430" y="98846"/>
                      </a:cubicBezTo>
                      <a:cubicBezTo>
                        <a:pt x="166288" y="99416"/>
                        <a:pt x="165489" y="97819"/>
                        <a:pt x="165489" y="97819"/>
                      </a:cubicBezTo>
                      <a:lnTo>
                        <a:pt x="130770" y="32247"/>
                      </a:lnTo>
                      <a:cubicBezTo>
                        <a:pt x="125631" y="22782"/>
                        <a:pt x="129400" y="11036"/>
                        <a:pt x="139107" y="6246"/>
                      </a:cubicBezTo>
                      <a:lnTo>
                        <a:pt x="147444" y="2027"/>
                      </a:lnTo>
                      <a:cubicBezTo>
                        <a:pt x="152298" y="-368"/>
                        <a:pt x="157637" y="-568"/>
                        <a:pt x="162334" y="104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84000">
                      <a:schemeClr val="accent2">
                        <a:lumMod val="40000"/>
                        <a:lumOff val="60000"/>
                      </a:schemeClr>
                    </a:gs>
                    <a:gs pos="0">
                      <a:schemeClr val="accent2"/>
                    </a:gs>
                    <a:gs pos="55000">
                      <a:schemeClr val="accent2"/>
                    </a:gs>
                  </a:gsLst>
                  <a:lin ang="135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sp>
            <p:grpSp>
              <p:nvGrpSpPr>
                <p:cNvPr id="192" name="组合 191"/>
                <p:cNvGrpSpPr/>
                <p:nvPr userDrawn="1"/>
              </p:nvGrpSpPr>
              <p:grpSpPr>
                <a:xfrm rot="21407551">
                  <a:off x="7187558" y="1612209"/>
                  <a:ext cx="2424363" cy="1403350"/>
                  <a:chOff x="7187685" y="1616731"/>
                  <a:chExt cx="2424363" cy="1403350"/>
                </a:xfrm>
              </p:grpSpPr>
              <p:sp>
                <p:nvSpPr>
                  <p:cNvPr id="193" name="任意多边形: 形状 192">
                    <a:extLst>
                      <a:ext uri="{FF2B5EF4-FFF2-40B4-BE49-F238E27FC236}">
                        <a16:creationId xmlns:a16="http://schemas.microsoft.com/office/drawing/2014/main" id="{86DD90F3-C10D-4B1A-BE39-1CEF69A31E62}"/>
                      </a:ext>
                    </a:extLst>
                  </p:cNvPr>
                  <p:cNvSpPr/>
                  <p:nvPr/>
                </p:nvSpPr>
                <p:spPr bwMode="auto">
                  <a:xfrm rot="20643069">
                    <a:off x="7187685" y="2382969"/>
                    <a:ext cx="544278" cy="530773"/>
                  </a:xfrm>
                  <a:custGeom>
                    <a:avLst/>
                    <a:gdLst>
                      <a:gd name="connsiteX0" fmla="*/ 923383 w 2752767"/>
                      <a:gd name="connsiteY0" fmla="*/ 2595557 h 2684463"/>
                      <a:gd name="connsiteX1" fmla="*/ 915962 w 2752767"/>
                      <a:gd name="connsiteY1" fmla="*/ 2610375 h 2684463"/>
                      <a:gd name="connsiteX2" fmla="*/ 918436 w 2752767"/>
                      <a:gd name="connsiteY2" fmla="*/ 2612845 h 2684463"/>
                      <a:gd name="connsiteX3" fmla="*/ 928331 w 2752767"/>
                      <a:gd name="connsiteY3" fmla="*/ 2598027 h 2684463"/>
                      <a:gd name="connsiteX4" fmla="*/ 923383 w 2752767"/>
                      <a:gd name="connsiteY4" fmla="*/ 2595557 h 2684463"/>
                      <a:gd name="connsiteX5" fmla="*/ 945647 w 2752767"/>
                      <a:gd name="connsiteY5" fmla="*/ 2558513 h 2684463"/>
                      <a:gd name="connsiteX6" fmla="*/ 938226 w 2752767"/>
                      <a:gd name="connsiteY6" fmla="*/ 2573331 h 2684463"/>
                      <a:gd name="connsiteX7" fmla="*/ 943173 w 2752767"/>
                      <a:gd name="connsiteY7" fmla="*/ 2575800 h 2684463"/>
                      <a:gd name="connsiteX8" fmla="*/ 950594 w 2752767"/>
                      <a:gd name="connsiteY8" fmla="*/ 2560983 h 2684463"/>
                      <a:gd name="connsiteX9" fmla="*/ 945647 w 2752767"/>
                      <a:gd name="connsiteY9" fmla="*/ 2558513 h 2684463"/>
                      <a:gd name="connsiteX10" fmla="*/ 1019858 w 2752767"/>
                      <a:gd name="connsiteY10" fmla="*/ 2452320 h 2684463"/>
                      <a:gd name="connsiteX11" fmla="*/ 1012437 w 2752767"/>
                      <a:gd name="connsiteY11" fmla="*/ 2464668 h 2684463"/>
                      <a:gd name="connsiteX12" fmla="*/ 1014911 w 2752767"/>
                      <a:gd name="connsiteY12" fmla="*/ 2467138 h 2684463"/>
                      <a:gd name="connsiteX13" fmla="*/ 1024806 w 2752767"/>
                      <a:gd name="connsiteY13" fmla="*/ 2454790 h 2684463"/>
                      <a:gd name="connsiteX14" fmla="*/ 1019858 w 2752767"/>
                      <a:gd name="connsiteY14" fmla="*/ 2452320 h 2684463"/>
                      <a:gd name="connsiteX15" fmla="*/ 1059438 w 2752767"/>
                      <a:gd name="connsiteY15" fmla="*/ 2397989 h 2684463"/>
                      <a:gd name="connsiteX16" fmla="*/ 1052016 w 2752767"/>
                      <a:gd name="connsiteY16" fmla="*/ 2410337 h 2684463"/>
                      <a:gd name="connsiteX17" fmla="*/ 1056964 w 2752767"/>
                      <a:gd name="connsiteY17" fmla="*/ 2415276 h 2684463"/>
                      <a:gd name="connsiteX18" fmla="*/ 1066859 w 2752767"/>
                      <a:gd name="connsiteY18" fmla="*/ 2405398 h 2684463"/>
                      <a:gd name="connsiteX19" fmla="*/ 1059438 w 2752767"/>
                      <a:gd name="connsiteY19" fmla="*/ 2397989 h 2684463"/>
                      <a:gd name="connsiteX20" fmla="*/ 1148491 w 2752767"/>
                      <a:gd name="connsiteY20" fmla="*/ 2311552 h 2684463"/>
                      <a:gd name="connsiteX21" fmla="*/ 1106438 w 2752767"/>
                      <a:gd name="connsiteY21" fmla="*/ 2333779 h 2684463"/>
                      <a:gd name="connsiteX22" fmla="*/ 1096543 w 2752767"/>
                      <a:gd name="connsiteY22" fmla="*/ 2348597 h 2684463"/>
                      <a:gd name="connsiteX23" fmla="*/ 1069332 w 2752767"/>
                      <a:gd name="connsiteY23" fmla="*/ 2383171 h 2684463"/>
                      <a:gd name="connsiteX24" fmla="*/ 1074280 w 2752767"/>
                      <a:gd name="connsiteY24" fmla="*/ 2388110 h 2684463"/>
                      <a:gd name="connsiteX25" fmla="*/ 1148491 w 2752767"/>
                      <a:gd name="connsiteY25" fmla="*/ 2311552 h 2684463"/>
                      <a:gd name="connsiteX26" fmla="*/ 1170755 w 2752767"/>
                      <a:gd name="connsiteY26" fmla="*/ 2276978 h 2684463"/>
                      <a:gd name="connsiteX27" fmla="*/ 1153439 w 2752767"/>
                      <a:gd name="connsiteY27" fmla="*/ 2294265 h 2684463"/>
                      <a:gd name="connsiteX28" fmla="*/ 1158386 w 2752767"/>
                      <a:gd name="connsiteY28" fmla="*/ 2299204 h 2684463"/>
                      <a:gd name="connsiteX29" fmla="*/ 1178176 w 2752767"/>
                      <a:gd name="connsiteY29" fmla="*/ 2281917 h 2684463"/>
                      <a:gd name="connsiteX30" fmla="*/ 1170755 w 2752767"/>
                      <a:gd name="connsiteY30" fmla="*/ 2276978 h 2684463"/>
                      <a:gd name="connsiteX31" fmla="*/ 715591 w 2752767"/>
                      <a:gd name="connsiteY31" fmla="*/ 1943581 h 2684463"/>
                      <a:gd name="connsiteX32" fmla="*/ 718065 w 2752767"/>
                      <a:gd name="connsiteY32" fmla="*/ 1965807 h 2684463"/>
                      <a:gd name="connsiteX33" fmla="*/ 715591 w 2752767"/>
                      <a:gd name="connsiteY33" fmla="*/ 1943581 h 2684463"/>
                      <a:gd name="connsiteX34" fmla="*/ 688084 w 2752767"/>
                      <a:gd name="connsiteY34" fmla="*/ 510472 h 2684463"/>
                      <a:gd name="connsiteX35" fmla="*/ 747541 w 2752767"/>
                      <a:gd name="connsiteY35" fmla="*/ 522832 h 2684463"/>
                      <a:gd name="connsiteX36" fmla="*/ 806998 w 2752767"/>
                      <a:gd name="connsiteY36" fmla="*/ 540136 h 2684463"/>
                      <a:gd name="connsiteX37" fmla="*/ 839204 w 2752767"/>
                      <a:gd name="connsiteY37" fmla="*/ 540136 h 2684463"/>
                      <a:gd name="connsiteX38" fmla="*/ 982892 w 2752767"/>
                      <a:gd name="connsiteY38" fmla="*/ 517888 h 2684463"/>
                      <a:gd name="connsiteX39" fmla="*/ 1020053 w 2752767"/>
                      <a:gd name="connsiteY39" fmla="*/ 515416 h 2684463"/>
                      <a:gd name="connsiteX40" fmla="*/ 1089420 w 2752767"/>
                      <a:gd name="connsiteY40" fmla="*/ 515416 h 2684463"/>
                      <a:gd name="connsiteX41" fmla="*/ 1188515 w 2752767"/>
                      <a:gd name="connsiteY41" fmla="*/ 525304 h 2684463"/>
                      <a:gd name="connsiteX42" fmla="*/ 1349545 w 2752767"/>
                      <a:gd name="connsiteY42" fmla="*/ 589575 h 2684463"/>
                      <a:gd name="connsiteX43" fmla="*/ 1361932 w 2752767"/>
                      <a:gd name="connsiteY43" fmla="*/ 601935 h 2684463"/>
                      <a:gd name="connsiteX44" fmla="*/ 1391660 w 2752767"/>
                      <a:gd name="connsiteY44" fmla="*/ 678566 h 2684463"/>
                      <a:gd name="connsiteX45" fmla="*/ 1379273 w 2752767"/>
                      <a:gd name="connsiteY45" fmla="*/ 732949 h 2684463"/>
                      <a:gd name="connsiteX46" fmla="*/ 1327248 w 2752767"/>
                      <a:gd name="connsiteY46" fmla="*/ 782388 h 2684463"/>
                      <a:gd name="connsiteX47" fmla="*/ 1250449 w 2752767"/>
                      <a:gd name="connsiteY47" fmla="*/ 819468 h 2684463"/>
                      <a:gd name="connsiteX48" fmla="*/ 1205857 w 2752767"/>
                      <a:gd name="connsiteY48" fmla="*/ 829355 h 2684463"/>
                      <a:gd name="connsiteX49" fmla="*/ 1121626 w 2752767"/>
                      <a:gd name="connsiteY49" fmla="*/ 846659 h 2684463"/>
                      <a:gd name="connsiteX50" fmla="*/ 1007666 w 2752767"/>
                      <a:gd name="connsiteY50" fmla="*/ 824412 h 2684463"/>
                      <a:gd name="connsiteX51" fmla="*/ 740109 w 2752767"/>
                      <a:gd name="connsiteY51" fmla="*/ 604407 h 2684463"/>
                      <a:gd name="connsiteX52" fmla="*/ 690561 w 2752767"/>
                      <a:gd name="connsiteY52" fmla="*/ 542608 h 2684463"/>
                      <a:gd name="connsiteX53" fmla="*/ 688084 w 2752767"/>
                      <a:gd name="connsiteY53" fmla="*/ 510472 h 2684463"/>
                      <a:gd name="connsiteX54" fmla="*/ 1472547 w 2752767"/>
                      <a:gd name="connsiteY54" fmla="*/ 59271 h 2684463"/>
                      <a:gd name="connsiteX55" fmla="*/ 1470074 w 2752767"/>
                      <a:gd name="connsiteY55" fmla="*/ 71619 h 2684463"/>
                      <a:gd name="connsiteX56" fmla="*/ 1484916 w 2752767"/>
                      <a:gd name="connsiteY56" fmla="*/ 232143 h 2684463"/>
                      <a:gd name="connsiteX57" fmla="*/ 1499758 w 2752767"/>
                      <a:gd name="connsiteY57" fmla="*/ 446999 h 2684463"/>
                      <a:gd name="connsiteX58" fmla="*/ 1504706 w 2752767"/>
                      <a:gd name="connsiteY58" fmla="*/ 488982 h 2684463"/>
                      <a:gd name="connsiteX59" fmla="*/ 1524495 w 2752767"/>
                      <a:gd name="connsiteY59" fmla="*/ 605054 h 2684463"/>
                      <a:gd name="connsiteX60" fmla="*/ 1551706 w 2752767"/>
                      <a:gd name="connsiteY60" fmla="*/ 805092 h 2684463"/>
                      <a:gd name="connsiteX61" fmla="*/ 1566549 w 2752767"/>
                      <a:gd name="connsiteY61" fmla="*/ 832258 h 2684463"/>
                      <a:gd name="connsiteX62" fmla="*/ 1561601 w 2752767"/>
                      <a:gd name="connsiteY62" fmla="*/ 760639 h 2684463"/>
                      <a:gd name="connsiteX63" fmla="*/ 1549233 w 2752767"/>
                      <a:gd name="connsiteY63" fmla="*/ 686551 h 2684463"/>
                      <a:gd name="connsiteX64" fmla="*/ 1541811 w 2752767"/>
                      <a:gd name="connsiteY64" fmla="*/ 617402 h 2684463"/>
                      <a:gd name="connsiteX65" fmla="*/ 1524495 w 2752767"/>
                      <a:gd name="connsiteY65" fmla="*/ 498861 h 2684463"/>
                      <a:gd name="connsiteX66" fmla="*/ 1522022 w 2752767"/>
                      <a:gd name="connsiteY66" fmla="*/ 427242 h 2684463"/>
                      <a:gd name="connsiteX67" fmla="*/ 1509653 w 2752767"/>
                      <a:gd name="connsiteY67" fmla="*/ 338336 h 2684463"/>
                      <a:gd name="connsiteX68" fmla="*/ 1497285 w 2752767"/>
                      <a:gd name="connsiteY68" fmla="*/ 190160 h 2684463"/>
                      <a:gd name="connsiteX69" fmla="*/ 1482442 w 2752767"/>
                      <a:gd name="connsiteY69" fmla="*/ 81497 h 2684463"/>
                      <a:gd name="connsiteX70" fmla="*/ 1472547 w 2752767"/>
                      <a:gd name="connsiteY70" fmla="*/ 59271 h 2684463"/>
                      <a:gd name="connsiteX71" fmla="*/ 1440389 w 2752767"/>
                      <a:gd name="connsiteY71" fmla="*/ 0 h 2684463"/>
                      <a:gd name="connsiteX72" fmla="*/ 1487390 w 2752767"/>
                      <a:gd name="connsiteY72" fmla="*/ 22226 h 2684463"/>
                      <a:gd name="connsiteX73" fmla="*/ 1672918 w 2752767"/>
                      <a:gd name="connsiteY73" fmla="*/ 150646 h 2684463"/>
                      <a:gd name="connsiteX74" fmla="*/ 1781762 w 2752767"/>
                      <a:gd name="connsiteY74" fmla="*/ 244491 h 2684463"/>
                      <a:gd name="connsiteX75" fmla="*/ 1831236 w 2752767"/>
                      <a:gd name="connsiteY75" fmla="*/ 284005 h 2684463"/>
                      <a:gd name="connsiteX76" fmla="*/ 1930184 w 2752767"/>
                      <a:gd name="connsiteY76" fmla="*/ 358093 h 2684463"/>
                      <a:gd name="connsiteX77" fmla="*/ 1967290 w 2752767"/>
                      <a:gd name="connsiteY77" fmla="*/ 449468 h 2684463"/>
                      <a:gd name="connsiteX78" fmla="*/ 1969764 w 2752767"/>
                      <a:gd name="connsiteY78" fmla="*/ 560601 h 2684463"/>
                      <a:gd name="connsiteX79" fmla="*/ 2068712 w 2752767"/>
                      <a:gd name="connsiteY79" fmla="*/ 518618 h 2684463"/>
                      <a:gd name="connsiteX80" fmla="*/ 2165187 w 2752767"/>
                      <a:gd name="connsiteY80" fmla="*/ 479104 h 2684463"/>
                      <a:gd name="connsiteX81" fmla="*/ 2014290 w 2752767"/>
                      <a:gd name="connsiteY81" fmla="*/ 526026 h 2684463"/>
                      <a:gd name="connsiteX82" fmla="*/ 2009343 w 2752767"/>
                      <a:gd name="connsiteY82" fmla="*/ 501330 h 2684463"/>
                      <a:gd name="connsiteX83" fmla="*/ 2078607 w 2752767"/>
                      <a:gd name="connsiteY83" fmla="*/ 409955 h 2684463"/>
                      <a:gd name="connsiteX84" fmla="*/ 2076133 w 2752767"/>
                      <a:gd name="connsiteY84" fmla="*/ 387728 h 2684463"/>
                      <a:gd name="connsiteX85" fmla="*/ 2058817 w 2752767"/>
                      <a:gd name="connsiteY85" fmla="*/ 370441 h 2684463"/>
                      <a:gd name="connsiteX86" fmla="*/ 1940079 w 2752767"/>
                      <a:gd name="connsiteY86" fmla="*/ 256839 h 2684463"/>
                      <a:gd name="connsiteX87" fmla="*/ 1920289 w 2752767"/>
                      <a:gd name="connsiteY87" fmla="*/ 222265 h 2684463"/>
                      <a:gd name="connsiteX88" fmla="*/ 1930184 w 2752767"/>
                      <a:gd name="connsiteY88" fmla="*/ 195099 h 2684463"/>
                      <a:gd name="connsiteX89" fmla="*/ 1954921 w 2752767"/>
                      <a:gd name="connsiteY89" fmla="*/ 180281 h 2684463"/>
                      <a:gd name="connsiteX90" fmla="*/ 1979659 w 2752767"/>
                      <a:gd name="connsiteY90" fmla="*/ 162994 h 2684463"/>
                      <a:gd name="connsiteX91" fmla="*/ 2095923 w 2752767"/>
                      <a:gd name="connsiteY91" fmla="*/ 111132 h 2684463"/>
                      <a:gd name="connsiteX92" fmla="*/ 2249293 w 2752767"/>
                      <a:gd name="connsiteY92" fmla="*/ 69149 h 2684463"/>
                      <a:gd name="connsiteX93" fmla="*/ 2306188 w 2752767"/>
                      <a:gd name="connsiteY93" fmla="*/ 86436 h 2684463"/>
                      <a:gd name="connsiteX94" fmla="*/ 2489243 w 2752767"/>
                      <a:gd name="connsiteY94" fmla="*/ 239552 h 2684463"/>
                      <a:gd name="connsiteX95" fmla="*/ 2523875 w 2752767"/>
                      <a:gd name="connsiteY95" fmla="*/ 303762 h 2684463"/>
                      <a:gd name="connsiteX96" fmla="*/ 2538717 w 2752767"/>
                      <a:gd name="connsiteY96" fmla="*/ 321049 h 2684463"/>
                      <a:gd name="connsiteX97" fmla="*/ 2585718 w 2752767"/>
                      <a:gd name="connsiteY97" fmla="*/ 375380 h 2684463"/>
                      <a:gd name="connsiteX98" fmla="*/ 2548612 w 2752767"/>
                      <a:gd name="connsiteY98" fmla="*/ 390198 h 2684463"/>
                      <a:gd name="connsiteX99" fmla="*/ 2457085 w 2752767"/>
                      <a:gd name="connsiteY99" fmla="*/ 407485 h 2684463"/>
                      <a:gd name="connsiteX100" fmla="*/ 2301241 w 2752767"/>
                      <a:gd name="connsiteY100" fmla="*/ 446999 h 2684463"/>
                      <a:gd name="connsiteX101" fmla="*/ 2199819 w 2752767"/>
                      <a:gd name="connsiteY101" fmla="*/ 481573 h 2684463"/>
                      <a:gd name="connsiteX102" fmla="*/ 2034080 w 2752767"/>
                      <a:gd name="connsiteY102" fmla="*/ 550722 h 2684463"/>
                      <a:gd name="connsiteX103" fmla="*/ 1972237 w 2752767"/>
                      <a:gd name="connsiteY103" fmla="*/ 575419 h 2684463"/>
                      <a:gd name="connsiteX104" fmla="*/ 1977185 w 2752767"/>
                      <a:gd name="connsiteY104" fmla="*/ 691490 h 2684463"/>
                      <a:gd name="connsiteX105" fmla="*/ 2039028 w 2752767"/>
                      <a:gd name="connsiteY105" fmla="*/ 669264 h 2684463"/>
                      <a:gd name="connsiteX106" fmla="*/ 2093449 w 2752767"/>
                      <a:gd name="connsiteY106" fmla="*/ 654446 h 2684463"/>
                      <a:gd name="connsiteX107" fmla="*/ 2103344 w 2752767"/>
                      <a:gd name="connsiteY107" fmla="*/ 654446 h 2684463"/>
                      <a:gd name="connsiteX108" fmla="*/ 2214661 w 2752767"/>
                      <a:gd name="connsiteY108" fmla="*/ 624811 h 2684463"/>
                      <a:gd name="connsiteX109" fmla="*/ 2298767 w 2752767"/>
                      <a:gd name="connsiteY109" fmla="*/ 607523 h 2684463"/>
                      <a:gd name="connsiteX110" fmla="*/ 2313610 w 2752767"/>
                      <a:gd name="connsiteY110" fmla="*/ 605054 h 2684463"/>
                      <a:gd name="connsiteX111" fmla="*/ 2476875 w 2752767"/>
                      <a:gd name="connsiteY111" fmla="*/ 577888 h 2684463"/>
                      <a:gd name="connsiteX112" fmla="*/ 2541191 w 2752767"/>
                      <a:gd name="connsiteY112" fmla="*/ 592706 h 2684463"/>
                      <a:gd name="connsiteX113" fmla="*/ 2701982 w 2752767"/>
                      <a:gd name="connsiteY113" fmla="*/ 733473 h 2684463"/>
                      <a:gd name="connsiteX114" fmla="*/ 2687140 w 2752767"/>
                      <a:gd name="connsiteY114" fmla="*/ 792744 h 2684463"/>
                      <a:gd name="connsiteX115" fmla="*/ 2669824 w 2752767"/>
                      <a:gd name="connsiteY115" fmla="*/ 805092 h 2684463"/>
                      <a:gd name="connsiteX116" fmla="*/ 2659929 w 2752767"/>
                      <a:gd name="connsiteY116" fmla="*/ 812501 h 2684463"/>
                      <a:gd name="connsiteX117" fmla="*/ 2518928 w 2752767"/>
                      <a:gd name="connsiteY117" fmla="*/ 859423 h 2684463"/>
                      <a:gd name="connsiteX118" fmla="*/ 2489243 w 2752767"/>
                      <a:gd name="connsiteY118" fmla="*/ 864363 h 2684463"/>
                      <a:gd name="connsiteX119" fmla="*/ 2372979 w 2752767"/>
                      <a:gd name="connsiteY119" fmla="*/ 881650 h 2684463"/>
                      <a:gd name="connsiteX120" fmla="*/ 2313610 w 2752767"/>
                      <a:gd name="connsiteY120" fmla="*/ 879180 h 2684463"/>
                      <a:gd name="connsiteX121" fmla="*/ 2244346 w 2752767"/>
                      <a:gd name="connsiteY121" fmla="*/ 884119 h 2684463"/>
                      <a:gd name="connsiteX122" fmla="*/ 2162713 w 2752767"/>
                      <a:gd name="connsiteY122" fmla="*/ 896468 h 2684463"/>
                      <a:gd name="connsiteX123" fmla="*/ 2155292 w 2752767"/>
                      <a:gd name="connsiteY123" fmla="*/ 893998 h 2684463"/>
                      <a:gd name="connsiteX124" fmla="*/ 2177555 w 2752767"/>
                      <a:gd name="connsiteY124" fmla="*/ 879180 h 2684463"/>
                      <a:gd name="connsiteX125" fmla="*/ 2204766 w 2752767"/>
                      <a:gd name="connsiteY125" fmla="*/ 854484 h 2684463"/>
                      <a:gd name="connsiteX126" fmla="*/ 2182503 w 2752767"/>
                      <a:gd name="connsiteY126" fmla="*/ 854484 h 2684463"/>
                      <a:gd name="connsiteX127" fmla="*/ 2118186 w 2752767"/>
                      <a:gd name="connsiteY127" fmla="*/ 869302 h 2684463"/>
                      <a:gd name="connsiteX128" fmla="*/ 2063765 w 2752767"/>
                      <a:gd name="connsiteY128" fmla="*/ 886589 h 2684463"/>
                      <a:gd name="connsiteX129" fmla="*/ 2041501 w 2752767"/>
                      <a:gd name="connsiteY129" fmla="*/ 893998 h 2684463"/>
                      <a:gd name="connsiteX130" fmla="*/ 2031606 w 2752767"/>
                      <a:gd name="connsiteY130" fmla="*/ 898937 h 2684463"/>
                      <a:gd name="connsiteX131" fmla="*/ 2021712 w 2752767"/>
                      <a:gd name="connsiteY131" fmla="*/ 906346 h 2684463"/>
                      <a:gd name="connsiteX132" fmla="*/ 1967290 w 2752767"/>
                      <a:gd name="connsiteY132" fmla="*/ 928572 h 2684463"/>
                      <a:gd name="connsiteX133" fmla="*/ 1952448 w 2752767"/>
                      <a:gd name="connsiteY133" fmla="*/ 960677 h 2684463"/>
                      <a:gd name="connsiteX134" fmla="*/ 1964816 w 2752767"/>
                      <a:gd name="connsiteY134" fmla="*/ 1024887 h 2684463"/>
                      <a:gd name="connsiteX135" fmla="*/ 1979659 w 2752767"/>
                      <a:gd name="connsiteY135" fmla="*/ 1126141 h 2684463"/>
                      <a:gd name="connsiteX136" fmla="*/ 1989553 w 2752767"/>
                      <a:gd name="connsiteY136" fmla="*/ 1168124 h 2684463"/>
                      <a:gd name="connsiteX137" fmla="*/ 2009343 w 2752767"/>
                      <a:gd name="connsiteY137" fmla="*/ 1281726 h 2684463"/>
                      <a:gd name="connsiteX138" fmla="*/ 2036554 w 2752767"/>
                      <a:gd name="connsiteY138" fmla="*/ 1392859 h 2684463"/>
                      <a:gd name="connsiteX139" fmla="*/ 2061291 w 2752767"/>
                      <a:gd name="connsiteY139" fmla="*/ 1513869 h 2684463"/>
                      <a:gd name="connsiteX140" fmla="*/ 2098397 w 2752767"/>
                      <a:gd name="connsiteY140" fmla="*/ 1689211 h 2684463"/>
                      <a:gd name="connsiteX141" fmla="*/ 2120660 w 2752767"/>
                      <a:gd name="connsiteY141" fmla="*/ 1780587 h 2684463"/>
                      <a:gd name="connsiteX142" fmla="*/ 2135502 w 2752767"/>
                      <a:gd name="connsiteY142" fmla="*/ 1822570 h 2684463"/>
                      <a:gd name="connsiteX143" fmla="*/ 2160239 w 2752767"/>
                      <a:gd name="connsiteY143" fmla="*/ 1913946 h 2684463"/>
                      <a:gd name="connsiteX144" fmla="*/ 2199819 w 2752767"/>
                      <a:gd name="connsiteY144" fmla="*/ 2032487 h 2684463"/>
                      <a:gd name="connsiteX145" fmla="*/ 2207240 w 2752767"/>
                      <a:gd name="connsiteY145" fmla="*/ 2054713 h 2684463"/>
                      <a:gd name="connsiteX146" fmla="*/ 2219609 w 2752767"/>
                      <a:gd name="connsiteY146" fmla="*/ 2064592 h 2684463"/>
                      <a:gd name="connsiteX147" fmla="*/ 2229503 w 2752767"/>
                      <a:gd name="connsiteY147" fmla="*/ 2054713 h 2684463"/>
                      <a:gd name="connsiteX148" fmla="*/ 2234451 w 2752767"/>
                      <a:gd name="connsiteY148" fmla="*/ 2042365 h 2684463"/>
                      <a:gd name="connsiteX149" fmla="*/ 2244346 w 2752767"/>
                      <a:gd name="connsiteY149" fmla="*/ 1904067 h 2684463"/>
                      <a:gd name="connsiteX150" fmla="*/ 2251767 w 2752767"/>
                      <a:gd name="connsiteY150" fmla="*/ 1805283 h 2684463"/>
                      <a:gd name="connsiteX151" fmla="*/ 2264135 w 2752767"/>
                      <a:gd name="connsiteY151" fmla="*/ 1629941 h 2684463"/>
                      <a:gd name="connsiteX152" fmla="*/ 2269083 w 2752767"/>
                      <a:gd name="connsiteY152" fmla="*/ 1610184 h 2684463"/>
                      <a:gd name="connsiteX153" fmla="*/ 2291346 w 2752767"/>
                      <a:gd name="connsiteY153" fmla="*/ 1696620 h 2684463"/>
                      <a:gd name="connsiteX154" fmla="*/ 2298767 w 2752767"/>
                      <a:gd name="connsiteY154" fmla="*/ 1694151 h 2684463"/>
                      <a:gd name="connsiteX155" fmla="*/ 2303715 w 2752767"/>
                      <a:gd name="connsiteY155" fmla="*/ 1617593 h 2684463"/>
                      <a:gd name="connsiteX156" fmla="*/ 2301241 w 2752767"/>
                      <a:gd name="connsiteY156" fmla="*/ 1605245 h 2684463"/>
                      <a:gd name="connsiteX157" fmla="*/ 2286399 w 2752767"/>
                      <a:gd name="connsiteY157" fmla="*/ 1469416 h 2684463"/>
                      <a:gd name="connsiteX158" fmla="*/ 2286399 w 2752767"/>
                      <a:gd name="connsiteY158" fmla="*/ 1415085 h 2684463"/>
                      <a:gd name="connsiteX159" fmla="*/ 2296294 w 2752767"/>
                      <a:gd name="connsiteY159" fmla="*/ 1397798 h 2684463"/>
                      <a:gd name="connsiteX160" fmla="*/ 2306188 w 2752767"/>
                      <a:gd name="connsiteY160" fmla="*/ 1368163 h 2684463"/>
                      <a:gd name="connsiteX161" fmla="*/ 2308662 w 2752767"/>
                      <a:gd name="connsiteY161" fmla="*/ 1326179 h 2684463"/>
                      <a:gd name="connsiteX162" fmla="*/ 2434822 w 2752767"/>
                      <a:gd name="connsiteY162" fmla="*/ 1496582 h 2684463"/>
                      <a:gd name="connsiteX163" fmla="*/ 2405137 w 2752767"/>
                      <a:gd name="connsiteY163" fmla="*/ 1420024 h 2684463"/>
                      <a:gd name="connsiteX164" fmla="*/ 2375452 w 2752767"/>
                      <a:gd name="connsiteY164" fmla="*/ 1343466 h 2684463"/>
                      <a:gd name="connsiteX165" fmla="*/ 2387821 w 2752767"/>
                      <a:gd name="connsiteY165" fmla="*/ 1355815 h 2684463"/>
                      <a:gd name="connsiteX166" fmla="*/ 2531296 w 2752767"/>
                      <a:gd name="connsiteY166" fmla="*/ 1612654 h 2684463"/>
                      <a:gd name="connsiteX167" fmla="*/ 2617876 w 2752767"/>
                      <a:gd name="connsiteY167" fmla="*/ 1807753 h 2684463"/>
                      <a:gd name="connsiteX168" fmla="*/ 2711877 w 2752767"/>
                      <a:gd name="connsiteY168" fmla="*/ 2076940 h 2684463"/>
                      <a:gd name="connsiteX169" fmla="*/ 2746509 w 2752767"/>
                      <a:gd name="connsiteY169" fmla="*/ 2232525 h 2684463"/>
                      <a:gd name="connsiteX170" fmla="*/ 2748983 w 2752767"/>
                      <a:gd name="connsiteY170" fmla="*/ 2336249 h 2684463"/>
                      <a:gd name="connsiteX171" fmla="*/ 2748983 w 2752767"/>
                      <a:gd name="connsiteY171" fmla="*/ 2390580 h 2684463"/>
                      <a:gd name="connsiteX172" fmla="*/ 2731667 w 2752767"/>
                      <a:gd name="connsiteY172" fmla="*/ 2462198 h 2684463"/>
                      <a:gd name="connsiteX173" fmla="*/ 2706930 w 2752767"/>
                      <a:gd name="connsiteY173" fmla="*/ 2516530 h 2684463"/>
                      <a:gd name="connsiteX174" fmla="*/ 2654982 w 2752767"/>
                      <a:gd name="connsiteY174" fmla="*/ 2563452 h 2684463"/>
                      <a:gd name="connsiteX175" fmla="*/ 2598087 w 2752767"/>
                      <a:gd name="connsiteY175" fmla="*/ 2593088 h 2684463"/>
                      <a:gd name="connsiteX176" fmla="*/ 2533770 w 2752767"/>
                      <a:gd name="connsiteY176" fmla="*/ 2588148 h 2684463"/>
                      <a:gd name="connsiteX177" fmla="*/ 2412558 w 2752767"/>
                      <a:gd name="connsiteY177" fmla="*/ 2526408 h 2684463"/>
                      <a:gd name="connsiteX178" fmla="*/ 2041501 w 2752767"/>
                      <a:gd name="connsiteY178" fmla="*/ 2195481 h 2684463"/>
                      <a:gd name="connsiteX179" fmla="*/ 1917816 w 2752767"/>
                      <a:gd name="connsiteY179" fmla="*/ 2015200 h 2684463"/>
                      <a:gd name="connsiteX180" fmla="*/ 1863394 w 2752767"/>
                      <a:gd name="connsiteY180" fmla="*/ 1913946 h 2684463"/>
                      <a:gd name="connsiteX181" fmla="*/ 1846078 w 2752767"/>
                      <a:gd name="connsiteY181" fmla="*/ 1874432 h 2684463"/>
                      <a:gd name="connsiteX182" fmla="*/ 1808972 w 2752767"/>
                      <a:gd name="connsiteY182" fmla="*/ 1785526 h 2684463"/>
                      <a:gd name="connsiteX183" fmla="*/ 1771867 w 2752767"/>
                      <a:gd name="connsiteY183" fmla="*/ 1664515 h 2684463"/>
                      <a:gd name="connsiteX184" fmla="*/ 1739708 w 2752767"/>
                      <a:gd name="connsiteY184" fmla="*/ 1563262 h 2684463"/>
                      <a:gd name="connsiteX185" fmla="*/ 1710024 w 2752767"/>
                      <a:gd name="connsiteY185" fmla="*/ 1444720 h 2684463"/>
                      <a:gd name="connsiteX186" fmla="*/ 1655602 w 2752767"/>
                      <a:gd name="connsiteY186" fmla="*/ 1279257 h 2684463"/>
                      <a:gd name="connsiteX187" fmla="*/ 1616023 w 2752767"/>
                      <a:gd name="connsiteY187" fmla="*/ 1128611 h 2684463"/>
                      <a:gd name="connsiteX188" fmla="*/ 1603654 w 2752767"/>
                      <a:gd name="connsiteY188" fmla="*/ 1079219 h 2684463"/>
                      <a:gd name="connsiteX189" fmla="*/ 1581391 w 2752767"/>
                      <a:gd name="connsiteY189" fmla="*/ 1084158 h 2684463"/>
                      <a:gd name="connsiteX190" fmla="*/ 1484916 w 2752767"/>
                      <a:gd name="connsiteY190" fmla="*/ 1126141 h 2684463"/>
                      <a:gd name="connsiteX191" fmla="*/ 1435442 w 2752767"/>
                      <a:gd name="connsiteY191" fmla="*/ 1158246 h 2684463"/>
                      <a:gd name="connsiteX192" fmla="*/ 1420600 w 2752767"/>
                      <a:gd name="connsiteY192" fmla="*/ 1163185 h 2684463"/>
                      <a:gd name="connsiteX193" fmla="*/ 1363704 w 2752767"/>
                      <a:gd name="connsiteY193" fmla="*/ 1182942 h 2684463"/>
                      <a:gd name="connsiteX194" fmla="*/ 1346388 w 2752767"/>
                      <a:gd name="connsiteY194" fmla="*/ 1207638 h 2684463"/>
                      <a:gd name="connsiteX195" fmla="*/ 1346388 w 2752767"/>
                      <a:gd name="connsiteY195" fmla="*/ 1217517 h 2684463"/>
                      <a:gd name="connsiteX196" fmla="*/ 1311756 w 2752767"/>
                      <a:gd name="connsiteY196" fmla="*/ 1279257 h 2684463"/>
                      <a:gd name="connsiteX197" fmla="*/ 1291966 w 2752767"/>
                      <a:gd name="connsiteY197" fmla="*/ 1343466 h 2684463"/>
                      <a:gd name="connsiteX198" fmla="*/ 1287019 w 2752767"/>
                      <a:gd name="connsiteY198" fmla="*/ 1365693 h 2684463"/>
                      <a:gd name="connsiteX199" fmla="*/ 1274650 w 2752767"/>
                      <a:gd name="connsiteY199" fmla="*/ 1432372 h 2684463"/>
                      <a:gd name="connsiteX200" fmla="*/ 1306809 w 2752767"/>
                      <a:gd name="connsiteY200" fmla="*/ 1447190 h 2684463"/>
                      <a:gd name="connsiteX201" fmla="*/ 1336493 w 2752767"/>
                      <a:gd name="connsiteY201" fmla="*/ 1432372 h 2684463"/>
                      <a:gd name="connsiteX202" fmla="*/ 1393389 w 2752767"/>
                      <a:gd name="connsiteY202" fmla="*/ 1439781 h 2684463"/>
                      <a:gd name="connsiteX203" fmla="*/ 1541811 w 2752767"/>
                      <a:gd name="connsiteY203" fmla="*/ 1568201 h 2684463"/>
                      <a:gd name="connsiteX204" fmla="*/ 1544285 w 2752767"/>
                      <a:gd name="connsiteY204" fmla="*/ 1622532 h 2684463"/>
                      <a:gd name="connsiteX205" fmla="*/ 1541811 w 2752767"/>
                      <a:gd name="connsiteY205" fmla="*/ 1629941 h 2684463"/>
                      <a:gd name="connsiteX206" fmla="*/ 1479969 w 2752767"/>
                      <a:gd name="connsiteY206" fmla="*/ 1699090 h 2684463"/>
                      <a:gd name="connsiteX207" fmla="*/ 1343914 w 2752767"/>
                      <a:gd name="connsiteY207" fmla="*/ 1770709 h 2684463"/>
                      <a:gd name="connsiteX208" fmla="*/ 1301861 w 2752767"/>
                      <a:gd name="connsiteY208" fmla="*/ 1812692 h 2684463"/>
                      <a:gd name="connsiteX209" fmla="*/ 1294440 w 2752767"/>
                      <a:gd name="connsiteY209" fmla="*/ 1829979 h 2684463"/>
                      <a:gd name="connsiteX210" fmla="*/ 1284545 w 2752767"/>
                      <a:gd name="connsiteY210" fmla="*/ 1916415 h 2684463"/>
                      <a:gd name="connsiteX211" fmla="*/ 1319177 w 2752767"/>
                      <a:gd name="connsiteY211" fmla="*/ 1901598 h 2684463"/>
                      <a:gd name="connsiteX212" fmla="*/ 1531917 w 2752767"/>
                      <a:gd name="connsiteY212" fmla="*/ 1795405 h 2684463"/>
                      <a:gd name="connsiteX213" fmla="*/ 1569022 w 2752767"/>
                      <a:gd name="connsiteY213" fmla="*/ 1787996 h 2684463"/>
                      <a:gd name="connsiteX214" fmla="*/ 1487390 w 2752767"/>
                      <a:gd name="connsiteY214" fmla="*/ 1837388 h 2684463"/>
                      <a:gd name="connsiteX215" fmla="*/ 1487390 w 2752767"/>
                      <a:gd name="connsiteY215" fmla="*/ 1839858 h 2684463"/>
                      <a:gd name="connsiteX216" fmla="*/ 1569022 w 2752767"/>
                      <a:gd name="connsiteY216" fmla="*/ 1817631 h 2684463"/>
                      <a:gd name="connsiteX217" fmla="*/ 1571496 w 2752767"/>
                      <a:gd name="connsiteY217" fmla="*/ 1825040 h 2684463"/>
                      <a:gd name="connsiteX218" fmla="*/ 1484916 w 2752767"/>
                      <a:gd name="connsiteY218" fmla="*/ 1886780 h 2684463"/>
                      <a:gd name="connsiteX219" fmla="*/ 1484916 w 2752767"/>
                      <a:gd name="connsiteY219" fmla="*/ 1918885 h 2684463"/>
                      <a:gd name="connsiteX220" fmla="*/ 1494811 w 2752767"/>
                      <a:gd name="connsiteY220" fmla="*/ 1923824 h 2684463"/>
                      <a:gd name="connsiteX221" fmla="*/ 1437915 w 2752767"/>
                      <a:gd name="connsiteY221" fmla="*/ 1978156 h 2684463"/>
                      <a:gd name="connsiteX222" fmla="*/ 1519548 w 2752767"/>
                      <a:gd name="connsiteY222" fmla="*/ 1941111 h 2684463"/>
                      <a:gd name="connsiteX223" fmla="*/ 1524495 w 2752767"/>
                      <a:gd name="connsiteY223" fmla="*/ 1943581 h 2684463"/>
                      <a:gd name="connsiteX224" fmla="*/ 1514601 w 2752767"/>
                      <a:gd name="connsiteY224" fmla="*/ 1958399 h 2684463"/>
                      <a:gd name="connsiteX225" fmla="*/ 1410705 w 2752767"/>
                      <a:gd name="connsiteY225" fmla="*/ 2059653 h 2684463"/>
                      <a:gd name="connsiteX226" fmla="*/ 1329072 w 2752767"/>
                      <a:gd name="connsiteY226" fmla="*/ 2138680 h 2684463"/>
                      <a:gd name="connsiteX227" fmla="*/ 1249913 w 2752767"/>
                      <a:gd name="connsiteY227" fmla="*/ 2215238 h 2684463"/>
                      <a:gd name="connsiteX228" fmla="*/ 1202913 w 2752767"/>
                      <a:gd name="connsiteY228" fmla="*/ 2247343 h 2684463"/>
                      <a:gd name="connsiteX229" fmla="*/ 1183123 w 2752767"/>
                      <a:gd name="connsiteY229" fmla="*/ 2269569 h 2684463"/>
                      <a:gd name="connsiteX230" fmla="*/ 1205387 w 2752767"/>
                      <a:gd name="connsiteY230" fmla="*/ 2269569 h 2684463"/>
                      <a:gd name="connsiteX231" fmla="*/ 1039648 w 2752767"/>
                      <a:gd name="connsiteY231" fmla="*/ 2469607 h 2684463"/>
                      <a:gd name="connsiteX232" fmla="*/ 898646 w 2752767"/>
                      <a:gd name="connsiteY232" fmla="*/ 2684463 h 2684463"/>
                      <a:gd name="connsiteX233" fmla="*/ 802171 w 2752767"/>
                      <a:gd name="connsiteY233" fmla="*/ 2632601 h 2684463"/>
                      <a:gd name="connsiteX234" fmla="*/ 784855 w 2752767"/>
                      <a:gd name="connsiteY234" fmla="*/ 2598027 h 2684463"/>
                      <a:gd name="connsiteX235" fmla="*/ 770013 w 2752767"/>
                      <a:gd name="connsiteY235" fmla="*/ 2474547 h 2684463"/>
                      <a:gd name="connsiteX236" fmla="*/ 760118 w 2752767"/>
                      <a:gd name="connsiteY236" fmla="*/ 2402928 h 2684463"/>
                      <a:gd name="connsiteX237" fmla="*/ 755171 w 2752767"/>
                      <a:gd name="connsiteY237" fmla="*/ 2393049 h 2684463"/>
                      <a:gd name="connsiteX238" fmla="*/ 720539 w 2752767"/>
                      <a:gd name="connsiteY238" fmla="*/ 2328840 h 2684463"/>
                      <a:gd name="connsiteX239" fmla="*/ 841751 w 2752767"/>
                      <a:gd name="connsiteY239" fmla="*/ 2222647 h 2684463"/>
                      <a:gd name="connsiteX240" fmla="*/ 817014 w 2752767"/>
                      <a:gd name="connsiteY240" fmla="*/ 2197951 h 2684463"/>
                      <a:gd name="connsiteX241" fmla="*/ 725486 w 2752767"/>
                      <a:gd name="connsiteY241" fmla="*/ 2109045 h 2684463"/>
                      <a:gd name="connsiteX242" fmla="*/ 683433 w 2752767"/>
                      <a:gd name="connsiteY242" fmla="*/ 2002852 h 2684463"/>
                      <a:gd name="connsiteX243" fmla="*/ 695802 w 2752767"/>
                      <a:gd name="connsiteY243" fmla="*/ 1899128 h 2684463"/>
                      <a:gd name="connsiteX244" fmla="*/ 700749 w 2752767"/>
                      <a:gd name="connsiteY244" fmla="*/ 1894189 h 2684463"/>
                      <a:gd name="connsiteX245" fmla="*/ 708170 w 2752767"/>
                      <a:gd name="connsiteY245" fmla="*/ 1921355 h 2684463"/>
                      <a:gd name="connsiteX246" fmla="*/ 715591 w 2752767"/>
                      <a:gd name="connsiteY246" fmla="*/ 1941111 h 2684463"/>
                      <a:gd name="connsiteX247" fmla="*/ 723013 w 2752767"/>
                      <a:gd name="connsiteY247" fmla="*/ 1871962 h 2684463"/>
                      <a:gd name="connsiteX248" fmla="*/ 732907 w 2752767"/>
                      <a:gd name="connsiteY248" fmla="*/ 1928763 h 2684463"/>
                      <a:gd name="connsiteX249" fmla="*/ 752697 w 2752767"/>
                      <a:gd name="connsiteY249" fmla="*/ 1884310 h 2684463"/>
                      <a:gd name="connsiteX250" fmla="*/ 774961 w 2752767"/>
                      <a:gd name="connsiteY250" fmla="*/ 1849736 h 2684463"/>
                      <a:gd name="connsiteX251" fmla="*/ 777434 w 2752767"/>
                      <a:gd name="connsiteY251" fmla="*/ 1844797 h 2684463"/>
                      <a:gd name="connsiteX252" fmla="*/ 804645 w 2752767"/>
                      <a:gd name="connsiteY252" fmla="*/ 1721316 h 2684463"/>
                      <a:gd name="connsiteX253" fmla="*/ 802171 w 2752767"/>
                      <a:gd name="connsiteY253" fmla="*/ 1686742 h 2684463"/>
                      <a:gd name="connsiteX254" fmla="*/ 821961 w 2752767"/>
                      <a:gd name="connsiteY254" fmla="*/ 1694151 h 2684463"/>
                      <a:gd name="connsiteX255" fmla="*/ 962963 w 2752767"/>
                      <a:gd name="connsiteY255" fmla="*/ 1862084 h 2684463"/>
                      <a:gd name="connsiteX256" fmla="*/ 975331 w 2752767"/>
                      <a:gd name="connsiteY256" fmla="*/ 1963338 h 2684463"/>
                      <a:gd name="connsiteX257" fmla="*/ 987700 w 2752767"/>
                      <a:gd name="connsiteY257" fmla="*/ 2042365 h 2684463"/>
                      <a:gd name="connsiteX258" fmla="*/ 987700 w 2752767"/>
                      <a:gd name="connsiteY258" fmla="*/ 2067061 h 2684463"/>
                      <a:gd name="connsiteX259" fmla="*/ 987700 w 2752767"/>
                      <a:gd name="connsiteY259" fmla="*/ 2094227 h 2684463"/>
                      <a:gd name="connsiteX260" fmla="*/ 1054490 w 2752767"/>
                      <a:gd name="connsiteY260" fmla="*/ 2049774 h 2684463"/>
                      <a:gd name="connsiteX261" fmla="*/ 1047069 w 2752767"/>
                      <a:gd name="connsiteY261" fmla="*/ 1983095 h 2684463"/>
                      <a:gd name="connsiteX262" fmla="*/ 1056964 w 2752767"/>
                      <a:gd name="connsiteY262" fmla="*/ 1909007 h 2684463"/>
                      <a:gd name="connsiteX263" fmla="*/ 1074280 w 2752767"/>
                      <a:gd name="connsiteY263" fmla="*/ 1760830 h 2684463"/>
                      <a:gd name="connsiteX264" fmla="*/ 1079227 w 2752767"/>
                      <a:gd name="connsiteY264" fmla="*/ 1736134 h 2684463"/>
                      <a:gd name="connsiteX265" fmla="*/ 1089122 w 2752767"/>
                      <a:gd name="connsiteY265" fmla="*/ 1659576 h 2684463"/>
                      <a:gd name="connsiteX266" fmla="*/ 1103964 w 2752767"/>
                      <a:gd name="connsiteY266" fmla="*/ 1573140 h 2684463"/>
                      <a:gd name="connsiteX267" fmla="*/ 1118807 w 2752767"/>
                      <a:gd name="connsiteY267" fmla="*/ 1508930 h 2684463"/>
                      <a:gd name="connsiteX268" fmla="*/ 1146017 w 2752767"/>
                      <a:gd name="connsiteY268" fmla="*/ 1387919 h 2684463"/>
                      <a:gd name="connsiteX269" fmla="*/ 1163333 w 2752767"/>
                      <a:gd name="connsiteY269" fmla="*/ 1313831 h 2684463"/>
                      <a:gd name="connsiteX270" fmla="*/ 1173228 w 2752767"/>
                      <a:gd name="connsiteY270" fmla="*/ 1289135 h 2684463"/>
                      <a:gd name="connsiteX271" fmla="*/ 1094069 w 2752767"/>
                      <a:gd name="connsiteY271" fmla="*/ 1333588 h 2684463"/>
                      <a:gd name="connsiteX272" fmla="*/ 1071806 w 2752767"/>
                      <a:gd name="connsiteY272" fmla="*/ 1348406 h 2684463"/>
                      <a:gd name="connsiteX273" fmla="*/ 1047069 w 2752767"/>
                      <a:gd name="connsiteY273" fmla="*/ 1365693 h 2684463"/>
                      <a:gd name="connsiteX274" fmla="*/ 1029753 w 2752767"/>
                      <a:gd name="connsiteY274" fmla="*/ 1375571 h 2684463"/>
                      <a:gd name="connsiteX275" fmla="*/ 997595 w 2752767"/>
                      <a:gd name="connsiteY275" fmla="*/ 1395328 h 2684463"/>
                      <a:gd name="connsiteX276" fmla="*/ 975331 w 2752767"/>
                      <a:gd name="connsiteY276" fmla="*/ 1407676 h 2684463"/>
                      <a:gd name="connsiteX277" fmla="*/ 930804 w 2752767"/>
                      <a:gd name="connsiteY277" fmla="*/ 1427433 h 2684463"/>
                      <a:gd name="connsiteX278" fmla="*/ 898646 w 2752767"/>
                      <a:gd name="connsiteY278" fmla="*/ 1459538 h 2684463"/>
                      <a:gd name="connsiteX279" fmla="*/ 878857 w 2752767"/>
                      <a:gd name="connsiteY279" fmla="*/ 1474356 h 2684463"/>
                      <a:gd name="connsiteX280" fmla="*/ 854119 w 2752767"/>
                      <a:gd name="connsiteY280" fmla="*/ 1489173 h 2684463"/>
                      <a:gd name="connsiteX281" fmla="*/ 834330 w 2752767"/>
                      <a:gd name="connsiteY281" fmla="*/ 1496582 h 2684463"/>
                      <a:gd name="connsiteX282" fmla="*/ 792277 w 2752767"/>
                      <a:gd name="connsiteY282" fmla="*/ 1521278 h 2684463"/>
                      <a:gd name="connsiteX283" fmla="*/ 782382 w 2752767"/>
                      <a:gd name="connsiteY283" fmla="*/ 1528687 h 2684463"/>
                      <a:gd name="connsiteX284" fmla="*/ 611695 w 2752767"/>
                      <a:gd name="connsiteY284" fmla="*/ 1642289 h 2684463"/>
                      <a:gd name="connsiteX285" fmla="*/ 535010 w 2752767"/>
                      <a:gd name="connsiteY285" fmla="*/ 1696620 h 2684463"/>
                      <a:gd name="connsiteX286" fmla="*/ 468220 w 2752767"/>
                      <a:gd name="connsiteY286" fmla="*/ 1733664 h 2684463"/>
                      <a:gd name="connsiteX287" fmla="*/ 441009 w 2752767"/>
                      <a:gd name="connsiteY287" fmla="*/ 1750952 h 2684463"/>
                      <a:gd name="connsiteX288" fmla="*/ 421219 w 2752767"/>
                      <a:gd name="connsiteY288" fmla="*/ 1760830 h 2684463"/>
                      <a:gd name="connsiteX289" fmla="*/ 391535 w 2752767"/>
                      <a:gd name="connsiteY289" fmla="*/ 1773178 h 2684463"/>
                      <a:gd name="connsiteX290" fmla="*/ 354429 w 2752767"/>
                      <a:gd name="connsiteY290" fmla="*/ 1775648 h 2684463"/>
                      <a:gd name="connsiteX291" fmla="*/ 270323 w 2752767"/>
                      <a:gd name="connsiteY291" fmla="*/ 1731195 h 2684463"/>
                      <a:gd name="connsiteX292" fmla="*/ 92216 w 2752767"/>
                      <a:gd name="connsiteY292" fmla="*/ 1583018 h 2684463"/>
                      <a:gd name="connsiteX293" fmla="*/ 22952 w 2752767"/>
                      <a:gd name="connsiteY293" fmla="*/ 1496582 h 2684463"/>
                      <a:gd name="connsiteX294" fmla="*/ 5636 w 2752767"/>
                      <a:gd name="connsiteY294" fmla="*/ 1432372 h 2684463"/>
                      <a:gd name="connsiteX295" fmla="*/ 3162 w 2752767"/>
                      <a:gd name="connsiteY295" fmla="*/ 1390389 h 2684463"/>
                      <a:gd name="connsiteX296" fmla="*/ 688 w 2752767"/>
                      <a:gd name="connsiteY296" fmla="*/ 1370632 h 2684463"/>
                      <a:gd name="connsiteX297" fmla="*/ 50163 w 2752767"/>
                      <a:gd name="connsiteY297" fmla="*/ 1313831 h 2684463"/>
                      <a:gd name="connsiteX298" fmla="*/ 87268 w 2752767"/>
                      <a:gd name="connsiteY298" fmla="*/ 1316301 h 2684463"/>
                      <a:gd name="connsiteX299" fmla="*/ 121900 w 2752767"/>
                      <a:gd name="connsiteY299" fmla="*/ 1308892 h 2684463"/>
                      <a:gd name="connsiteX300" fmla="*/ 270323 w 2752767"/>
                      <a:gd name="connsiteY300" fmla="*/ 1286666 h 2684463"/>
                      <a:gd name="connsiteX301" fmla="*/ 215901 w 2752767"/>
                      <a:gd name="connsiteY301" fmla="*/ 1350875 h 2684463"/>
                      <a:gd name="connsiteX302" fmla="*/ 386587 w 2752767"/>
                      <a:gd name="connsiteY302" fmla="*/ 1269378 h 2684463"/>
                      <a:gd name="connsiteX303" fmla="*/ 562221 w 2752767"/>
                      <a:gd name="connsiteY303" fmla="*/ 1200229 h 2684463"/>
                      <a:gd name="connsiteX304" fmla="*/ 544905 w 2752767"/>
                      <a:gd name="connsiteY304" fmla="*/ 1212577 h 2684463"/>
                      <a:gd name="connsiteX305" fmla="*/ 460799 w 2752767"/>
                      <a:gd name="connsiteY305" fmla="*/ 1259500 h 2684463"/>
                      <a:gd name="connsiteX306" fmla="*/ 394009 w 2752767"/>
                      <a:gd name="connsiteY306" fmla="*/ 1301483 h 2684463"/>
                      <a:gd name="connsiteX307" fmla="*/ 347008 w 2752767"/>
                      <a:gd name="connsiteY307" fmla="*/ 1328649 h 2684463"/>
                      <a:gd name="connsiteX308" fmla="*/ 277744 w 2752767"/>
                      <a:gd name="connsiteY308" fmla="*/ 1358284 h 2684463"/>
                      <a:gd name="connsiteX309" fmla="*/ 262902 w 2752767"/>
                      <a:gd name="connsiteY309" fmla="*/ 1368163 h 2684463"/>
                      <a:gd name="connsiteX310" fmla="*/ 334639 w 2752767"/>
                      <a:gd name="connsiteY310" fmla="*/ 1343466 h 2684463"/>
                      <a:gd name="connsiteX311" fmla="*/ 374219 w 2752767"/>
                      <a:gd name="connsiteY311" fmla="*/ 1328649 h 2684463"/>
                      <a:gd name="connsiteX312" fmla="*/ 381640 w 2752767"/>
                      <a:gd name="connsiteY312" fmla="*/ 1323710 h 2684463"/>
                      <a:gd name="connsiteX313" fmla="*/ 438535 w 2752767"/>
                      <a:gd name="connsiteY313" fmla="*/ 1299014 h 2684463"/>
                      <a:gd name="connsiteX314" fmla="*/ 485536 w 2752767"/>
                      <a:gd name="connsiteY314" fmla="*/ 1279257 h 2684463"/>
                      <a:gd name="connsiteX315" fmla="*/ 530063 w 2752767"/>
                      <a:gd name="connsiteY315" fmla="*/ 1264439 h 2684463"/>
                      <a:gd name="connsiteX316" fmla="*/ 535010 w 2752767"/>
                      <a:gd name="connsiteY316" fmla="*/ 1261969 h 2684463"/>
                      <a:gd name="connsiteX317" fmla="*/ 599327 w 2752767"/>
                      <a:gd name="connsiteY317" fmla="*/ 1222456 h 2684463"/>
                      <a:gd name="connsiteX318" fmla="*/ 614169 w 2752767"/>
                      <a:gd name="connsiteY318" fmla="*/ 1215047 h 2684463"/>
                      <a:gd name="connsiteX319" fmla="*/ 683433 w 2752767"/>
                      <a:gd name="connsiteY319" fmla="*/ 1187881 h 2684463"/>
                      <a:gd name="connsiteX320" fmla="*/ 745276 w 2752767"/>
                      <a:gd name="connsiteY320" fmla="*/ 1158246 h 2684463"/>
                      <a:gd name="connsiteX321" fmla="*/ 826909 w 2752767"/>
                      <a:gd name="connsiteY321" fmla="*/ 1121202 h 2684463"/>
                      <a:gd name="connsiteX322" fmla="*/ 841751 w 2752767"/>
                      <a:gd name="connsiteY322" fmla="*/ 1113793 h 2684463"/>
                      <a:gd name="connsiteX323" fmla="*/ 918436 w 2752767"/>
                      <a:gd name="connsiteY323" fmla="*/ 1089097 h 2684463"/>
                      <a:gd name="connsiteX324" fmla="*/ 1019858 w 2752767"/>
                      <a:gd name="connsiteY324" fmla="*/ 1049583 h 2684463"/>
                      <a:gd name="connsiteX325" fmla="*/ 1084175 w 2752767"/>
                      <a:gd name="connsiteY325" fmla="*/ 1019948 h 2684463"/>
                      <a:gd name="connsiteX326" fmla="*/ 1113859 w 2752767"/>
                      <a:gd name="connsiteY326" fmla="*/ 1007600 h 2684463"/>
                      <a:gd name="connsiteX327" fmla="*/ 1185597 w 2752767"/>
                      <a:gd name="connsiteY327" fmla="*/ 975495 h 2684463"/>
                      <a:gd name="connsiteX328" fmla="*/ 1217755 w 2752767"/>
                      <a:gd name="connsiteY328" fmla="*/ 963147 h 2684463"/>
                      <a:gd name="connsiteX329" fmla="*/ 1341441 w 2752767"/>
                      <a:gd name="connsiteY329" fmla="*/ 916224 h 2684463"/>
                      <a:gd name="connsiteX330" fmla="*/ 1413178 w 2752767"/>
                      <a:gd name="connsiteY330" fmla="*/ 891528 h 2684463"/>
                      <a:gd name="connsiteX331" fmla="*/ 1546759 w 2752767"/>
                      <a:gd name="connsiteY331" fmla="*/ 839667 h 2684463"/>
                      <a:gd name="connsiteX332" fmla="*/ 1536864 w 2752767"/>
                      <a:gd name="connsiteY332" fmla="*/ 772987 h 2684463"/>
                      <a:gd name="connsiteX333" fmla="*/ 1517074 w 2752767"/>
                      <a:gd name="connsiteY333" fmla="*/ 632220 h 2684463"/>
                      <a:gd name="connsiteX334" fmla="*/ 1487390 w 2752767"/>
                      <a:gd name="connsiteY334" fmla="*/ 405015 h 2684463"/>
                      <a:gd name="connsiteX335" fmla="*/ 1460179 w 2752767"/>
                      <a:gd name="connsiteY335" fmla="*/ 229673 h 2684463"/>
                      <a:gd name="connsiteX336" fmla="*/ 1445337 w 2752767"/>
                      <a:gd name="connsiteY336" fmla="*/ 91375 h 2684463"/>
                      <a:gd name="connsiteX337" fmla="*/ 1440389 w 2752767"/>
                      <a:gd name="connsiteY337" fmla="*/ 37044 h 2684463"/>
                      <a:gd name="connsiteX338" fmla="*/ 1428021 w 2752767"/>
                      <a:gd name="connsiteY338" fmla="*/ 2470 h 2684463"/>
                      <a:gd name="connsiteX339" fmla="*/ 1440389 w 2752767"/>
                      <a:gd name="connsiteY339" fmla="*/ 0 h 26844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  <a:cxn ang="0">
                        <a:pos x="connsiteX193" y="connsiteY193"/>
                      </a:cxn>
                      <a:cxn ang="0">
                        <a:pos x="connsiteX194" y="connsiteY194"/>
                      </a:cxn>
                      <a:cxn ang="0">
                        <a:pos x="connsiteX195" y="connsiteY195"/>
                      </a:cxn>
                      <a:cxn ang="0">
                        <a:pos x="connsiteX196" y="connsiteY196"/>
                      </a:cxn>
                      <a:cxn ang="0">
                        <a:pos x="connsiteX197" y="connsiteY197"/>
                      </a:cxn>
                      <a:cxn ang="0">
                        <a:pos x="connsiteX198" y="connsiteY198"/>
                      </a:cxn>
                      <a:cxn ang="0">
                        <a:pos x="connsiteX199" y="connsiteY199"/>
                      </a:cxn>
                      <a:cxn ang="0">
                        <a:pos x="connsiteX200" y="connsiteY200"/>
                      </a:cxn>
                      <a:cxn ang="0">
                        <a:pos x="connsiteX201" y="connsiteY201"/>
                      </a:cxn>
                      <a:cxn ang="0">
                        <a:pos x="connsiteX202" y="connsiteY202"/>
                      </a:cxn>
                      <a:cxn ang="0">
                        <a:pos x="connsiteX203" y="connsiteY203"/>
                      </a:cxn>
                      <a:cxn ang="0">
                        <a:pos x="connsiteX204" y="connsiteY204"/>
                      </a:cxn>
                      <a:cxn ang="0">
                        <a:pos x="connsiteX205" y="connsiteY205"/>
                      </a:cxn>
                      <a:cxn ang="0">
                        <a:pos x="connsiteX206" y="connsiteY206"/>
                      </a:cxn>
                      <a:cxn ang="0">
                        <a:pos x="connsiteX207" y="connsiteY207"/>
                      </a:cxn>
                      <a:cxn ang="0">
                        <a:pos x="connsiteX208" y="connsiteY208"/>
                      </a:cxn>
                      <a:cxn ang="0">
                        <a:pos x="connsiteX209" y="connsiteY209"/>
                      </a:cxn>
                      <a:cxn ang="0">
                        <a:pos x="connsiteX210" y="connsiteY210"/>
                      </a:cxn>
                      <a:cxn ang="0">
                        <a:pos x="connsiteX211" y="connsiteY211"/>
                      </a:cxn>
                      <a:cxn ang="0">
                        <a:pos x="connsiteX212" y="connsiteY212"/>
                      </a:cxn>
                      <a:cxn ang="0">
                        <a:pos x="connsiteX213" y="connsiteY213"/>
                      </a:cxn>
                      <a:cxn ang="0">
                        <a:pos x="connsiteX214" y="connsiteY214"/>
                      </a:cxn>
                      <a:cxn ang="0">
                        <a:pos x="connsiteX215" y="connsiteY215"/>
                      </a:cxn>
                      <a:cxn ang="0">
                        <a:pos x="connsiteX216" y="connsiteY216"/>
                      </a:cxn>
                      <a:cxn ang="0">
                        <a:pos x="connsiteX217" y="connsiteY217"/>
                      </a:cxn>
                      <a:cxn ang="0">
                        <a:pos x="connsiteX218" y="connsiteY218"/>
                      </a:cxn>
                      <a:cxn ang="0">
                        <a:pos x="connsiteX219" y="connsiteY219"/>
                      </a:cxn>
                      <a:cxn ang="0">
                        <a:pos x="connsiteX220" y="connsiteY220"/>
                      </a:cxn>
                      <a:cxn ang="0">
                        <a:pos x="connsiteX221" y="connsiteY221"/>
                      </a:cxn>
                      <a:cxn ang="0">
                        <a:pos x="connsiteX222" y="connsiteY222"/>
                      </a:cxn>
                      <a:cxn ang="0">
                        <a:pos x="connsiteX223" y="connsiteY223"/>
                      </a:cxn>
                      <a:cxn ang="0">
                        <a:pos x="connsiteX224" y="connsiteY224"/>
                      </a:cxn>
                      <a:cxn ang="0">
                        <a:pos x="connsiteX225" y="connsiteY225"/>
                      </a:cxn>
                      <a:cxn ang="0">
                        <a:pos x="connsiteX226" y="connsiteY226"/>
                      </a:cxn>
                      <a:cxn ang="0">
                        <a:pos x="connsiteX227" y="connsiteY227"/>
                      </a:cxn>
                      <a:cxn ang="0">
                        <a:pos x="connsiteX228" y="connsiteY228"/>
                      </a:cxn>
                      <a:cxn ang="0">
                        <a:pos x="connsiteX229" y="connsiteY229"/>
                      </a:cxn>
                      <a:cxn ang="0">
                        <a:pos x="connsiteX230" y="connsiteY230"/>
                      </a:cxn>
                      <a:cxn ang="0">
                        <a:pos x="connsiteX231" y="connsiteY231"/>
                      </a:cxn>
                      <a:cxn ang="0">
                        <a:pos x="connsiteX232" y="connsiteY232"/>
                      </a:cxn>
                      <a:cxn ang="0">
                        <a:pos x="connsiteX233" y="connsiteY233"/>
                      </a:cxn>
                      <a:cxn ang="0">
                        <a:pos x="connsiteX234" y="connsiteY234"/>
                      </a:cxn>
                      <a:cxn ang="0">
                        <a:pos x="connsiteX235" y="connsiteY235"/>
                      </a:cxn>
                      <a:cxn ang="0">
                        <a:pos x="connsiteX236" y="connsiteY236"/>
                      </a:cxn>
                      <a:cxn ang="0">
                        <a:pos x="connsiteX237" y="connsiteY237"/>
                      </a:cxn>
                      <a:cxn ang="0">
                        <a:pos x="connsiteX238" y="connsiteY238"/>
                      </a:cxn>
                      <a:cxn ang="0">
                        <a:pos x="connsiteX239" y="connsiteY239"/>
                      </a:cxn>
                      <a:cxn ang="0">
                        <a:pos x="connsiteX240" y="connsiteY240"/>
                      </a:cxn>
                      <a:cxn ang="0">
                        <a:pos x="connsiteX241" y="connsiteY241"/>
                      </a:cxn>
                      <a:cxn ang="0">
                        <a:pos x="connsiteX242" y="connsiteY242"/>
                      </a:cxn>
                      <a:cxn ang="0">
                        <a:pos x="connsiteX243" y="connsiteY243"/>
                      </a:cxn>
                      <a:cxn ang="0">
                        <a:pos x="connsiteX244" y="connsiteY244"/>
                      </a:cxn>
                      <a:cxn ang="0">
                        <a:pos x="connsiteX245" y="connsiteY245"/>
                      </a:cxn>
                      <a:cxn ang="0">
                        <a:pos x="connsiteX246" y="connsiteY246"/>
                      </a:cxn>
                      <a:cxn ang="0">
                        <a:pos x="connsiteX247" y="connsiteY247"/>
                      </a:cxn>
                      <a:cxn ang="0">
                        <a:pos x="connsiteX248" y="connsiteY248"/>
                      </a:cxn>
                      <a:cxn ang="0">
                        <a:pos x="connsiteX249" y="connsiteY249"/>
                      </a:cxn>
                      <a:cxn ang="0">
                        <a:pos x="connsiteX250" y="connsiteY250"/>
                      </a:cxn>
                      <a:cxn ang="0">
                        <a:pos x="connsiteX251" y="connsiteY251"/>
                      </a:cxn>
                      <a:cxn ang="0">
                        <a:pos x="connsiteX252" y="connsiteY252"/>
                      </a:cxn>
                      <a:cxn ang="0">
                        <a:pos x="connsiteX253" y="connsiteY253"/>
                      </a:cxn>
                      <a:cxn ang="0">
                        <a:pos x="connsiteX254" y="connsiteY254"/>
                      </a:cxn>
                      <a:cxn ang="0">
                        <a:pos x="connsiteX255" y="connsiteY255"/>
                      </a:cxn>
                      <a:cxn ang="0">
                        <a:pos x="connsiteX256" y="connsiteY256"/>
                      </a:cxn>
                      <a:cxn ang="0">
                        <a:pos x="connsiteX257" y="connsiteY257"/>
                      </a:cxn>
                      <a:cxn ang="0">
                        <a:pos x="connsiteX258" y="connsiteY258"/>
                      </a:cxn>
                      <a:cxn ang="0">
                        <a:pos x="connsiteX259" y="connsiteY259"/>
                      </a:cxn>
                      <a:cxn ang="0">
                        <a:pos x="connsiteX260" y="connsiteY260"/>
                      </a:cxn>
                      <a:cxn ang="0">
                        <a:pos x="connsiteX261" y="connsiteY261"/>
                      </a:cxn>
                      <a:cxn ang="0">
                        <a:pos x="connsiteX262" y="connsiteY262"/>
                      </a:cxn>
                      <a:cxn ang="0">
                        <a:pos x="connsiteX263" y="connsiteY263"/>
                      </a:cxn>
                      <a:cxn ang="0">
                        <a:pos x="connsiteX264" y="connsiteY264"/>
                      </a:cxn>
                      <a:cxn ang="0">
                        <a:pos x="connsiteX265" y="connsiteY265"/>
                      </a:cxn>
                      <a:cxn ang="0">
                        <a:pos x="connsiteX266" y="connsiteY266"/>
                      </a:cxn>
                      <a:cxn ang="0">
                        <a:pos x="connsiteX267" y="connsiteY267"/>
                      </a:cxn>
                      <a:cxn ang="0">
                        <a:pos x="connsiteX268" y="connsiteY268"/>
                      </a:cxn>
                      <a:cxn ang="0">
                        <a:pos x="connsiteX269" y="connsiteY269"/>
                      </a:cxn>
                      <a:cxn ang="0">
                        <a:pos x="connsiteX270" y="connsiteY270"/>
                      </a:cxn>
                      <a:cxn ang="0">
                        <a:pos x="connsiteX271" y="connsiteY271"/>
                      </a:cxn>
                      <a:cxn ang="0">
                        <a:pos x="connsiteX272" y="connsiteY272"/>
                      </a:cxn>
                      <a:cxn ang="0">
                        <a:pos x="connsiteX273" y="connsiteY273"/>
                      </a:cxn>
                      <a:cxn ang="0">
                        <a:pos x="connsiteX274" y="connsiteY274"/>
                      </a:cxn>
                      <a:cxn ang="0">
                        <a:pos x="connsiteX275" y="connsiteY275"/>
                      </a:cxn>
                      <a:cxn ang="0">
                        <a:pos x="connsiteX276" y="connsiteY276"/>
                      </a:cxn>
                      <a:cxn ang="0">
                        <a:pos x="connsiteX277" y="connsiteY277"/>
                      </a:cxn>
                      <a:cxn ang="0">
                        <a:pos x="connsiteX278" y="connsiteY278"/>
                      </a:cxn>
                      <a:cxn ang="0">
                        <a:pos x="connsiteX279" y="connsiteY279"/>
                      </a:cxn>
                      <a:cxn ang="0">
                        <a:pos x="connsiteX280" y="connsiteY280"/>
                      </a:cxn>
                      <a:cxn ang="0">
                        <a:pos x="connsiteX281" y="connsiteY281"/>
                      </a:cxn>
                      <a:cxn ang="0">
                        <a:pos x="connsiteX282" y="connsiteY282"/>
                      </a:cxn>
                      <a:cxn ang="0">
                        <a:pos x="connsiteX283" y="connsiteY283"/>
                      </a:cxn>
                      <a:cxn ang="0">
                        <a:pos x="connsiteX284" y="connsiteY284"/>
                      </a:cxn>
                      <a:cxn ang="0">
                        <a:pos x="connsiteX285" y="connsiteY285"/>
                      </a:cxn>
                      <a:cxn ang="0">
                        <a:pos x="connsiteX286" y="connsiteY286"/>
                      </a:cxn>
                      <a:cxn ang="0">
                        <a:pos x="connsiteX287" y="connsiteY287"/>
                      </a:cxn>
                      <a:cxn ang="0">
                        <a:pos x="connsiteX288" y="connsiteY288"/>
                      </a:cxn>
                      <a:cxn ang="0">
                        <a:pos x="connsiteX289" y="connsiteY289"/>
                      </a:cxn>
                      <a:cxn ang="0">
                        <a:pos x="connsiteX290" y="connsiteY290"/>
                      </a:cxn>
                      <a:cxn ang="0">
                        <a:pos x="connsiteX291" y="connsiteY291"/>
                      </a:cxn>
                      <a:cxn ang="0">
                        <a:pos x="connsiteX292" y="connsiteY292"/>
                      </a:cxn>
                      <a:cxn ang="0">
                        <a:pos x="connsiteX293" y="connsiteY293"/>
                      </a:cxn>
                      <a:cxn ang="0">
                        <a:pos x="connsiteX294" y="connsiteY294"/>
                      </a:cxn>
                      <a:cxn ang="0">
                        <a:pos x="connsiteX295" y="connsiteY295"/>
                      </a:cxn>
                      <a:cxn ang="0">
                        <a:pos x="connsiteX296" y="connsiteY296"/>
                      </a:cxn>
                      <a:cxn ang="0">
                        <a:pos x="connsiteX297" y="connsiteY297"/>
                      </a:cxn>
                      <a:cxn ang="0">
                        <a:pos x="connsiteX298" y="connsiteY298"/>
                      </a:cxn>
                      <a:cxn ang="0">
                        <a:pos x="connsiteX299" y="connsiteY299"/>
                      </a:cxn>
                      <a:cxn ang="0">
                        <a:pos x="connsiteX300" y="connsiteY300"/>
                      </a:cxn>
                      <a:cxn ang="0">
                        <a:pos x="connsiteX301" y="connsiteY301"/>
                      </a:cxn>
                      <a:cxn ang="0">
                        <a:pos x="connsiteX302" y="connsiteY302"/>
                      </a:cxn>
                      <a:cxn ang="0">
                        <a:pos x="connsiteX303" y="connsiteY303"/>
                      </a:cxn>
                      <a:cxn ang="0">
                        <a:pos x="connsiteX304" y="connsiteY304"/>
                      </a:cxn>
                      <a:cxn ang="0">
                        <a:pos x="connsiteX305" y="connsiteY305"/>
                      </a:cxn>
                      <a:cxn ang="0">
                        <a:pos x="connsiteX306" y="connsiteY306"/>
                      </a:cxn>
                      <a:cxn ang="0">
                        <a:pos x="connsiteX307" y="connsiteY307"/>
                      </a:cxn>
                      <a:cxn ang="0">
                        <a:pos x="connsiteX308" y="connsiteY308"/>
                      </a:cxn>
                      <a:cxn ang="0">
                        <a:pos x="connsiteX309" y="connsiteY309"/>
                      </a:cxn>
                      <a:cxn ang="0">
                        <a:pos x="connsiteX310" y="connsiteY310"/>
                      </a:cxn>
                      <a:cxn ang="0">
                        <a:pos x="connsiteX311" y="connsiteY311"/>
                      </a:cxn>
                      <a:cxn ang="0">
                        <a:pos x="connsiteX312" y="connsiteY312"/>
                      </a:cxn>
                      <a:cxn ang="0">
                        <a:pos x="connsiteX313" y="connsiteY313"/>
                      </a:cxn>
                      <a:cxn ang="0">
                        <a:pos x="connsiteX314" y="connsiteY314"/>
                      </a:cxn>
                      <a:cxn ang="0">
                        <a:pos x="connsiteX315" y="connsiteY315"/>
                      </a:cxn>
                      <a:cxn ang="0">
                        <a:pos x="connsiteX316" y="connsiteY316"/>
                      </a:cxn>
                      <a:cxn ang="0">
                        <a:pos x="connsiteX317" y="connsiteY317"/>
                      </a:cxn>
                      <a:cxn ang="0">
                        <a:pos x="connsiteX318" y="connsiteY318"/>
                      </a:cxn>
                      <a:cxn ang="0">
                        <a:pos x="connsiteX319" y="connsiteY319"/>
                      </a:cxn>
                      <a:cxn ang="0">
                        <a:pos x="connsiteX320" y="connsiteY320"/>
                      </a:cxn>
                      <a:cxn ang="0">
                        <a:pos x="connsiteX321" y="connsiteY321"/>
                      </a:cxn>
                      <a:cxn ang="0">
                        <a:pos x="connsiteX322" y="connsiteY322"/>
                      </a:cxn>
                      <a:cxn ang="0">
                        <a:pos x="connsiteX323" y="connsiteY323"/>
                      </a:cxn>
                      <a:cxn ang="0">
                        <a:pos x="connsiteX324" y="connsiteY324"/>
                      </a:cxn>
                      <a:cxn ang="0">
                        <a:pos x="connsiteX325" y="connsiteY325"/>
                      </a:cxn>
                      <a:cxn ang="0">
                        <a:pos x="connsiteX326" y="connsiteY326"/>
                      </a:cxn>
                      <a:cxn ang="0">
                        <a:pos x="connsiteX327" y="connsiteY327"/>
                      </a:cxn>
                      <a:cxn ang="0">
                        <a:pos x="connsiteX328" y="connsiteY328"/>
                      </a:cxn>
                      <a:cxn ang="0">
                        <a:pos x="connsiteX329" y="connsiteY329"/>
                      </a:cxn>
                      <a:cxn ang="0">
                        <a:pos x="connsiteX330" y="connsiteY330"/>
                      </a:cxn>
                      <a:cxn ang="0">
                        <a:pos x="connsiteX331" y="connsiteY331"/>
                      </a:cxn>
                      <a:cxn ang="0">
                        <a:pos x="connsiteX332" y="connsiteY332"/>
                      </a:cxn>
                      <a:cxn ang="0">
                        <a:pos x="connsiteX333" y="connsiteY333"/>
                      </a:cxn>
                      <a:cxn ang="0">
                        <a:pos x="connsiteX334" y="connsiteY334"/>
                      </a:cxn>
                      <a:cxn ang="0">
                        <a:pos x="connsiteX335" y="connsiteY335"/>
                      </a:cxn>
                      <a:cxn ang="0">
                        <a:pos x="connsiteX336" y="connsiteY336"/>
                      </a:cxn>
                      <a:cxn ang="0">
                        <a:pos x="connsiteX337" y="connsiteY337"/>
                      </a:cxn>
                      <a:cxn ang="0">
                        <a:pos x="connsiteX338" y="connsiteY338"/>
                      </a:cxn>
                      <a:cxn ang="0">
                        <a:pos x="connsiteX339" y="connsiteY339"/>
                      </a:cxn>
                    </a:cxnLst>
                    <a:rect l="l" t="t" r="r" b="b"/>
                    <a:pathLst>
                      <a:path w="2752767" h="2684463">
                        <a:moveTo>
                          <a:pt x="923383" y="2595557"/>
                        </a:moveTo>
                        <a:cubicBezTo>
                          <a:pt x="920910" y="2600496"/>
                          <a:pt x="918436" y="2605436"/>
                          <a:pt x="915962" y="2610375"/>
                        </a:cubicBezTo>
                        <a:cubicBezTo>
                          <a:pt x="915962" y="2612845"/>
                          <a:pt x="918436" y="2612845"/>
                          <a:pt x="918436" y="2612845"/>
                        </a:cubicBezTo>
                        <a:cubicBezTo>
                          <a:pt x="920910" y="2607905"/>
                          <a:pt x="923383" y="2602966"/>
                          <a:pt x="928331" y="2598027"/>
                        </a:cubicBezTo>
                        <a:cubicBezTo>
                          <a:pt x="925857" y="2595557"/>
                          <a:pt x="923383" y="2595557"/>
                          <a:pt x="923383" y="2595557"/>
                        </a:cubicBezTo>
                        <a:close/>
                        <a:moveTo>
                          <a:pt x="945647" y="2558513"/>
                        </a:moveTo>
                        <a:cubicBezTo>
                          <a:pt x="943173" y="2563452"/>
                          <a:pt x="940699" y="2568392"/>
                          <a:pt x="938226" y="2573331"/>
                        </a:cubicBezTo>
                        <a:cubicBezTo>
                          <a:pt x="938226" y="2573331"/>
                          <a:pt x="940699" y="2575800"/>
                          <a:pt x="943173" y="2575800"/>
                        </a:cubicBezTo>
                        <a:cubicBezTo>
                          <a:pt x="945647" y="2570861"/>
                          <a:pt x="948120" y="2565922"/>
                          <a:pt x="950594" y="2560983"/>
                        </a:cubicBezTo>
                        <a:cubicBezTo>
                          <a:pt x="950594" y="2558513"/>
                          <a:pt x="948120" y="2558513"/>
                          <a:pt x="945647" y="2558513"/>
                        </a:cubicBezTo>
                        <a:close/>
                        <a:moveTo>
                          <a:pt x="1019858" y="2452320"/>
                        </a:moveTo>
                        <a:cubicBezTo>
                          <a:pt x="1017384" y="2457259"/>
                          <a:pt x="1014911" y="2459729"/>
                          <a:pt x="1012437" y="2464668"/>
                        </a:cubicBezTo>
                        <a:cubicBezTo>
                          <a:pt x="1012437" y="2464668"/>
                          <a:pt x="1014911" y="2467138"/>
                          <a:pt x="1014911" y="2467138"/>
                        </a:cubicBezTo>
                        <a:cubicBezTo>
                          <a:pt x="1017384" y="2462198"/>
                          <a:pt x="1019858" y="2459729"/>
                          <a:pt x="1024806" y="2454790"/>
                        </a:cubicBezTo>
                        <a:cubicBezTo>
                          <a:pt x="1022332" y="2454790"/>
                          <a:pt x="1022332" y="2452320"/>
                          <a:pt x="1019858" y="2452320"/>
                        </a:cubicBezTo>
                        <a:close/>
                        <a:moveTo>
                          <a:pt x="1059438" y="2397989"/>
                        </a:moveTo>
                        <a:cubicBezTo>
                          <a:pt x="1056964" y="2402928"/>
                          <a:pt x="1054490" y="2405398"/>
                          <a:pt x="1052016" y="2410337"/>
                        </a:cubicBezTo>
                        <a:cubicBezTo>
                          <a:pt x="1054490" y="2410337"/>
                          <a:pt x="1054490" y="2412806"/>
                          <a:pt x="1056964" y="2415276"/>
                        </a:cubicBezTo>
                        <a:cubicBezTo>
                          <a:pt x="1059438" y="2410337"/>
                          <a:pt x="1064385" y="2407867"/>
                          <a:pt x="1066859" y="2405398"/>
                        </a:cubicBezTo>
                        <a:cubicBezTo>
                          <a:pt x="1064385" y="2402928"/>
                          <a:pt x="1061911" y="2400458"/>
                          <a:pt x="1059438" y="2397989"/>
                        </a:cubicBezTo>
                        <a:close/>
                        <a:moveTo>
                          <a:pt x="1148491" y="2311552"/>
                        </a:moveTo>
                        <a:cubicBezTo>
                          <a:pt x="1123754" y="2311552"/>
                          <a:pt x="1116333" y="2314022"/>
                          <a:pt x="1106438" y="2333779"/>
                        </a:cubicBezTo>
                        <a:cubicBezTo>
                          <a:pt x="1101491" y="2338718"/>
                          <a:pt x="1099017" y="2343657"/>
                          <a:pt x="1096543" y="2348597"/>
                        </a:cubicBezTo>
                        <a:cubicBezTo>
                          <a:pt x="1086648" y="2360945"/>
                          <a:pt x="1076753" y="2370823"/>
                          <a:pt x="1069332" y="2383171"/>
                        </a:cubicBezTo>
                        <a:cubicBezTo>
                          <a:pt x="1069332" y="2385641"/>
                          <a:pt x="1071806" y="2385641"/>
                          <a:pt x="1074280" y="2388110"/>
                        </a:cubicBezTo>
                        <a:cubicBezTo>
                          <a:pt x="1101491" y="2365884"/>
                          <a:pt x="1121280" y="2336249"/>
                          <a:pt x="1148491" y="2311552"/>
                        </a:cubicBezTo>
                        <a:close/>
                        <a:moveTo>
                          <a:pt x="1170755" y="2276978"/>
                        </a:moveTo>
                        <a:cubicBezTo>
                          <a:pt x="1165807" y="2281917"/>
                          <a:pt x="1158386" y="2289326"/>
                          <a:pt x="1153439" y="2294265"/>
                        </a:cubicBezTo>
                        <a:cubicBezTo>
                          <a:pt x="1153439" y="2296735"/>
                          <a:pt x="1155912" y="2299204"/>
                          <a:pt x="1158386" y="2299204"/>
                        </a:cubicBezTo>
                        <a:cubicBezTo>
                          <a:pt x="1163333" y="2294265"/>
                          <a:pt x="1170755" y="2289326"/>
                          <a:pt x="1178176" y="2281917"/>
                        </a:cubicBezTo>
                        <a:cubicBezTo>
                          <a:pt x="1175702" y="2279448"/>
                          <a:pt x="1173228" y="2279448"/>
                          <a:pt x="1170755" y="2276978"/>
                        </a:cubicBezTo>
                        <a:close/>
                        <a:moveTo>
                          <a:pt x="715591" y="1943581"/>
                        </a:moveTo>
                        <a:cubicBezTo>
                          <a:pt x="710644" y="1950990"/>
                          <a:pt x="710644" y="1958399"/>
                          <a:pt x="718065" y="1965807"/>
                        </a:cubicBezTo>
                        <a:cubicBezTo>
                          <a:pt x="718065" y="1958399"/>
                          <a:pt x="715591" y="1950990"/>
                          <a:pt x="715591" y="1943581"/>
                        </a:cubicBezTo>
                        <a:close/>
                        <a:moveTo>
                          <a:pt x="688084" y="510472"/>
                        </a:moveTo>
                        <a:cubicBezTo>
                          <a:pt x="710380" y="508000"/>
                          <a:pt x="727722" y="517888"/>
                          <a:pt x="747541" y="522832"/>
                        </a:cubicBezTo>
                        <a:cubicBezTo>
                          <a:pt x="767360" y="530248"/>
                          <a:pt x="787179" y="535192"/>
                          <a:pt x="806998" y="540136"/>
                        </a:cubicBezTo>
                        <a:cubicBezTo>
                          <a:pt x="816908" y="542608"/>
                          <a:pt x="829295" y="542608"/>
                          <a:pt x="839204" y="540136"/>
                        </a:cubicBezTo>
                        <a:cubicBezTo>
                          <a:pt x="886274" y="532720"/>
                          <a:pt x="935822" y="525304"/>
                          <a:pt x="982892" y="517888"/>
                        </a:cubicBezTo>
                        <a:cubicBezTo>
                          <a:pt x="995279" y="515416"/>
                          <a:pt x="1007666" y="515416"/>
                          <a:pt x="1020053" y="515416"/>
                        </a:cubicBezTo>
                        <a:cubicBezTo>
                          <a:pt x="1042349" y="512944"/>
                          <a:pt x="1064646" y="512944"/>
                          <a:pt x="1089420" y="515416"/>
                        </a:cubicBezTo>
                        <a:cubicBezTo>
                          <a:pt x="1121626" y="515416"/>
                          <a:pt x="1156309" y="517888"/>
                          <a:pt x="1188515" y="525304"/>
                        </a:cubicBezTo>
                        <a:cubicBezTo>
                          <a:pt x="1247972" y="535192"/>
                          <a:pt x="1297520" y="562383"/>
                          <a:pt x="1349545" y="589575"/>
                        </a:cubicBezTo>
                        <a:cubicBezTo>
                          <a:pt x="1354499" y="592047"/>
                          <a:pt x="1359454" y="596991"/>
                          <a:pt x="1361932" y="601935"/>
                        </a:cubicBezTo>
                        <a:cubicBezTo>
                          <a:pt x="1376796" y="626654"/>
                          <a:pt x="1386705" y="651374"/>
                          <a:pt x="1391660" y="678566"/>
                        </a:cubicBezTo>
                        <a:cubicBezTo>
                          <a:pt x="1399092" y="698341"/>
                          <a:pt x="1391660" y="720589"/>
                          <a:pt x="1379273" y="732949"/>
                        </a:cubicBezTo>
                        <a:cubicBezTo>
                          <a:pt x="1364409" y="752725"/>
                          <a:pt x="1347067" y="767556"/>
                          <a:pt x="1327248" y="782388"/>
                        </a:cubicBezTo>
                        <a:cubicBezTo>
                          <a:pt x="1302474" y="802164"/>
                          <a:pt x="1275223" y="807108"/>
                          <a:pt x="1250449" y="819468"/>
                        </a:cubicBezTo>
                        <a:cubicBezTo>
                          <a:pt x="1238062" y="826883"/>
                          <a:pt x="1220721" y="826883"/>
                          <a:pt x="1205857" y="829355"/>
                        </a:cubicBezTo>
                        <a:cubicBezTo>
                          <a:pt x="1178605" y="834299"/>
                          <a:pt x="1148877" y="839243"/>
                          <a:pt x="1121626" y="846659"/>
                        </a:cubicBezTo>
                        <a:cubicBezTo>
                          <a:pt x="1079510" y="854075"/>
                          <a:pt x="1042349" y="844187"/>
                          <a:pt x="1007666" y="824412"/>
                        </a:cubicBezTo>
                        <a:cubicBezTo>
                          <a:pt x="906093" y="765084"/>
                          <a:pt x="816908" y="690925"/>
                          <a:pt x="740109" y="604407"/>
                        </a:cubicBezTo>
                        <a:cubicBezTo>
                          <a:pt x="722767" y="584631"/>
                          <a:pt x="705426" y="562383"/>
                          <a:pt x="690561" y="542608"/>
                        </a:cubicBezTo>
                        <a:cubicBezTo>
                          <a:pt x="683129" y="527776"/>
                          <a:pt x="683129" y="527776"/>
                          <a:pt x="688084" y="510472"/>
                        </a:cubicBezTo>
                        <a:close/>
                        <a:moveTo>
                          <a:pt x="1472547" y="59271"/>
                        </a:moveTo>
                        <a:cubicBezTo>
                          <a:pt x="1470074" y="66679"/>
                          <a:pt x="1470074" y="69149"/>
                          <a:pt x="1470074" y="71619"/>
                        </a:cubicBezTo>
                        <a:cubicBezTo>
                          <a:pt x="1475021" y="125950"/>
                          <a:pt x="1482442" y="177812"/>
                          <a:pt x="1484916" y="232143"/>
                        </a:cubicBezTo>
                        <a:cubicBezTo>
                          <a:pt x="1492337" y="303762"/>
                          <a:pt x="1494811" y="375380"/>
                          <a:pt x="1499758" y="446999"/>
                        </a:cubicBezTo>
                        <a:cubicBezTo>
                          <a:pt x="1499758" y="459347"/>
                          <a:pt x="1502232" y="474164"/>
                          <a:pt x="1504706" y="488982"/>
                        </a:cubicBezTo>
                        <a:cubicBezTo>
                          <a:pt x="1512127" y="526026"/>
                          <a:pt x="1517074" y="565540"/>
                          <a:pt x="1524495" y="605054"/>
                        </a:cubicBezTo>
                        <a:cubicBezTo>
                          <a:pt x="1534390" y="671733"/>
                          <a:pt x="1541811" y="738413"/>
                          <a:pt x="1551706" y="805092"/>
                        </a:cubicBezTo>
                        <a:cubicBezTo>
                          <a:pt x="1554180" y="814970"/>
                          <a:pt x="1554180" y="824849"/>
                          <a:pt x="1566549" y="832258"/>
                        </a:cubicBezTo>
                        <a:cubicBezTo>
                          <a:pt x="1566549" y="805092"/>
                          <a:pt x="1566549" y="782866"/>
                          <a:pt x="1561601" y="760639"/>
                        </a:cubicBezTo>
                        <a:cubicBezTo>
                          <a:pt x="1554180" y="735943"/>
                          <a:pt x="1549233" y="711247"/>
                          <a:pt x="1549233" y="686551"/>
                        </a:cubicBezTo>
                        <a:cubicBezTo>
                          <a:pt x="1549233" y="661855"/>
                          <a:pt x="1544285" y="639628"/>
                          <a:pt x="1541811" y="617402"/>
                        </a:cubicBezTo>
                        <a:cubicBezTo>
                          <a:pt x="1531917" y="577888"/>
                          <a:pt x="1524495" y="538374"/>
                          <a:pt x="1524495" y="498861"/>
                        </a:cubicBezTo>
                        <a:cubicBezTo>
                          <a:pt x="1526969" y="474164"/>
                          <a:pt x="1524495" y="449468"/>
                          <a:pt x="1522022" y="427242"/>
                        </a:cubicBezTo>
                        <a:cubicBezTo>
                          <a:pt x="1519548" y="397607"/>
                          <a:pt x="1512127" y="367971"/>
                          <a:pt x="1509653" y="338336"/>
                        </a:cubicBezTo>
                        <a:cubicBezTo>
                          <a:pt x="1504706" y="288944"/>
                          <a:pt x="1502232" y="239552"/>
                          <a:pt x="1497285" y="190160"/>
                        </a:cubicBezTo>
                        <a:cubicBezTo>
                          <a:pt x="1494811" y="153116"/>
                          <a:pt x="1487390" y="116071"/>
                          <a:pt x="1482442" y="81497"/>
                        </a:cubicBezTo>
                        <a:cubicBezTo>
                          <a:pt x="1482442" y="74088"/>
                          <a:pt x="1477495" y="69149"/>
                          <a:pt x="1472547" y="59271"/>
                        </a:cubicBezTo>
                        <a:close/>
                        <a:moveTo>
                          <a:pt x="1440389" y="0"/>
                        </a:moveTo>
                        <a:cubicBezTo>
                          <a:pt x="1457705" y="7409"/>
                          <a:pt x="1475021" y="12348"/>
                          <a:pt x="1487390" y="22226"/>
                        </a:cubicBezTo>
                        <a:cubicBezTo>
                          <a:pt x="1549233" y="64210"/>
                          <a:pt x="1611075" y="106193"/>
                          <a:pt x="1672918" y="150646"/>
                        </a:cubicBezTo>
                        <a:cubicBezTo>
                          <a:pt x="1710024" y="180281"/>
                          <a:pt x="1744656" y="214856"/>
                          <a:pt x="1781762" y="244491"/>
                        </a:cubicBezTo>
                        <a:cubicBezTo>
                          <a:pt x="1796604" y="259309"/>
                          <a:pt x="1813920" y="274126"/>
                          <a:pt x="1831236" y="284005"/>
                        </a:cubicBezTo>
                        <a:cubicBezTo>
                          <a:pt x="1868341" y="306231"/>
                          <a:pt x="1900500" y="330927"/>
                          <a:pt x="1930184" y="358093"/>
                        </a:cubicBezTo>
                        <a:cubicBezTo>
                          <a:pt x="1954921" y="382789"/>
                          <a:pt x="1969764" y="412424"/>
                          <a:pt x="1967290" y="449468"/>
                        </a:cubicBezTo>
                        <a:cubicBezTo>
                          <a:pt x="1967290" y="484043"/>
                          <a:pt x="1969764" y="521087"/>
                          <a:pt x="1969764" y="560601"/>
                        </a:cubicBezTo>
                        <a:cubicBezTo>
                          <a:pt x="2004396" y="545783"/>
                          <a:pt x="2036554" y="530966"/>
                          <a:pt x="2068712" y="518618"/>
                        </a:cubicBezTo>
                        <a:cubicBezTo>
                          <a:pt x="2100870" y="506269"/>
                          <a:pt x="2133029" y="493921"/>
                          <a:pt x="2165187" y="479104"/>
                        </a:cubicBezTo>
                        <a:cubicBezTo>
                          <a:pt x="2110765" y="484043"/>
                          <a:pt x="2061291" y="503800"/>
                          <a:pt x="2014290" y="526026"/>
                        </a:cubicBezTo>
                        <a:cubicBezTo>
                          <a:pt x="1999448" y="518618"/>
                          <a:pt x="1999448" y="511209"/>
                          <a:pt x="2009343" y="501330"/>
                        </a:cubicBezTo>
                        <a:cubicBezTo>
                          <a:pt x="2031606" y="471695"/>
                          <a:pt x="2053870" y="439590"/>
                          <a:pt x="2078607" y="409955"/>
                        </a:cubicBezTo>
                        <a:cubicBezTo>
                          <a:pt x="2083554" y="402546"/>
                          <a:pt x="2083554" y="395137"/>
                          <a:pt x="2076133" y="387728"/>
                        </a:cubicBezTo>
                        <a:cubicBezTo>
                          <a:pt x="2071186" y="380319"/>
                          <a:pt x="2066238" y="375380"/>
                          <a:pt x="2058817" y="370441"/>
                        </a:cubicBezTo>
                        <a:cubicBezTo>
                          <a:pt x="2014290" y="338336"/>
                          <a:pt x="1974711" y="301292"/>
                          <a:pt x="1940079" y="256839"/>
                        </a:cubicBezTo>
                        <a:cubicBezTo>
                          <a:pt x="1932658" y="246961"/>
                          <a:pt x="1925237" y="234613"/>
                          <a:pt x="1920289" y="222265"/>
                        </a:cubicBezTo>
                        <a:cubicBezTo>
                          <a:pt x="1915342" y="209917"/>
                          <a:pt x="1920289" y="204977"/>
                          <a:pt x="1930184" y="195099"/>
                        </a:cubicBezTo>
                        <a:cubicBezTo>
                          <a:pt x="1940079" y="190160"/>
                          <a:pt x="1947500" y="185220"/>
                          <a:pt x="1954921" y="180281"/>
                        </a:cubicBezTo>
                        <a:cubicBezTo>
                          <a:pt x="1962343" y="172872"/>
                          <a:pt x="1969764" y="165464"/>
                          <a:pt x="1979659" y="162994"/>
                        </a:cubicBezTo>
                        <a:cubicBezTo>
                          <a:pt x="2016764" y="145707"/>
                          <a:pt x="2056344" y="125950"/>
                          <a:pt x="2095923" y="111132"/>
                        </a:cubicBezTo>
                        <a:cubicBezTo>
                          <a:pt x="2145397" y="91375"/>
                          <a:pt x="2194871" y="76558"/>
                          <a:pt x="2249293" y="69149"/>
                        </a:cubicBezTo>
                        <a:cubicBezTo>
                          <a:pt x="2269083" y="66679"/>
                          <a:pt x="2288872" y="74088"/>
                          <a:pt x="2306188" y="86436"/>
                        </a:cubicBezTo>
                        <a:cubicBezTo>
                          <a:pt x="2375452" y="128420"/>
                          <a:pt x="2437295" y="177812"/>
                          <a:pt x="2489243" y="239552"/>
                        </a:cubicBezTo>
                        <a:cubicBezTo>
                          <a:pt x="2504085" y="259309"/>
                          <a:pt x="2521401" y="276596"/>
                          <a:pt x="2523875" y="303762"/>
                        </a:cubicBezTo>
                        <a:cubicBezTo>
                          <a:pt x="2523875" y="308701"/>
                          <a:pt x="2533770" y="316110"/>
                          <a:pt x="2538717" y="321049"/>
                        </a:cubicBezTo>
                        <a:cubicBezTo>
                          <a:pt x="2556033" y="335866"/>
                          <a:pt x="2575823" y="350684"/>
                          <a:pt x="2585718" y="375380"/>
                        </a:cubicBezTo>
                        <a:cubicBezTo>
                          <a:pt x="2573349" y="382789"/>
                          <a:pt x="2563455" y="387728"/>
                          <a:pt x="2548612" y="390198"/>
                        </a:cubicBezTo>
                        <a:cubicBezTo>
                          <a:pt x="2518928" y="395137"/>
                          <a:pt x="2486769" y="400076"/>
                          <a:pt x="2457085" y="407485"/>
                        </a:cubicBezTo>
                        <a:cubicBezTo>
                          <a:pt x="2405137" y="419833"/>
                          <a:pt x="2353189" y="432181"/>
                          <a:pt x="2301241" y="446999"/>
                        </a:cubicBezTo>
                        <a:cubicBezTo>
                          <a:pt x="2266609" y="456877"/>
                          <a:pt x="2234451" y="469225"/>
                          <a:pt x="2199819" y="481573"/>
                        </a:cubicBezTo>
                        <a:cubicBezTo>
                          <a:pt x="2145397" y="503800"/>
                          <a:pt x="2088502" y="526026"/>
                          <a:pt x="2034080" y="550722"/>
                        </a:cubicBezTo>
                        <a:cubicBezTo>
                          <a:pt x="2014290" y="558131"/>
                          <a:pt x="1992027" y="565540"/>
                          <a:pt x="1972237" y="575419"/>
                        </a:cubicBezTo>
                        <a:cubicBezTo>
                          <a:pt x="1969764" y="612463"/>
                          <a:pt x="1977185" y="649507"/>
                          <a:pt x="1977185" y="691490"/>
                        </a:cubicBezTo>
                        <a:cubicBezTo>
                          <a:pt x="1999448" y="681612"/>
                          <a:pt x="2019238" y="674203"/>
                          <a:pt x="2039028" y="669264"/>
                        </a:cubicBezTo>
                        <a:cubicBezTo>
                          <a:pt x="2056344" y="661855"/>
                          <a:pt x="2073660" y="659385"/>
                          <a:pt x="2093449" y="654446"/>
                        </a:cubicBezTo>
                        <a:cubicBezTo>
                          <a:pt x="2095923" y="654446"/>
                          <a:pt x="2100870" y="656916"/>
                          <a:pt x="2103344" y="654446"/>
                        </a:cubicBezTo>
                        <a:cubicBezTo>
                          <a:pt x="2137976" y="637159"/>
                          <a:pt x="2177555" y="637159"/>
                          <a:pt x="2214661" y="624811"/>
                        </a:cubicBezTo>
                        <a:cubicBezTo>
                          <a:pt x="2241872" y="614932"/>
                          <a:pt x="2271557" y="612463"/>
                          <a:pt x="2298767" y="607523"/>
                        </a:cubicBezTo>
                        <a:cubicBezTo>
                          <a:pt x="2303715" y="607523"/>
                          <a:pt x="2308662" y="607523"/>
                          <a:pt x="2313610" y="605054"/>
                        </a:cubicBezTo>
                        <a:cubicBezTo>
                          <a:pt x="2365558" y="590236"/>
                          <a:pt x="2422453" y="587767"/>
                          <a:pt x="2476875" y="577888"/>
                        </a:cubicBezTo>
                        <a:cubicBezTo>
                          <a:pt x="2499138" y="572949"/>
                          <a:pt x="2521401" y="580358"/>
                          <a:pt x="2541191" y="592706"/>
                        </a:cubicBezTo>
                        <a:cubicBezTo>
                          <a:pt x="2600560" y="632220"/>
                          <a:pt x="2654982" y="676672"/>
                          <a:pt x="2701982" y="733473"/>
                        </a:cubicBezTo>
                        <a:cubicBezTo>
                          <a:pt x="2721772" y="758169"/>
                          <a:pt x="2729193" y="770518"/>
                          <a:pt x="2687140" y="792744"/>
                        </a:cubicBezTo>
                        <a:cubicBezTo>
                          <a:pt x="2679719" y="797683"/>
                          <a:pt x="2674772" y="802622"/>
                          <a:pt x="2669824" y="805092"/>
                        </a:cubicBezTo>
                        <a:cubicBezTo>
                          <a:pt x="2667350" y="807562"/>
                          <a:pt x="2664877" y="812501"/>
                          <a:pt x="2659929" y="812501"/>
                        </a:cubicBezTo>
                        <a:cubicBezTo>
                          <a:pt x="2612929" y="827318"/>
                          <a:pt x="2570876" y="856954"/>
                          <a:pt x="2518928" y="859423"/>
                        </a:cubicBezTo>
                        <a:cubicBezTo>
                          <a:pt x="2509033" y="859423"/>
                          <a:pt x="2499138" y="861893"/>
                          <a:pt x="2489243" y="864363"/>
                        </a:cubicBezTo>
                        <a:cubicBezTo>
                          <a:pt x="2452138" y="876711"/>
                          <a:pt x="2412558" y="881650"/>
                          <a:pt x="2372979" y="881650"/>
                        </a:cubicBezTo>
                        <a:cubicBezTo>
                          <a:pt x="2353189" y="881650"/>
                          <a:pt x="2333399" y="881650"/>
                          <a:pt x="2313610" y="879180"/>
                        </a:cubicBezTo>
                        <a:cubicBezTo>
                          <a:pt x="2291346" y="876711"/>
                          <a:pt x="2266609" y="881650"/>
                          <a:pt x="2244346" y="884119"/>
                        </a:cubicBezTo>
                        <a:cubicBezTo>
                          <a:pt x="2217135" y="886589"/>
                          <a:pt x="2189924" y="891528"/>
                          <a:pt x="2162713" y="896468"/>
                        </a:cubicBezTo>
                        <a:cubicBezTo>
                          <a:pt x="2160239" y="896468"/>
                          <a:pt x="2157766" y="893998"/>
                          <a:pt x="2155292" y="893998"/>
                        </a:cubicBezTo>
                        <a:cubicBezTo>
                          <a:pt x="2160239" y="884119"/>
                          <a:pt x="2165187" y="879180"/>
                          <a:pt x="2177555" y="879180"/>
                        </a:cubicBezTo>
                        <a:cubicBezTo>
                          <a:pt x="2197345" y="879180"/>
                          <a:pt x="2202293" y="874241"/>
                          <a:pt x="2204766" y="854484"/>
                        </a:cubicBezTo>
                        <a:cubicBezTo>
                          <a:pt x="2197345" y="847075"/>
                          <a:pt x="2189924" y="852015"/>
                          <a:pt x="2182503" y="854484"/>
                        </a:cubicBezTo>
                        <a:cubicBezTo>
                          <a:pt x="2162713" y="861893"/>
                          <a:pt x="2140450" y="869302"/>
                          <a:pt x="2118186" y="869302"/>
                        </a:cubicBezTo>
                        <a:cubicBezTo>
                          <a:pt x="2098397" y="871771"/>
                          <a:pt x="2081081" y="881650"/>
                          <a:pt x="2063765" y="886589"/>
                        </a:cubicBezTo>
                        <a:cubicBezTo>
                          <a:pt x="2056344" y="889059"/>
                          <a:pt x="2048922" y="889059"/>
                          <a:pt x="2041501" y="893998"/>
                        </a:cubicBezTo>
                        <a:cubicBezTo>
                          <a:pt x="2036554" y="893998"/>
                          <a:pt x="2034080" y="896468"/>
                          <a:pt x="2031606" y="898937"/>
                        </a:cubicBezTo>
                        <a:cubicBezTo>
                          <a:pt x="2026659" y="901407"/>
                          <a:pt x="2024185" y="908816"/>
                          <a:pt x="2021712" y="906346"/>
                        </a:cubicBezTo>
                        <a:cubicBezTo>
                          <a:pt x="1999448" y="901407"/>
                          <a:pt x="1987080" y="926103"/>
                          <a:pt x="1967290" y="928572"/>
                        </a:cubicBezTo>
                        <a:cubicBezTo>
                          <a:pt x="1952448" y="931042"/>
                          <a:pt x="1949974" y="940920"/>
                          <a:pt x="1952448" y="960677"/>
                        </a:cubicBezTo>
                        <a:cubicBezTo>
                          <a:pt x="1957395" y="982904"/>
                          <a:pt x="1962343" y="1002661"/>
                          <a:pt x="1964816" y="1024887"/>
                        </a:cubicBezTo>
                        <a:cubicBezTo>
                          <a:pt x="1972237" y="1059462"/>
                          <a:pt x="1974711" y="1091567"/>
                          <a:pt x="1979659" y="1126141"/>
                        </a:cubicBezTo>
                        <a:cubicBezTo>
                          <a:pt x="1982132" y="1138489"/>
                          <a:pt x="1987080" y="1153307"/>
                          <a:pt x="1989553" y="1168124"/>
                        </a:cubicBezTo>
                        <a:cubicBezTo>
                          <a:pt x="1996974" y="1205168"/>
                          <a:pt x="2001922" y="1242213"/>
                          <a:pt x="2009343" y="1281726"/>
                        </a:cubicBezTo>
                        <a:cubicBezTo>
                          <a:pt x="2016764" y="1318770"/>
                          <a:pt x="2029133" y="1355815"/>
                          <a:pt x="2036554" y="1392859"/>
                        </a:cubicBezTo>
                        <a:cubicBezTo>
                          <a:pt x="2046449" y="1434842"/>
                          <a:pt x="2048922" y="1474356"/>
                          <a:pt x="2061291" y="1513869"/>
                        </a:cubicBezTo>
                        <a:cubicBezTo>
                          <a:pt x="2078607" y="1570670"/>
                          <a:pt x="2081081" y="1632411"/>
                          <a:pt x="2098397" y="1689211"/>
                        </a:cubicBezTo>
                        <a:cubicBezTo>
                          <a:pt x="2108291" y="1718847"/>
                          <a:pt x="2113239" y="1750952"/>
                          <a:pt x="2120660" y="1780587"/>
                        </a:cubicBezTo>
                        <a:cubicBezTo>
                          <a:pt x="2125607" y="1795405"/>
                          <a:pt x="2130555" y="1807753"/>
                          <a:pt x="2135502" y="1822570"/>
                        </a:cubicBezTo>
                        <a:cubicBezTo>
                          <a:pt x="2145397" y="1852206"/>
                          <a:pt x="2155292" y="1884310"/>
                          <a:pt x="2160239" y="1913946"/>
                        </a:cubicBezTo>
                        <a:cubicBezTo>
                          <a:pt x="2167661" y="1955929"/>
                          <a:pt x="2184977" y="1995443"/>
                          <a:pt x="2199819" y="2032487"/>
                        </a:cubicBezTo>
                        <a:cubicBezTo>
                          <a:pt x="2202293" y="2039896"/>
                          <a:pt x="2202293" y="2047305"/>
                          <a:pt x="2207240" y="2054713"/>
                        </a:cubicBezTo>
                        <a:cubicBezTo>
                          <a:pt x="2209714" y="2059653"/>
                          <a:pt x="2214661" y="2064592"/>
                          <a:pt x="2219609" y="2064592"/>
                        </a:cubicBezTo>
                        <a:cubicBezTo>
                          <a:pt x="2222082" y="2064592"/>
                          <a:pt x="2227030" y="2059653"/>
                          <a:pt x="2229503" y="2054713"/>
                        </a:cubicBezTo>
                        <a:cubicBezTo>
                          <a:pt x="2231977" y="2052244"/>
                          <a:pt x="2231977" y="2047305"/>
                          <a:pt x="2234451" y="2042365"/>
                        </a:cubicBezTo>
                        <a:cubicBezTo>
                          <a:pt x="2236925" y="1995443"/>
                          <a:pt x="2239398" y="1950990"/>
                          <a:pt x="2244346" y="1904067"/>
                        </a:cubicBezTo>
                        <a:cubicBezTo>
                          <a:pt x="2246819" y="1871962"/>
                          <a:pt x="2249293" y="1839858"/>
                          <a:pt x="2251767" y="1805283"/>
                        </a:cubicBezTo>
                        <a:cubicBezTo>
                          <a:pt x="2256714" y="1746012"/>
                          <a:pt x="2259188" y="1686742"/>
                          <a:pt x="2264135" y="1629941"/>
                        </a:cubicBezTo>
                        <a:cubicBezTo>
                          <a:pt x="2264135" y="1622532"/>
                          <a:pt x="2264135" y="1617593"/>
                          <a:pt x="2269083" y="1610184"/>
                        </a:cubicBezTo>
                        <a:cubicBezTo>
                          <a:pt x="2276504" y="1639819"/>
                          <a:pt x="2283925" y="1666985"/>
                          <a:pt x="2291346" y="1696620"/>
                        </a:cubicBezTo>
                        <a:cubicBezTo>
                          <a:pt x="2296294" y="1694151"/>
                          <a:pt x="2298767" y="1694151"/>
                          <a:pt x="2298767" y="1694151"/>
                        </a:cubicBezTo>
                        <a:cubicBezTo>
                          <a:pt x="2306188" y="1669455"/>
                          <a:pt x="2316083" y="1644759"/>
                          <a:pt x="2303715" y="1617593"/>
                        </a:cubicBezTo>
                        <a:cubicBezTo>
                          <a:pt x="2301241" y="1612654"/>
                          <a:pt x="2301241" y="1610184"/>
                          <a:pt x="2301241" y="1605245"/>
                        </a:cubicBezTo>
                        <a:cubicBezTo>
                          <a:pt x="2296294" y="1560792"/>
                          <a:pt x="2288872" y="1513869"/>
                          <a:pt x="2286399" y="1469416"/>
                        </a:cubicBezTo>
                        <a:cubicBezTo>
                          <a:pt x="2283925" y="1452129"/>
                          <a:pt x="2283925" y="1432372"/>
                          <a:pt x="2286399" y="1415085"/>
                        </a:cubicBezTo>
                        <a:cubicBezTo>
                          <a:pt x="2286399" y="1410146"/>
                          <a:pt x="2291346" y="1400267"/>
                          <a:pt x="2296294" y="1397798"/>
                        </a:cubicBezTo>
                        <a:cubicBezTo>
                          <a:pt x="2306188" y="1390389"/>
                          <a:pt x="2306188" y="1380511"/>
                          <a:pt x="2306188" y="1368163"/>
                        </a:cubicBezTo>
                        <a:cubicBezTo>
                          <a:pt x="2306188" y="1353345"/>
                          <a:pt x="2306188" y="1340997"/>
                          <a:pt x="2308662" y="1326179"/>
                        </a:cubicBezTo>
                        <a:cubicBezTo>
                          <a:pt x="2358136" y="1378041"/>
                          <a:pt x="2392768" y="1439781"/>
                          <a:pt x="2434822" y="1496582"/>
                        </a:cubicBezTo>
                        <a:cubicBezTo>
                          <a:pt x="2432348" y="1469416"/>
                          <a:pt x="2415032" y="1447190"/>
                          <a:pt x="2405137" y="1420024"/>
                        </a:cubicBezTo>
                        <a:cubicBezTo>
                          <a:pt x="2395242" y="1395328"/>
                          <a:pt x="2385347" y="1370632"/>
                          <a:pt x="2375452" y="1343466"/>
                        </a:cubicBezTo>
                        <a:cubicBezTo>
                          <a:pt x="2380400" y="1348406"/>
                          <a:pt x="2382874" y="1350875"/>
                          <a:pt x="2387821" y="1355815"/>
                        </a:cubicBezTo>
                        <a:cubicBezTo>
                          <a:pt x="2447190" y="1434842"/>
                          <a:pt x="2494191" y="1521278"/>
                          <a:pt x="2531296" y="1612654"/>
                        </a:cubicBezTo>
                        <a:cubicBezTo>
                          <a:pt x="2558507" y="1679333"/>
                          <a:pt x="2585718" y="1743543"/>
                          <a:pt x="2617876" y="1807753"/>
                        </a:cubicBezTo>
                        <a:cubicBezTo>
                          <a:pt x="2657456" y="1894189"/>
                          <a:pt x="2684666" y="1985564"/>
                          <a:pt x="2711877" y="2076940"/>
                        </a:cubicBezTo>
                        <a:cubicBezTo>
                          <a:pt x="2726720" y="2128802"/>
                          <a:pt x="2741562" y="2180663"/>
                          <a:pt x="2746509" y="2232525"/>
                        </a:cubicBezTo>
                        <a:cubicBezTo>
                          <a:pt x="2751457" y="2267100"/>
                          <a:pt x="2756404" y="2299204"/>
                          <a:pt x="2748983" y="2336249"/>
                        </a:cubicBezTo>
                        <a:cubicBezTo>
                          <a:pt x="2744036" y="2353536"/>
                          <a:pt x="2748983" y="2373293"/>
                          <a:pt x="2748983" y="2390580"/>
                        </a:cubicBezTo>
                        <a:cubicBezTo>
                          <a:pt x="2751457" y="2417746"/>
                          <a:pt x="2746509" y="2439972"/>
                          <a:pt x="2731667" y="2462198"/>
                        </a:cubicBezTo>
                        <a:cubicBezTo>
                          <a:pt x="2719298" y="2477016"/>
                          <a:pt x="2714351" y="2499243"/>
                          <a:pt x="2706930" y="2516530"/>
                        </a:cubicBezTo>
                        <a:cubicBezTo>
                          <a:pt x="2694561" y="2536287"/>
                          <a:pt x="2679719" y="2553574"/>
                          <a:pt x="2654982" y="2563452"/>
                        </a:cubicBezTo>
                        <a:cubicBezTo>
                          <a:pt x="2635192" y="2573331"/>
                          <a:pt x="2620350" y="2588148"/>
                          <a:pt x="2598087" y="2593088"/>
                        </a:cubicBezTo>
                        <a:cubicBezTo>
                          <a:pt x="2575823" y="2595557"/>
                          <a:pt x="2556033" y="2595557"/>
                          <a:pt x="2533770" y="2588148"/>
                        </a:cubicBezTo>
                        <a:cubicBezTo>
                          <a:pt x="2489243" y="2575800"/>
                          <a:pt x="2449664" y="2551104"/>
                          <a:pt x="2412558" y="2526408"/>
                        </a:cubicBezTo>
                        <a:cubicBezTo>
                          <a:pt x="2274030" y="2432563"/>
                          <a:pt x="2150345" y="2321431"/>
                          <a:pt x="2041501" y="2195481"/>
                        </a:cubicBezTo>
                        <a:cubicBezTo>
                          <a:pt x="1992027" y="2141150"/>
                          <a:pt x="1949974" y="2081879"/>
                          <a:pt x="1917816" y="2015200"/>
                        </a:cubicBezTo>
                        <a:cubicBezTo>
                          <a:pt x="1900500" y="1980625"/>
                          <a:pt x="1880710" y="1948520"/>
                          <a:pt x="1863394" y="1913946"/>
                        </a:cubicBezTo>
                        <a:cubicBezTo>
                          <a:pt x="1858447" y="1901598"/>
                          <a:pt x="1851025" y="1886780"/>
                          <a:pt x="1846078" y="1874432"/>
                        </a:cubicBezTo>
                        <a:cubicBezTo>
                          <a:pt x="1833709" y="1844797"/>
                          <a:pt x="1818867" y="1815161"/>
                          <a:pt x="1808972" y="1785526"/>
                        </a:cubicBezTo>
                        <a:cubicBezTo>
                          <a:pt x="1796604" y="1746012"/>
                          <a:pt x="1784235" y="1706499"/>
                          <a:pt x="1771867" y="1664515"/>
                        </a:cubicBezTo>
                        <a:cubicBezTo>
                          <a:pt x="1759498" y="1629941"/>
                          <a:pt x="1749603" y="1597836"/>
                          <a:pt x="1739708" y="1563262"/>
                        </a:cubicBezTo>
                        <a:cubicBezTo>
                          <a:pt x="1729814" y="1523748"/>
                          <a:pt x="1722392" y="1484234"/>
                          <a:pt x="1710024" y="1444720"/>
                        </a:cubicBezTo>
                        <a:cubicBezTo>
                          <a:pt x="1692708" y="1390389"/>
                          <a:pt x="1672918" y="1336058"/>
                          <a:pt x="1655602" y="1279257"/>
                        </a:cubicBezTo>
                        <a:cubicBezTo>
                          <a:pt x="1640760" y="1229865"/>
                          <a:pt x="1628391" y="1180472"/>
                          <a:pt x="1616023" y="1128611"/>
                        </a:cubicBezTo>
                        <a:cubicBezTo>
                          <a:pt x="1611075" y="1113793"/>
                          <a:pt x="1606128" y="1096506"/>
                          <a:pt x="1603654" y="1079219"/>
                        </a:cubicBezTo>
                        <a:cubicBezTo>
                          <a:pt x="1596233" y="1079219"/>
                          <a:pt x="1588812" y="1081688"/>
                          <a:pt x="1581391" y="1084158"/>
                        </a:cubicBezTo>
                        <a:cubicBezTo>
                          <a:pt x="1549233" y="1098975"/>
                          <a:pt x="1517074" y="1111323"/>
                          <a:pt x="1484916" y="1126141"/>
                        </a:cubicBezTo>
                        <a:cubicBezTo>
                          <a:pt x="1467600" y="1136019"/>
                          <a:pt x="1450284" y="1148368"/>
                          <a:pt x="1435442" y="1158246"/>
                        </a:cubicBezTo>
                        <a:cubicBezTo>
                          <a:pt x="1430494" y="1160716"/>
                          <a:pt x="1425547" y="1160716"/>
                          <a:pt x="1420600" y="1163185"/>
                        </a:cubicBezTo>
                        <a:cubicBezTo>
                          <a:pt x="1403284" y="1170594"/>
                          <a:pt x="1383494" y="1175533"/>
                          <a:pt x="1363704" y="1182942"/>
                        </a:cubicBezTo>
                        <a:cubicBezTo>
                          <a:pt x="1351336" y="1187881"/>
                          <a:pt x="1338967" y="1190351"/>
                          <a:pt x="1346388" y="1207638"/>
                        </a:cubicBezTo>
                        <a:cubicBezTo>
                          <a:pt x="1348862" y="1210108"/>
                          <a:pt x="1346388" y="1215047"/>
                          <a:pt x="1346388" y="1217517"/>
                        </a:cubicBezTo>
                        <a:cubicBezTo>
                          <a:pt x="1334020" y="1237273"/>
                          <a:pt x="1321651" y="1257030"/>
                          <a:pt x="1311756" y="1279257"/>
                        </a:cubicBezTo>
                        <a:cubicBezTo>
                          <a:pt x="1304335" y="1299014"/>
                          <a:pt x="1299388" y="1321240"/>
                          <a:pt x="1291966" y="1343466"/>
                        </a:cubicBezTo>
                        <a:cubicBezTo>
                          <a:pt x="1289493" y="1350875"/>
                          <a:pt x="1287019" y="1358284"/>
                          <a:pt x="1287019" y="1365693"/>
                        </a:cubicBezTo>
                        <a:cubicBezTo>
                          <a:pt x="1282072" y="1387919"/>
                          <a:pt x="1277124" y="1410146"/>
                          <a:pt x="1274650" y="1432372"/>
                        </a:cubicBezTo>
                        <a:cubicBezTo>
                          <a:pt x="1274650" y="1447190"/>
                          <a:pt x="1289493" y="1454599"/>
                          <a:pt x="1306809" y="1447190"/>
                        </a:cubicBezTo>
                        <a:cubicBezTo>
                          <a:pt x="1316704" y="1442251"/>
                          <a:pt x="1326598" y="1437312"/>
                          <a:pt x="1336493" y="1432372"/>
                        </a:cubicBezTo>
                        <a:cubicBezTo>
                          <a:pt x="1356283" y="1422494"/>
                          <a:pt x="1376073" y="1427433"/>
                          <a:pt x="1393389" y="1439781"/>
                        </a:cubicBezTo>
                        <a:cubicBezTo>
                          <a:pt x="1450284" y="1474356"/>
                          <a:pt x="1499758" y="1516339"/>
                          <a:pt x="1541811" y="1568201"/>
                        </a:cubicBezTo>
                        <a:cubicBezTo>
                          <a:pt x="1561601" y="1592897"/>
                          <a:pt x="1561601" y="1597836"/>
                          <a:pt x="1544285" y="1622532"/>
                        </a:cubicBezTo>
                        <a:cubicBezTo>
                          <a:pt x="1544285" y="1625002"/>
                          <a:pt x="1541811" y="1627471"/>
                          <a:pt x="1541811" y="1629941"/>
                        </a:cubicBezTo>
                        <a:cubicBezTo>
                          <a:pt x="1534390" y="1664515"/>
                          <a:pt x="1507179" y="1681803"/>
                          <a:pt x="1479969" y="1699090"/>
                        </a:cubicBezTo>
                        <a:cubicBezTo>
                          <a:pt x="1435442" y="1726256"/>
                          <a:pt x="1388441" y="1746012"/>
                          <a:pt x="1343914" y="1770709"/>
                        </a:cubicBezTo>
                        <a:cubicBezTo>
                          <a:pt x="1326598" y="1783057"/>
                          <a:pt x="1311756" y="1795405"/>
                          <a:pt x="1301861" y="1812692"/>
                        </a:cubicBezTo>
                        <a:cubicBezTo>
                          <a:pt x="1296914" y="1817631"/>
                          <a:pt x="1294440" y="1822570"/>
                          <a:pt x="1294440" y="1829979"/>
                        </a:cubicBezTo>
                        <a:cubicBezTo>
                          <a:pt x="1291966" y="1857145"/>
                          <a:pt x="1289493" y="1884310"/>
                          <a:pt x="1284545" y="1916415"/>
                        </a:cubicBezTo>
                        <a:cubicBezTo>
                          <a:pt x="1296914" y="1911476"/>
                          <a:pt x="1309282" y="1909007"/>
                          <a:pt x="1319177" y="1901598"/>
                        </a:cubicBezTo>
                        <a:cubicBezTo>
                          <a:pt x="1385968" y="1859614"/>
                          <a:pt x="1460179" y="1827509"/>
                          <a:pt x="1531917" y="1795405"/>
                        </a:cubicBezTo>
                        <a:cubicBezTo>
                          <a:pt x="1544285" y="1790465"/>
                          <a:pt x="1556654" y="1787996"/>
                          <a:pt x="1569022" y="1787996"/>
                        </a:cubicBezTo>
                        <a:cubicBezTo>
                          <a:pt x="1541811" y="1805283"/>
                          <a:pt x="1514601" y="1820101"/>
                          <a:pt x="1487390" y="1837388"/>
                        </a:cubicBezTo>
                        <a:cubicBezTo>
                          <a:pt x="1487390" y="1837388"/>
                          <a:pt x="1487390" y="1839858"/>
                          <a:pt x="1487390" y="1839858"/>
                        </a:cubicBezTo>
                        <a:cubicBezTo>
                          <a:pt x="1514601" y="1832449"/>
                          <a:pt x="1541811" y="1825040"/>
                          <a:pt x="1569022" y="1817631"/>
                        </a:cubicBezTo>
                        <a:cubicBezTo>
                          <a:pt x="1571496" y="1820101"/>
                          <a:pt x="1571496" y="1822570"/>
                          <a:pt x="1571496" y="1825040"/>
                        </a:cubicBezTo>
                        <a:cubicBezTo>
                          <a:pt x="1546759" y="1849736"/>
                          <a:pt x="1512127" y="1864554"/>
                          <a:pt x="1484916" y="1886780"/>
                        </a:cubicBezTo>
                        <a:cubicBezTo>
                          <a:pt x="1497285" y="1896658"/>
                          <a:pt x="1489863" y="1906537"/>
                          <a:pt x="1484916" y="1918885"/>
                        </a:cubicBezTo>
                        <a:cubicBezTo>
                          <a:pt x="1487390" y="1921355"/>
                          <a:pt x="1489863" y="1921355"/>
                          <a:pt x="1494811" y="1923824"/>
                        </a:cubicBezTo>
                        <a:cubicBezTo>
                          <a:pt x="1477495" y="1943581"/>
                          <a:pt x="1452758" y="1950990"/>
                          <a:pt x="1437915" y="1978156"/>
                        </a:cubicBezTo>
                        <a:cubicBezTo>
                          <a:pt x="1467600" y="1965807"/>
                          <a:pt x="1494811" y="1953459"/>
                          <a:pt x="1519548" y="1941111"/>
                        </a:cubicBezTo>
                        <a:cubicBezTo>
                          <a:pt x="1522022" y="1941111"/>
                          <a:pt x="1522022" y="1943581"/>
                          <a:pt x="1524495" y="1943581"/>
                        </a:cubicBezTo>
                        <a:cubicBezTo>
                          <a:pt x="1519548" y="1948520"/>
                          <a:pt x="1517074" y="1953459"/>
                          <a:pt x="1514601" y="1958399"/>
                        </a:cubicBezTo>
                        <a:cubicBezTo>
                          <a:pt x="1479969" y="1992973"/>
                          <a:pt x="1445337" y="2027548"/>
                          <a:pt x="1410705" y="2059653"/>
                        </a:cubicBezTo>
                        <a:cubicBezTo>
                          <a:pt x="1381020" y="2084349"/>
                          <a:pt x="1356283" y="2111514"/>
                          <a:pt x="1329072" y="2138680"/>
                        </a:cubicBezTo>
                        <a:cubicBezTo>
                          <a:pt x="1304335" y="2165846"/>
                          <a:pt x="1277124" y="2190542"/>
                          <a:pt x="1249913" y="2215238"/>
                        </a:cubicBezTo>
                        <a:cubicBezTo>
                          <a:pt x="1235071" y="2227586"/>
                          <a:pt x="1217755" y="2237464"/>
                          <a:pt x="1202913" y="2247343"/>
                        </a:cubicBezTo>
                        <a:cubicBezTo>
                          <a:pt x="1197965" y="2252282"/>
                          <a:pt x="1193018" y="2259691"/>
                          <a:pt x="1183123" y="2269569"/>
                        </a:cubicBezTo>
                        <a:cubicBezTo>
                          <a:pt x="1193018" y="2269569"/>
                          <a:pt x="1197965" y="2269569"/>
                          <a:pt x="1205387" y="2269569"/>
                        </a:cubicBezTo>
                        <a:cubicBezTo>
                          <a:pt x="1148491" y="2336249"/>
                          <a:pt x="1089122" y="2400458"/>
                          <a:pt x="1039648" y="2469607"/>
                        </a:cubicBezTo>
                        <a:cubicBezTo>
                          <a:pt x="987700" y="2538756"/>
                          <a:pt x="945647" y="2612845"/>
                          <a:pt x="898646" y="2684463"/>
                        </a:cubicBezTo>
                        <a:cubicBezTo>
                          <a:pt x="859067" y="2677054"/>
                          <a:pt x="829382" y="2654828"/>
                          <a:pt x="802171" y="2632601"/>
                        </a:cubicBezTo>
                        <a:cubicBezTo>
                          <a:pt x="789803" y="2622723"/>
                          <a:pt x="784855" y="2612845"/>
                          <a:pt x="784855" y="2598027"/>
                        </a:cubicBezTo>
                        <a:cubicBezTo>
                          <a:pt x="779908" y="2556044"/>
                          <a:pt x="777434" y="2514060"/>
                          <a:pt x="770013" y="2474547"/>
                        </a:cubicBezTo>
                        <a:cubicBezTo>
                          <a:pt x="765066" y="2449850"/>
                          <a:pt x="760118" y="2427624"/>
                          <a:pt x="760118" y="2402928"/>
                        </a:cubicBezTo>
                        <a:cubicBezTo>
                          <a:pt x="757645" y="2400458"/>
                          <a:pt x="757645" y="2395519"/>
                          <a:pt x="755171" y="2393049"/>
                        </a:cubicBezTo>
                        <a:cubicBezTo>
                          <a:pt x="742802" y="2370823"/>
                          <a:pt x="732907" y="2351066"/>
                          <a:pt x="720539" y="2328840"/>
                        </a:cubicBezTo>
                        <a:cubicBezTo>
                          <a:pt x="762592" y="2291796"/>
                          <a:pt x="799698" y="2257221"/>
                          <a:pt x="841751" y="2222647"/>
                        </a:cubicBezTo>
                        <a:cubicBezTo>
                          <a:pt x="831856" y="2212768"/>
                          <a:pt x="824435" y="2205359"/>
                          <a:pt x="817014" y="2197951"/>
                        </a:cubicBezTo>
                        <a:cubicBezTo>
                          <a:pt x="787329" y="2168315"/>
                          <a:pt x="755171" y="2138680"/>
                          <a:pt x="725486" y="2109045"/>
                        </a:cubicBezTo>
                        <a:cubicBezTo>
                          <a:pt x="695802" y="2079409"/>
                          <a:pt x="683433" y="2044835"/>
                          <a:pt x="683433" y="2002852"/>
                        </a:cubicBezTo>
                        <a:cubicBezTo>
                          <a:pt x="683433" y="1968277"/>
                          <a:pt x="680959" y="1933703"/>
                          <a:pt x="695802" y="1899128"/>
                        </a:cubicBezTo>
                        <a:cubicBezTo>
                          <a:pt x="695802" y="1899128"/>
                          <a:pt x="698275" y="1896658"/>
                          <a:pt x="700749" y="1894189"/>
                        </a:cubicBezTo>
                        <a:cubicBezTo>
                          <a:pt x="703223" y="1904067"/>
                          <a:pt x="705697" y="1913946"/>
                          <a:pt x="708170" y="1921355"/>
                        </a:cubicBezTo>
                        <a:cubicBezTo>
                          <a:pt x="710644" y="1928763"/>
                          <a:pt x="713118" y="1933703"/>
                          <a:pt x="715591" y="1941111"/>
                        </a:cubicBezTo>
                        <a:cubicBezTo>
                          <a:pt x="715591" y="1918885"/>
                          <a:pt x="710644" y="1896658"/>
                          <a:pt x="723013" y="1871962"/>
                        </a:cubicBezTo>
                        <a:cubicBezTo>
                          <a:pt x="725486" y="1889250"/>
                          <a:pt x="727960" y="1906537"/>
                          <a:pt x="732907" y="1928763"/>
                        </a:cubicBezTo>
                        <a:cubicBezTo>
                          <a:pt x="740329" y="1911476"/>
                          <a:pt x="745276" y="1896658"/>
                          <a:pt x="752697" y="1884310"/>
                        </a:cubicBezTo>
                        <a:cubicBezTo>
                          <a:pt x="757645" y="1871962"/>
                          <a:pt x="757645" y="1857145"/>
                          <a:pt x="774961" y="1849736"/>
                        </a:cubicBezTo>
                        <a:cubicBezTo>
                          <a:pt x="774961" y="1849736"/>
                          <a:pt x="777434" y="1847266"/>
                          <a:pt x="777434" y="1844797"/>
                        </a:cubicBezTo>
                        <a:cubicBezTo>
                          <a:pt x="787329" y="1805283"/>
                          <a:pt x="802171" y="1765769"/>
                          <a:pt x="804645" y="1721316"/>
                        </a:cubicBezTo>
                        <a:cubicBezTo>
                          <a:pt x="804645" y="1711438"/>
                          <a:pt x="802171" y="1701560"/>
                          <a:pt x="802171" y="1686742"/>
                        </a:cubicBezTo>
                        <a:cubicBezTo>
                          <a:pt x="809593" y="1689211"/>
                          <a:pt x="817014" y="1689211"/>
                          <a:pt x="821961" y="1694151"/>
                        </a:cubicBezTo>
                        <a:cubicBezTo>
                          <a:pt x="873909" y="1726256"/>
                          <a:pt x="960489" y="1847266"/>
                          <a:pt x="962963" y="1862084"/>
                        </a:cubicBezTo>
                        <a:cubicBezTo>
                          <a:pt x="970384" y="1894189"/>
                          <a:pt x="975331" y="1928763"/>
                          <a:pt x="975331" y="1963338"/>
                        </a:cubicBezTo>
                        <a:cubicBezTo>
                          <a:pt x="975331" y="1988034"/>
                          <a:pt x="982752" y="2015200"/>
                          <a:pt x="987700" y="2042365"/>
                        </a:cubicBezTo>
                        <a:cubicBezTo>
                          <a:pt x="987700" y="2049774"/>
                          <a:pt x="987700" y="2059653"/>
                          <a:pt x="987700" y="2067061"/>
                        </a:cubicBezTo>
                        <a:cubicBezTo>
                          <a:pt x="987700" y="2076940"/>
                          <a:pt x="987700" y="2084349"/>
                          <a:pt x="987700" y="2094227"/>
                        </a:cubicBezTo>
                        <a:cubicBezTo>
                          <a:pt x="1017384" y="2086818"/>
                          <a:pt x="1034700" y="2067061"/>
                          <a:pt x="1054490" y="2049774"/>
                        </a:cubicBezTo>
                        <a:cubicBezTo>
                          <a:pt x="1032227" y="2030017"/>
                          <a:pt x="1044595" y="2005321"/>
                          <a:pt x="1047069" y="1983095"/>
                        </a:cubicBezTo>
                        <a:cubicBezTo>
                          <a:pt x="1047069" y="1958399"/>
                          <a:pt x="1054490" y="1933703"/>
                          <a:pt x="1056964" y="1909007"/>
                        </a:cubicBezTo>
                        <a:cubicBezTo>
                          <a:pt x="1064385" y="1859614"/>
                          <a:pt x="1069332" y="1810222"/>
                          <a:pt x="1074280" y="1760830"/>
                        </a:cubicBezTo>
                        <a:cubicBezTo>
                          <a:pt x="1076753" y="1750952"/>
                          <a:pt x="1079227" y="1743543"/>
                          <a:pt x="1079227" y="1736134"/>
                        </a:cubicBezTo>
                        <a:cubicBezTo>
                          <a:pt x="1084175" y="1711438"/>
                          <a:pt x="1086648" y="1684272"/>
                          <a:pt x="1089122" y="1659576"/>
                        </a:cubicBezTo>
                        <a:cubicBezTo>
                          <a:pt x="1094069" y="1629941"/>
                          <a:pt x="1099017" y="1602775"/>
                          <a:pt x="1103964" y="1573140"/>
                        </a:cubicBezTo>
                        <a:cubicBezTo>
                          <a:pt x="1108912" y="1553383"/>
                          <a:pt x="1113859" y="1531157"/>
                          <a:pt x="1118807" y="1508930"/>
                        </a:cubicBezTo>
                        <a:cubicBezTo>
                          <a:pt x="1128701" y="1469416"/>
                          <a:pt x="1136123" y="1427433"/>
                          <a:pt x="1146017" y="1387919"/>
                        </a:cubicBezTo>
                        <a:cubicBezTo>
                          <a:pt x="1150965" y="1363223"/>
                          <a:pt x="1155912" y="1338527"/>
                          <a:pt x="1163333" y="1313831"/>
                        </a:cubicBezTo>
                        <a:cubicBezTo>
                          <a:pt x="1165807" y="1306422"/>
                          <a:pt x="1168281" y="1296544"/>
                          <a:pt x="1173228" y="1289135"/>
                        </a:cubicBezTo>
                        <a:cubicBezTo>
                          <a:pt x="1153439" y="1291605"/>
                          <a:pt x="1106438" y="1318770"/>
                          <a:pt x="1094069" y="1333588"/>
                        </a:cubicBezTo>
                        <a:cubicBezTo>
                          <a:pt x="1086648" y="1338527"/>
                          <a:pt x="1079227" y="1343466"/>
                          <a:pt x="1071806" y="1348406"/>
                        </a:cubicBezTo>
                        <a:cubicBezTo>
                          <a:pt x="1064385" y="1355815"/>
                          <a:pt x="1056964" y="1360754"/>
                          <a:pt x="1047069" y="1365693"/>
                        </a:cubicBezTo>
                        <a:cubicBezTo>
                          <a:pt x="1042122" y="1368163"/>
                          <a:pt x="1034700" y="1370632"/>
                          <a:pt x="1029753" y="1375571"/>
                        </a:cubicBezTo>
                        <a:cubicBezTo>
                          <a:pt x="1017384" y="1382980"/>
                          <a:pt x="1007490" y="1387919"/>
                          <a:pt x="997595" y="1395328"/>
                        </a:cubicBezTo>
                        <a:cubicBezTo>
                          <a:pt x="990174" y="1400267"/>
                          <a:pt x="982752" y="1405207"/>
                          <a:pt x="975331" y="1407676"/>
                        </a:cubicBezTo>
                        <a:cubicBezTo>
                          <a:pt x="960489" y="1415085"/>
                          <a:pt x="945647" y="1420024"/>
                          <a:pt x="930804" y="1427433"/>
                        </a:cubicBezTo>
                        <a:cubicBezTo>
                          <a:pt x="915962" y="1434842"/>
                          <a:pt x="903594" y="1444720"/>
                          <a:pt x="898646" y="1459538"/>
                        </a:cubicBezTo>
                        <a:cubicBezTo>
                          <a:pt x="896173" y="1469416"/>
                          <a:pt x="888751" y="1474356"/>
                          <a:pt x="878857" y="1474356"/>
                        </a:cubicBezTo>
                        <a:cubicBezTo>
                          <a:pt x="868962" y="1474356"/>
                          <a:pt x="859067" y="1479295"/>
                          <a:pt x="854119" y="1489173"/>
                        </a:cubicBezTo>
                        <a:cubicBezTo>
                          <a:pt x="849172" y="1494113"/>
                          <a:pt x="841751" y="1496582"/>
                          <a:pt x="834330" y="1496582"/>
                        </a:cubicBezTo>
                        <a:cubicBezTo>
                          <a:pt x="817014" y="1501521"/>
                          <a:pt x="802171" y="1506461"/>
                          <a:pt x="792277" y="1521278"/>
                        </a:cubicBezTo>
                        <a:cubicBezTo>
                          <a:pt x="789803" y="1523748"/>
                          <a:pt x="787329" y="1526217"/>
                          <a:pt x="782382" y="1528687"/>
                        </a:cubicBezTo>
                        <a:cubicBezTo>
                          <a:pt x="725486" y="1565731"/>
                          <a:pt x="668591" y="1602775"/>
                          <a:pt x="611695" y="1642289"/>
                        </a:cubicBezTo>
                        <a:cubicBezTo>
                          <a:pt x="584484" y="1659576"/>
                          <a:pt x="562221" y="1679333"/>
                          <a:pt x="535010" y="1696620"/>
                        </a:cubicBezTo>
                        <a:cubicBezTo>
                          <a:pt x="512747" y="1708968"/>
                          <a:pt x="490483" y="1721316"/>
                          <a:pt x="468220" y="1733664"/>
                        </a:cubicBezTo>
                        <a:cubicBezTo>
                          <a:pt x="458325" y="1738604"/>
                          <a:pt x="450904" y="1746012"/>
                          <a:pt x="441009" y="1750952"/>
                        </a:cubicBezTo>
                        <a:cubicBezTo>
                          <a:pt x="436062" y="1753421"/>
                          <a:pt x="428641" y="1758360"/>
                          <a:pt x="421219" y="1760830"/>
                        </a:cubicBezTo>
                        <a:cubicBezTo>
                          <a:pt x="411325" y="1765769"/>
                          <a:pt x="401430" y="1768239"/>
                          <a:pt x="391535" y="1773178"/>
                        </a:cubicBezTo>
                        <a:cubicBezTo>
                          <a:pt x="379166" y="1778117"/>
                          <a:pt x="366798" y="1780587"/>
                          <a:pt x="354429" y="1775648"/>
                        </a:cubicBezTo>
                        <a:cubicBezTo>
                          <a:pt x="322271" y="1765769"/>
                          <a:pt x="295060" y="1748482"/>
                          <a:pt x="270323" y="1731195"/>
                        </a:cubicBezTo>
                        <a:cubicBezTo>
                          <a:pt x="203533" y="1689211"/>
                          <a:pt x="146637" y="1637350"/>
                          <a:pt x="92216" y="1583018"/>
                        </a:cubicBezTo>
                        <a:cubicBezTo>
                          <a:pt x="65005" y="1555853"/>
                          <a:pt x="42741" y="1526217"/>
                          <a:pt x="22952" y="1496582"/>
                        </a:cubicBezTo>
                        <a:cubicBezTo>
                          <a:pt x="8109" y="1476825"/>
                          <a:pt x="688" y="1457068"/>
                          <a:pt x="5636" y="1432372"/>
                        </a:cubicBezTo>
                        <a:cubicBezTo>
                          <a:pt x="8109" y="1417555"/>
                          <a:pt x="3162" y="1402737"/>
                          <a:pt x="3162" y="1390389"/>
                        </a:cubicBezTo>
                        <a:cubicBezTo>
                          <a:pt x="3162" y="1382980"/>
                          <a:pt x="688" y="1378041"/>
                          <a:pt x="688" y="1370632"/>
                        </a:cubicBezTo>
                        <a:cubicBezTo>
                          <a:pt x="-4259" y="1340997"/>
                          <a:pt x="18004" y="1313831"/>
                          <a:pt x="50163" y="1313831"/>
                        </a:cubicBezTo>
                        <a:cubicBezTo>
                          <a:pt x="62531" y="1313831"/>
                          <a:pt x="74900" y="1311362"/>
                          <a:pt x="87268" y="1316301"/>
                        </a:cubicBezTo>
                        <a:cubicBezTo>
                          <a:pt x="99637" y="1318770"/>
                          <a:pt x="112005" y="1313831"/>
                          <a:pt x="121900" y="1308892"/>
                        </a:cubicBezTo>
                        <a:cubicBezTo>
                          <a:pt x="168901" y="1291605"/>
                          <a:pt x="218375" y="1286666"/>
                          <a:pt x="270323" y="1286666"/>
                        </a:cubicBezTo>
                        <a:cubicBezTo>
                          <a:pt x="257954" y="1316301"/>
                          <a:pt x="230744" y="1326179"/>
                          <a:pt x="215901" y="1350875"/>
                        </a:cubicBezTo>
                        <a:cubicBezTo>
                          <a:pt x="272797" y="1323710"/>
                          <a:pt x="329692" y="1296544"/>
                          <a:pt x="386587" y="1269378"/>
                        </a:cubicBezTo>
                        <a:cubicBezTo>
                          <a:pt x="443483" y="1242213"/>
                          <a:pt x="500378" y="1215047"/>
                          <a:pt x="562221" y="1200229"/>
                        </a:cubicBezTo>
                        <a:cubicBezTo>
                          <a:pt x="557274" y="1205168"/>
                          <a:pt x="552326" y="1210108"/>
                          <a:pt x="544905" y="1212577"/>
                        </a:cubicBezTo>
                        <a:cubicBezTo>
                          <a:pt x="517694" y="1229865"/>
                          <a:pt x="490483" y="1244682"/>
                          <a:pt x="460799" y="1259500"/>
                        </a:cubicBezTo>
                        <a:cubicBezTo>
                          <a:pt x="438535" y="1271848"/>
                          <a:pt x="413798" y="1281726"/>
                          <a:pt x="394009" y="1301483"/>
                        </a:cubicBezTo>
                        <a:cubicBezTo>
                          <a:pt x="381640" y="1313831"/>
                          <a:pt x="361850" y="1318770"/>
                          <a:pt x="347008" y="1328649"/>
                        </a:cubicBezTo>
                        <a:cubicBezTo>
                          <a:pt x="324745" y="1338527"/>
                          <a:pt x="300007" y="1348406"/>
                          <a:pt x="277744" y="1358284"/>
                        </a:cubicBezTo>
                        <a:cubicBezTo>
                          <a:pt x="272797" y="1360754"/>
                          <a:pt x="270323" y="1363223"/>
                          <a:pt x="262902" y="1368163"/>
                        </a:cubicBezTo>
                        <a:cubicBezTo>
                          <a:pt x="292586" y="1365693"/>
                          <a:pt x="312376" y="1350875"/>
                          <a:pt x="334639" y="1343466"/>
                        </a:cubicBezTo>
                        <a:cubicBezTo>
                          <a:pt x="349482" y="1338527"/>
                          <a:pt x="361850" y="1333588"/>
                          <a:pt x="374219" y="1328649"/>
                        </a:cubicBezTo>
                        <a:cubicBezTo>
                          <a:pt x="376693" y="1326179"/>
                          <a:pt x="381640" y="1326179"/>
                          <a:pt x="381640" y="1323710"/>
                        </a:cubicBezTo>
                        <a:cubicBezTo>
                          <a:pt x="398956" y="1308892"/>
                          <a:pt x="418746" y="1306422"/>
                          <a:pt x="438535" y="1299014"/>
                        </a:cubicBezTo>
                        <a:cubicBezTo>
                          <a:pt x="453378" y="1294074"/>
                          <a:pt x="470694" y="1286666"/>
                          <a:pt x="485536" y="1279257"/>
                        </a:cubicBezTo>
                        <a:cubicBezTo>
                          <a:pt x="500378" y="1271848"/>
                          <a:pt x="510273" y="1259500"/>
                          <a:pt x="530063" y="1264439"/>
                        </a:cubicBezTo>
                        <a:cubicBezTo>
                          <a:pt x="530063" y="1264439"/>
                          <a:pt x="532536" y="1261969"/>
                          <a:pt x="535010" y="1261969"/>
                        </a:cubicBezTo>
                        <a:cubicBezTo>
                          <a:pt x="557274" y="1247152"/>
                          <a:pt x="577063" y="1234804"/>
                          <a:pt x="599327" y="1222456"/>
                        </a:cubicBezTo>
                        <a:cubicBezTo>
                          <a:pt x="604274" y="1219986"/>
                          <a:pt x="609222" y="1217517"/>
                          <a:pt x="614169" y="1215047"/>
                        </a:cubicBezTo>
                        <a:cubicBezTo>
                          <a:pt x="638906" y="1212577"/>
                          <a:pt x="661169" y="1202699"/>
                          <a:pt x="683433" y="1187881"/>
                        </a:cubicBezTo>
                        <a:cubicBezTo>
                          <a:pt x="703223" y="1175533"/>
                          <a:pt x="725486" y="1168124"/>
                          <a:pt x="745276" y="1158246"/>
                        </a:cubicBezTo>
                        <a:cubicBezTo>
                          <a:pt x="772487" y="1145898"/>
                          <a:pt x="799698" y="1133550"/>
                          <a:pt x="826909" y="1121202"/>
                        </a:cubicBezTo>
                        <a:cubicBezTo>
                          <a:pt x="831856" y="1118732"/>
                          <a:pt x="836803" y="1113793"/>
                          <a:pt x="841751" y="1113793"/>
                        </a:cubicBezTo>
                        <a:cubicBezTo>
                          <a:pt x="868962" y="1113793"/>
                          <a:pt x="891225" y="1098975"/>
                          <a:pt x="918436" y="1089097"/>
                        </a:cubicBezTo>
                        <a:cubicBezTo>
                          <a:pt x="950594" y="1076749"/>
                          <a:pt x="982752" y="1056992"/>
                          <a:pt x="1019858" y="1049583"/>
                        </a:cubicBezTo>
                        <a:cubicBezTo>
                          <a:pt x="1042122" y="1044644"/>
                          <a:pt x="1061911" y="1029826"/>
                          <a:pt x="1084175" y="1019948"/>
                        </a:cubicBezTo>
                        <a:cubicBezTo>
                          <a:pt x="1094069" y="1015009"/>
                          <a:pt x="1103964" y="1010069"/>
                          <a:pt x="1113859" y="1007600"/>
                        </a:cubicBezTo>
                        <a:cubicBezTo>
                          <a:pt x="1141070" y="1000191"/>
                          <a:pt x="1163333" y="992782"/>
                          <a:pt x="1185597" y="975495"/>
                        </a:cubicBezTo>
                        <a:cubicBezTo>
                          <a:pt x="1195492" y="970556"/>
                          <a:pt x="1207860" y="968086"/>
                          <a:pt x="1217755" y="963147"/>
                        </a:cubicBezTo>
                        <a:cubicBezTo>
                          <a:pt x="1259808" y="948329"/>
                          <a:pt x="1299388" y="933512"/>
                          <a:pt x="1341441" y="916224"/>
                        </a:cubicBezTo>
                        <a:cubicBezTo>
                          <a:pt x="1363704" y="908816"/>
                          <a:pt x="1390915" y="901407"/>
                          <a:pt x="1413178" y="891528"/>
                        </a:cubicBezTo>
                        <a:cubicBezTo>
                          <a:pt x="1457705" y="874241"/>
                          <a:pt x="1502232" y="856954"/>
                          <a:pt x="1546759" y="839667"/>
                        </a:cubicBezTo>
                        <a:cubicBezTo>
                          <a:pt x="1544285" y="817440"/>
                          <a:pt x="1539338" y="795214"/>
                          <a:pt x="1536864" y="772987"/>
                        </a:cubicBezTo>
                        <a:cubicBezTo>
                          <a:pt x="1529443" y="726065"/>
                          <a:pt x="1522022" y="679142"/>
                          <a:pt x="1517074" y="632220"/>
                        </a:cubicBezTo>
                        <a:cubicBezTo>
                          <a:pt x="1507179" y="558131"/>
                          <a:pt x="1497285" y="481573"/>
                          <a:pt x="1487390" y="405015"/>
                        </a:cubicBezTo>
                        <a:cubicBezTo>
                          <a:pt x="1479969" y="348215"/>
                          <a:pt x="1470074" y="288944"/>
                          <a:pt x="1460179" y="229673"/>
                        </a:cubicBezTo>
                        <a:cubicBezTo>
                          <a:pt x="1455231" y="185220"/>
                          <a:pt x="1450284" y="138298"/>
                          <a:pt x="1445337" y="91375"/>
                        </a:cubicBezTo>
                        <a:cubicBezTo>
                          <a:pt x="1442863" y="74088"/>
                          <a:pt x="1442863" y="56801"/>
                          <a:pt x="1440389" y="37044"/>
                        </a:cubicBezTo>
                        <a:cubicBezTo>
                          <a:pt x="1437915" y="27166"/>
                          <a:pt x="1430494" y="14818"/>
                          <a:pt x="1428021" y="2470"/>
                        </a:cubicBezTo>
                        <a:cubicBezTo>
                          <a:pt x="1430494" y="2470"/>
                          <a:pt x="1435442" y="0"/>
                          <a:pt x="1440389" y="0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84000">
                        <a:schemeClr val="accent2">
                          <a:lumMod val="40000"/>
                          <a:lumOff val="60000"/>
                        </a:schemeClr>
                      </a:gs>
                      <a:gs pos="0">
                        <a:schemeClr val="accent2"/>
                      </a:gs>
                    </a:gsLst>
                    <a:lin ang="135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>
                      <a:gradFill flip="none" rotWithShape="1">
                        <a:gsLst>
                          <a:gs pos="89000">
                            <a:schemeClr val="bg1"/>
                          </a:gs>
                          <a:gs pos="0">
                            <a:schemeClr val="accent2"/>
                          </a:gs>
                        </a:gsLst>
                        <a:lin ang="13500000" scaled="1"/>
                        <a:tileRect/>
                      </a:gradFill>
                    </a:endParaRPr>
                  </a:p>
                </p:txBody>
              </p:sp>
              <p:sp>
                <p:nvSpPr>
                  <p:cNvPr id="194" name="任意多边形: 形状 193">
                    <a:extLst>
                      <a:ext uri="{FF2B5EF4-FFF2-40B4-BE49-F238E27FC236}">
                        <a16:creationId xmlns:a16="http://schemas.microsoft.com/office/drawing/2014/main" id="{D11EBAC2-444B-4521-9CBF-007CF5F6FF22}"/>
                      </a:ext>
                    </a:extLst>
                  </p:cNvPr>
                  <p:cNvSpPr/>
                  <p:nvPr/>
                </p:nvSpPr>
                <p:spPr bwMode="auto">
                  <a:xfrm rot="21186445">
                    <a:off x="7811573" y="2281775"/>
                    <a:ext cx="664940" cy="402760"/>
                  </a:xfrm>
                  <a:custGeom>
                    <a:avLst/>
                    <a:gdLst>
                      <a:gd name="connsiteX0" fmla="*/ 527777 w 2333637"/>
                      <a:gd name="connsiteY0" fmla="*/ 919162 h 1413505"/>
                      <a:gd name="connsiteX1" fmla="*/ 535205 w 2333637"/>
                      <a:gd name="connsiteY1" fmla="*/ 946355 h 1413505"/>
                      <a:gd name="connsiteX2" fmla="*/ 545108 w 2333637"/>
                      <a:gd name="connsiteY2" fmla="*/ 995797 h 1413505"/>
                      <a:gd name="connsiteX3" fmla="*/ 589673 w 2333637"/>
                      <a:gd name="connsiteY3" fmla="*/ 1178730 h 1413505"/>
                      <a:gd name="connsiteX4" fmla="*/ 587198 w 2333637"/>
                      <a:gd name="connsiteY4" fmla="*/ 1265253 h 1413505"/>
                      <a:gd name="connsiteX5" fmla="*/ 577294 w 2333637"/>
                      <a:gd name="connsiteY5" fmla="*/ 1289974 h 1413505"/>
                      <a:gd name="connsiteX6" fmla="*/ 564915 w 2333637"/>
                      <a:gd name="connsiteY6" fmla="*/ 1319639 h 1413505"/>
                      <a:gd name="connsiteX7" fmla="*/ 532729 w 2333637"/>
                      <a:gd name="connsiteY7" fmla="*/ 1381441 h 1413505"/>
                      <a:gd name="connsiteX8" fmla="*/ 505495 w 2333637"/>
                      <a:gd name="connsiteY8" fmla="*/ 1401218 h 1413505"/>
                      <a:gd name="connsiteX9" fmla="*/ 455978 w 2333637"/>
                      <a:gd name="connsiteY9" fmla="*/ 1408634 h 1413505"/>
                      <a:gd name="connsiteX10" fmla="*/ 391606 w 2333637"/>
                      <a:gd name="connsiteY10" fmla="*/ 1376497 h 1413505"/>
                      <a:gd name="connsiteX11" fmla="*/ 213345 w 2333637"/>
                      <a:gd name="connsiteY11" fmla="*/ 1235588 h 1413505"/>
                      <a:gd name="connsiteX12" fmla="*/ 131642 w 2333637"/>
                      <a:gd name="connsiteY12" fmla="*/ 1144121 h 1413505"/>
                      <a:gd name="connsiteX13" fmla="*/ 114311 w 2333637"/>
                      <a:gd name="connsiteY13" fmla="*/ 1099624 h 1413505"/>
                      <a:gd name="connsiteX14" fmla="*/ 146497 w 2333637"/>
                      <a:gd name="connsiteY14" fmla="*/ 1099624 h 1413505"/>
                      <a:gd name="connsiteX15" fmla="*/ 198490 w 2333637"/>
                      <a:gd name="connsiteY15" fmla="*/ 1079847 h 1413505"/>
                      <a:gd name="connsiteX16" fmla="*/ 280193 w 2333637"/>
                      <a:gd name="connsiteY16" fmla="*/ 993325 h 1413505"/>
                      <a:gd name="connsiteX17" fmla="*/ 287620 w 2333637"/>
                      <a:gd name="connsiteY17" fmla="*/ 988380 h 1413505"/>
                      <a:gd name="connsiteX18" fmla="*/ 359420 w 2333637"/>
                      <a:gd name="connsiteY18" fmla="*/ 953771 h 1413505"/>
                      <a:gd name="connsiteX19" fmla="*/ 396558 w 2333637"/>
                      <a:gd name="connsiteY19" fmla="*/ 938939 h 1413505"/>
                      <a:gd name="connsiteX20" fmla="*/ 448550 w 2333637"/>
                      <a:gd name="connsiteY20" fmla="*/ 931523 h 1413505"/>
                      <a:gd name="connsiteX21" fmla="*/ 517874 w 2333637"/>
                      <a:gd name="connsiteY21" fmla="*/ 921634 h 1413505"/>
                      <a:gd name="connsiteX22" fmla="*/ 527777 w 2333637"/>
                      <a:gd name="connsiteY22" fmla="*/ 919162 h 1413505"/>
                      <a:gd name="connsiteX23" fmla="*/ 842279 w 2333637"/>
                      <a:gd name="connsiteY23" fmla="*/ 740642 h 1413505"/>
                      <a:gd name="connsiteX24" fmla="*/ 753243 w 2333637"/>
                      <a:gd name="connsiteY24" fmla="*/ 770268 h 1413505"/>
                      <a:gd name="connsiteX25" fmla="*/ 696359 w 2333637"/>
                      <a:gd name="connsiteY25" fmla="*/ 824582 h 1413505"/>
                      <a:gd name="connsiteX26" fmla="*/ 688939 w 2333637"/>
                      <a:gd name="connsiteY26" fmla="*/ 836926 h 1413505"/>
                      <a:gd name="connsiteX27" fmla="*/ 656787 w 2333637"/>
                      <a:gd name="connsiteY27" fmla="*/ 923334 h 1413505"/>
                      <a:gd name="connsiteX28" fmla="*/ 671626 w 2333637"/>
                      <a:gd name="connsiteY28" fmla="*/ 1123307 h 1413505"/>
                      <a:gd name="connsiteX29" fmla="*/ 708725 w 2333637"/>
                      <a:gd name="connsiteY29" fmla="*/ 1147995 h 1413505"/>
                      <a:gd name="connsiteX30" fmla="*/ 797761 w 2333637"/>
                      <a:gd name="connsiteY30" fmla="*/ 1130714 h 1413505"/>
                      <a:gd name="connsiteX31" fmla="*/ 857119 w 2333637"/>
                      <a:gd name="connsiteY31" fmla="*/ 1101088 h 1413505"/>
                      <a:gd name="connsiteX32" fmla="*/ 899164 w 2333637"/>
                      <a:gd name="connsiteY32" fmla="*/ 1068993 h 1413505"/>
                      <a:gd name="connsiteX33" fmla="*/ 958521 w 2333637"/>
                      <a:gd name="connsiteY33" fmla="*/ 1022086 h 1413505"/>
                      <a:gd name="connsiteX34" fmla="*/ 988200 w 2333637"/>
                      <a:gd name="connsiteY34" fmla="*/ 997398 h 1413505"/>
                      <a:gd name="connsiteX35" fmla="*/ 1054977 w 2333637"/>
                      <a:gd name="connsiteY35" fmla="*/ 925803 h 1413505"/>
                      <a:gd name="connsiteX36" fmla="*/ 1146487 w 2333637"/>
                      <a:gd name="connsiteY36" fmla="*/ 807300 h 1413505"/>
                      <a:gd name="connsiteX37" fmla="*/ 1124228 w 2333637"/>
                      <a:gd name="connsiteY37" fmla="*/ 794956 h 1413505"/>
                      <a:gd name="connsiteX38" fmla="*/ 990673 w 2333637"/>
                      <a:gd name="connsiteY38" fmla="*/ 748049 h 1413505"/>
                      <a:gd name="connsiteX39" fmla="*/ 918949 w 2333637"/>
                      <a:gd name="connsiteY39" fmla="*/ 740642 h 1413505"/>
                      <a:gd name="connsiteX40" fmla="*/ 842279 w 2333637"/>
                      <a:gd name="connsiteY40" fmla="*/ 740642 h 1413505"/>
                      <a:gd name="connsiteX41" fmla="*/ 326006 w 2333637"/>
                      <a:gd name="connsiteY41" fmla="*/ 127884 h 1413505"/>
                      <a:gd name="connsiteX42" fmla="*/ 338380 w 2333637"/>
                      <a:gd name="connsiteY42" fmla="*/ 130355 h 1413505"/>
                      <a:gd name="connsiteX43" fmla="*/ 380455 w 2333637"/>
                      <a:gd name="connsiteY43" fmla="*/ 150129 h 1413505"/>
                      <a:gd name="connsiteX44" fmla="*/ 585876 w 2333637"/>
                      <a:gd name="connsiteY44" fmla="*/ 303373 h 1413505"/>
                      <a:gd name="connsiteX45" fmla="*/ 674975 w 2333637"/>
                      <a:gd name="connsiteY45" fmla="*/ 412127 h 1413505"/>
                      <a:gd name="connsiteX46" fmla="*/ 709624 w 2333637"/>
                      <a:gd name="connsiteY46" fmla="*/ 471447 h 1413505"/>
                      <a:gd name="connsiteX47" fmla="*/ 672500 w 2333637"/>
                      <a:gd name="connsiteY47" fmla="*/ 486277 h 1413505"/>
                      <a:gd name="connsiteX48" fmla="*/ 536377 w 2333637"/>
                      <a:gd name="connsiteY48" fmla="*/ 501107 h 1413505"/>
                      <a:gd name="connsiteX49" fmla="*/ 516577 w 2333637"/>
                      <a:gd name="connsiteY49" fmla="*/ 506050 h 1413505"/>
                      <a:gd name="connsiteX50" fmla="*/ 479453 w 2333637"/>
                      <a:gd name="connsiteY50" fmla="*/ 513465 h 1413505"/>
                      <a:gd name="connsiteX51" fmla="*/ 462128 w 2333637"/>
                      <a:gd name="connsiteY51" fmla="*/ 515937 h 1413505"/>
                      <a:gd name="connsiteX52" fmla="*/ 400254 w 2333637"/>
                      <a:gd name="connsiteY52" fmla="*/ 518409 h 1413505"/>
                      <a:gd name="connsiteX53" fmla="*/ 348280 w 2333637"/>
                      <a:gd name="connsiteY53" fmla="*/ 543126 h 1413505"/>
                      <a:gd name="connsiteX54" fmla="*/ 345805 w 2333637"/>
                      <a:gd name="connsiteY54" fmla="*/ 550541 h 1413505"/>
                      <a:gd name="connsiteX55" fmla="*/ 298781 w 2333637"/>
                      <a:gd name="connsiteY55" fmla="*/ 607389 h 1413505"/>
                      <a:gd name="connsiteX56" fmla="*/ 266607 w 2333637"/>
                      <a:gd name="connsiteY56" fmla="*/ 664238 h 1413505"/>
                      <a:gd name="connsiteX57" fmla="*/ 259182 w 2333637"/>
                      <a:gd name="connsiteY57" fmla="*/ 684011 h 1413505"/>
                      <a:gd name="connsiteX58" fmla="*/ 254232 w 2333637"/>
                      <a:gd name="connsiteY58" fmla="*/ 711200 h 1413505"/>
                      <a:gd name="connsiteX59" fmla="*/ 397779 w 2333637"/>
                      <a:gd name="connsiteY59" fmla="*/ 639521 h 1413505"/>
                      <a:gd name="connsiteX60" fmla="*/ 561127 w 2333637"/>
                      <a:gd name="connsiteY60" fmla="*/ 627163 h 1413505"/>
                      <a:gd name="connsiteX61" fmla="*/ 509153 w 2333637"/>
                      <a:gd name="connsiteY61" fmla="*/ 686483 h 1413505"/>
                      <a:gd name="connsiteX62" fmla="*/ 536377 w 2333637"/>
                      <a:gd name="connsiteY62" fmla="*/ 740860 h 1413505"/>
                      <a:gd name="connsiteX63" fmla="*/ 519052 w 2333637"/>
                      <a:gd name="connsiteY63" fmla="*/ 805123 h 1413505"/>
                      <a:gd name="connsiteX64" fmla="*/ 444804 w 2333637"/>
                      <a:gd name="connsiteY64" fmla="*/ 854557 h 1413505"/>
                      <a:gd name="connsiteX65" fmla="*/ 442329 w 2333637"/>
                      <a:gd name="connsiteY65" fmla="*/ 854557 h 1413505"/>
                      <a:gd name="connsiteX66" fmla="*/ 343330 w 2333637"/>
                      <a:gd name="connsiteY66" fmla="*/ 894104 h 1413505"/>
                      <a:gd name="connsiteX67" fmla="*/ 246807 w 2333637"/>
                      <a:gd name="connsiteY67" fmla="*/ 886689 h 1413505"/>
                      <a:gd name="connsiteX68" fmla="*/ 93360 w 2333637"/>
                      <a:gd name="connsiteY68" fmla="*/ 755690 h 1413505"/>
                      <a:gd name="connsiteX69" fmla="*/ 90885 w 2333637"/>
                      <a:gd name="connsiteY69" fmla="*/ 693898 h 1413505"/>
                      <a:gd name="connsiteX70" fmla="*/ 113159 w 2333637"/>
                      <a:gd name="connsiteY70" fmla="*/ 649408 h 1413505"/>
                      <a:gd name="connsiteX71" fmla="*/ 167608 w 2333637"/>
                      <a:gd name="connsiteY71" fmla="*/ 580201 h 1413505"/>
                      <a:gd name="connsiteX72" fmla="*/ 261657 w 2333637"/>
                      <a:gd name="connsiteY72" fmla="*/ 496164 h 1413505"/>
                      <a:gd name="connsiteX73" fmla="*/ 293831 w 2333637"/>
                      <a:gd name="connsiteY73" fmla="*/ 471447 h 1413505"/>
                      <a:gd name="connsiteX74" fmla="*/ 251757 w 2333637"/>
                      <a:gd name="connsiteY74" fmla="*/ 436843 h 1413505"/>
                      <a:gd name="connsiteX75" fmla="*/ 53760 w 2333637"/>
                      <a:gd name="connsiteY75" fmla="*/ 261354 h 1413505"/>
                      <a:gd name="connsiteX76" fmla="*/ 11686 w 2333637"/>
                      <a:gd name="connsiteY76" fmla="*/ 206977 h 1413505"/>
                      <a:gd name="connsiteX77" fmla="*/ 1786 w 2333637"/>
                      <a:gd name="connsiteY77" fmla="*/ 187204 h 1413505"/>
                      <a:gd name="connsiteX78" fmla="*/ 21586 w 2333637"/>
                      <a:gd name="connsiteY78" fmla="*/ 160016 h 1413505"/>
                      <a:gd name="connsiteX79" fmla="*/ 80985 w 2333637"/>
                      <a:gd name="connsiteY79" fmla="*/ 164959 h 1413505"/>
                      <a:gd name="connsiteX80" fmla="*/ 140384 w 2333637"/>
                      <a:gd name="connsiteY80" fmla="*/ 182261 h 1413505"/>
                      <a:gd name="connsiteX81" fmla="*/ 160183 w 2333637"/>
                      <a:gd name="connsiteY81" fmla="*/ 184732 h 1413505"/>
                      <a:gd name="connsiteX82" fmla="*/ 132959 w 2333637"/>
                      <a:gd name="connsiteY82" fmla="*/ 152601 h 1413505"/>
                      <a:gd name="connsiteX83" fmla="*/ 135434 w 2333637"/>
                      <a:gd name="connsiteY83" fmla="*/ 147657 h 1413505"/>
                      <a:gd name="connsiteX84" fmla="*/ 197308 w 2333637"/>
                      <a:gd name="connsiteY84" fmla="*/ 167431 h 1413505"/>
                      <a:gd name="connsiteX85" fmla="*/ 172558 w 2333637"/>
                      <a:gd name="connsiteY85" fmla="*/ 135299 h 1413505"/>
                      <a:gd name="connsiteX86" fmla="*/ 256707 w 2333637"/>
                      <a:gd name="connsiteY86" fmla="*/ 142714 h 1413505"/>
                      <a:gd name="connsiteX87" fmla="*/ 254232 w 2333637"/>
                      <a:gd name="connsiteY87" fmla="*/ 130355 h 1413505"/>
                      <a:gd name="connsiteX88" fmla="*/ 283931 w 2333637"/>
                      <a:gd name="connsiteY88" fmla="*/ 130355 h 1413505"/>
                      <a:gd name="connsiteX89" fmla="*/ 326006 w 2333637"/>
                      <a:gd name="connsiteY89" fmla="*/ 127884 h 1413505"/>
                      <a:gd name="connsiteX90" fmla="*/ 1465533 w 2333637"/>
                      <a:gd name="connsiteY90" fmla="*/ 0 h 1413505"/>
                      <a:gd name="connsiteX91" fmla="*/ 1539730 w 2333637"/>
                      <a:gd name="connsiteY91" fmla="*/ 17282 h 1413505"/>
                      <a:gd name="connsiteX92" fmla="*/ 1628767 w 2333637"/>
                      <a:gd name="connsiteY92" fmla="*/ 74064 h 1413505"/>
                      <a:gd name="connsiteX93" fmla="*/ 1801893 w 2333637"/>
                      <a:gd name="connsiteY93" fmla="*/ 227130 h 1413505"/>
                      <a:gd name="connsiteX94" fmla="*/ 1853831 w 2333637"/>
                      <a:gd name="connsiteY94" fmla="*/ 288851 h 1413505"/>
                      <a:gd name="connsiteX95" fmla="*/ 1851357 w 2333637"/>
                      <a:gd name="connsiteY95" fmla="*/ 399947 h 1413505"/>
                      <a:gd name="connsiteX96" fmla="*/ 1811786 w 2333637"/>
                      <a:gd name="connsiteY96" fmla="*/ 459198 h 1413505"/>
                      <a:gd name="connsiteX97" fmla="*/ 1742535 w 2333637"/>
                      <a:gd name="connsiteY97" fmla="*/ 550544 h 1413505"/>
                      <a:gd name="connsiteX98" fmla="*/ 1715330 w 2333637"/>
                      <a:gd name="connsiteY98" fmla="*/ 592514 h 1413505"/>
                      <a:gd name="connsiteX99" fmla="*/ 1707910 w 2333637"/>
                      <a:gd name="connsiteY99" fmla="*/ 599920 h 1413505"/>
                      <a:gd name="connsiteX100" fmla="*/ 1646079 w 2333637"/>
                      <a:gd name="connsiteY100" fmla="*/ 654234 h 1413505"/>
                      <a:gd name="connsiteX101" fmla="*/ 1623820 w 2333637"/>
                      <a:gd name="connsiteY101" fmla="*/ 678922 h 1413505"/>
                      <a:gd name="connsiteX102" fmla="*/ 1648552 w 2333637"/>
                      <a:gd name="connsiteY102" fmla="*/ 683860 h 1413505"/>
                      <a:gd name="connsiteX103" fmla="*/ 1774687 w 2333637"/>
                      <a:gd name="connsiteY103" fmla="*/ 701141 h 1413505"/>
                      <a:gd name="connsiteX104" fmla="*/ 1997278 w 2333637"/>
                      <a:gd name="connsiteY104" fmla="*/ 743111 h 1413505"/>
                      <a:gd name="connsiteX105" fmla="*/ 2022010 w 2333637"/>
                      <a:gd name="connsiteY105" fmla="*/ 755455 h 1413505"/>
                      <a:gd name="connsiteX106" fmla="*/ 2096207 w 2333637"/>
                      <a:gd name="connsiteY106" fmla="*/ 841863 h 1413505"/>
                      <a:gd name="connsiteX107" fmla="*/ 2256967 w 2333637"/>
                      <a:gd name="connsiteY107" fmla="*/ 1162808 h 1413505"/>
                      <a:gd name="connsiteX108" fmla="*/ 2326217 w 2333637"/>
                      <a:gd name="connsiteY108" fmla="*/ 1345500 h 1413505"/>
                      <a:gd name="connsiteX109" fmla="*/ 2333637 w 2333637"/>
                      <a:gd name="connsiteY109" fmla="*/ 1365250 h 1413505"/>
                      <a:gd name="connsiteX110" fmla="*/ 2096207 w 2333637"/>
                      <a:gd name="connsiteY110" fmla="*/ 1214653 h 1413505"/>
                      <a:gd name="connsiteX111" fmla="*/ 1947813 w 2333637"/>
                      <a:gd name="connsiteY111" fmla="*/ 1147995 h 1413505"/>
                      <a:gd name="connsiteX112" fmla="*/ 1866197 w 2333637"/>
                      <a:gd name="connsiteY112" fmla="*/ 1110963 h 1413505"/>
                      <a:gd name="connsiteX113" fmla="*/ 1796946 w 2333637"/>
                      <a:gd name="connsiteY113" fmla="*/ 1081337 h 1413505"/>
                      <a:gd name="connsiteX114" fmla="*/ 1586722 w 2333637"/>
                      <a:gd name="connsiteY114" fmla="*/ 999867 h 1413505"/>
                      <a:gd name="connsiteX115" fmla="*/ 1514998 w 2333637"/>
                      <a:gd name="connsiteY115" fmla="*/ 977648 h 1413505"/>
                      <a:gd name="connsiteX116" fmla="*/ 1416069 w 2333637"/>
                      <a:gd name="connsiteY116" fmla="*/ 940615 h 1413505"/>
                      <a:gd name="connsiteX117" fmla="*/ 1374024 w 2333637"/>
                      <a:gd name="connsiteY117" fmla="*/ 933209 h 1413505"/>
                      <a:gd name="connsiteX118" fmla="*/ 1356711 w 2333637"/>
                      <a:gd name="connsiteY118" fmla="*/ 923334 h 1413505"/>
                      <a:gd name="connsiteX119" fmla="*/ 1275095 w 2333637"/>
                      <a:gd name="connsiteY119" fmla="*/ 1002336 h 1413505"/>
                      <a:gd name="connsiteX120" fmla="*/ 1186058 w 2333637"/>
                      <a:gd name="connsiteY120" fmla="*/ 1071462 h 1413505"/>
                      <a:gd name="connsiteX121" fmla="*/ 1084656 w 2333637"/>
                      <a:gd name="connsiteY121" fmla="*/ 1143058 h 1413505"/>
                      <a:gd name="connsiteX122" fmla="*/ 1027772 w 2333637"/>
                      <a:gd name="connsiteY122" fmla="*/ 1177621 h 1413505"/>
                      <a:gd name="connsiteX123" fmla="*/ 951101 w 2333637"/>
                      <a:gd name="connsiteY123" fmla="*/ 1209715 h 1413505"/>
                      <a:gd name="connsiteX124" fmla="*/ 921423 w 2333637"/>
                      <a:gd name="connsiteY124" fmla="*/ 1224528 h 1413505"/>
                      <a:gd name="connsiteX125" fmla="*/ 847226 w 2333637"/>
                      <a:gd name="connsiteY125" fmla="*/ 1246747 h 1413505"/>
                      <a:gd name="connsiteX126" fmla="*/ 775502 w 2333637"/>
                      <a:gd name="connsiteY126" fmla="*/ 1236872 h 1413505"/>
                      <a:gd name="connsiteX127" fmla="*/ 661734 w 2333637"/>
                      <a:gd name="connsiteY127" fmla="*/ 1147995 h 1413505"/>
                      <a:gd name="connsiteX128" fmla="*/ 617215 w 2333637"/>
                      <a:gd name="connsiteY128" fmla="*/ 1044305 h 1413505"/>
                      <a:gd name="connsiteX129" fmla="*/ 622162 w 2333637"/>
                      <a:gd name="connsiteY129" fmla="*/ 878895 h 1413505"/>
                      <a:gd name="connsiteX130" fmla="*/ 654314 w 2333637"/>
                      <a:gd name="connsiteY130" fmla="*/ 807300 h 1413505"/>
                      <a:gd name="connsiteX131" fmla="*/ 686466 w 2333637"/>
                      <a:gd name="connsiteY131" fmla="*/ 752986 h 1413505"/>
                      <a:gd name="connsiteX132" fmla="*/ 857119 w 2333637"/>
                      <a:gd name="connsiteY132" fmla="*/ 644359 h 1413505"/>
                      <a:gd name="connsiteX133" fmla="*/ 1042611 w 2333637"/>
                      <a:gd name="connsiteY133" fmla="*/ 624608 h 1413505"/>
                      <a:gd name="connsiteX134" fmla="*/ 1131647 w 2333637"/>
                      <a:gd name="connsiteY134" fmla="*/ 622139 h 1413505"/>
                      <a:gd name="connsiteX135" fmla="*/ 1242943 w 2333637"/>
                      <a:gd name="connsiteY135" fmla="*/ 636952 h 1413505"/>
                      <a:gd name="connsiteX136" fmla="*/ 1255309 w 2333637"/>
                      <a:gd name="connsiteY136" fmla="*/ 639421 h 1413505"/>
                      <a:gd name="connsiteX137" fmla="*/ 1282514 w 2333637"/>
                      <a:gd name="connsiteY137" fmla="*/ 622139 h 1413505"/>
                      <a:gd name="connsiteX138" fmla="*/ 1287461 w 2333637"/>
                      <a:gd name="connsiteY138" fmla="*/ 609795 h 1413505"/>
                      <a:gd name="connsiteX139" fmla="*/ 1319613 w 2333637"/>
                      <a:gd name="connsiteY139" fmla="*/ 548075 h 1413505"/>
                      <a:gd name="connsiteX140" fmla="*/ 1378970 w 2333637"/>
                      <a:gd name="connsiteY140" fmla="*/ 429572 h 1413505"/>
                      <a:gd name="connsiteX141" fmla="*/ 1381444 w 2333637"/>
                      <a:gd name="connsiteY141" fmla="*/ 419697 h 1413505"/>
                      <a:gd name="connsiteX142" fmla="*/ 1299827 w 2333637"/>
                      <a:gd name="connsiteY142" fmla="*/ 422166 h 1413505"/>
                      <a:gd name="connsiteX143" fmla="*/ 1193478 w 2333637"/>
                      <a:gd name="connsiteY143" fmla="*/ 478949 h 1413505"/>
                      <a:gd name="connsiteX144" fmla="*/ 1168746 w 2333637"/>
                      <a:gd name="connsiteY144" fmla="*/ 486355 h 1413505"/>
                      <a:gd name="connsiteX145" fmla="*/ 1114335 w 2333637"/>
                      <a:gd name="connsiteY145" fmla="*/ 498699 h 1413505"/>
                      <a:gd name="connsiteX146" fmla="*/ 1064870 w 2333637"/>
                      <a:gd name="connsiteY146" fmla="*/ 493761 h 1413505"/>
                      <a:gd name="connsiteX147" fmla="*/ 980780 w 2333637"/>
                      <a:gd name="connsiteY147" fmla="*/ 444385 h 1413505"/>
                      <a:gd name="connsiteX148" fmla="*/ 777975 w 2333637"/>
                      <a:gd name="connsiteY148" fmla="*/ 261694 h 1413505"/>
                      <a:gd name="connsiteX149" fmla="*/ 748297 w 2333637"/>
                      <a:gd name="connsiteY149" fmla="*/ 212317 h 1413505"/>
                      <a:gd name="connsiteX150" fmla="*/ 745823 w 2333637"/>
                      <a:gd name="connsiteY150" fmla="*/ 199973 h 1413505"/>
                      <a:gd name="connsiteX151" fmla="*/ 733457 w 2333637"/>
                      <a:gd name="connsiteY151" fmla="*/ 162941 h 1413505"/>
                      <a:gd name="connsiteX152" fmla="*/ 716145 w 2333637"/>
                      <a:gd name="connsiteY152" fmla="*/ 125909 h 1413505"/>
                      <a:gd name="connsiteX153" fmla="*/ 765609 w 2333637"/>
                      <a:gd name="connsiteY153" fmla="*/ 120971 h 1413505"/>
                      <a:gd name="connsiteX154" fmla="*/ 874431 w 2333637"/>
                      <a:gd name="connsiteY154" fmla="*/ 120971 h 1413505"/>
                      <a:gd name="connsiteX155" fmla="*/ 1022825 w 2333637"/>
                      <a:gd name="connsiteY155" fmla="*/ 91346 h 1413505"/>
                      <a:gd name="connsiteX156" fmla="*/ 1037665 w 2333637"/>
                      <a:gd name="connsiteY156" fmla="*/ 88877 h 1413505"/>
                      <a:gd name="connsiteX157" fmla="*/ 1136594 w 2333637"/>
                      <a:gd name="connsiteY157" fmla="*/ 51845 h 1413505"/>
                      <a:gd name="connsiteX158" fmla="*/ 1148960 w 2333637"/>
                      <a:gd name="connsiteY158" fmla="*/ 49376 h 1413505"/>
                      <a:gd name="connsiteX159" fmla="*/ 1193478 w 2333637"/>
                      <a:gd name="connsiteY159" fmla="*/ 44438 h 1413505"/>
                      <a:gd name="connsiteX160" fmla="*/ 1309720 w 2333637"/>
                      <a:gd name="connsiteY160" fmla="*/ 7406 h 1413505"/>
                      <a:gd name="connsiteX161" fmla="*/ 1339399 w 2333637"/>
                      <a:gd name="connsiteY161" fmla="*/ 2469 h 1413505"/>
                      <a:gd name="connsiteX162" fmla="*/ 1465533 w 2333637"/>
                      <a:gd name="connsiteY162" fmla="*/ 0 h 14135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</a:cxnLst>
                    <a:rect l="l" t="t" r="r" b="b"/>
                    <a:pathLst>
                      <a:path w="2333637" h="1413505">
                        <a:moveTo>
                          <a:pt x="527777" y="919162"/>
                        </a:moveTo>
                        <a:cubicBezTo>
                          <a:pt x="530253" y="929050"/>
                          <a:pt x="532729" y="936467"/>
                          <a:pt x="535205" y="946355"/>
                        </a:cubicBezTo>
                        <a:cubicBezTo>
                          <a:pt x="537681" y="963660"/>
                          <a:pt x="540156" y="980964"/>
                          <a:pt x="545108" y="995797"/>
                        </a:cubicBezTo>
                        <a:cubicBezTo>
                          <a:pt x="574818" y="1055127"/>
                          <a:pt x="582246" y="1116929"/>
                          <a:pt x="589673" y="1178730"/>
                        </a:cubicBezTo>
                        <a:cubicBezTo>
                          <a:pt x="592149" y="1208395"/>
                          <a:pt x="589673" y="1235588"/>
                          <a:pt x="587198" y="1265253"/>
                        </a:cubicBezTo>
                        <a:cubicBezTo>
                          <a:pt x="587198" y="1272670"/>
                          <a:pt x="579770" y="1282558"/>
                          <a:pt x="577294" y="1289974"/>
                        </a:cubicBezTo>
                        <a:cubicBezTo>
                          <a:pt x="572342" y="1299862"/>
                          <a:pt x="567391" y="1309751"/>
                          <a:pt x="564915" y="1319639"/>
                        </a:cubicBezTo>
                        <a:cubicBezTo>
                          <a:pt x="564915" y="1344360"/>
                          <a:pt x="552536" y="1364136"/>
                          <a:pt x="532729" y="1381441"/>
                        </a:cubicBezTo>
                        <a:cubicBezTo>
                          <a:pt x="522826" y="1386385"/>
                          <a:pt x="512922" y="1393801"/>
                          <a:pt x="505495" y="1401218"/>
                        </a:cubicBezTo>
                        <a:cubicBezTo>
                          <a:pt x="490640" y="1416050"/>
                          <a:pt x="473309" y="1416050"/>
                          <a:pt x="455978" y="1408634"/>
                        </a:cubicBezTo>
                        <a:cubicBezTo>
                          <a:pt x="433695" y="1398746"/>
                          <a:pt x="411413" y="1388857"/>
                          <a:pt x="391606" y="1376497"/>
                        </a:cubicBezTo>
                        <a:cubicBezTo>
                          <a:pt x="327234" y="1336944"/>
                          <a:pt x="267814" y="1289974"/>
                          <a:pt x="213345" y="1235588"/>
                        </a:cubicBezTo>
                        <a:cubicBezTo>
                          <a:pt x="186111" y="1205923"/>
                          <a:pt x="158876" y="1173786"/>
                          <a:pt x="131642" y="1144121"/>
                        </a:cubicBezTo>
                        <a:cubicBezTo>
                          <a:pt x="121739" y="1131761"/>
                          <a:pt x="116787" y="1116929"/>
                          <a:pt x="114311" y="1099624"/>
                        </a:cubicBezTo>
                        <a:cubicBezTo>
                          <a:pt x="126690" y="1099624"/>
                          <a:pt x="136594" y="1099624"/>
                          <a:pt x="146497" y="1099624"/>
                        </a:cubicBezTo>
                        <a:cubicBezTo>
                          <a:pt x="166304" y="1102096"/>
                          <a:pt x="183635" y="1097152"/>
                          <a:pt x="198490" y="1079847"/>
                        </a:cubicBezTo>
                        <a:cubicBezTo>
                          <a:pt x="225724" y="1052654"/>
                          <a:pt x="252959" y="1022989"/>
                          <a:pt x="280193" y="993325"/>
                        </a:cubicBezTo>
                        <a:cubicBezTo>
                          <a:pt x="282669" y="993325"/>
                          <a:pt x="285145" y="990852"/>
                          <a:pt x="287620" y="988380"/>
                        </a:cubicBezTo>
                        <a:cubicBezTo>
                          <a:pt x="309903" y="978492"/>
                          <a:pt x="334661" y="966132"/>
                          <a:pt x="359420" y="953771"/>
                        </a:cubicBezTo>
                        <a:cubicBezTo>
                          <a:pt x="369323" y="948827"/>
                          <a:pt x="381702" y="941411"/>
                          <a:pt x="396558" y="938939"/>
                        </a:cubicBezTo>
                        <a:cubicBezTo>
                          <a:pt x="413888" y="933995"/>
                          <a:pt x="431219" y="931523"/>
                          <a:pt x="448550" y="931523"/>
                        </a:cubicBezTo>
                        <a:cubicBezTo>
                          <a:pt x="473309" y="933995"/>
                          <a:pt x="495591" y="933995"/>
                          <a:pt x="517874" y="921634"/>
                        </a:cubicBezTo>
                        <a:cubicBezTo>
                          <a:pt x="520350" y="919162"/>
                          <a:pt x="522826" y="921634"/>
                          <a:pt x="527777" y="919162"/>
                        </a:cubicBezTo>
                        <a:close/>
                        <a:moveTo>
                          <a:pt x="842279" y="740642"/>
                        </a:moveTo>
                        <a:cubicBezTo>
                          <a:pt x="807654" y="740642"/>
                          <a:pt x="777975" y="748049"/>
                          <a:pt x="753243" y="770268"/>
                        </a:cubicBezTo>
                        <a:cubicBezTo>
                          <a:pt x="733457" y="787549"/>
                          <a:pt x="713671" y="807300"/>
                          <a:pt x="696359" y="824582"/>
                        </a:cubicBezTo>
                        <a:cubicBezTo>
                          <a:pt x="693886" y="827050"/>
                          <a:pt x="691412" y="831988"/>
                          <a:pt x="688939" y="836926"/>
                        </a:cubicBezTo>
                        <a:cubicBezTo>
                          <a:pt x="671626" y="864082"/>
                          <a:pt x="664207" y="893708"/>
                          <a:pt x="656787" y="923334"/>
                        </a:cubicBezTo>
                        <a:cubicBezTo>
                          <a:pt x="637001" y="992460"/>
                          <a:pt x="646894" y="1059118"/>
                          <a:pt x="671626" y="1123307"/>
                        </a:cubicBezTo>
                        <a:cubicBezTo>
                          <a:pt x="679046" y="1138120"/>
                          <a:pt x="691412" y="1145526"/>
                          <a:pt x="708725" y="1147995"/>
                        </a:cubicBezTo>
                        <a:cubicBezTo>
                          <a:pt x="738404" y="1147995"/>
                          <a:pt x="768082" y="1143058"/>
                          <a:pt x="797761" y="1130714"/>
                        </a:cubicBezTo>
                        <a:cubicBezTo>
                          <a:pt x="817547" y="1123307"/>
                          <a:pt x="839806" y="1118370"/>
                          <a:pt x="857119" y="1101088"/>
                        </a:cubicBezTo>
                        <a:cubicBezTo>
                          <a:pt x="869485" y="1088744"/>
                          <a:pt x="884324" y="1078869"/>
                          <a:pt x="899164" y="1068993"/>
                        </a:cubicBezTo>
                        <a:cubicBezTo>
                          <a:pt x="918949" y="1054181"/>
                          <a:pt x="938735" y="1039368"/>
                          <a:pt x="958521" y="1022086"/>
                        </a:cubicBezTo>
                        <a:cubicBezTo>
                          <a:pt x="968414" y="1014680"/>
                          <a:pt x="980780" y="1007273"/>
                          <a:pt x="988200" y="997398"/>
                        </a:cubicBezTo>
                        <a:cubicBezTo>
                          <a:pt x="1010459" y="972710"/>
                          <a:pt x="1032718" y="948022"/>
                          <a:pt x="1054977" y="925803"/>
                        </a:cubicBezTo>
                        <a:cubicBezTo>
                          <a:pt x="1092076" y="891239"/>
                          <a:pt x="1116808" y="849270"/>
                          <a:pt x="1146487" y="807300"/>
                        </a:cubicBezTo>
                        <a:cubicBezTo>
                          <a:pt x="1139067" y="802362"/>
                          <a:pt x="1131647" y="797425"/>
                          <a:pt x="1124228" y="794956"/>
                        </a:cubicBezTo>
                        <a:cubicBezTo>
                          <a:pt x="1079709" y="777674"/>
                          <a:pt x="1035191" y="762861"/>
                          <a:pt x="990673" y="748049"/>
                        </a:cubicBezTo>
                        <a:cubicBezTo>
                          <a:pt x="968414" y="743111"/>
                          <a:pt x="943682" y="740642"/>
                          <a:pt x="918949" y="740642"/>
                        </a:cubicBezTo>
                        <a:cubicBezTo>
                          <a:pt x="894217" y="738173"/>
                          <a:pt x="867012" y="740642"/>
                          <a:pt x="842279" y="740642"/>
                        </a:cubicBezTo>
                        <a:close/>
                        <a:moveTo>
                          <a:pt x="326006" y="127884"/>
                        </a:moveTo>
                        <a:cubicBezTo>
                          <a:pt x="328481" y="125412"/>
                          <a:pt x="335906" y="127884"/>
                          <a:pt x="338380" y="130355"/>
                        </a:cubicBezTo>
                        <a:cubicBezTo>
                          <a:pt x="353230" y="137771"/>
                          <a:pt x="368080" y="142714"/>
                          <a:pt x="380455" y="150129"/>
                        </a:cubicBezTo>
                        <a:cubicBezTo>
                          <a:pt x="452229" y="197091"/>
                          <a:pt x="524002" y="244053"/>
                          <a:pt x="585876" y="303373"/>
                        </a:cubicBezTo>
                        <a:cubicBezTo>
                          <a:pt x="620526" y="337976"/>
                          <a:pt x="650225" y="372580"/>
                          <a:pt x="674975" y="412127"/>
                        </a:cubicBezTo>
                        <a:cubicBezTo>
                          <a:pt x="684875" y="431900"/>
                          <a:pt x="697249" y="451674"/>
                          <a:pt x="709624" y="471447"/>
                        </a:cubicBezTo>
                        <a:cubicBezTo>
                          <a:pt x="697249" y="483805"/>
                          <a:pt x="682400" y="483805"/>
                          <a:pt x="672500" y="486277"/>
                        </a:cubicBezTo>
                        <a:cubicBezTo>
                          <a:pt x="625476" y="491220"/>
                          <a:pt x="580926" y="496164"/>
                          <a:pt x="536377" y="501107"/>
                        </a:cubicBezTo>
                        <a:cubicBezTo>
                          <a:pt x="528952" y="501107"/>
                          <a:pt x="524002" y="503579"/>
                          <a:pt x="516577" y="506050"/>
                        </a:cubicBezTo>
                        <a:cubicBezTo>
                          <a:pt x="504203" y="508522"/>
                          <a:pt x="491828" y="510994"/>
                          <a:pt x="479453" y="513465"/>
                        </a:cubicBezTo>
                        <a:cubicBezTo>
                          <a:pt x="472028" y="513465"/>
                          <a:pt x="467078" y="513465"/>
                          <a:pt x="462128" y="515937"/>
                        </a:cubicBezTo>
                        <a:cubicBezTo>
                          <a:pt x="442329" y="523352"/>
                          <a:pt x="420054" y="520880"/>
                          <a:pt x="400254" y="518409"/>
                        </a:cubicBezTo>
                        <a:cubicBezTo>
                          <a:pt x="377980" y="513465"/>
                          <a:pt x="358180" y="518409"/>
                          <a:pt x="348280" y="543126"/>
                        </a:cubicBezTo>
                        <a:cubicBezTo>
                          <a:pt x="348280" y="545597"/>
                          <a:pt x="345805" y="548069"/>
                          <a:pt x="345805" y="550541"/>
                        </a:cubicBezTo>
                        <a:cubicBezTo>
                          <a:pt x="323531" y="565371"/>
                          <a:pt x="311156" y="587616"/>
                          <a:pt x="298781" y="607389"/>
                        </a:cubicBezTo>
                        <a:cubicBezTo>
                          <a:pt x="286406" y="624691"/>
                          <a:pt x="276507" y="644464"/>
                          <a:pt x="266607" y="664238"/>
                        </a:cubicBezTo>
                        <a:cubicBezTo>
                          <a:pt x="264132" y="669181"/>
                          <a:pt x="259182" y="676596"/>
                          <a:pt x="259182" y="684011"/>
                        </a:cubicBezTo>
                        <a:cubicBezTo>
                          <a:pt x="254232" y="691426"/>
                          <a:pt x="254232" y="701313"/>
                          <a:pt x="254232" y="711200"/>
                        </a:cubicBezTo>
                        <a:cubicBezTo>
                          <a:pt x="298781" y="681540"/>
                          <a:pt x="345805" y="654351"/>
                          <a:pt x="397779" y="639521"/>
                        </a:cubicBezTo>
                        <a:cubicBezTo>
                          <a:pt x="452229" y="622219"/>
                          <a:pt x="504203" y="624691"/>
                          <a:pt x="561127" y="627163"/>
                        </a:cubicBezTo>
                        <a:cubicBezTo>
                          <a:pt x="543802" y="646936"/>
                          <a:pt x="511628" y="651879"/>
                          <a:pt x="509153" y="686483"/>
                        </a:cubicBezTo>
                        <a:cubicBezTo>
                          <a:pt x="516577" y="703785"/>
                          <a:pt x="528952" y="721086"/>
                          <a:pt x="536377" y="740860"/>
                        </a:cubicBezTo>
                        <a:cubicBezTo>
                          <a:pt x="548752" y="765577"/>
                          <a:pt x="533902" y="787822"/>
                          <a:pt x="519052" y="805123"/>
                        </a:cubicBezTo>
                        <a:cubicBezTo>
                          <a:pt x="499253" y="827368"/>
                          <a:pt x="472028" y="842199"/>
                          <a:pt x="444804" y="854557"/>
                        </a:cubicBezTo>
                        <a:cubicBezTo>
                          <a:pt x="442329" y="854557"/>
                          <a:pt x="442329" y="854557"/>
                          <a:pt x="442329" y="854557"/>
                        </a:cubicBezTo>
                        <a:cubicBezTo>
                          <a:pt x="410154" y="874330"/>
                          <a:pt x="377980" y="884217"/>
                          <a:pt x="343330" y="894104"/>
                        </a:cubicBezTo>
                        <a:cubicBezTo>
                          <a:pt x="308681" y="906462"/>
                          <a:pt x="278981" y="903990"/>
                          <a:pt x="246807" y="886689"/>
                        </a:cubicBezTo>
                        <a:cubicBezTo>
                          <a:pt x="187408" y="852085"/>
                          <a:pt x="137909" y="807595"/>
                          <a:pt x="93360" y="755690"/>
                        </a:cubicBezTo>
                        <a:cubicBezTo>
                          <a:pt x="78510" y="735916"/>
                          <a:pt x="78510" y="716143"/>
                          <a:pt x="90885" y="693898"/>
                        </a:cubicBezTo>
                        <a:cubicBezTo>
                          <a:pt x="98310" y="679068"/>
                          <a:pt x="103259" y="664238"/>
                          <a:pt x="113159" y="649408"/>
                        </a:cubicBezTo>
                        <a:cubicBezTo>
                          <a:pt x="128009" y="624691"/>
                          <a:pt x="142859" y="599974"/>
                          <a:pt x="167608" y="580201"/>
                        </a:cubicBezTo>
                        <a:cubicBezTo>
                          <a:pt x="202258" y="557956"/>
                          <a:pt x="234432" y="530767"/>
                          <a:pt x="261657" y="496164"/>
                        </a:cubicBezTo>
                        <a:cubicBezTo>
                          <a:pt x="269082" y="488749"/>
                          <a:pt x="278981" y="483805"/>
                          <a:pt x="293831" y="471447"/>
                        </a:cubicBezTo>
                        <a:cubicBezTo>
                          <a:pt x="274032" y="456617"/>
                          <a:pt x="264132" y="444259"/>
                          <a:pt x="251757" y="436843"/>
                        </a:cubicBezTo>
                        <a:cubicBezTo>
                          <a:pt x="177508" y="384938"/>
                          <a:pt x="113159" y="325618"/>
                          <a:pt x="53760" y="261354"/>
                        </a:cubicBezTo>
                        <a:cubicBezTo>
                          <a:pt x="38911" y="244053"/>
                          <a:pt x="26536" y="224279"/>
                          <a:pt x="11686" y="206977"/>
                        </a:cubicBezTo>
                        <a:cubicBezTo>
                          <a:pt x="9211" y="202034"/>
                          <a:pt x="6736" y="194619"/>
                          <a:pt x="1786" y="187204"/>
                        </a:cubicBezTo>
                        <a:cubicBezTo>
                          <a:pt x="-3164" y="169902"/>
                          <a:pt x="1786" y="160016"/>
                          <a:pt x="21586" y="160016"/>
                        </a:cubicBezTo>
                        <a:cubicBezTo>
                          <a:pt x="41385" y="162487"/>
                          <a:pt x="61185" y="164959"/>
                          <a:pt x="80985" y="164959"/>
                        </a:cubicBezTo>
                        <a:cubicBezTo>
                          <a:pt x="100784" y="167431"/>
                          <a:pt x="120584" y="174846"/>
                          <a:pt x="140384" y="182261"/>
                        </a:cubicBezTo>
                        <a:cubicBezTo>
                          <a:pt x="145334" y="184732"/>
                          <a:pt x="150284" y="182261"/>
                          <a:pt x="160183" y="184732"/>
                        </a:cubicBezTo>
                        <a:cubicBezTo>
                          <a:pt x="150284" y="172374"/>
                          <a:pt x="142859" y="162487"/>
                          <a:pt x="132959" y="152601"/>
                        </a:cubicBezTo>
                        <a:cubicBezTo>
                          <a:pt x="135434" y="150129"/>
                          <a:pt x="135434" y="147657"/>
                          <a:pt x="135434" y="147657"/>
                        </a:cubicBezTo>
                        <a:cubicBezTo>
                          <a:pt x="155234" y="152601"/>
                          <a:pt x="175033" y="160016"/>
                          <a:pt x="197308" y="167431"/>
                        </a:cubicBezTo>
                        <a:cubicBezTo>
                          <a:pt x="187408" y="155072"/>
                          <a:pt x="182458" y="147657"/>
                          <a:pt x="172558" y="135299"/>
                        </a:cubicBezTo>
                        <a:cubicBezTo>
                          <a:pt x="204733" y="137771"/>
                          <a:pt x="229482" y="140242"/>
                          <a:pt x="256707" y="142714"/>
                        </a:cubicBezTo>
                        <a:cubicBezTo>
                          <a:pt x="256707" y="137771"/>
                          <a:pt x="254232" y="135299"/>
                          <a:pt x="254232" y="130355"/>
                        </a:cubicBezTo>
                        <a:cubicBezTo>
                          <a:pt x="264132" y="130355"/>
                          <a:pt x="274032" y="130355"/>
                          <a:pt x="283931" y="130355"/>
                        </a:cubicBezTo>
                        <a:cubicBezTo>
                          <a:pt x="298781" y="130355"/>
                          <a:pt x="311156" y="140242"/>
                          <a:pt x="326006" y="127884"/>
                        </a:cubicBezTo>
                        <a:close/>
                        <a:moveTo>
                          <a:pt x="1465533" y="0"/>
                        </a:moveTo>
                        <a:cubicBezTo>
                          <a:pt x="1490266" y="0"/>
                          <a:pt x="1517471" y="4938"/>
                          <a:pt x="1539730" y="17282"/>
                        </a:cubicBezTo>
                        <a:cubicBezTo>
                          <a:pt x="1569409" y="34563"/>
                          <a:pt x="1599088" y="51845"/>
                          <a:pt x="1628767" y="74064"/>
                        </a:cubicBezTo>
                        <a:cubicBezTo>
                          <a:pt x="1690597" y="118503"/>
                          <a:pt x="1749955" y="167879"/>
                          <a:pt x="1801893" y="227130"/>
                        </a:cubicBezTo>
                        <a:cubicBezTo>
                          <a:pt x="1819205" y="246881"/>
                          <a:pt x="1836518" y="266631"/>
                          <a:pt x="1853831" y="288851"/>
                        </a:cubicBezTo>
                        <a:cubicBezTo>
                          <a:pt x="1883509" y="328351"/>
                          <a:pt x="1876090" y="353039"/>
                          <a:pt x="1851357" y="399947"/>
                        </a:cubicBezTo>
                        <a:cubicBezTo>
                          <a:pt x="1841464" y="419697"/>
                          <a:pt x="1826625" y="439448"/>
                          <a:pt x="1811786" y="459198"/>
                        </a:cubicBezTo>
                        <a:cubicBezTo>
                          <a:pt x="1789527" y="488824"/>
                          <a:pt x="1767267" y="520918"/>
                          <a:pt x="1742535" y="550544"/>
                        </a:cubicBezTo>
                        <a:cubicBezTo>
                          <a:pt x="1732642" y="565357"/>
                          <a:pt x="1725223" y="577701"/>
                          <a:pt x="1715330" y="592514"/>
                        </a:cubicBezTo>
                        <a:cubicBezTo>
                          <a:pt x="1712856" y="594983"/>
                          <a:pt x="1710383" y="597451"/>
                          <a:pt x="1707910" y="599920"/>
                        </a:cubicBezTo>
                        <a:cubicBezTo>
                          <a:pt x="1688124" y="617202"/>
                          <a:pt x="1665865" y="634483"/>
                          <a:pt x="1646079" y="654234"/>
                        </a:cubicBezTo>
                        <a:cubicBezTo>
                          <a:pt x="1638659" y="659171"/>
                          <a:pt x="1633713" y="669047"/>
                          <a:pt x="1623820" y="678922"/>
                        </a:cubicBezTo>
                        <a:cubicBezTo>
                          <a:pt x="1633713" y="681391"/>
                          <a:pt x="1641133" y="683860"/>
                          <a:pt x="1648552" y="683860"/>
                        </a:cubicBezTo>
                        <a:cubicBezTo>
                          <a:pt x="1690597" y="688797"/>
                          <a:pt x="1732642" y="693735"/>
                          <a:pt x="1774687" y="701141"/>
                        </a:cubicBezTo>
                        <a:cubicBezTo>
                          <a:pt x="1848884" y="713485"/>
                          <a:pt x="1923081" y="728298"/>
                          <a:pt x="1997278" y="743111"/>
                        </a:cubicBezTo>
                        <a:cubicBezTo>
                          <a:pt x="2004698" y="745580"/>
                          <a:pt x="2014590" y="750517"/>
                          <a:pt x="2022010" y="755455"/>
                        </a:cubicBezTo>
                        <a:cubicBezTo>
                          <a:pt x="2051689" y="780143"/>
                          <a:pt x="2076421" y="809769"/>
                          <a:pt x="2096207" y="841863"/>
                        </a:cubicBezTo>
                        <a:cubicBezTo>
                          <a:pt x="2162984" y="943084"/>
                          <a:pt x="2212449" y="1051712"/>
                          <a:pt x="2256967" y="1162808"/>
                        </a:cubicBezTo>
                        <a:cubicBezTo>
                          <a:pt x="2281699" y="1224528"/>
                          <a:pt x="2303958" y="1286248"/>
                          <a:pt x="2326217" y="1345500"/>
                        </a:cubicBezTo>
                        <a:cubicBezTo>
                          <a:pt x="2328691" y="1352906"/>
                          <a:pt x="2331164" y="1357844"/>
                          <a:pt x="2333637" y="1365250"/>
                        </a:cubicBezTo>
                        <a:cubicBezTo>
                          <a:pt x="2256967" y="1308468"/>
                          <a:pt x="2175350" y="1261560"/>
                          <a:pt x="2096207" y="1214653"/>
                        </a:cubicBezTo>
                        <a:cubicBezTo>
                          <a:pt x="2046742" y="1189965"/>
                          <a:pt x="1997278" y="1170214"/>
                          <a:pt x="1947813" y="1147995"/>
                        </a:cubicBezTo>
                        <a:cubicBezTo>
                          <a:pt x="1920608" y="1135651"/>
                          <a:pt x="1893402" y="1123307"/>
                          <a:pt x="1866197" y="1110963"/>
                        </a:cubicBezTo>
                        <a:cubicBezTo>
                          <a:pt x="1843938" y="1101088"/>
                          <a:pt x="1821679" y="1088744"/>
                          <a:pt x="1796946" y="1081337"/>
                        </a:cubicBezTo>
                        <a:cubicBezTo>
                          <a:pt x="1725223" y="1059118"/>
                          <a:pt x="1660919" y="1022086"/>
                          <a:pt x="1586722" y="999867"/>
                        </a:cubicBezTo>
                        <a:cubicBezTo>
                          <a:pt x="1564463" y="994929"/>
                          <a:pt x="1539730" y="987523"/>
                          <a:pt x="1514998" y="977648"/>
                        </a:cubicBezTo>
                        <a:cubicBezTo>
                          <a:pt x="1482846" y="965304"/>
                          <a:pt x="1448221" y="952959"/>
                          <a:pt x="1416069" y="940615"/>
                        </a:cubicBezTo>
                        <a:cubicBezTo>
                          <a:pt x="1401229" y="935678"/>
                          <a:pt x="1388863" y="935678"/>
                          <a:pt x="1374024" y="933209"/>
                        </a:cubicBezTo>
                        <a:cubicBezTo>
                          <a:pt x="1369077" y="930740"/>
                          <a:pt x="1364131" y="925803"/>
                          <a:pt x="1356711" y="923334"/>
                        </a:cubicBezTo>
                        <a:cubicBezTo>
                          <a:pt x="1336925" y="957897"/>
                          <a:pt x="1304773" y="980116"/>
                          <a:pt x="1275095" y="1002336"/>
                        </a:cubicBezTo>
                        <a:cubicBezTo>
                          <a:pt x="1245416" y="1027024"/>
                          <a:pt x="1218210" y="1051712"/>
                          <a:pt x="1186058" y="1071462"/>
                        </a:cubicBezTo>
                        <a:cubicBezTo>
                          <a:pt x="1153906" y="1096150"/>
                          <a:pt x="1124228" y="1125776"/>
                          <a:pt x="1084656" y="1143058"/>
                        </a:cubicBezTo>
                        <a:cubicBezTo>
                          <a:pt x="1064870" y="1152933"/>
                          <a:pt x="1047557" y="1167746"/>
                          <a:pt x="1027772" y="1177621"/>
                        </a:cubicBezTo>
                        <a:cubicBezTo>
                          <a:pt x="1003039" y="1189965"/>
                          <a:pt x="975834" y="1199840"/>
                          <a:pt x="951101" y="1209715"/>
                        </a:cubicBezTo>
                        <a:cubicBezTo>
                          <a:pt x="941209" y="1214653"/>
                          <a:pt x="931316" y="1222059"/>
                          <a:pt x="921423" y="1224528"/>
                        </a:cubicBezTo>
                        <a:cubicBezTo>
                          <a:pt x="896690" y="1234403"/>
                          <a:pt x="871958" y="1241810"/>
                          <a:pt x="847226" y="1246747"/>
                        </a:cubicBezTo>
                        <a:cubicBezTo>
                          <a:pt x="822494" y="1254154"/>
                          <a:pt x="797761" y="1246747"/>
                          <a:pt x="775502" y="1236872"/>
                        </a:cubicBezTo>
                        <a:cubicBezTo>
                          <a:pt x="730984" y="1214653"/>
                          <a:pt x="693886" y="1185027"/>
                          <a:pt x="661734" y="1147995"/>
                        </a:cubicBezTo>
                        <a:cubicBezTo>
                          <a:pt x="637001" y="1118370"/>
                          <a:pt x="624635" y="1081337"/>
                          <a:pt x="617215" y="1044305"/>
                        </a:cubicBezTo>
                        <a:cubicBezTo>
                          <a:pt x="604849" y="989992"/>
                          <a:pt x="607322" y="933209"/>
                          <a:pt x="622162" y="878895"/>
                        </a:cubicBezTo>
                        <a:cubicBezTo>
                          <a:pt x="629582" y="854207"/>
                          <a:pt x="641948" y="829519"/>
                          <a:pt x="654314" y="807300"/>
                        </a:cubicBezTo>
                        <a:cubicBezTo>
                          <a:pt x="664207" y="787549"/>
                          <a:pt x="676573" y="770268"/>
                          <a:pt x="686466" y="752986"/>
                        </a:cubicBezTo>
                        <a:cubicBezTo>
                          <a:pt x="728511" y="693735"/>
                          <a:pt x="785395" y="659171"/>
                          <a:pt x="857119" y="644359"/>
                        </a:cubicBezTo>
                        <a:cubicBezTo>
                          <a:pt x="918949" y="632015"/>
                          <a:pt x="980780" y="627077"/>
                          <a:pt x="1042611" y="624608"/>
                        </a:cubicBezTo>
                        <a:cubicBezTo>
                          <a:pt x="1072290" y="622139"/>
                          <a:pt x="1101969" y="619671"/>
                          <a:pt x="1131647" y="622139"/>
                        </a:cubicBezTo>
                        <a:cubicBezTo>
                          <a:pt x="1168746" y="622139"/>
                          <a:pt x="1205844" y="624608"/>
                          <a:pt x="1242943" y="636952"/>
                        </a:cubicBezTo>
                        <a:cubicBezTo>
                          <a:pt x="1247889" y="636952"/>
                          <a:pt x="1250362" y="639421"/>
                          <a:pt x="1255309" y="639421"/>
                        </a:cubicBezTo>
                        <a:cubicBezTo>
                          <a:pt x="1275095" y="641890"/>
                          <a:pt x="1277568" y="639421"/>
                          <a:pt x="1282514" y="622139"/>
                        </a:cubicBezTo>
                        <a:cubicBezTo>
                          <a:pt x="1284988" y="617202"/>
                          <a:pt x="1284988" y="612264"/>
                          <a:pt x="1287461" y="609795"/>
                        </a:cubicBezTo>
                        <a:cubicBezTo>
                          <a:pt x="1302300" y="590045"/>
                          <a:pt x="1312193" y="570294"/>
                          <a:pt x="1319613" y="548075"/>
                        </a:cubicBezTo>
                        <a:cubicBezTo>
                          <a:pt x="1339399" y="508574"/>
                          <a:pt x="1359184" y="469073"/>
                          <a:pt x="1378970" y="429572"/>
                        </a:cubicBezTo>
                        <a:cubicBezTo>
                          <a:pt x="1381444" y="427104"/>
                          <a:pt x="1378970" y="424635"/>
                          <a:pt x="1381444" y="419697"/>
                        </a:cubicBezTo>
                        <a:cubicBezTo>
                          <a:pt x="1351765" y="407353"/>
                          <a:pt x="1324559" y="409822"/>
                          <a:pt x="1299827" y="422166"/>
                        </a:cubicBezTo>
                        <a:cubicBezTo>
                          <a:pt x="1262728" y="441917"/>
                          <a:pt x="1228103" y="461667"/>
                          <a:pt x="1193478" y="478949"/>
                        </a:cubicBezTo>
                        <a:cubicBezTo>
                          <a:pt x="1186058" y="483886"/>
                          <a:pt x="1176165" y="483886"/>
                          <a:pt x="1168746" y="486355"/>
                        </a:cubicBezTo>
                        <a:cubicBezTo>
                          <a:pt x="1151433" y="491293"/>
                          <a:pt x="1131647" y="493761"/>
                          <a:pt x="1114335" y="498699"/>
                        </a:cubicBezTo>
                        <a:cubicBezTo>
                          <a:pt x="1097022" y="503637"/>
                          <a:pt x="1079709" y="501168"/>
                          <a:pt x="1064870" y="493761"/>
                        </a:cubicBezTo>
                        <a:cubicBezTo>
                          <a:pt x="1035191" y="476480"/>
                          <a:pt x="1007986" y="461667"/>
                          <a:pt x="980780" y="444385"/>
                        </a:cubicBezTo>
                        <a:cubicBezTo>
                          <a:pt x="904110" y="392540"/>
                          <a:pt x="837333" y="330820"/>
                          <a:pt x="777975" y="261694"/>
                        </a:cubicBezTo>
                        <a:cubicBezTo>
                          <a:pt x="765609" y="246881"/>
                          <a:pt x="758190" y="229599"/>
                          <a:pt x="748297" y="212317"/>
                        </a:cubicBezTo>
                        <a:cubicBezTo>
                          <a:pt x="745823" y="209849"/>
                          <a:pt x="743350" y="204911"/>
                          <a:pt x="745823" y="199973"/>
                        </a:cubicBezTo>
                        <a:cubicBezTo>
                          <a:pt x="753243" y="185161"/>
                          <a:pt x="740877" y="175285"/>
                          <a:pt x="733457" y="162941"/>
                        </a:cubicBezTo>
                        <a:cubicBezTo>
                          <a:pt x="726038" y="153066"/>
                          <a:pt x="716145" y="140722"/>
                          <a:pt x="716145" y="125909"/>
                        </a:cubicBezTo>
                        <a:cubicBezTo>
                          <a:pt x="733457" y="120971"/>
                          <a:pt x="748297" y="118503"/>
                          <a:pt x="765609" y="120971"/>
                        </a:cubicBezTo>
                        <a:cubicBezTo>
                          <a:pt x="802708" y="123440"/>
                          <a:pt x="837333" y="120971"/>
                          <a:pt x="874431" y="120971"/>
                        </a:cubicBezTo>
                        <a:cubicBezTo>
                          <a:pt x="926369" y="116034"/>
                          <a:pt x="975834" y="108627"/>
                          <a:pt x="1022825" y="91346"/>
                        </a:cubicBezTo>
                        <a:cubicBezTo>
                          <a:pt x="1027772" y="88877"/>
                          <a:pt x="1032718" y="88877"/>
                          <a:pt x="1037665" y="88877"/>
                        </a:cubicBezTo>
                        <a:cubicBezTo>
                          <a:pt x="1072290" y="81470"/>
                          <a:pt x="1104442" y="69126"/>
                          <a:pt x="1136594" y="51845"/>
                        </a:cubicBezTo>
                        <a:cubicBezTo>
                          <a:pt x="1139067" y="49376"/>
                          <a:pt x="1146487" y="49376"/>
                          <a:pt x="1148960" y="49376"/>
                        </a:cubicBezTo>
                        <a:cubicBezTo>
                          <a:pt x="1163799" y="54314"/>
                          <a:pt x="1178639" y="46907"/>
                          <a:pt x="1193478" y="44438"/>
                        </a:cubicBezTo>
                        <a:cubicBezTo>
                          <a:pt x="1233050" y="32094"/>
                          <a:pt x="1272621" y="19750"/>
                          <a:pt x="1309720" y="7406"/>
                        </a:cubicBezTo>
                        <a:cubicBezTo>
                          <a:pt x="1319613" y="4938"/>
                          <a:pt x="1329506" y="2469"/>
                          <a:pt x="1339399" y="2469"/>
                        </a:cubicBezTo>
                        <a:cubicBezTo>
                          <a:pt x="1381444" y="2469"/>
                          <a:pt x="1423488" y="0"/>
                          <a:pt x="1465533" y="0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84000">
                        <a:schemeClr val="accent2">
                          <a:lumMod val="40000"/>
                          <a:lumOff val="60000"/>
                        </a:schemeClr>
                      </a:gs>
                      <a:gs pos="0">
                        <a:schemeClr val="accent2"/>
                      </a:gs>
                    </a:gsLst>
                    <a:lin ang="135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lvl="0" algn="ctr"/>
                    <a:endParaRPr>
                      <a:gradFill flip="none" rotWithShape="1">
                        <a:gsLst>
                          <a:gs pos="89000">
                            <a:schemeClr val="bg1"/>
                          </a:gs>
                          <a:gs pos="0">
                            <a:schemeClr val="accent2"/>
                          </a:gs>
                        </a:gsLst>
                        <a:lin ang="13500000" scaled="1"/>
                        <a:tileRect/>
                      </a:gradFill>
                    </a:endParaRPr>
                  </a:p>
                </p:txBody>
              </p:sp>
              <p:sp>
                <p:nvSpPr>
                  <p:cNvPr id="195" name="任意多边形: 形状 194">
                    <a:extLst>
                      <a:ext uri="{FF2B5EF4-FFF2-40B4-BE49-F238E27FC236}">
                        <a16:creationId xmlns:a16="http://schemas.microsoft.com/office/drawing/2014/main" id="{4729509A-1087-4D19-B0C0-CE24F3922BA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8166949" y="2083869"/>
                    <a:ext cx="43545" cy="69206"/>
                  </a:xfrm>
                  <a:custGeom>
                    <a:avLst/>
                    <a:gdLst>
                      <a:gd name="T0" fmla="*/ 7 w 14"/>
                      <a:gd name="T1" fmla="*/ 0 h 84"/>
                      <a:gd name="T2" fmla="*/ 10 w 14"/>
                      <a:gd name="T3" fmla="*/ 7 h 84"/>
                      <a:gd name="T4" fmla="*/ 14 w 14"/>
                      <a:gd name="T5" fmla="*/ 57 h 84"/>
                      <a:gd name="T6" fmla="*/ 14 w 14"/>
                      <a:gd name="T7" fmla="*/ 60 h 84"/>
                      <a:gd name="T8" fmla="*/ 9 w 14"/>
                      <a:gd name="T9" fmla="*/ 84 h 84"/>
                      <a:gd name="T10" fmla="*/ 7 w 14"/>
                      <a:gd name="T11" fmla="*/ 0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4" h="84">
                        <a:moveTo>
                          <a:pt x="7" y="0"/>
                        </a:moveTo>
                        <a:cubicBezTo>
                          <a:pt x="8" y="4"/>
                          <a:pt x="9" y="5"/>
                          <a:pt x="10" y="7"/>
                        </a:cubicBezTo>
                        <a:cubicBezTo>
                          <a:pt x="11" y="24"/>
                          <a:pt x="13" y="40"/>
                          <a:pt x="14" y="57"/>
                        </a:cubicBezTo>
                        <a:cubicBezTo>
                          <a:pt x="14" y="58"/>
                          <a:pt x="14" y="59"/>
                          <a:pt x="14" y="60"/>
                        </a:cubicBezTo>
                        <a:cubicBezTo>
                          <a:pt x="12" y="68"/>
                          <a:pt x="11" y="76"/>
                          <a:pt x="9" y="84"/>
                        </a:cubicBezTo>
                        <a:cubicBezTo>
                          <a:pt x="0" y="71"/>
                          <a:pt x="4" y="21"/>
                          <a:pt x="7" y="0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84000">
                        <a:schemeClr val="accent2">
                          <a:lumMod val="40000"/>
                          <a:lumOff val="60000"/>
                        </a:schemeClr>
                      </a:gs>
                      <a:gs pos="0">
                        <a:schemeClr val="accent2"/>
                      </a:gs>
                      <a:gs pos="55000">
                        <a:schemeClr val="accent2"/>
                      </a:gs>
                    </a:gsLst>
                    <a:lin ang="135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/>
                  </a:p>
                </p:txBody>
              </p:sp>
              <p:sp>
                <p:nvSpPr>
                  <p:cNvPr id="196" name="任意多边形: 形状 195">
                    <a:extLst>
                      <a:ext uri="{FF2B5EF4-FFF2-40B4-BE49-F238E27FC236}">
                        <a16:creationId xmlns:a16="http://schemas.microsoft.com/office/drawing/2014/main" id="{E1DBD410-7005-465F-8BC3-4985F6DB011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8804159" y="2842281"/>
                    <a:ext cx="30163" cy="47625"/>
                  </a:xfrm>
                  <a:custGeom>
                    <a:avLst/>
                    <a:gdLst>
                      <a:gd name="T0" fmla="*/ 1 w 12"/>
                      <a:gd name="T1" fmla="*/ 0 h 19"/>
                      <a:gd name="T2" fmla="*/ 12 w 12"/>
                      <a:gd name="T3" fmla="*/ 14 h 19"/>
                      <a:gd name="T4" fmla="*/ 5 w 12"/>
                      <a:gd name="T5" fmla="*/ 19 h 19"/>
                      <a:gd name="T6" fmla="*/ 1 w 12"/>
                      <a:gd name="T7" fmla="*/ 0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2" h="19">
                        <a:moveTo>
                          <a:pt x="1" y="0"/>
                        </a:moveTo>
                        <a:cubicBezTo>
                          <a:pt x="5" y="6"/>
                          <a:pt x="8" y="9"/>
                          <a:pt x="12" y="14"/>
                        </a:cubicBezTo>
                        <a:cubicBezTo>
                          <a:pt x="10" y="15"/>
                          <a:pt x="8" y="17"/>
                          <a:pt x="5" y="19"/>
                        </a:cubicBezTo>
                        <a:cubicBezTo>
                          <a:pt x="1" y="14"/>
                          <a:pt x="0" y="9"/>
                          <a:pt x="1" y="0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84000">
                        <a:schemeClr val="accent2">
                          <a:lumMod val="40000"/>
                          <a:lumOff val="60000"/>
                        </a:schemeClr>
                      </a:gs>
                      <a:gs pos="0">
                        <a:schemeClr val="accent2"/>
                      </a:gs>
                      <a:gs pos="55000">
                        <a:schemeClr val="accent2"/>
                      </a:gs>
                    </a:gsLst>
                    <a:lin ang="135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/>
                  </a:p>
                </p:txBody>
              </p:sp>
              <p:sp>
                <p:nvSpPr>
                  <p:cNvPr id="197" name="任意多边形: 形状 196">
                    <a:extLst>
                      <a:ext uri="{FF2B5EF4-FFF2-40B4-BE49-F238E27FC236}">
                        <a16:creationId xmlns:a16="http://schemas.microsoft.com/office/drawing/2014/main" id="{5EB1DD80-BE5C-40EC-9B3E-B593B24D1D51}"/>
                      </a:ext>
                    </a:extLst>
                  </p:cNvPr>
                  <p:cNvSpPr/>
                  <p:nvPr/>
                </p:nvSpPr>
                <p:spPr bwMode="auto">
                  <a:xfrm rot="351813">
                    <a:off x="8460407" y="2153441"/>
                    <a:ext cx="673118" cy="527922"/>
                  </a:xfrm>
                  <a:custGeom>
                    <a:avLst/>
                    <a:gdLst>
                      <a:gd name="connsiteX0" fmla="*/ 873079 w 2945932"/>
                      <a:gd name="connsiteY0" fmla="*/ 1590582 h 2310473"/>
                      <a:gd name="connsiteX1" fmla="*/ 861173 w 2945932"/>
                      <a:gd name="connsiteY1" fmla="*/ 1627095 h 2310473"/>
                      <a:gd name="connsiteX2" fmla="*/ 873079 w 2945932"/>
                      <a:gd name="connsiteY2" fmla="*/ 1590582 h 2310473"/>
                      <a:gd name="connsiteX3" fmla="*/ 938166 w 2945932"/>
                      <a:gd name="connsiteY3" fmla="*/ 1350870 h 2310473"/>
                      <a:gd name="connsiteX4" fmla="*/ 858978 w 2945932"/>
                      <a:gd name="connsiteY4" fmla="*/ 1579470 h 2310473"/>
                      <a:gd name="connsiteX5" fmla="*/ 858978 w 2945932"/>
                      <a:gd name="connsiteY5" fmla="*/ 1527851 h 2310473"/>
                      <a:gd name="connsiteX6" fmla="*/ 938166 w 2945932"/>
                      <a:gd name="connsiteY6" fmla="*/ 1350870 h 2310473"/>
                      <a:gd name="connsiteX7" fmla="*/ 853780 w 2945932"/>
                      <a:gd name="connsiteY7" fmla="*/ 1249180 h 2310473"/>
                      <a:gd name="connsiteX8" fmla="*/ 853780 w 2945932"/>
                      <a:gd name="connsiteY8" fmla="*/ 1251652 h 2310473"/>
                      <a:gd name="connsiteX9" fmla="*/ 856255 w 2945932"/>
                      <a:gd name="connsiteY9" fmla="*/ 1249180 h 2310473"/>
                      <a:gd name="connsiteX10" fmla="*/ 853780 w 2945932"/>
                      <a:gd name="connsiteY10" fmla="*/ 1249180 h 2310473"/>
                      <a:gd name="connsiteX11" fmla="*/ 950279 w 2945932"/>
                      <a:gd name="connsiteY11" fmla="*/ 1194803 h 2310473"/>
                      <a:gd name="connsiteX12" fmla="*/ 895844 w 2945932"/>
                      <a:gd name="connsiteY12" fmla="*/ 1224463 h 2310473"/>
                      <a:gd name="connsiteX13" fmla="*/ 950279 w 2945932"/>
                      <a:gd name="connsiteY13" fmla="*/ 1194803 h 2310473"/>
                      <a:gd name="connsiteX14" fmla="*/ 1648037 w 2945932"/>
                      <a:gd name="connsiteY14" fmla="*/ 908086 h 2310473"/>
                      <a:gd name="connsiteX15" fmla="*/ 1610922 w 2945932"/>
                      <a:gd name="connsiteY15" fmla="*/ 915501 h 2310473"/>
                      <a:gd name="connsiteX16" fmla="*/ 1541641 w 2945932"/>
                      <a:gd name="connsiteY16" fmla="*/ 940218 h 2310473"/>
                      <a:gd name="connsiteX17" fmla="*/ 1529270 w 2945932"/>
                      <a:gd name="connsiteY17" fmla="*/ 942689 h 2310473"/>
                      <a:gd name="connsiteX18" fmla="*/ 1516898 w 2945932"/>
                      <a:gd name="connsiteY18" fmla="*/ 917973 h 2310473"/>
                      <a:gd name="connsiteX19" fmla="*/ 1511949 w 2945932"/>
                      <a:gd name="connsiteY19" fmla="*/ 932803 h 2310473"/>
                      <a:gd name="connsiteX20" fmla="*/ 1474835 w 2945932"/>
                      <a:gd name="connsiteY20" fmla="*/ 967406 h 2310473"/>
                      <a:gd name="connsiteX21" fmla="*/ 1395656 w 2945932"/>
                      <a:gd name="connsiteY21" fmla="*/ 999539 h 2310473"/>
                      <a:gd name="connsiteX22" fmla="*/ 1370913 w 2945932"/>
                      <a:gd name="connsiteY22" fmla="*/ 1006954 h 2310473"/>
                      <a:gd name="connsiteX23" fmla="*/ 1356067 w 2945932"/>
                      <a:gd name="connsiteY23" fmla="*/ 1041557 h 2310473"/>
                      <a:gd name="connsiteX24" fmla="*/ 1422874 w 2945932"/>
                      <a:gd name="connsiteY24" fmla="*/ 1155256 h 2310473"/>
                      <a:gd name="connsiteX25" fmla="*/ 1437720 w 2945932"/>
                      <a:gd name="connsiteY25" fmla="*/ 1184916 h 2310473"/>
                      <a:gd name="connsiteX26" fmla="*/ 1529270 w 2945932"/>
                      <a:gd name="connsiteY26" fmla="*/ 1128067 h 2310473"/>
                      <a:gd name="connsiteX27" fmla="*/ 1531744 w 2945932"/>
                      <a:gd name="connsiteY27" fmla="*/ 1128067 h 2310473"/>
                      <a:gd name="connsiteX28" fmla="*/ 1529270 w 2945932"/>
                      <a:gd name="connsiteY28" fmla="*/ 1125595 h 2310473"/>
                      <a:gd name="connsiteX29" fmla="*/ 1554013 w 2945932"/>
                      <a:gd name="connsiteY29" fmla="*/ 1093463 h 2310473"/>
                      <a:gd name="connsiteX30" fmla="*/ 1576282 w 2945932"/>
                      <a:gd name="connsiteY30" fmla="*/ 1068746 h 2310473"/>
                      <a:gd name="connsiteX31" fmla="*/ 1633191 w 2945932"/>
                      <a:gd name="connsiteY31" fmla="*/ 977293 h 2310473"/>
                      <a:gd name="connsiteX32" fmla="*/ 1643088 w 2945932"/>
                      <a:gd name="connsiteY32" fmla="*/ 955048 h 2310473"/>
                      <a:gd name="connsiteX33" fmla="*/ 1657934 w 2945932"/>
                      <a:gd name="connsiteY33" fmla="*/ 925388 h 2310473"/>
                      <a:gd name="connsiteX34" fmla="*/ 1660409 w 2945932"/>
                      <a:gd name="connsiteY34" fmla="*/ 913029 h 2310473"/>
                      <a:gd name="connsiteX35" fmla="*/ 1648037 w 2945932"/>
                      <a:gd name="connsiteY35" fmla="*/ 908086 h 2310473"/>
                      <a:gd name="connsiteX36" fmla="*/ 2630342 w 2945932"/>
                      <a:gd name="connsiteY36" fmla="*/ 814161 h 2310473"/>
                      <a:gd name="connsiteX37" fmla="*/ 2603124 w 2945932"/>
                      <a:gd name="connsiteY37" fmla="*/ 824048 h 2310473"/>
                      <a:gd name="connsiteX38" fmla="*/ 2486831 w 2945932"/>
                      <a:gd name="connsiteY38" fmla="*/ 908086 h 2310473"/>
                      <a:gd name="connsiteX39" fmla="*/ 2439819 w 2945932"/>
                      <a:gd name="connsiteY39" fmla="*/ 979765 h 2310473"/>
                      <a:gd name="connsiteX40" fmla="*/ 2424973 w 2945932"/>
                      <a:gd name="connsiteY40" fmla="*/ 1026727 h 2310473"/>
                      <a:gd name="connsiteX41" fmla="*/ 2410127 w 2945932"/>
                      <a:gd name="connsiteY41" fmla="*/ 1105822 h 2310473"/>
                      <a:gd name="connsiteX42" fmla="*/ 2417550 w 2945932"/>
                      <a:gd name="connsiteY42" fmla="*/ 1123123 h 2310473"/>
                      <a:gd name="connsiteX43" fmla="*/ 2479408 w 2945932"/>
                      <a:gd name="connsiteY43" fmla="*/ 1175029 h 2310473"/>
                      <a:gd name="connsiteX44" fmla="*/ 2528895 w 2945932"/>
                      <a:gd name="connsiteY44" fmla="*/ 1187388 h 2310473"/>
                      <a:gd name="connsiteX45" fmla="*/ 2563535 w 2945932"/>
                      <a:gd name="connsiteY45" fmla="*/ 1155256 h 2310473"/>
                      <a:gd name="connsiteX46" fmla="*/ 2610547 w 2945932"/>
                      <a:gd name="connsiteY46" fmla="*/ 1066274 h 2310473"/>
                      <a:gd name="connsiteX47" fmla="*/ 2613022 w 2945932"/>
                      <a:gd name="connsiteY47" fmla="*/ 1056388 h 2310473"/>
                      <a:gd name="connsiteX48" fmla="*/ 2637765 w 2945932"/>
                      <a:gd name="connsiteY48" fmla="*/ 950105 h 2310473"/>
                      <a:gd name="connsiteX49" fmla="*/ 2655085 w 2945932"/>
                      <a:gd name="connsiteY49" fmla="*/ 848765 h 2310473"/>
                      <a:gd name="connsiteX50" fmla="*/ 2655085 w 2945932"/>
                      <a:gd name="connsiteY50" fmla="*/ 836406 h 2310473"/>
                      <a:gd name="connsiteX51" fmla="*/ 2630342 w 2945932"/>
                      <a:gd name="connsiteY51" fmla="*/ 814161 h 2310473"/>
                      <a:gd name="connsiteX52" fmla="*/ 1426585 w 2945932"/>
                      <a:gd name="connsiteY52" fmla="*/ 354 h 2310473"/>
                      <a:gd name="connsiteX53" fmla="*/ 1447617 w 2945932"/>
                      <a:gd name="connsiteY53" fmla="*/ 10859 h 2310473"/>
                      <a:gd name="connsiteX54" fmla="*/ 1643088 w 2945932"/>
                      <a:gd name="connsiteY54" fmla="*/ 141859 h 2310473"/>
                      <a:gd name="connsiteX55" fmla="*/ 1707421 w 2945932"/>
                      <a:gd name="connsiteY55" fmla="*/ 208595 h 2310473"/>
                      <a:gd name="connsiteX56" fmla="*/ 1714844 w 2945932"/>
                      <a:gd name="connsiteY56" fmla="*/ 250614 h 2310473"/>
                      <a:gd name="connsiteX57" fmla="*/ 1709895 w 2945932"/>
                      <a:gd name="connsiteY57" fmla="*/ 272859 h 2310473"/>
                      <a:gd name="connsiteX58" fmla="*/ 1695049 w 2945932"/>
                      <a:gd name="connsiteY58" fmla="*/ 337123 h 2310473"/>
                      <a:gd name="connsiteX59" fmla="*/ 1680203 w 2945932"/>
                      <a:gd name="connsiteY59" fmla="*/ 379142 h 2310473"/>
                      <a:gd name="connsiteX60" fmla="*/ 1625768 w 2945932"/>
                      <a:gd name="connsiteY60" fmla="*/ 463180 h 2310473"/>
                      <a:gd name="connsiteX61" fmla="*/ 1618345 w 2945932"/>
                      <a:gd name="connsiteY61" fmla="*/ 473067 h 2310473"/>
                      <a:gd name="connsiteX62" fmla="*/ 1539167 w 2945932"/>
                      <a:gd name="connsiteY62" fmla="*/ 633727 h 2310473"/>
                      <a:gd name="connsiteX63" fmla="*/ 1534218 w 2945932"/>
                      <a:gd name="connsiteY63" fmla="*/ 646086 h 2310473"/>
                      <a:gd name="connsiteX64" fmla="*/ 1549064 w 2945932"/>
                      <a:gd name="connsiteY64" fmla="*/ 633727 h 2310473"/>
                      <a:gd name="connsiteX65" fmla="*/ 1598551 w 2945932"/>
                      <a:gd name="connsiteY65" fmla="*/ 532387 h 2310473"/>
                      <a:gd name="connsiteX66" fmla="*/ 1623294 w 2945932"/>
                      <a:gd name="connsiteY66" fmla="*/ 497784 h 2310473"/>
                      <a:gd name="connsiteX67" fmla="*/ 1613396 w 2945932"/>
                      <a:gd name="connsiteY67" fmla="*/ 552161 h 2310473"/>
                      <a:gd name="connsiteX68" fmla="*/ 1586179 w 2945932"/>
                      <a:gd name="connsiteY68" fmla="*/ 613954 h 2310473"/>
                      <a:gd name="connsiteX69" fmla="*/ 1581230 w 2945932"/>
                      <a:gd name="connsiteY69" fmla="*/ 633727 h 2310473"/>
                      <a:gd name="connsiteX70" fmla="*/ 1596076 w 2945932"/>
                      <a:gd name="connsiteY70" fmla="*/ 633727 h 2310473"/>
                      <a:gd name="connsiteX71" fmla="*/ 1685152 w 2945932"/>
                      <a:gd name="connsiteY71" fmla="*/ 606538 h 2310473"/>
                      <a:gd name="connsiteX72" fmla="*/ 1754433 w 2945932"/>
                      <a:gd name="connsiteY72" fmla="*/ 589237 h 2310473"/>
                      <a:gd name="connsiteX73" fmla="*/ 1823714 w 2945932"/>
                      <a:gd name="connsiteY73" fmla="*/ 527444 h 2310473"/>
                      <a:gd name="connsiteX74" fmla="*/ 1833611 w 2945932"/>
                      <a:gd name="connsiteY74" fmla="*/ 495312 h 2310473"/>
                      <a:gd name="connsiteX75" fmla="*/ 1873200 w 2945932"/>
                      <a:gd name="connsiteY75" fmla="*/ 515086 h 2310473"/>
                      <a:gd name="connsiteX76" fmla="*/ 2019185 w 2945932"/>
                      <a:gd name="connsiteY76" fmla="*/ 616425 h 2310473"/>
                      <a:gd name="connsiteX77" fmla="*/ 2140427 w 2945932"/>
                      <a:gd name="connsiteY77" fmla="*/ 695520 h 2310473"/>
                      <a:gd name="connsiteX78" fmla="*/ 2152798 w 2945932"/>
                      <a:gd name="connsiteY78" fmla="*/ 651029 h 2310473"/>
                      <a:gd name="connsiteX79" fmla="*/ 2177541 w 2945932"/>
                      <a:gd name="connsiteY79" fmla="*/ 613954 h 2310473"/>
                      <a:gd name="connsiteX80" fmla="*/ 2118158 w 2945932"/>
                      <a:gd name="connsiteY80" fmla="*/ 557104 h 2310473"/>
                      <a:gd name="connsiteX81" fmla="*/ 2120632 w 2945932"/>
                      <a:gd name="connsiteY81" fmla="*/ 552161 h 2310473"/>
                      <a:gd name="connsiteX82" fmla="*/ 2133004 w 2945932"/>
                      <a:gd name="connsiteY82" fmla="*/ 554633 h 2310473"/>
                      <a:gd name="connsiteX83" fmla="*/ 2241874 w 2945932"/>
                      <a:gd name="connsiteY83" fmla="*/ 591708 h 2310473"/>
                      <a:gd name="connsiteX84" fmla="*/ 2350744 w 2945932"/>
                      <a:gd name="connsiteY84" fmla="*/ 641142 h 2310473"/>
                      <a:gd name="connsiteX85" fmla="*/ 2422499 w 2945932"/>
                      <a:gd name="connsiteY85" fmla="*/ 702935 h 2310473"/>
                      <a:gd name="connsiteX86" fmla="*/ 2439819 w 2945932"/>
                      <a:gd name="connsiteY86" fmla="*/ 754840 h 2310473"/>
                      <a:gd name="connsiteX87" fmla="*/ 2439819 w 2945932"/>
                      <a:gd name="connsiteY87" fmla="*/ 786972 h 2310473"/>
                      <a:gd name="connsiteX88" fmla="*/ 2489306 w 2945932"/>
                      <a:gd name="connsiteY88" fmla="*/ 752369 h 2310473"/>
                      <a:gd name="connsiteX89" fmla="*/ 2573432 w 2945932"/>
                      <a:gd name="connsiteY89" fmla="*/ 688104 h 2310473"/>
                      <a:gd name="connsiteX90" fmla="*/ 2637765 w 2945932"/>
                      <a:gd name="connsiteY90" fmla="*/ 638670 h 2310473"/>
                      <a:gd name="connsiteX91" fmla="*/ 2647662 w 2945932"/>
                      <a:gd name="connsiteY91" fmla="*/ 631255 h 2310473"/>
                      <a:gd name="connsiteX92" fmla="*/ 2667457 w 2945932"/>
                      <a:gd name="connsiteY92" fmla="*/ 604067 h 2310473"/>
                      <a:gd name="connsiteX93" fmla="*/ 2731789 w 2945932"/>
                      <a:gd name="connsiteY93" fmla="*/ 628784 h 2310473"/>
                      <a:gd name="connsiteX94" fmla="*/ 2924786 w 2945932"/>
                      <a:gd name="connsiteY94" fmla="*/ 794388 h 2310473"/>
                      <a:gd name="connsiteX95" fmla="*/ 2937158 w 2945932"/>
                      <a:gd name="connsiteY95" fmla="*/ 811689 h 2310473"/>
                      <a:gd name="connsiteX96" fmla="*/ 2939632 w 2945932"/>
                      <a:gd name="connsiteY96" fmla="*/ 858652 h 2310473"/>
                      <a:gd name="connsiteX97" fmla="*/ 2932209 w 2945932"/>
                      <a:gd name="connsiteY97" fmla="*/ 883369 h 2310473"/>
                      <a:gd name="connsiteX98" fmla="*/ 2902517 w 2945932"/>
                      <a:gd name="connsiteY98" fmla="*/ 999539 h 2310473"/>
                      <a:gd name="connsiteX99" fmla="*/ 2877774 w 2945932"/>
                      <a:gd name="connsiteY99" fmla="*/ 1046501 h 2310473"/>
                      <a:gd name="connsiteX100" fmla="*/ 2843133 w 2945932"/>
                      <a:gd name="connsiteY100" fmla="*/ 1135482 h 2310473"/>
                      <a:gd name="connsiteX101" fmla="*/ 2838185 w 2945932"/>
                      <a:gd name="connsiteY101" fmla="*/ 1150312 h 2310473"/>
                      <a:gd name="connsiteX102" fmla="*/ 2808493 w 2945932"/>
                      <a:gd name="connsiteY102" fmla="*/ 1189859 h 2310473"/>
                      <a:gd name="connsiteX103" fmla="*/ 2781275 w 2945932"/>
                      <a:gd name="connsiteY103" fmla="*/ 1264010 h 2310473"/>
                      <a:gd name="connsiteX104" fmla="*/ 2778801 w 2945932"/>
                      <a:gd name="connsiteY104" fmla="*/ 1264010 h 2310473"/>
                      <a:gd name="connsiteX105" fmla="*/ 2778801 w 2945932"/>
                      <a:gd name="connsiteY105" fmla="*/ 1266482 h 2310473"/>
                      <a:gd name="connsiteX106" fmla="*/ 2773852 w 2945932"/>
                      <a:gd name="connsiteY106" fmla="*/ 1276369 h 2310473"/>
                      <a:gd name="connsiteX107" fmla="*/ 2744161 w 2945932"/>
                      <a:gd name="connsiteY107" fmla="*/ 1313444 h 2310473"/>
                      <a:gd name="connsiteX108" fmla="*/ 2702097 w 2945932"/>
                      <a:gd name="connsiteY108" fmla="*/ 1357935 h 2310473"/>
                      <a:gd name="connsiteX109" fmla="*/ 2674880 w 2945932"/>
                      <a:gd name="connsiteY109" fmla="*/ 1362878 h 2310473"/>
                      <a:gd name="connsiteX110" fmla="*/ 2620445 w 2945932"/>
                      <a:gd name="connsiteY110" fmla="*/ 1340633 h 2310473"/>
                      <a:gd name="connsiteX111" fmla="*/ 2442294 w 2945932"/>
                      <a:gd name="connsiteY111" fmla="*/ 1204690 h 2310473"/>
                      <a:gd name="connsiteX112" fmla="*/ 2420025 w 2945932"/>
                      <a:gd name="connsiteY112" fmla="*/ 1187388 h 2310473"/>
                      <a:gd name="connsiteX113" fmla="*/ 2410127 w 2945932"/>
                      <a:gd name="connsiteY113" fmla="*/ 1184916 h 2310473"/>
                      <a:gd name="connsiteX114" fmla="*/ 2385384 w 2945932"/>
                      <a:gd name="connsiteY114" fmla="*/ 1367822 h 2310473"/>
                      <a:gd name="connsiteX115" fmla="*/ 2345795 w 2945932"/>
                      <a:gd name="connsiteY115" fmla="*/ 1362878 h 2310473"/>
                      <a:gd name="connsiteX116" fmla="*/ 2254245 w 2945932"/>
                      <a:gd name="connsiteY116" fmla="*/ 1306029 h 2310473"/>
                      <a:gd name="connsiteX117" fmla="*/ 2093414 w 2945932"/>
                      <a:gd name="connsiteY117" fmla="*/ 1145369 h 2310473"/>
                      <a:gd name="connsiteX118" fmla="*/ 2073620 w 2945932"/>
                      <a:gd name="connsiteY118" fmla="*/ 1061331 h 2310473"/>
                      <a:gd name="connsiteX119" fmla="*/ 2081043 w 2945932"/>
                      <a:gd name="connsiteY119" fmla="*/ 982237 h 2310473"/>
                      <a:gd name="connsiteX120" fmla="*/ 2076094 w 2945932"/>
                      <a:gd name="connsiteY120" fmla="*/ 982237 h 2310473"/>
                      <a:gd name="connsiteX121" fmla="*/ 2034031 w 2945932"/>
                      <a:gd name="connsiteY121" fmla="*/ 1056388 h 2310473"/>
                      <a:gd name="connsiteX122" fmla="*/ 2009288 w 2945932"/>
                      <a:gd name="connsiteY122" fmla="*/ 1110765 h 2310473"/>
                      <a:gd name="connsiteX123" fmla="*/ 2009288 w 2945932"/>
                      <a:gd name="connsiteY123" fmla="*/ 1113237 h 2310473"/>
                      <a:gd name="connsiteX124" fmla="*/ 1969698 w 2945932"/>
                      <a:gd name="connsiteY124" fmla="*/ 1197274 h 2310473"/>
                      <a:gd name="connsiteX125" fmla="*/ 1907840 w 2945932"/>
                      <a:gd name="connsiteY125" fmla="*/ 1328274 h 2310473"/>
                      <a:gd name="connsiteX126" fmla="*/ 1888046 w 2945932"/>
                      <a:gd name="connsiteY126" fmla="*/ 1392539 h 2310473"/>
                      <a:gd name="connsiteX127" fmla="*/ 1868251 w 2945932"/>
                      <a:gd name="connsiteY127" fmla="*/ 1434557 h 2310473"/>
                      <a:gd name="connsiteX128" fmla="*/ 1761856 w 2945932"/>
                      <a:gd name="connsiteY128" fmla="*/ 1558142 h 2310473"/>
                      <a:gd name="connsiteX129" fmla="*/ 1761856 w 2945932"/>
                      <a:gd name="connsiteY129" fmla="*/ 1563086 h 2310473"/>
                      <a:gd name="connsiteX130" fmla="*/ 1494629 w 2945932"/>
                      <a:gd name="connsiteY130" fmla="*/ 1624878 h 2310473"/>
                      <a:gd name="connsiteX131" fmla="*/ 1348644 w 2945932"/>
                      <a:gd name="connsiteY131" fmla="*/ 1214576 h 2310473"/>
                      <a:gd name="connsiteX132" fmla="*/ 1348644 w 2945932"/>
                      <a:gd name="connsiteY132" fmla="*/ 1212105 h 2310473"/>
                      <a:gd name="connsiteX133" fmla="*/ 1321427 w 2945932"/>
                      <a:gd name="connsiteY133" fmla="*/ 1088520 h 2310473"/>
                      <a:gd name="connsiteX134" fmla="*/ 1301632 w 2945932"/>
                      <a:gd name="connsiteY134" fmla="*/ 1068746 h 2310473"/>
                      <a:gd name="connsiteX135" fmla="*/ 1266992 w 2945932"/>
                      <a:gd name="connsiteY135" fmla="*/ 1150312 h 2310473"/>
                      <a:gd name="connsiteX136" fmla="*/ 1222454 w 2945932"/>
                      <a:gd name="connsiteY136" fmla="*/ 1264010 h 2310473"/>
                      <a:gd name="connsiteX137" fmla="*/ 1219980 w 2945932"/>
                      <a:gd name="connsiteY137" fmla="*/ 1273897 h 2310473"/>
                      <a:gd name="connsiteX138" fmla="*/ 1177916 w 2945932"/>
                      <a:gd name="connsiteY138" fmla="*/ 1407369 h 2310473"/>
                      <a:gd name="connsiteX139" fmla="*/ 1128430 w 2945932"/>
                      <a:gd name="connsiteY139" fmla="*/ 1563086 h 2310473"/>
                      <a:gd name="connsiteX140" fmla="*/ 1091315 w 2945932"/>
                      <a:gd name="connsiteY140" fmla="*/ 1701501 h 2310473"/>
                      <a:gd name="connsiteX141" fmla="*/ 1066572 w 2945932"/>
                      <a:gd name="connsiteY141" fmla="*/ 1812727 h 2310473"/>
                      <a:gd name="connsiteX142" fmla="*/ 1056674 w 2945932"/>
                      <a:gd name="connsiteY142" fmla="*/ 1839916 h 2310473"/>
                      <a:gd name="connsiteX143" fmla="*/ 1039354 w 2945932"/>
                      <a:gd name="connsiteY143" fmla="*/ 1916539 h 2310473"/>
                      <a:gd name="connsiteX144" fmla="*/ 1019560 w 2945932"/>
                      <a:gd name="connsiteY144" fmla="*/ 2054954 h 2310473"/>
                      <a:gd name="connsiteX145" fmla="*/ 1019560 w 2945932"/>
                      <a:gd name="connsiteY145" fmla="*/ 2059897 h 2310473"/>
                      <a:gd name="connsiteX146" fmla="*/ 987394 w 2945932"/>
                      <a:gd name="connsiteY146" fmla="*/ 2235388 h 2310473"/>
                      <a:gd name="connsiteX147" fmla="*/ 972548 w 2945932"/>
                      <a:gd name="connsiteY147" fmla="*/ 2294709 h 2310473"/>
                      <a:gd name="connsiteX148" fmla="*/ 945330 w 2945932"/>
                      <a:gd name="connsiteY148" fmla="*/ 2307067 h 2310473"/>
                      <a:gd name="connsiteX149" fmla="*/ 866152 w 2945932"/>
                      <a:gd name="connsiteY149" fmla="*/ 2267520 h 2310473"/>
                      <a:gd name="connsiteX150" fmla="*/ 861203 w 2945932"/>
                      <a:gd name="connsiteY150" fmla="*/ 2250218 h 2310473"/>
                      <a:gd name="connsiteX151" fmla="*/ 866152 w 2945932"/>
                      <a:gd name="connsiteY151" fmla="*/ 2121690 h 2310473"/>
                      <a:gd name="connsiteX152" fmla="*/ 866152 w 2945932"/>
                      <a:gd name="connsiteY152" fmla="*/ 2101916 h 2310473"/>
                      <a:gd name="connsiteX153" fmla="*/ 866152 w 2945932"/>
                      <a:gd name="connsiteY153" fmla="*/ 2052482 h 2310473"/>
                      <a:gd name="connsiteX154" fmla="*/ 868626 w 2945932"/>
                      <a:gd name="connsiteY154" fmla="*/ 2037652 h 2310473"/>
                      <a:gd name="connsiteX155" fmla="*/ 863678 w 2945932"/>
                      <a:gd name="connsiteY155" fmla="*/ 1953614 h 2310473"/>
                      <a:gd name="connsiteX156" fmla="*/ 856255 w 2945932"/>
                      <a:gd name="connsiteY156" fmla="*/ 1933841 h 2310473"/>
                      <a:gd name="connsiteX157" fmla="*/ 858729 w 2945932"/>
                      <a:gd name="connsiteY157" fmla="*/ 1901709 h 2310473"/>
                      <a:gd name="connsiteX158" fmla="*/ 856255 w 2945932"/>
                      <a:gd name="connsiteY158" fmla="*/ 1886878 h 2310473"/>
                      <a:gd name="connsiteX159" fmla="*/ 861203 w 2945932"/>
                      <a:gd name="connsiteY159" fmla="*/ 1822614 h 2310473"/>
                      <a:gd name="connsiteX160" fmla="*/ 861203 w 2945932"/>
                      <a:gd name="connsiteY160" fmla="*/ 1699029 h 2310473"/>
                      <a:gd name="connsiteX161" fmla="*/ 858729 w 2945932"/>
                      <a:gd name="connsiteY161" fmla="*/ 1679256 h 2310473"/>
                      <a:gd name="connsiteX162" fmla="*/ 873575 w 2945932"/>
                      <a:gd name="connsiteY162" fmla="*/ 1614991 h 2310473"/>
                      <a:gd name="connsiteX163" fmla="*/ 923061 w 2945932"/>
                      <a:gd name="connsiteY163" fmla="*/ 1511180 h 2310473"/>
                      <a:gd name="connsiteX164" fmla="*/ 937907 w 2945932"/>
                      <a:gd name="connsiteY164" fmla="*/ 1503765 h 2310473"/>
                      <a:gd name="connsiteX165" fmla="*/ 913164 w 2945932"/>
                      <a:gd name="connsiteY165" fmla="*/ 1585331 h 2310473"/>
                      <a:gd name="connsiteX166" fmla="*/ 932958 w 2945932"/>
                      <a:gd name="connsiteY166" fmla="*/ 1565558 h 2310473"/>
                      <a:gd name="connsiteX167" fmla="*/ 962650 w 2945932"/>
                      <a:gd name="connsiteY167" fmla="*/ 1474105 h 2310473"/>
                      <a:gd name="connsiteX168" fmla="*/ 989868 w 2945932"/>
                      <a:gd name="connsiteY168" fmla="*/ 1395010 h 2310473"/>
                      <a:gd name="connsiteX169" fmla="*/ 999765 w 2945932"/>
                      <a:gd name="connsiteY169" fmla="*/ 1365350 h 2310473"/>
                      <a:gd name="connsiteX170" fmla="*/ 1017085 w 2945932"/>
                      <a:gd name="connsiteY170" fmla="*/ 1313444 h 2310473"/>
                      <a:gd name="connsiteX171" fmla="*/ 1041829 w 2945932"/>
                      <a:gd name="connsiteY171" fmla="*/ 1234350 h 2310473"/>
                      <a:gd name="connsiteX172" fmla="*/ 1064097 w 2945932"/>
                      <a:gd name="connsiteY172" fmla="*/ 1165142 h 2310473"/>
                      <a:gd name="connsiteX173" fmla="*/ 1078943 w 2945932"/>
                      <a:gd name="connsiteY173" fmla="*/ 1140425 h 2310473"/>
                      <a:gd name="connsiteX174" fmla="*/ 1059149 w 2945932"/>
                      <a:gd name="connsiteY174" fmla="*/ 1145369 h 2310473"/>
                      <a:gd name="connsiteX175" fmla="*/ 1061623 w 2945932"/>
                      <a:gd name="connsiteY175" fmla="*/ 1137954 h 2310473"/>
                      <a:gd name="connsiteX176" fmla="*/ 1031931 w 2945932"/>
                      <a:gd name="connsiteY176" fmla="*/ 1155256 h 2310473"/>
                      <a:gd name="connsiteX177" fmla="*/ 1044303 w 2945932"/>
                      <a:gd name="connsiteY177" fmla="*/ 1155256 h 2310473"/>
                      <a:gd name="connsiteX178" fmla="*/ 970073 w 2945932"/>
                      <a:gd name="connsiteY178" fmla="*/ 1204690 h 2310473"/>
                      <a:gd name="connsiteX179" fmla="*/ 868626 w 2945932"/>
                      <a:gd name="connsiteY179" fmla="*/ 1266482 h 2310473"/>
                      <a:gd name="connsiteX180" fmla="*/ 853780 w 2945932"/>
                      <a:gd name="connsiteY180" fmla="*/ 1273897 h 2310473"/>
                      <a:gd name="connsiteX181" fmla="*/ 292110 w 2945932"/>
                      <a:gd name="connsiteY181" fmla="*/ 1575444 h 2310473"/>
                      <a:gd name="connsiteX182" fmla="*/ 287161 w 2945932"/>
                      <a:gd name="connsiteY182" fmla="*/ 1580388 h 2310473"/>
                      <a:gd name="connsiteX183" fmla="*/ 252520 w 2945932"/>
                      <a:gd name="connsiteY183" fmla="*/ 1560614 h 2310473"/>
                      <a:gd name="connsiteX184" fmla="*/ 153548 w 2945932"/>
                      <a:gd name="connsiteY184" fmla="*/ 1488935 h 2310473"/>
                      <a:gd name="connsiteX185" fmla="*/ 32306 w 2945932"/>
                      <a:gd name="connsiteY185" fmla="*/ 1365350 h 2310473"/>
                      <a:gd name="connsiteX186" fmla="*/ 7563 w 2945932"/>
                      <a:gd name="connsiteY186" fmla="*/ 1328274 h 2310473"/>
                      <a:gd name="connsiteX187" fmla="*/ 17460 w 2945932"/>
                      <a:gd name="connsiteY187" fmla="*/ 1286256 h 2310473"/>
                      <a:gd name="connsiteX188" fmla="*/ 61998 w 2945932"/>
                      <a:gd name="connsiteY188" fmla="*/ 1261539 h 2310473"/>
                      <a:gd name="connsiteX189" fmla="*/ 106536 w 2945932"/>
                      <a:gd name="connsiteY189" fmla="*/ 1234350 h 2310473"/>
                      <a:gd name="connsiteX190" fmla="*/ 136227 w 2945932"/>
                      <a:gd name="connsiteY190" fmla="*/ 1219520 h 2310473"/>
                      <a:gd name="connsiteX191" fmla="*/ 180765 w 2945932"/>
                      <a:gd name="connsiteY191" fmla="*/ 1189859 h 2310473"/>
                      <a:gd name="connsiteX192" fmla="*/ 205508 w 2945932"/>
                      <a:gd name="connsiteY192" fmla="*/ 1177501 h 2310473"/>
                      <a:gd name="connsiteX193" fmla="*/ 277264 w 2945932"/>
                      <a:gd name="connsiteY193" fmla="*/ 1140425 h 2310473"/>
                      <a:gd name="connsiteX194" fmla="*/ 321801 w 2945932"/>
                      <a:gd name="connsiteY194" fmla="*/ 1120652 h 2310473"/>
                      <a:gd name="connsiteX195" fmla="*/ 329224 w 2945932"/>
                      <a:gd name="connsiteY195" fmla="*/ 1115708 h 2310473"/>
                      <a:gd name="connsiteX196" fmla="*/ 848832 w 2945932"/>
                      <a:gd name="connsiteY196" fmla="*/ 895727 h 2310473"/>
                      <a:gd name="connsiteX197" fmla="*/ 868626 w 2945932"/>
                      <a:gd name="connsiteY197" fmla="*/ 888312 h 2310473"/>
                      <a:gd name="connsiteX198" fmla="*/ 923061 w 2945932"/>
                      <a:gd name="connsiteY198" fmla="*/ 868539 h 2310473"/>
                      <a:gd name="connsiteX199" fmla="*/ 1017085 w 2945932"/>
                      <a:gd name="connsiteY199" fmla="*/ 831463 h 2310473"/>
                      <a:gd name="connsiteX200" fmla="*/ 1061623 w 2945932"/>
                      <a:gd name="connsiteY200" fmla="*/ 811689 h 2310473"/>
                      <a:gd name="connsiteX201" fmla="*/ 1145750 w 2945932"/>
                      <a:gd name="connsiteY201" fmla="*/ 772142 h 2310473"/>
                      <a:gd name="connsiteX202" fmla="*/ 1163070 w 2945932"/>
                      <a:gd name="connsiteY202" fmla="*/ 769671 h 2310473"/>
                      <a:gd name="connsiteX203" fmla="*/ 1306581 w 2945932"/>
                      <a:gd name="connsiteY203" fmla="*/ 376670 h 2310473"/>
                      <a:gd name="connsiteX204" fmla="*/ 1309055 w 2945932"/>
                      <a:gd name="connsiteY204" fmla="*/ 376670 h 2310473"/>
                      <a:gd name="connsiteX205" fmla="*/ 1182865 w 2945932"/>
                      <a:gd name="connsiteY205" fmla="*/ 754840 h 2310473"/>
                      <a:gd name="connsiteX206" fmla="*/ 1200185 w 2945932"/>
                      <a:gd name="connsiteY206" fmla="*/ 754840 h 2310473"/>
                      <a:gd name="connsiteX207" fmla="*/ 1207608 w 2945932"/>
                      <a:gd name="connsiteY207" fmla="*/ 735067 h 2310473"/>
                      <a:gd name="connsiteX208" fmla="*/ 1234825 w 2945932"/>
                      <a:gd name="connsiteY208" fmla="*/ 641142 h 2310473"/>
                      <a:gd name="connsiteX209" fmla="*/ 1257094 w 2945932"/>
                      <a:gd name="connsiteY209" fmla="*/ 576878 h 2310473"/>
                      <a:gd name="connsiteX210" fmla="*/ 1262043 w 2945932"/>
                      <a:gd name="connsiteY210" fmla="*/ 566991 h 2310473"/>
                      <a:gd name="connsiteX211" fmla="*/ 1296683 w 2945932"/>
                      <a:gd name="connsiteY211" fmla="*/ 470595 h 2310473"/>
                      <a:gd name="connsiteX212" fmla="*/ 1309055 w 2945932"/>
                      <a:gd name="connsiteY212" fmla="*/ 433519 h 2310473"/>
                      <a:gd name="connsiteX213" fmla="*/ 1341221 w 2945932"/>
                      <a:gd name="connsiteY213" fmla="*/ 354425 h 2310473"/>
                      <a:gd name="connsiteX214" fmla="*/ 1368439 w 2945932"/>
                      <a:gd name="connsiteY214" fmla="*/ 277802 h 2310473"/>
                      <a:gd name="connsiteX215" fmla="*/ 1370913 w 2945932"/>
                      <a:gd name="connsiteY215" fmla="*/ 270387 h 2310473"/>
                      <a:gd name="connsiteX216" fmla="*/ 1395656 w 2945932"/>
                      <a:gd name="connsiteY216" fmla="*/ 159161 h 2310473"/>
                      <a:gd name="connsiteX217" fmla="*/ 1408028 w 2945932"/>
                      <a:gd name="connsiteY217" fmla="*/ 25689 h 2310473"/>
                      <a:gd name="connsiteX218" fmla="*/ 1405554 w 2945932"/>
                      <a:gd name="connsiteY218" fmla="*/ 8387 h 2310473"/>
                      <a:gd name="connsiteX219" fmla="*/ 1426585 w 2945932"/>
                      <a:gd name="connsiteY219" fmla="*/ 354 h 2310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  <a:cxn ang="0">
                        <a:pos x="connsiteX193" y="connsiteY193"/>
                      </a:cxn>
                      <a:cxn ang="0">
                        <a:pos x="connsiteX194" y="connsiteY194"/>
                      </a:cxn>
                      <a:cxn ang="0">
                        <a:pos x="connsiteX195" y="connsiteY195"/>
                      </a:cxn>
                      <a:cxn ang="0">
                        <a:pos x="connsiteX196" y="connsiteY196"/>
                      </a:cxn>
                      <a:cxn ang="0">
                        <a:pos x="connsiteX197" y="connsiteY197"/>
                      </a:cxn>
                      <a:cxn ang="0">
                        <a:pos x="connsiteX198" y="connsiteY198"/>
                      </a:cxn>
                      <a:cxn ang="0">
                        <a:pos x="connsiteX199" y="connsiteY199"/>
                      </a:cxn>
                      <a:cxn ang="0">
                        <a:pos x="connsiteX200" y="connsiteY200"/>
                      </a:cxn>
                      <a:cxn ang="0">
                        <a:pos x="connsiteX201" y="connsiteY201"/>
                      </a:cxn>
                      <a:cxn ang="0">
                        <a:pos x="connsiteX202" y="connsiteY202"/>
                      </a:cxn>
                      <a:cxn ang="0">
                        <a:pos x="connsiteX203" y="connsiteY203"/>
                      </a:cxn>
                      <a:cxn ang="0">
                        <a:pos x="connsiteX204" y="connsiteY204"/>
                      </a:cxn>
                      <a:cxn ang="0">
                        <a:pos x="connsiteX205" y="connsiteY205"/>
                      </a:cxn>
                      <a:cxn ang="0">
                        <a:pos x="connsiteX206" y="connsiteY206"/>
                      </a:cxn>
                      <a:cxn ang="0">
                        <a:pos x="connsiteX207" y="connsiteY207"/>
                      </a:cxn>
                      <a:cxn ang="0">
                        <a:pos x="connsiteX208" y="connsiteY208"/>
                      </a:cxn>
                      <a:cxn ang="0">
                        <a:pos x="connsiteX209" y="connsiteY209"/>
                      </a:cxn>
                      <a:cxn ang="0">
                        <a:pos x="connsiteX210" y="connsiteY210"/>
                      </a:cxn>
                      <a:cxn ang="0">
                        <a:pos x="connsiteX211" y="connsiteY211"/>
                      </a:cxn>
                      <a:cxn ang="0">
                        <a:pos x="connsiteX212" y="connsiteY212"/>
                      </a:cxn>
                      <a:cxn ang="0">
                        <a:pos x="connsiteX213" y="connsiteY213"/>
                      </a:cxn>
                      <a:cxn ang="0">
                        <a:pos x="connsiteX214" y="connsiteY214"/>
                      </a:cxn>
                      <a:cxn ang="0">
                        <a:pos x="connsiteX215" y="connsiteY215"/>
                      </a:cxn>
                      <a:cxn ang="0">
                        <a:pos x="connsiteX216" y="connsiteY216"/>
                      </a:cxn>
                      <a:cxn ang="0">
                        <a:pos x="connsiteX217" y="connsiteY217"/>
                      </a:cxn>
                      <a:cxn ang="0">
                        <a:pos x="connsiteX218" y="connsiteY218"/>
                      </a:cxn>
                      <a:cxn ang="0">
                        <a:pos x="connsiteX219" y="connsiteY219"/>
                      </a:cxn>
                    </a:cxnLst>
                    <a:rect l="l" t="t" r="r" b="b"/>
                    <a:pathLst>
                      <a:path w="2945932" h="2310473">
                        <a:moveTo>
                          <a:pt x="873079" y="1590582"/>
                        </a:moveTo>
                        <a:cubicBezTo>
                          <a:pt x="868317" y="1602753"/>
                          <a:pt x="865935" y="1614924"/>
                          <a:pt x="861173" y="1627095"/>
                        </a:cubicBezTo>
                        <a:cubicBezTo>
                          <a:pt x="858791" y="1610056"/>
                          <a:pt x="858791" y="1610056"/>
                          <a:pt x="873079" y="1590582"/>
                        </a:cubicBezTo>
                        <a:close/>
                        <a:moveTo>
                          <a:pt x="938166" y="1350870"/>
                        </a:moveTo>
                        <a:cubicBezTo>
                          <a:pt x="913420" y="1424612"/>
                          <a:pt x="878775" y="1498354"/>
                          <a:pt x="858978" y="1579470"/>
                        </a:cubicBezTo>
                        <a:cubicBezTo>
                          <a:pt x="854028" y="1557348"/>
                          <a:pt x="854028" y="1545057"/>
                          <a:pt x="858978" y="1527851"/>
                        </a:cubicBezTo>
                        <a:cubicBezTo>
                          <a:pt x="881249" y="1466399"/>
                          <a:pt x="908470" y="1407406"/>
                          <a:pt x="938166" y="1350870"/>
                        </a:cubicBezTo>
                        <a:close/>
                        <a:moveTo>
                          <a:pt x="853780" y="1249180"/>
                        </a:moveTo>
                        <a:cubicBezTo>
                          <a:pt x="853780" y="1249180"/>
                          <a:pt x="853780" y="1249180"/>
                          <a:pt x="853780" y="1251652"/>
                        </a:cubicBezTo>
                        <a:cubicBezTo>
                          <a:pt x="853780" y="1251652"/>
                          <a:pt x="856255" y="1249180"/>
                          <a:pt x="856255" y="1249180"/>
                        </a:cubicBezTo>
                        <a:cubicBezTo>
                          <a:pt x="856255" y="1249180"/>
                          <a:pt x="853780" y="1249180"/>
                          <a:pt x="853780" y="1249180"/>
                        </a:cubicBezTo>
                        <a:close/>
                        <a:moveTo>
                          <a:pt x="950279" y="1194803"/>
                        </a:moveTo>
                        <a:cubicBezTo>
                          <a:pt x="923061" y="1194803"/>
                          <a:pt x="910690" y="1212105"/>
                          <a:pt x="895844" y="1224463"/>
                        </a:cubicBezTo>
                        <a:cubicBezTo>
                          <a:pt x="915638" y="1219520"/>
                          <a:pt x="932958" y="1212105"/>
                          <a:pt x="950279" y="1194803"/>
                        </a:cubicBezTo>
                        <a:close/>
                        <a:moveTo>
                          <a:pt x="1648037" y="908086"/>
                        </a:moveTo>
                        <a:cubicBezTo>
                          <a:pt x="1635665" y="910557"/>
                          <a:pt x="1623294" y="910557"/>
                          <a:pt x="1610922" y="915501"/>
                        </a:cubicBezTo>
                        <a:cubicBezTo>
                          <a:pt x="1588653" y="922916"/>
                          <a:pt x="1566384" y="932803"/>
                          <a:pt x="1541641" y="940218"/>
                        </a:cubicBezTo>
                        <a:cubicBezTo>
                          <a:pt x="1539167" y="942689"/>
                          <a:pt x="1534218" y="942689"/>
                          <a:pt x="1529270" y="942689"/>
                        </a:cubicBezTo>
                        <a:cubicBezTo>
                          <a:pt x="1524321" y="935274"/>
                          <a:pt x="1521847" y="927859"/>
                          <a:pt x="1516898" y="917973"/>
                        </a:cubicBezTo>
                        <a:cubicBezTo>
                          <a:pt x="1514424" y="925388"/>
                          <a:pt x="1511949" y="930331"/>
                          <a:pt x="1511949" y="932803"/>
                        </a:cubicBezTo>
                        <a:cubicBezTo>
                          <a:pt x="1509475" y="957520"/>
                          <a:pt x="1492155" y="964935"/>
                          <a:pt x="1474835" y="967406"/>
                        </a:cubicBezTo>
                        <a:cubicBezTo>
                          <a:pt x="1445143" y="972350"/>
                          <a:pt x="1420399" y="987180"/>
                          <a:pt x="1395656" y="999539"/>
                        </a:cubicBezTo>
                        <a:cubicBezTo>
                          <a:pt x="1388233" y="1002010"/>
                          <a:pt x="1378336" y="1004482"/>
                          <a:pt x="1370913" y="1006954"/>
                        </a:cubicBezTo>
                        <a:cubicBezTo>
                          <a:pt x="1351119" y="1014369"/>
                          <a:pt x="1346170" y="1024256"/>
                          <a:pt x="1356067" y="1041557"/>
                        </a:cubicBezTo>
                        <a:cubicBezTo>
                          <a:pt x="1378336" y="1081105"/>
                          <a:pt x="1398131" y="1118180"/>
                          <a:pt x="1422874" y="1155256"/>
                        </a:cubicBezTo>
                        <a:cubicBezTo>
                          <a:pt x="1430297" y="1165142"/>
                          <a:pt x="1435245" y="1175029"/>
                          <a:pt x="1437720" y="1184916"/>
                        </a:cubicBezTo>
                        <a:cubicBezTo>
                          <a:pt x="1474835" y="1170086"/>
                          <a:pt x="1516898" y="1150312"/>
                          <a:pt x="1529270" y="1128067"/>
                        </a:cubicBezTo>
                        <a:cubicBezTo>
                          <a:pt x="1529270" y="1128067"/>
                          <a:pt x="1529270" y="1128067"/>
                          <a:pt x="1531744" y="1128067"/>
                        </a:cubicBezTo>
                        <a:cubicBezTo>
                          <a:pt x="1529270" y="1125595"/>
                          <a:pt x="1529270" y="1125595"/>
                          <a:pt x="1529270" y="1125595"/>
                        </a:cubicBezTo>
                        <a:cubicBezTo>
                          <a:pt x="1531744" y="1113237"/>
                          <a:pt x="1539167" y="1100878"/>
                          <a:pt x="1554013" y="1093463"/>
                        </a:cubicBezTo>
                        <a:cubicBezTo>
                          <a:pt x="1563910" y="1088520"/>
                          <a:pt x="1571333" y="1078633"/>
                          <a:pt x="1576282" y="1068746"/>
                        </a:cubicBezTo>
                        <a:cubicBezTo>
                          <a:pt x="1596076" y="1039086"/>
                          <a:pt x="1615871" y="1006954"/>
                          <a:pt x="1633191" y="977293"/>
                        </a:cubicBezTo>
                        <a:cubicBezTo>
                          <a:pt x="1638140" y="969878"/>
                          <a:pt x="1640614" y="962463"/>
                          <a:pt x="1643088" y="955048"/>
                        </a:cubicBezTo>
                        <a:cubicBezTo>
                          <a:pt x="1645563" y="942689"/>
                          <a:pt x="1648037" y="932803"/>
                          <a:pt x="1657934" y="925388"/>
                        </a:cubicBezTo>
                        <a:cubicBezTo>
                          <a:pt x="1660409" y="922916"/>
                          <a:pt x="1660409" y="915501"/>
                          <a:pt x="1660409" y="913029"/>
                        </a:cubicBezTo>
                        <a:cubicBezTo>
                          <a:pt x="1657934" y="910557"/>
                          <a:pt x="1652986" y="908086"/>
                          <a:pt x="1648037" y="908086"/>
                        </a:cubicBezTo>
                        <a:close/>
                        <a:moveTo>
                          <a:pt x="2630342" y="814161"/>
                        </a:moveTo>
                        <a:cubicBezTo>
                          <a:pt x="2620445" y="816633"/>
                          <a:pt x="2610547" y="819104"/>
                          <a:pt x="2603124" y="824048"/>
                        </a:cubicBezTo>
                        <a:cubicBezTo>
                          <a:pt x="2563535" y="853708"/>
                          <a:pt x="2526420" y="880897"/>
                          <a:pt x="2486831" y="908086"/>
                        </a:cubicBezTo>
                        <a:cubicBezTo>
                          <a:pt x="2464562" y="927859"/>
                          <a:pt x="2447242" y="950105"/>
                          <a:pt x="2439819" y="979765"/>
                        </a:cubicBezTo>
                        <a:cubicBezTo>
                          <a:pt x="2437345" y="994595"/>
                          <a:pt x="2427448" y="1009425"/>
                          <a:pt x="2424973" y="1026727"/>
                        </a:cubicBezTo>
                        <a:cubicBezTo>
                          <a:pt x="2417550" y="1051444"/>
                          <a:pt x="2412602" y="1078633"/>
                          <a:pt x="2410127" y="1105822"/>
                        </a:cubicBezTo>
                        <a:cubicBezTo>
                          <a:pt x="2407653" y="1110765"/>
                          <a:pt x="2412602" y="1118180"/>
                          <a:pt x="2417550" y="1123123"/>
                        </a:cubicBezTo>
                        <a:cubicBezTo>
                          <a:pt x="2437345" y="1140425"/>
                          <a:pt x="2457139" y="1160199"/>
                          <a:pt x="2479408" y="1175029"/>
                        </a:cubicBezTo>
                        <a:cubicBezTo>
                          <a:pt x="2494254" y="1187388"/>
                          <a:pt x="2511574" y="1194803"/>
                          <a:pt x="2528895" y="1187388"/>
                        </a:cubicBezTo>
                        <a:cubicBezTo>
                          <a:pt x="2543741" y="1179973"/>
                          <a:pt x="2556112" y="1167614"/>
                          <a:pt x="2563535" y="1155256"/>
                        </a:cubicBezTo>
                        <a:cubicBezTo>
                          <a:pt x="2580855" y="1125595"/>
                          <a:pt x="2595701" y="1095935"/>
                          <a:pt x="2610547" y="1066274"/>
                        </a:cubicBezTo>
                        <a:cubicBezTo>
                          <a:pt x="2610547" y="1063803"/>
                          <a:pt x="2613022" y="1058859"/>
                          <a:pt x="2613022" y="1056388"/>
                        </a:cubicBezTo>
                        <a:cubicBezTo>
                          <a:pt x="2622919" y="1019312"/>
                          <a:pt x="2630342" y="984708"/>
                          <a:pt x="2637765" y="950105"/>
                        </a:cubicBezTo>
                        <a:cubicBezTo>
                          <a:pt x="2645188" y="915501"/>
                          <a:pt x="2650136" y="878425"/>
                          <a:pt x="2655085" y="848765"/>
                        </a:cubicBezTo>
                        <a:cubicBezTo>
                          <a:pt x="2655085" y="841350"/>
                          <a:pt x="2655085" y="838878"/>
                          <a:pt x="2655085" y="836406"/>
                        </a:cubicBezTo>
                        <a:cubicBezTo>
                          <a:pt x="2655085" y="814161"/>
                          <a:pt x="2650136" y="809218"/>
                          <a:pt x="2630342" y="814161"/>
                        </a:cubicBezTo>
                        <a:close/>
                        <a:moveTo>
                          <a:pt x="1426585" y="354"/>
                        </a:moveTo>
                        <a:cubicBezTo>
                          <a:pt x="1433390" y="1590"/>
                          <a:pt x="1440194" y="5916"/>
                          <a:pt x="1447617" y="10859"/>
                        </a:cubicBezTo>
                        <a:cubicBezTo>
                          <a:pt x="1511949" y="52878"/>
                          <a:pt x="1583705" y="92425"/>
                          <a:pt x="1643088" y="141859"/>
                        </a:cubicBezTo>
                        <a:cubicBezTo>
                          <a:pt x="1667831" y="161633"/>
                          <a:pt x="1687626" y="186350"/>
                          <a:pt x="1707421" y="208595"/>
                        </a:cubicBezTo>
                        <a:cubicBezTo>
                          <a:pt x="1719792" y="220953"/>
                          <a:pt x="1719792" y="233312"/>
                          <a:pt x="1714844" y="250614"/>
                        </a:cubicBezTo>
                        <a:cubicBezTo>
                          <a:pt x="1712369" y="258029"/>
                          <a:pt x="1709895" y="265444"/>
                          <a:pt x="1709895" y="272859"/>
                        </a:cubicBezTo>
                        <a:cubicBezTo>
                          <a:pt x="1709895" y="295104"/>
                          <a:pt x="1704946" y="314878"/>
                          <a:pt x="1695049" y="337123"/>
                        </a:cubicBezTo>
                        <a:cubicBezTo>
                          <a:pt x="1687626" y="349482"/>
                          <a:pt x="1685152" y="364312"/>
                          <a:pt x="1680203" y="379142"/>
                        </a:cubicBezTo>
                        <a:cubicBezTo>
                          <a:pt x="1665357" y="411274"/>
                          <a:pt x="1645563" y="435991"/>
                          <a:pt x="1625768" y="463180"/>
                        </a:cubicBezTo>
                        <a:cubicBezTo>
                          <a:pt x="1623294" y="465652"/>
                          <a:pt x="1620819" y="470595"/>
                          <a:pt x="1618345" y="473067"/>
                        </a:cubicBezTo>
                        <a:cubicBezTo>
                          <a:pt x="1591128" y="527444"/>
                          <a:pt x="1563910" y="581821"/>
                          <a:pt x="1539167" y="633727"/>
                        </a:cubicBezTo>
                        <a:cubicBezTo>
                          <a:pt x="1536693" y="636199"/>
                          <a:pt x="1536693" y="641142"/>
                          <a:pt x="1534218" y="646086"/>
                        </a:cubicBezTo>
                        <a:cubicBezTo>
                          <a:pt x="1544115" y="646086"/>
                          <a:pt x="1546590" y="638670"/>
                          <a:pt x="1549064" y="633727"/>
                        </a:cubicBezTo>
                        <a:cubicBezTo>
                          <a:pt x="1566384" y="601595"/>
                          <a:pt x="1581230" y="566991"/>
                          <a:pt x="1598551" y="532387"/>
                        </a:cubicBezTo>
                        <a:cubicBezTo>
                          <a:pt x="1605973" y="522501"/>
                          <a:pt x="1613396" y="512614"/>
                          <a:pt x="1623294" y="497784"/>
                        </a:cubicBezTo>
                        <a:cubicBezTo>
                          <a:pt x="1625768" y="520029"/>
                          <a:pt x="1618345" y="534859"/>
                          <a:pt x="1613396" y="552161"/>
                        </a:cubicBezTo>
                        <a:cubicBezTo>
                          <a:pt x="1605973" y="571935"/>
                          <a:pt x="1596076" y="594180"/>
                          <a:pt x="1586179" y="613954"/>
                        </a:cubicBezTo>
                        <a:cubicBezTo>
                          <a:pt x="1586179" y="618897"/>
                          <a:pt x="1583705" y="626312"/>
                          <a:pt x="1581230" y="633727"/>
                        </a:cubicBezTo>
                        <a:cubicBezTo>
                          <a:pt x="1588653" y="633727"/>
                          <a:pt x="1593602" y="633727"/>
                          <a:pt x="1596076" y="633727"/>
                        </a:cubicBezTo>
                        <a:cubicBezTo>
                          <a:pt x="1625768" y="623840"/>
                          <a:pt x="1655460" y="616425"/>
                          <a:pt x="1685152" y="606538"/>
                        </a:cubicBezTo>
                        <a:cubicBezTo>
                          <a:pt x="1707421" y="599123"/>
                          <a:pt x="1729689" y="591708"/>
                          <a:pt x="1754433" y="589237"/>
                        </a:cubicBezTo>
                        <a:cubicBezTo>
                          <a:pt x="1791547" y="581821"/>
                          <a:pt x="1816291" y="564520"/>
                          <a:pt x="1823714" y="527444"/>
                        </a:cubicBezTo>
                        <a:cubicBezTo>
                          <a:pt x="1826188" y="517557"/>
                          <a:pt x="1831137" y="507670"/>
                          <a:pt x="1833611" y="495312"/>
                        </a:cubicBezTo>
                        <a:cubicBezTo>
                          <a:pt x="1848457" y="500255"/>
                          <a:pt x="1860828" y="507670"/>
                          <a:pt x="1873200" y="515086"/>
                        </a:cubicBezTo>
                        <a:cubicBezTo>
                          <a:pt x="1922686" y="549689"/>
                          <a:pt x="1969698" y="584293"/>
                          <a:pt x="2019185" y="616425"/>
                        </a:cubicBezTo>
                        <a:cubicBezTo>
                          <a:pt x="2058774" y="643614"/>
                          <a:pt x="2098363" y="668331"/>
                          <a:pt x="2140427" y="695520"/>
                        </a:cubicBezTo>
                        <a:cubicBezTo>
                          <a:pt x="2145375" y="680689"/>
                          <a:pt x="2145375" y="663387"/>
                          <a:pt x="2152798" y="651029"/>
                        </a:cubicBezTo>
                        <a:cubicBezTo>
                          <a:pt x="2157747" y="636199"/>
                          <a:pt x="2167644" y="626312"/>
                          <a:pt x="2177541" y="613954"/>
                        </a:cubicBezTo>
                        <a:cubicBezTo>
                          <a:pt x="2157747" y="594180"/>
                          <a:pt x="2137952" y="574406"/>
                          <a:pt x="2118158" y="557104"/>
                        </a:cubicBezTo>
                        <a:cubicBezTo>
                          <a:pt x="2120632" y="554633"/>
                          <a:pt x="2120632" y="554633"/>
                          <a:pt x="2120632" y="552161"/>
                        </a:cubicBezTo>
                        <a:cubicBezTo>
                          <a:pt x="2125581" y="552161"/>
                          <a:pt x="2128055" y="552161"/>
                          <a:pt x="2133004" y="554633"/>
                        </a:cubicBezTo>
                        <a:cubicBezTo>
                          <a:pt x="2170118" y="566991"/>
                          <a:pt x="2204759" y="579350"/>
                          <a:pt x="2241874" y="591708"/>
                        </a:cubicBezTo>
                        <a:cubicBezTo>
                          <a:pt x="2281463" y="604067"/>
                          <a:pt x="2321052" y="613954"/>
                          <a:pt x="2350744" y="641142"/>
                        </a:cubicBezTo>
                        <a:cubicBezTo>
                          <a:pt x="2375487" y="660916"/>
                          <a:pt x="2400230" y="680689"/>
                          <a:pt x="2422499" y="702935"/>
                        </a:cubicBezTo>
                        <a:cubicBezTo>
                          <a:pt x="2437345" y="717765"/>
                          <a:pt x="2444768" y="735067"/>
                          <a:pt x="2439819" y="754840"/>
                        </a:cubicBezTo>
                        <a:cubicBezTo>
                          <a:pt x="2439819" y="764727"/>
                          <a:pt x="2439819" y="774614"/>
                          <a:pt x="2439819" y="786972"/>
                        </a:cubicBezTo>
                        <a:cubicBezTo>
                          <a:pt x="2459614" y="774614"/>
                          <a:pt x="2474460" y="764727"/>
                          <a:pt x="2489306" y="752369"/>
                        </a:cubicBezTo>
                        <a:cubicBezTo>
                          <a:pt x="2516523" y="730123"/>
                          <a:pt x="2546215" y="710350"/>
                          <a:pt x="2573432" y="688104"/>
                        </a:cubicBezTo>
                        <a:cubicBezTo>
                          <a:pt x="2595701" y="670803"/>
                          <a:pt x="2615496" y="655972"/>
                          <a:pt x="2637765" y="638670"/>
                        </a:cubicBezTo>
                        <a:cubicBezTo>
                          <a:pt x="2640239" y="636199"/>
                          <a:pt x="2645188" y="633727"/>
                          <a:pt x="2647662" y="631255"/>
                        </a:cubicBezTo>
                        <a:cubicBezTo>
                          <a:pt x="2660034" y="626312"/>
                          <a:pt x="2669931" y="618897"/>
                          <a:pt x="2667457" y="604067"/>
                        </a:cubicBezTo>
                        <a:cubicBezTo>
                          <a:pt x="2692200" y="606538"/>
                          <a:pt x="2711994" y="616425"/>
                          <a:pt x="2731789" y="628784"/>
                        </a:cubicBezTo>
                        <a:cubicBezTo>
                          <a:pt x="2806019" y="670803"/>
                          <a:pt x="2870351" y="725180"/>
                          <a:pt x="2924786" y="794388"/>
                        </a:cubicBezTo>
                        <a:cubicBezTo>
                          <a:pt x="2929735" y="799331"/>
                          <a:pt x="2932209" y="806746"/>
                          <a:pt x="2937158" y="811689"/>
                        </a:cubicBezTo>
                        <a:cubicBezTo>
                          <a:pt x="2947055" y="826520"/>
                          <a:pt x="2949529" y="841350"/>
                          <a:pt x="2939632" y="858652"/>
                        </a:cubicBezTo>
                        <a:cubicBezTo>
                          <a:pt x="2937158" y="863595"/>
                          <a:pt x="2937158" y="871010"/>
                          <a:pt x="2932209" y="883369"/>
                        </a:cubicBezTo>
                        <a:cubicBezTo>
                          <a:pt x="2932209" y="883369"/>
                          <a:pt x="2932209" y="883369"/>
                          <a:pt x="2902517" y="999539"/>
                        </a:cubicBezTo>
                        <a:cubicBezTo>
                          <a:pt x="2892620" y="1014369"/>
                          <a:pt x="2882722" y="1029199"/>
                          <a:pt x="2877774" y="1046501"/>
                        </a:cubicBezTo>
                        <a:cubicBezTo>
                          <a:pt x="2865402" y="1076161"/>
                          <a:pt x="2855505" y="1105822"/>
                          <a:pt x="2843133" y="1135482"/>
                        </a:cubicBezTo>
                        <a:cubicBezTo>
                          <a:pt x="2840659" y="1140425"/>
                          <a:pt x="2840659" y="1145369"/>
                          <a:pt x="2838185" y="1150312"/>
                        </a:cubicBezTo>
                        <a:cubicBezTo>
                          <a:pt x="2828287" y="1162671"/>
                          <a:pt x="2818390" y="1175029"/>
                          <a:pt x="2808493" y="1189859"/>
                        </a:cubicBezTo>
                        <a:cubicBezTo>
                          <a:pt x="2808493" y="1189859"/>
                          <a:pt x="2808493" y="1189859"/>
                          <a:pt x="2781275" y="1264010"/>
                        </a:cubicBezTo>
                        <a:cubicBezTo>
                          <a:pt x="2781275" y="1264010"/>
                          <a:pt x="2778801" y="1264010"/>
                          <a:pt x="2778801" y="1264010"/>
                        </a:cubicBezTo>
                        <a:cubicBezTo>
                          <a:pt x="2778801" y="1264010"/>
                          <a:pt x="2778801" y="1264010"/>
                          <a:pt x="2778801" y="1266482"/>
                        </a:cubicBezTo>
                        <a:cubicBezTo>
                          <a:pt x="2778801" y="1268954"/>
                          <a:pt x="2776327" y="1273897"/>
                          <a:pt x="2773852" y="1276369"/>
                        </a:cubicBezTo>
                        <a:cubicBezTo>
                          <a:pt x="2766429" y="1288727"/>
                          <a:pt x="2756532" y="1301086"/>
                          <a:pt x="2744161" y="1313444"/>
                        </a:cubicBezTo>
                        <a:cubicBezTo>
                          <a:pt x="2731789" y="1328274"/>
                          <a:pt x="2716943" y="1345576"/>
                          <a:pt x="2702097" y="1357935"/>
                        </a:cubicBezTo>
                        <a:cubicBezTo>
                          <a:pt x="2694674" y="1362878"/>
                          <a:pt x="2682303" y="1362878"/>
                          <a:pt x="2674880" y="1362878"/>
                        </a:cubicBezTo>
                        <a:cubicBezTo>
                          <a:pt x="2655085" y="1357935"/>
                          <a:pt x="2637765" y="1350520"/>
                          <a:pt x="2620445" y="1340633"/>
                        </a:cubicBezTo>
                        <a:cubicBezTo>
                          <a:pt x="2553638" y="1306029"/>
                          <a:pt x="2496729" y="1256595"/>
                          <a:pt x="2442294" y="1204690"/>
                        </a:cubicBezTo>
                        <a:cubicBezTo>
                          <a:pt x="2434871" y="1199746"/>
                          <a:pt x="2427448" y="1192331"/>
                          <a:pt x="2420025" y="1187388"/>
                        </a:cubicBezTo>
                        <a:cubicBezTo>
                          <a:pt x="2417550" y="1184916"/>
                          <a:pt x="2415076" y="1184916"/>
                          <a:pt x="2410127" y="1184916"/>
                        </a:cubicBezTo>
                        <a:cubicBezTo>
                          <a:pt x="2397756" y="1246708"/>
                          <a:pt x="2395281" y="1308501"/>
                          <a:pt x="2385384" y="1367822"/>
                        </a:cubicBezTo>
                        <a:cubicBezTo>
                          <a:pt x="2370538" y="1375237"/>
                          <a:pt x="2358167" y="1370293"/>
                          <a:pt x="2345795" y="1362878"/>
                        </a:cubicBezTo>
                        <a:cubicBezTo>
                          <a:pt x="2313629" y="1345576"/>
                          <a:pt x="2283937" y="1325803"/>
                          <a:pt x="2254245" y="1306029"/>
                        </a:cubicBezTo>
                        <a:cubicBezTo>
                          <a:pt x="2194862" y="1259067"/>
                          <a:pt x="2137952" y="1207161"/>
                          <a:pt x="2093414" y="1145369"/>
                        </a:cubicBezTo>
                        <a:cubicBezTo>
                          <a:pt x="2073620" y="1120652"/>
                          <a:pt x="2066197" y="1093463"/>
                          <a:pt x="2073620" y="1061331"/>
                        </a:cubicBezTo>
                        <a:cubicBezTo>
                          <a:pt x="2078569" y="1036614"/>
                          <a:pt x="2078569" y="1009425"/>
                          <a:pt x="2081043" y="982237"/>
                        </a:cubicBezTo>
                        <a:cubicBezTo>
                          <a:pt x="2078569" y="982237"/>
                          <a:pt x="2076094" y="982237"/>
                          <a:pt x="2076094" y="982237"/>
                        </a:cubicBezTo>
                        <a:cubicBezTo>
                          <a:pt x="2061248" y="1006954"/>
                          <a:pt x="2043928" y="1029199"/>
                          <a:pt x="2034031" y="1056388"/>
                        </a:cubicBezTo>
                        <a:cubicBezTo>
                          <a:pt x="2026608" y="1076161"/>
                          <a:pt x="2021659" y="1095935"/>
                          <a:pt x="2009288" y="1110765"/>
                        </a:cubicBezTo>
                        <a:cubicBezTo>
                          <a:pt x="2009288" y="1113237"/>
                          <a:pt x="2009288" y="1113237"/>
                          <a:pt x="2009288" y="1113237"/>
                        </a:cubicBezTo>
                        <a:cubicBezTo>
                          <a:pt x="2004339" y="1145369"/>
                          <a:pt x="1982070" y="1167614"/>
                          <a:pt x="1969698" y="1197274"/>
                        </a:cubicBezTo>
                        <a:cubicBezTo>
                          <a:pt x="1949904" y="1241765"/>
                          <a:pt x="1927635" y="1283784"/>
                          <a:pt x="1907840" y="1328274"/>
                        </a:cubicBezTo>
                        <a:cubicBezTo>
                          <a:pt x="1900418" y="1350520"/>
                          <a:pt x="1892995" y="1370293"/>
                          <a:pt x="1888046" y="1392539"/>
                        </a:cubicBezTo>
                        <a:cubicBezTo>
                          <a:pt x="1883097" y="1407369"/>
                          <a:pt x="1875674" y="1419727"/>
                          <a:pt x="1868251" y="1434557"/>
                        </a:cubicBezTo>
                        <a:cubicBezTo>
                          <a:pt x="1836085" y="1479048"/>
                          <a:pt x="1798970" y="1518595"/>
                          <a:pt x="1761856" y="1558142"/>
                        </a:cubicBezTo>
                        <a:cubicBezTo>
                          <a:pt x="1761856" y="1558142"/>
                          <a:pt x="1761856" y="1558142"/>
                          <a:pt x="1761856" y="1563086"/>
                        </a:cubicBezTo>
                        <a:cubicBezTo>
                          <a:pt x="1761856" y="1563086"/>
                          <a:pt x="1603499" y="1691614"/>
                          <a:pt x="1494629" y="1624878"/>
                        </a:cubicBezTo>
                        <a:cubicBezTo>
                          <a:pt x="1393182" y="1563086"/>
                          <a:pt x="1348644" y="1214576"/>
                          <a:pt x="1348644" y="1214576"/>
                        </a:cubicBezTo>
                        <a:cubicBezTo>
                          <a:pt x="1348644" y="1214576"/>
                          <a:pt x="1348644" y="1212105"/>
                          <a:pt x="1348644" y="1212105"/>
                        </a:cubicBezTo>
                        <a:cubicBezTo>
                          <a:pt x="1336273" y="1172557"/>
                          <a:pt x="1326375" y="1133010"/>
                          <a:pt x="1321427" y="1088520"/>
                        </a:cubicBezTo>
                        <a:cubicBezTo>
                          <a:pt x="1321427" y="1076161"/>
                          <a:pt x="1314004" y="1073689"/>
                          <a:pt x="1301632" y="1068746"/>
                        </a:cubicBezTo>
                        <a:cubicBezTo>
                          <a:pt x="1289261" y="1095935"/>
                          <a:pt x="1276889" y="1123123"/>
                          <a:pt x="1266992" y="1150312"/>
                        </a:cubicBezTo>
                        <a:cubicBezTo>
                          <a:pt x="1252146" y="1187388"/>
                          <a:pt x="1244723" y="1229406"/>
                          <a:pt x="1222454" y="1264010"/>
                        </a:cubicBezTo>
                        <a:cubicBezTo>
                          <a:pt x="1222454" y="1266482"/>
                          <a:pt x="1219980" y="1271425"/>
                          <a:pt x="1219980" y="1273897"/>
                        </a:cubicBezTo>
                        <a:cubicBezTo>
                          <a:pt x="1212557" y="1320859"/>
                          <a:pt x="1192762" y="1362878"/>
                          <a:pt x="1177916" y="1407369"/>
                        </a:cubicBezTo>
                        <a:cubicBezTo>
                          <a:pt x="1163070" y="1459274"/>
                          <a:pt x="1140801" y="1511180"/>
                          <a:pt x="1128430" y="1563086"/>
                        </a:cubicBezTo>
                        <a:cubicBezTo>
                          <a:pt x="1121007" y="1610048"/>
                          <a:pt x="1101212" y="1654539"/>
                          <a:pt x="1091315" y="1701501"/>
                        </a:cubicBezTo>
                        <a:cubicBezTo>
                          <a:pt x="1086366" y="1741048"/>
                          <a:pt x="1073995" y="1775652"/>
                          <a:pt x="1066572" y="1812727"/>
                        </a:cubicBezTo>
                        <a:cubicBezTo>
                          <a:pt x="1066572" y="1822614"/>
                          <a:pt x="1059149" y="1830029"/>
                          <a:pt x="1056674" y="1839916"/>
                        </a:cubicBezTo>
                        <a:cubicBezTo>
                          <a:pt x="1051726" y="1864633"/>
                          <a:pt x="1046777" y="1891822"/>
                          <a:pt x="1039354" y="1916539"/>
                        </a:cubicBezTo>
                        <a:cubicBezTo>
                          <a:pt x="1029457" y="1963501"/>
                          <a:pt x="1024508" y="2010463"/>
                          <a:pt x="1019560" y="2054954"/>
                        </a:cubicBezTo>
                        <a:cubicBezTo>
                          <a:pt x="1019560" y="2057426"/>
                          <a:pt x="1019560" y="2059897"/>
                          <a:pt x="1019560" y="2059897"/>
                        </a:cubicBezTo>
                        <a:cubicBezTo>
                          <a:pt x="997291" y="2116746"/>
                          <a:pt x="997291" y="2178539"/>
                          <a:pt x="987394" y="2235388"/>
                        </a:cubicBezTo>
                        <a:cubicBezTo>
                          <a:pt x="984919" y="2255161"/>
                          <a:pt x="977496" y="2274935"/>
                          <a:pt x="972548" y="2294709"/>
                        </a:cubicBezTo>
                        <a:cubicBezTo>
                          <a:pt x="967599" y="2309539"/>
                          <a:pt x="960176" y="2314482"/>
                          <a:pt x="945330" y="2307067"/>
                        </a:cubicBezTo>
                        <a:cubicBezTo>
                          <a:pt x="918113" y="2294709"/>
                          <a:pt x="893369" y="2282350"/>
                          <a:pt x="866152" y="2267520"/>
                        </a:cubicBezTo>
                        <a:cubicBezTo>
                          <a:pt x="863678" y="2265048"/>
                          <a:pt x="861203" y="2257633"/>
                          <a:pt x="861203" y="2250218"/>
                        </a:cubicBezTo>
                        <a:cubicBezTo>
                          <a:pt x="863678" y="2208199"/>
                          <a:pt x="856255" y="2163709"/>
                          <a:pt x="866152" y="2121690"/>
                        </a:cubicBezTo>
                        <a:cubicBezTo>
                          <a:pt x="866152" y="2114275"/>
                          <a:pt x="866152" y="2109331"/>
                          <a:pt x="866152" y="2101916"/>
                        </a:cubicBezTo>
                        <a:cubicBezTo>
                          <a:pt x="866152" y="2087086"/>
                          <a:pt x="866152" y="2069784"/>
                          <a:pt x="866152" y="2052482"/>
                        </a:cubicBezTo>
                        <a:cubicBezTo>
                          <a:pt x="868626" y="2047539"/>
                          <a:pt x="868626" y="2042595"/>
                          <a:pt x="868626" y="2037652"/>
                        </a:cubicBezTo>
                        <a:cubicBezTo>
                          <a:pt x="863678" y="2010463"/>
                          <a:pt x="861203" y="1980803"/>
                          <a:pt x="863678" y="1953614"/>
                        </a:cubicBezTo>
                        <a:cubicBezTo>
                          <a:pt x="863678" y="1946199"/>
                          <a:pt x="858729" y="1941256"/>
                          <a:pt x="856255" y="1933841"/>
                        </a:cubicBezTo>
                        <a:cubicBezTo>
                          <a:pt x="866152" y="1923954"/>
                          <a:pt x="876049" y="1914067"/>
                          <a:pt x="858729" y="1901709"/>
                        </a:cubicBezTo>
                        <a:cubicBezTo>
                          <a:pt x="856255" y="1899237"/>
                          <a:pt x="853780" y="1889350"/>
                          <a:pt x="856255" y="1886878"/>
                        </a:cubicBezTo>
                        <a:cubicBezTo>
                          <a:pt x="866152" y="1864633"/>
                          <a:pt x="863678" y="1844859"/>
                          <a:pt x="861203" y="1822614"/>
                        </a:cubicBezTo>
                        <a:cubicBezTo>
                          <a:pt x="861203" y="1780595"/>
                          <a:pt x="858729" y="1741048"/>
                          <a:pt x="861203" y="1699029"/>
                        </a:cubicBezTo>
                        <a:cubicBezTo>
                          <a:pt x="861203" y="1691614"/>
                          <a:pt x="858729" y="1686671"/>
                          <a:pt x="858729" y="1679256"/>
                        </a:cubicBezTo>
                        <a:cubicBezTo>
                          <a:pt x="858729" y="1657010"/>
                          <a:pt x="863678" y="1634765"/>
                          <a:pt x="873575" y="1614991"/>
                        </a:cubicBezTo>
                        <a:cubicBezTo>
                          <a:pt x="890895" y="1580388"/>
                          <a:pt x="905741" y="1545784"/>
                          <a:pt x="923061" y="1511180"/>
                        </a:cubicBezTo>
                        <a:cubicBezTo>
                          <a:pt x="925536" y="1506237"/>
                          <a:pt x="928010" y="1506237"/>
                          <a:pt x="937907" y="1503765"/>
                        </a:cubicBezTo>
                        <a:cubicBezTo>
                          <a:pt x="928010" y="1530954"/>
                          <a:pt x="920587" y="1555671"/>
                          <a:pt x="913164" y="1585331"/>
                        </a:cubicBezTo>
                        <a:cubicBezTo>
                          <a:pt x="928010" y="1580388"/>
                          <a:pt x="930484" y="1572973"/>
                          <a:pt x="932958" y="1565558"/>
                        </a:cubicBezTo>
                        <a:cubicBezTo>
                          <a:pt x="942856" y="1535897"/>
                          <a:pt x="952753" y="1503765"/>
                          <a:pt x="962650" y="1474105"/>
                        </a:cubicBezTo>
                        <a:cubicBezTo>
                          <a:pt x="970073" y="1446916"/>
                          <a:pt x="977496" y="1419727"/>
                          <a:pt x="989868" y="1395010"/>
                        </a:cubicBezTo>
                        <a:cubicBezTo>
                          <a:pt x="994816" y="1385124"/>
                          <a:pt x="997291" y="1375237"/>
                          <a:pt x="999765" y="1365350"/>
                        </a:cubicBezTo>
                        <a:cubicBezTo>
                          <a:pt x="1007188" y="1348048"/>
                          <a:pt x="1012137" y="1330746"/>
                          <a:pt x="1017085" y="1313444"/>
                        </a:cubicBezTo>
                        <a:cubicBezTo>
                          <a:pt x="1026983" y="1286256"/>
                          <a:pt x="1034406" y="1261539"/>
                          <a:pt x="1041829" y="1234350"/>
                        </a:cubicBezTo>
                        <a:cubicBezTo>
                          <a:pt x="1049251" y="1212105"/>
                          <a:pt x="1056674" y="1187388"/>
                          <a:pt x="1064097" y="1165142"/>
                        </a:cubicBezTo>
                        <a:cubicBezTo>
                          <a:pt x="1066572" y="1157727"/>
                          <a:pt x="1071520" y="1150312"/>
                          <a:pt x="1078943" y="1140425"/>
                        </a:cubicBezTo>
                        <a:cubicBezTo>
                          <a:pt x="1069046" y="1142897"/>
                          <a:pt x="1064097" y="1145369"/>
                          <a:pt x="1059149" y="1145369"/>
                        </a:cubicBezTo>
                        <a:cubicBezTo>
                          <a:pt x="1059149" y="1142897"/>
                          <a:pt x="1061623" y="1140425"/>
                          <a:pt x="1061623" y="1137954"/>
                        </a:cubicBezTo>
                        <a:cubicBezTo>
                          <a:pt x="1049251" y="1135482"/>
                          <a:pt x="1039354" y="1142897"/>
                          <a:pt x="1031931" y="1155256"/>
                        </a:cubicBezTo>
                        <a:cubicBezTo>
                          <a:pt x="1039354" y="1155256"/>
                          <a:pt x="1041829" y="1155256"/>
                          <a:pt x="1044303" y="1155256"/>
                        </a:cubicBezTo>
                        <a:cubicBezTo>
                          <a:pt x="1019560" y="1170086"/>
                          <a:pt x="994816" y="1187388"/>
                          <a:pt x="970073" y="1204690"/>
                        </a:cubicBezTo>
                        <a:cubicBezTo>
                          <a:pt x="935433" y="1224463"/>
                          <a:pt x="900792" y="1246708"/>
                          <a:pt x="868626" y="1266482"/>
                        </a:cubicBezTo>
                        <a:cubicBezTo>
                          <a:pt x="863678" y="1268954"/>
                          <a:pt x="858729" y="1271425"/>
                          <a:pt x="853780" y="1273897"/>
                        </a:cubicBezTo>
                        <a:cubicBezTo>
                          <a:pt x="853780" y="1273897"/>
                          <a:pt x="853780" y="1273897"/>
                          <a:pt x="292110" y="1575444"/>
                        </a:cubicBezTo>
                        <a:cubicBezTo>
                          <a:pt x="292110" y="1577916"/>
                          <a:pt x="289635" y="1577916"/>
                          <a:pt x="287161" y="1580388"/>
                        </a:cubicBezTo>
                        <a:cubicBezTo>
                          <a:pt x="277264" y="1575444"/>
                          <a:pt x="264892" y="1568029"/>
                          <a:pt x="252520" y="1560614"/>
                        </a:cubicBezTo>
                        <a:cubicBezTo>
                          <a:pt x="220354" y="1538369"/>
                          <a:pt x="185714" y="1513652"/>
                          <a:pt x="153548" y="1488935"/>
                        </a:cubicBezTo>
                        <a:cubicBezTo>
                          <a:pt x="109010" y="1451859"/>
                          <a:pt x="69421" y="1409840"/>
                          <a:pt x="32306" y="1365350"/>
                        </a:cubicBezTo>
                        <a:cubicBezTo>
                          <a:pt x="22409" y="1355463"/>
                          <a:pt x="14986" y="1340633"/>
                          <a:pt x="7563" y="1328274"/>
                        </a:cubicBezTo>
                        <a:cubicBezTo>
                          <a:pt x="-4809" y="1308501"/>
                          <a:pt x="-2335" y="1298614"/>
                          <a:pt x="17460" y="1286256"/>
                        </a:cubicBezTo>
                        <a:cubicBezTo>
                          <a:pt x="32306" y="1278840"/>
                          <a:pt x="47152" y="1268954"/>
                          <a:pt x="61998" y="1261539"/>
                        </a:cubicBezTo>
                        <a:cubicBezTo>
                          <a:pt x="76844" y="1251652"/>
                          <a:pt x="91690" y="1241765"/>
                          <a:pt x="106536" y="1234350"/>
                        </a:cubicBezTo>
                        <a:cubicBezTo>
                          <a:pt x="116433" y="1229406"/>
                          <a:pt x="126330" y="1224463"/>
                          <a:pt x="136227" y="1219520"/>
                        </a:cubicBezTo>
                        <a:cubicBezTo>
                          <a:pt x="153548" y="1212105"/>
                          <a:pt x="168394" y="1204690"/>
                          <a:pt x="180765" y="1189859"/>
                        </a:cubicBezTo>
                        <a:cubicBezTo>
                          <a:pt x="188188" y="1184916"/>
                          <a:pt x="198085" y="1179973"/>
                          <a:pt x="205508" y="1177501"/>
                        </a:cubicBezTo>
                        <a:cubicBezTo>
                          <a:pt x="232726" y="1170086"/>
                          <a:pt x="252520" y="1150312"/>
                          <a:pt x="277264" y="1140425"/>
                        </a:cubicBezTo>
                        <a:cubicBezTo>
                          <a:pt x="289635" y="1135482"/>
                          <a:pt x="304481" y="1128067"/>
                          <a:pt x="321801" y="1120652"/>
                        </a:cubicBezTo>
                        <a:cubicBezTo>
                          <a:pt x="324276" y="1118180"/>
                          <a:pt x="326750" y="1115708"/>
                          <a:pt x="329224" y="1115708"/>
                        </a:cubicBezTo>
                        <a:cubicBezTo>
                          <a:pt x="329224" y="1115708"/>
                          <a:pt x="329224" y="1115708"/>
                          <a:pt x="848832" y="895727"/>
                        </a:cubicBezTo>
                        <a:cubicBezTo>
                          <a:pt x="853780" y="893256"/>
                          <a:pt x="861203" y="890784"/>
                          <a:pt x="868626" y="888312"/>
                        </a:cubicBezTo>
                        <a:cubicBezTo>
                          <a:pt x="888421" y="883369"/>
                          <a:pt x="905741" y="878425"/>
                          <a:pt x="923061" y="868539"/>
                        </a:cubicBezTo>
                        <a:cubicBezTo>
                          <a:pt x="952753" y="853708"/>
                          <a:pt x="984919" y="843821"/>
                          <a:pt x="1017085" y="831463"/>
                        </a:cubicBezTo>
                        <a:cubicBezTo>
                          <a:pt x="1031931" y="826520"/>
                          <a:pt x="1046777" y="819104"/>
                          <a:pt x="1061623" y="811689"/>
                        </a:cubicBezTo>
                        <a:cubicBezTo>
                          <a:pt x="1088841" y="799331"/>
                          <a:pt x="1116058" y="784501"/>
                          <a:pt x="1145750" y="772142"/>
                        </a:cubicBezTo>
                        <a:cubicBezTo>
                          <a:pt x="1150699" y="769671"/>
                          <a:pt x="1158122" y="769671"/>
                          <a:pt x="1163070" y="769671"/>
                        </a:cubicBezTo>
                        <a:cubicBezTo>
                          <a:pt x="1212557" y="638670"/>
                          <a:pt x="1249671" y="502727"/>
                          <a:pt x="1306581" y="376670"/>
                        </a:cubicBezTo>
                        <a:cubicBezTo>
                          <a:pt x="1306581" y="376670"/>
                          <a:pt x="1309055" y="376670"/>
                          <a:pt x="1309055" y="376670"/>
                        </a:cubicBezTo>
                        <a:cubicBezTo>
                          <a:pt x="1266992" y="502727"/>
                          <a:pt x="1224928" y="628784"/>
                          <a:pt x="1182865" y="754840"/>
                        </a:cubicBezTo>
                        <a:cubicBezTo>
                          <a:pt x="1190288" y="762255"/>
                          <a:pt x="1195236" y="762255"/>
                          <a:pt x="1200185" y="754840"/>
                        </a:cubicBezTo>
                        <a:cubicBezTo>
                          <a:pt x="1202659" y="747425"/>
                          <a:pt x="1205134" y="740010"/>
                          <a:pt x="1207608" y="735067"/>
                        </a:cubicBezTo>
                        <a:cubicBezTo>
                          <a:pt x="1215031" y="702935"/>
                          <a:pt x="1224928" y="673274"/>
                          <a:pt x="1234825" y="641142"/>
                        </a:cubicBezTo>
                        <a:cubicBezTo>
                          <a:pt x="1242248" y="621369"/>
                          <a:pt x="1249671" y="599123"/>
                          <a:pt x="1257094" y="576878"/>
                        </a:cubicBezTo>
                        <a:cubicBezTo>
                          <a:pt x="1259569" y="574406"/>
                          <a:pt x="1259569" y="569463"/>
                          <a:pt x="1262043" y="566991"/>
                        </a:cubicBezTo>
                        <a:cubicBezTo>
                          <a:pt x="1271940" y="534859"/>
                          <a:pt x="1281838" y="500255"/>
                          <a:pt x="1296683" y="470595"/>
                        </a:cubicBezTo>
                        <a:cubicBezTo>
                          <a:pt x="1304106" y="460708"/>
                          <a:pt x="1306581" y="445878"/>
                          <a:pt x="1309055" y="433519"/>
                        </a:cubicBezTo>
                        <a:cubicBezTo>
                          <a:pt x="1314004" y="406331"/>
                          <a:pt x="1328850" y="379142"/>
                          <a:pt x="1341221" y="354425"/>
                        </a:cubicBezTo>
                        <a:cubicBezTo>
                          <a:pt x="1351119" y="329708"/>
                          <a:pt x="1361016" y="302519"/>
                          <a:pt x="1368439" y="277802"/>
                        </a:cubicBezTo>
                        <a:cubicBezTo>
                          <a:pt x="1370913" y="275331"/>
                          <a:pt x="1370913" y="272859"/>
                          <a:pt x="1370913" y="270387"/>
                        </a:cubicBezTo>
                        <a:cubicBezTo>
                          <a:pt x="1393182" y="235784"/>
                          <a:pt x="1390708" y="196236"/>
                          <a:pt x="1395656" y="159161"/>
                        </a:cubicBezTo>
                        <a:cubicBezTo>
                          <a:pt x="1398131" y="114670"/>
                          <a:pt x="1403079" y="70180"/>
                          <a:pt x="1408028" y="25689"/>
                        </a:cubicBezTo>
                        <a:cubicBezTo>
                          <a:pt x="1408028" y="20746"/>
                          <a:pt x="1405554" y="13331"/>
                          <a:pt x="1405554" y="8387"/>
                        </a:cubicBezTo>
                        <a:cubicBezTo>
                          <a:pt x="1412977" y="972"/>
                          <a:pt x="1419781" y="-882"/>
                          <a:pt x="1426585" y="354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84000">
                        <a:schemeClr val="accent2">
                          <a:lumMod val="40000"/>
                          <a:lumOff val="60000"/>
                        </a:schemeClr>
                      </a:gs>
                      <a:gs pos="0">
                        <a:schemeClr val="accent2"/>
                      </a:gs>
                    </a:gsLst>
                    <a:lin ang="135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lvl="0" algn="ctr"/>
                    <a:endParaRPr>
                      <a:gradFill flip="none" rotWithShape="1">
                        <a:gsLst>
                          <a:gs pos="89000">
                            <a:schemeClr val="bg1"/>
                          </a:gs>
                          <a:gs pos="0">
                            <a:schemeClr val="accent2"/>
                          </a:gs>
                        </a:gsLst>
                        <a:lin ang="13500000" scaled="1"/>
                        <a:tileRect/>
                      </a:gradFill>
                    </a:endParaRPr>
                  </a:p>
                </p:txBody>
              </p:sp>
              <p:sp>
                <p:nvSpPr>
                  <p:cNvPr id="199" name="任意多边形: 形状 198">
                    <a:extLst>
                      <a:ext uri="{FF2B5EF4-FFF2-40B4-BE49-F238E27FC236}">
                        <a16:creationId xmlns:a16="http://schemas.microsoft.com/office/drawing/2014/main" id="{87E64B61-D412-46DD-938F-5DA62F6FE470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9343304" y="2086278"/>
                    <a:ext cx="94202" cy="176399"/>
                  </a:xfrm>
                  <a:custGeom>
                    <a:avLst/>
                    <a:gdLst>
                      <a:gd name="T0" fmla="*/ 44 w 65"/>
                      <a:gd name="T1" fmla="*/ 27 h 123"/>
                      <a:gd name="T2" fmla="*/ 45 w 65"/>
                      <a:gd name="T3" fmla="*/ 32 h 123"/>
                      <a:gd name="T4" fmla="*/ 41 w 65"/>
                      <a:gd name="T5" fmla="*/ 35 h 123"/>
                      <a:gd name="T6" fmla="*/ 40 w 65"/>
                      <a:gd name="T7" fmla="*/ 37 h 123"/>
                      <a:gd name="T8" fmla="*/ 37 w 65"/>
                      <a:gd name="T9" fmla="*/ 42 h 123"/>
                      <a:gd name="T10" fmla="*/ 43 w 65"/>
                      <a:gd name="T11" fmla="*/ 48 h 123"/>
                      <a:gd name="T12" fmla="*/ 40 w 65"/>
                      <a:gd name="T13" fmla="*/ 54 h 123"/>
                      <a:gd name="T14" fmla="*/ 31 w 65"/>
                      <a:gd name="T15" fmla="*/ 53 h 123"/>
                      <a:gd name="T16" fmla="*/ 34 w 65"/>
                      <a:gd name="T17" fmla="*/ 57 h 123"/>
                      <a:gd name="T18" fmla="*/ 29 w 65"/>
                      <a:gd name="T19" fmla="*/ 60 h 123"/>
                      <a:gd name="T20" fmla="*/ 25 w 65"/>
                      <a:gd name="T21" fmla="*/ 66 h 123"/>
                      <a:gd name="T22" fmla="*/ 24 w 65"/>
                      <a:gd name="T23" fmla="*/ 71 h 123"/>
                      <a:gd name="T24" fmla="*/ 27 w 65"/>
                      <a:gd name="T25" fmla="*/ 79 h 123"/>
                      <a:gd name="T26" fmla="*/ 22 w 65"/>
                      <a:gd name="T27" fmla="*/ 79 h 123"/>
                      <a:gd name="T28" fmla="*/ 22 w 65"/>
                      <a:gd name="T29" fmla="*/ 89 h 123"/>
                      <a:gd name="T30" fmla="*/ 11 w 65"/>
                      <a:gd name="T31" fmla="*/ 111 h 123"/>
                      <a:gd name="T32" fmla="*/ 8 w 65"/>
                      <a:gd name="T33" fmla="*/ 120 h 123"/>
                      <a:gd name="T34" fmla="*/ 51 w 65"/>
                      <a:gd name="T35" fmla="*/ 33 h 123"/>
                      <a:gd name="T36" fmla="*/ 47 w 65"/>
                      <a:gd name="T37" fmla="*/ 37 h 123"/>
                      <a:gd name="T38" fmla="*/ 48 w 65"/>
                      <a:gd name="T39" fmla="*/ 33 h 123"/>
                      <a:gd name="T40" fmla="*/ 45 w 65"/>
                      <a:gd name="T41" fmla="*/ 36 h 123"/>
                      <a:gd name="T42" fmla="*/ 48 w 65"/>
                      <a:gd name="T43" fmla="*/ 26 h 123"/>
                      <a:gd name="T44" fmla="*/ 46 w 65"/>
                      <a:gd name="T45" fmla="*/ 24 h 123"/>
                      <a:gd name="T46" fmla="*/ 46 w 65"/>
                      <a:gd name="T47" fmla="*/ 14 h 123"/>
                      <a:gd name="T48" fmla="*/ 46 w 65"/>
                      <a:gd name="T49" fmla="*/ 18 h 123"/>
                      <a:gd name="T50" fmla="*/ 46 w 65"/>
                      <a:gd name="T51" fmla="*/ 28 h 123"/>
                      <a:gd name="T52" fmla="*/ 45 w 65"/>
                      <a:gd name="T53" fmla="*/ 35 h 123"/>
                      <a:gd name="T54" fmla="*/ 52 w 65"/>
                      <a:gd name="T55" fmla="*/ 27 h 123"/>
                      <a:gd name="T56" fmla="*/ 53 w 65"/>
                      <a:gd name="T57" fmla="*/ 27 h 123"/>
                      <a:gd name="T58" fmla="*/ 43 w 65"/>
                      <a:gd name="T59" fmla="*/ 29 h 123"/>
                      <a:gd name="T60" fmla="*/ 43 w 65"/>
                      <a:gd name="T61" fmla="*/ 33 h 123"/>
                      <a:gd name="T62" fmla="*/ 44 w 65"/>
                      <a:gd name="T63" fmla="*/ 45 h 123"/>
                      <a:gd name="T64" fmla="*/ 42 w 65"/>
                      <a:gd name="T65" fmla="*/ 50 h 123"/>
                      <a:gd name="T66" fmla="*/ 40 w 65"/>
                      <a:gd name="T67" fmla="*/ 52 h 123"/>
                      <a:gd name="T68" fmla="*/ 40 w 65"/>
                      <a:gd name="T69" fmla="*/ 47 h 123"/>
                      <a:gd name="T70" fmla="*/ 40 w 65"/>
                      <a:gd name="T71" fmla="*/ 49 h 123"/>
                      <a:gd name="T72" fmla="*/ 33 w 65"/>
                      <a:gd name="T73" fmla="*/ 48 h 123"/>
                      <a:gd name="T74" fmla="*/ 25 w 65"/>
                      <a:gd name="T75" fmla="*/ 75 h 123"/>
                      <a:gd name="T76" fmla="*/ 28 w 65"/>
                      <a:gd name="T77" fmla="*/ 69 h 123"/>
                      <a:gd name="T78" fmla="*/ 26 w 65"/>
                      <a:gd name="T79" fmla="*/ 69 h 123"/>
                      <a:gd name="T80" fmla="*/ 30 w 65"/>
                      <a:gd name="T81" fmla="*/ 64 h 123"/>
                      <a:gd name="T82" fmla="*/ 36 w 65"/>
                      <a:gd name="T83" fmla="*/ 57 h 123"/>
                      <a:gd name="T84" fmla="*/ 40 w 65"/>
                      <a:gd name="T85" fmla="*/ 56 h 123"/>
                      <a:gd name="T86" fmla="*/ 34 w 65"/>
                      <a:gd name="T87" fmla="*/ 66 h 123"/>
                      <a:gd name="T88" fmla="*/ 29 w 65"/>
                      <a:gd name="T89" fmla="*/ 76 h 123"/>
                      <a:gd name="T90" fmla="*/ 27 w 65"/>
                      <a:gd name="T91" fmla="*/ 73 h 123"/>
                      <a:gd name="T92" fmla="*/ 37 w 65"/>
                      <a:gd name="T93" fmla="*/ 57 h 123"/>
                      <a:gd name="T94" fmla="*/ 30 w 65"/>
                      <a:gd name="T95" fmla="*/ 64 h 123"/>
                      <a:gd name="T96" fmla="*/ 31 w 65"/>
                      <a:gd name="T97" fmla="*/ 67 h 123"/>
                      <a:gd name="T98" fmla="*/ 28 w 65"/>
                      <a:gd name="T99" fmla="*/ 77 h 123"/>
                      <a:gd name="T100" fmla="*/ 31 w 65"/>
                      <a:gd name="T101" fmla="*/ 67 h 123"/>
                      <a:gd name="T102" fmla="*/ 36 w 65"/>
                      <a:gd name="T103" fmla="*/ 59 h 123"/>
                      <a:gd name="T104" fmla="*/ 27 w 65"/>
                      <a:gd name="T105" fmla="*/ 72 h 123"/>
                      <a:gd name="T106" fmla="*/ 37 w 65"/>
                      <a:gd name="T107" fmla="*/ 54 h 123"/>
                      <a:gd name="T108" fmla="*/ 33 w 65"/>
                      <a:gd name="T109" fmla="*/ 54 h 123"/>
                      <a:gd name="T110" fmla="*/ 30 w 65"/>
                      <a:gd name="T111" fmla="*/ 54 h 123"/>
                      <a:gd name="T112" fmla="*/ 36 w 65"/>
                      <a:gd name="T113" fmla="*/ 61 h 123"/>
                      <a:gd name="T114" fmla="*/ 27 w 65"/>
                      <a:gd name="T115" fmla="*/ 61 h 123"/>
                      <a:gd name="T116" fmla="*/ 26 w 65"/>
                      <a:gd name="T117" fmla="*/ 79 h 123"/>
                      <a:gd name="T118" fmla="*/ 27 w 65"/>
                      <a:gd name="T119" fmla="*/ 79 h 123"/>
                      <a:gd name="T120" fmla="*/ 23 w 65"/>
                      <a:gd name="T121" fmla="*/ 89 h 123"/>
                      <a:gd name="T122" fmla="*/ 12 w 65"/>
                      <a:gd name="T123" fmla="*/ 113 h 123"/>
                      <a:gd name="T124" fmla="*/ 31 w 65"/>
                      <a:gd name="T125" fmla="*/ 51 h 1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65" h="123">
                        <a:moveTo>
                          <a:pt x="64" y="3"/>
                        </a:moveTo>
                        <a:cubicBezTo>
                          <a:pt x="65" y="3"/>
                          <a:pt x="65" y="4"/>
                          <a:pt x="65" y="4"/>
                        </a:cubicBezTo>
                        <a:cubicBezTo>
                          <a:pt x="64" y="4"/>
                          <a:pt x="65" y="4"/>
                          <a:pt x="65" y="4"/>
                        </a:cubicBezTo>
                        <a:cubicBezTo>
                          <a:pt x="64" y="4"/>
                          <a:pt x="64" y="4"/>
                          <a:pt x="64" y="3"/>
                        </a:cubicBezTo>
                        <a:close/>
                        <a:moveTo>
                          <a:pt x="49" y="8"/>
                        </a:moveTo>
                        <a:cubicBezTo>
                          <a:pt x="49" y="7"/>
                          <a:pt x="50" y="8"/>
                          <a:pt x="50" y="7"/>
                        </a:cubicBezTo>
                        <a:cubicBezTo>
                          <a:pt x="50" y="8"/>
                          <a:pt x="50" y="7"/>
                          <a:pt x="50" y="7"/>
                        </a:cubicBezTo>
                        <a:cubicBezTo>
                          <a:pt x="50" y="8"/>
                          <a:pt x="50" y="8"/>
                          <a:pt x="49" y="8"/>
                        </a:cubicBezTo>
                        <a:close/>
                        <a:moveTo>
                          <a:pt x="49" y="9"/>
                        </a:moveTo>
                        <a:cubicBezTo>
                          <a:pt x="49" y="9"/>
                          <a:pt x="49" y="9"/>
                          <a:pt x="48" y="10"/>
                        </a:cubicBezTo>
                        <a:cubicBezTo>
                          <a:pt x="48" y="10"/>
                          <a:pt x="48" y="9"/>
                          <a:pt x="48" y="9"/>
                        </a:cubicBezTo>
                        <a:cubicBezTo>
                          <a:pt x="49" y="9"/>
                          <a:pt x="49" y="9"/>
                          <a:pt x="49" y="9"/>
                        </a:cubicBezTo>
                        <a:close/>
                        <a:moveTo>
                          <a:pt x="48" y="10"/>
                        </a:moveTo>
                        <a:cubicBezTo>
                          <a:pt x="48" y="10"/>
                          <a:pt x="48" y="10"/>
                          <a:pt x="48" y="10"/>
                        </a:cubicBezTo>
                        <a:cubicBezTo>
                          <a:pt x="48" y="10"/>
                          <a:pt x="48" y="10"/>
                          <a:pt x="48" y="10"/>
                        </a:cubicBezTo>
                        <a:cubicBezTo>
                          <a:pt x="48" y="10"/>
                          <a:pt x="48" y="10"/>
                          <a:pt x="48" y="10"/>
                        </a:cubicBezTo>
                        <a:close/>
                        <a:moveTo>
                          <a:pt x="47" y="12"/>
                        </a:moveTo>
                        <a:cubicBezTo>
                          <a:pt x="47" y="12"/>
                          <a:pt x="47" y="12"/>
                          <a:pt x="47" y="12"/>
                        </a:cubicBezTo>
                        <a:cubicBezTo>
                          <a:pt x="47" y="13"/>
                          <a:pt x="47" y="13"/>
                          <a:pt x="47" y="13"/>
                        </a:cubicBezTo>
                        <a:cubicBezTo>
                          <a:pt x="46" y="12"/>
                          <a:pt x="47" y="12"/>
                          <a:pt x="47" y="12"/>
                        </a:cubicBezTo>
                        <a:close/>
                        <a:moveTo>
                          <a:pt x="45" y="15"/>
                        </a:moveTo>
                        <a:cubicBezTo>
                          <a:pt x="45" y="16"/>
                          <a:pt x="45" y="16"/>
                          <a:pt x="45" y="16"/>
                        </a:cubicBezTo>
                        <a:cubicBezTo>
                          <a:pt x="45" y="16"/>
                          <a:pt x="45" y="16"/>
                          <a:pt x="45" y="16"/>
                        </a:cubicBezTo>
                        <a:cubicBezTo>
                          <a:pt x="45" y="16"/>
                          <a:pt x="45" y="15"/>
                          <a:pt x="45" y="15"/>
                        </a:cubicBezTo>
                        <a:close/>
                        <a:moveTo>
                          <a:pt x="44" y="16"/>
                        </a:moveTo>
                        <a:cubicBezTo>
                          <a:pt x="45" y="15"/>
                          <a:pt x="45" y="15"/>
                          <a:pt x="45" y="15"/>
                        </a:cubicBezTo>
                        <a:cubicBezTo>
                          <a:pt x="45" y="16"/>
                          <a:pt x="45" y="16"/>
                          <a:pt x="44" y="16"/>
                        </a:cubicBezTo>
                        <a:close/>
                        <a:moveTo>
                          <a:pt x="45" y="17"/>
                        </a:moveTo>
                        <a:cubicBezTo>
                          <a:pt x="45" y="17"/>
                          <a:pt x="45" y="17"/>
                          <a:pt x="45" y="17"/>
                        </a:cubicBezTo>
                        <a:cubicBezTo>
                          <a:pt x="45" y="17"/>
                          <a:pt x="45" y="17"/>
                          <a:pt x="45" y="17"/>
                        </a:cubicBezTo>
                        <a:close/>
                        <a:moveTo>
                          <a:pt x="45" y="20"/>
                        </a:moveTo>
                        <a:cubicBezTo>
                          <a:pt x="45" y="20"/>
                          <a:pt x="46" y="20"/>
                          <a:pt x="46" y="20"/>
                        </a:cubicBezTo>
                        <a:cubicBezTo>
                          <a:pt x="46" y="20"/>
                          <a:pt x="45" y="20"/>
                          <a:pt x="45" y="20"/>
                        </a:cubicBezTo>
                        <a:cubicBezTo>
                          <a:pt x="45" y="20"/>
                          <a:pt x="46" y="19"/>
                          <a:pt x="46" y="19"/>
                        </a:cubicBezTo>
                        <a:cubicBezTo>
                          <a:pt x="46" y="20"/>
                          <a:pt x="46" y="20"/>
                          <a:pt x="46" y="20"/>
                        </a:cubicBezTo>
                        <a:cubicBezTo>
                          <a:pt x="46" y="20"/>
                          <a:pt x="45" y="20"/>
                          <a:pt x="45" y="20"/>
                        </a:cubicBezTo>
                        <a:close/>
                        <a:moveTo>
                          <a:pt x="45" y="20"/>
                        </a:moveTo>
                        <a:cubicBezTo>
                          <a:pt x="44" y="20"/>
                          <a:pt x="44" y="20"/>
                          <a:pt x="44" y="20"/>
                        </a:cubicBezTo>
                        <a:cubicBezTo>
                          <a:pt x="44" y="20"/>
                          <a:pt x="44" y="20"/>
                          <a:pt x="44" y="20"/>
                        </a:cubicBezTo>
                        <a:cubicBezTo>
                          <a:pt x="44" y="20"/>
                          <a:pt x="44" y="20"/>
                          <a:pt x="45" y="20"/>
                        </a:cubicBezTo>
                        <a:close/>
                        <a:moveTo>
                          <a:pt x="44" y="21"/>
                        </a:moveTo>
                        <a:cubicBezTo>
                          <a:pt x="44" y="21"/>
                          <a:pt x="44" y="22"/>
                          <a:pt x="44" y="22"/>
                        </a:cubicBezTo>
                        <a:cubicBezTo>
                          <a:pt x="44" y="21"/>
                          <a:pt x="44" y="21"/>
                          <a:pt x="44" y="21"/>
                        </a:cubicBezTo>
                        <a:cubicBezTo>
                          <a:pt x="44" y="21"/>
                          <a:pt x="44" y="21"/>
                          <a:pt x="44" y="21"/>
                        </a:cubicBezTo>
                        <a:close/>
                        <a:moveTo>
                          <a:pt x="44" y="23"/>
                        </a:moveTo>
                        <a:cubicBezTo>
                          <a:pt x="44" y="23"/>
                          <a:pt x="44" y="22"/>
                          <a:pt x="43" y="22"/>
                        </a:cubicBezTo>
                        <a:cubicBezTo>
                          <a:pt x="44" y="22"/>
                          <a:pt x="44" y="22"/>
                          <a:pt x="44" y="22"/>
                        </a:cubicBezTo>
                        <a:cubicBezTo>
                          <a:pt x="44" y="22"/>
                          <a:pt x="43" y="22"/>
                          <a:pt x="44" y="23"/>
                        </a:cubicBezTo>
                        <a:close/>
                        <a:moveTo>
                          <a:pt x="43" y="23"/>
                        </a:moveTo>
                        <a:cubicBezTo>
                          <a:pt x="43" y="22"/>
                          <a:pt x="43" y="22"/>
                          <a:pt x="43" y="22"/>
                        </a:cubicBezTo>
                        <a:cubicBezTo>
                          <a:pt x="43" y="22"/>
                          <a:pt x="43" y="22"/>
                          <a:pt x="43" y="23"/>
                        </a:cubicBezTo>
                        <a:close/>
                        <a:moveTo>
                          <a:pt x="42" y="23"/>
                        </a:moveTo>
                        <a:cubicBezTo>
                          <a:pt x="42" y="23"/>
                          <a:pt x="42" y="23"/>
                          <a:pt x="42" y="23"/>
                        </a:cubicBezTo>
                        <a:cubicBezTo>
                          <a:pt x="42" y="23"/>
                          <a:pt x="42" y="23"/>
                          <a:pt x="42" y="23"/>
                        </a:cubicBezTo>
                        <a:close/>
                        <a:moveTo>
                          <a:pt x="48" y="26"/>
                        </a:moveTo>
                        <a:cubicBezTo>
                          <a:pt x="48" y="26"/>
                          <a:pt x="47" y="26"/>
                          <a:pt x="48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lose/>
                        <a:moveTo>
                          <a:pt x="44" y="25"/>
                        </a:moveTo>
                        <a:cubicBezTo>
                          <a:pt x="44" y="25"/>
                          <a:pt x="44" y="25"/>
                          <a:pt x="44" y="24"/>
                        </a:cubicBezTo>
                        <a:cubicBezTo>
                          <a:pt x="44" y="25"/>
                          <a:pt x="44" y="25"/>
                          <a:pt x="44" y="25"/>
                        </a:cubicBezTo>
                        <a:cubicBezTo>
                          <a:pt x="44" y="25"/>
                          <a:pt x="44" y="25"/>
                          <a:pt x="44" y="25"/>
                        </a:cubicBezTo>
                        <a:close/>
                        <a:moveTo>
                          <a:pt x="47" y="26"/>
                        </a:moveTo>
                        <a:cubicBezTo>
                          <a:pt x="47" y="26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7" y="26"/>
                        </a:cubicBezTo>
                        <a:close/>
                        <a:moveTo>
                          <a:pt x="52" y="29"/>
                        </a:moveTo>
                        <a:cubicBezTo>
                          <a:pt x="52" y="29"/>
                          <a:pt x="52" y="29"/>
                          <a:pt x="52" y="29"/>
                        </a:cubicBezTo>
                        <a:cubicBezTo>
                          <a:pt x="52" y="29"/>
                          <a:pt x="52" y="29"/>
                          <a:pt x="52" y="29"/>
                        </a:cubicBezTo>
                        <a:close/>
                        <a:moveTo>
                          <a:pt x="47" y="28"/>
                        </a:moveTo>
                        <a:cubicBezTo>
                          <a:pt x="47" y="28"/>
                          <a:pt x="47" y="28"/>
                          <a:pt x="47" y="28"/>
                        </a:cubicBezTo>
                        <a:cubicBezTo>
                          <a:pt x="47" y="28"/>
                          <a:pt x="47" y="28"/>
                          <a:pt x="47" y="27"/>
                        </a:cubicBezTo>
                        <a:cubicBezTo>
                          <a:pt x="47" y="28"/>
                          <a:pt x="47" y="28"/>
                          <a:pt x="47" y="28"/>
                        </a:cubicBezTo>
                        <a:close/>
                        <a:moveTo>
                          <a:pt x="44" y="27"/>
                        </a:moveTo>
                        <a:cubicBezTo>
                          <a:pt x="44" y="27"/>
                          <a:pt x="44" y="26"/>
                          <a:pt x="44" y="26"/>
                        </a:cubicBezTo>
                        <a:cubicBezTo>
                          <a:pt x="44" y="26"/>
                          <a:pt x="45" y="26"/>
                          <a:pt x="44" y="27"/>
                        </a:cubicBezTo>
                        <a:cubicBezTo>
                          <a:pt x="44" y="27"/>
                          <a:pt x="44" y="27"/>
                          <a:pt x="44" y="27"/>
                        </a:cubicBezTo>
                        <a:cubicBezTo>
                          <a:pt x="44" y="27"/>
                          <a:pt x="44" y="27"/>
                          <a:pt x="44" y="27"/>
                        </a:cubicBezTo>
                        <a:cubicBezTo>
                          <a:pt x="44" y="27"/>
                          <a:pt x="44" y="27"/>
                          <a:pt x="44" y="27"/>
                        </a:cubicBezTo>
                        <a:cubicBezTo>
                          <a:pt x="44" y="27"/>
                          <a:pt x="44" y="27"/>
                          <a:pt x="44" y="27"/>
                        </a:cubicBezTo>
                        <a:close/>
                        <a:moveTo>
                          <a:pt x="48" y="28"/>
                        </a:moveTo>
                        <a:cubicBezTo>
                          <a:pt x="48" y="28"/>
                          <a:pt x="47" y="28"/>
                          <a:pt x="47" y="28"/>
                        </a:cubicBezTo>
                        <a:cubicBezTo>
                          <a:pt x="47" y="28"/>
                          <a:pt x="47" y="28"/>
                          <a:pt x="47" y="28"/>
                        </a:cubicBezTo>
                        <a:cubicBezTo>
                          <a:pt x="47" y="28"/>
                          <a:pt x="47" y="28"/>
                          <a:pt x="48" y="28"/>
                        </a:cubicBezTo>
                        <a:close/>
                        <a:moveTo>
                          <a:pt x="43" y="26"/>
                        </a:moveTo>
                        <a:cubicBezTo>
                          <a:pt x="43" y="26"/>
                          <a:pt x="43" y="26"/>
                          <a:pt x="43" y="26"/>
                        </a:cubicBezTo>
                        <a:cubicBezTo>
                          <a:pt x="43" y="26"/>
                          <a:pt x="43" y="26"/>
                          <a:pt x="43" y="26"/>
                        </a:cubicBezTo>
                        <a:cubicBezTo>
                          <a:pt x="43" y="26"/>
                          <a:pt x="43" y="26"/>
                          <a:pt x="43" y="26"/>
                        </a:cubicBezTo>
                        <a:close/>
                        <a:moveTo>
                          <a:pt x="47" y="28"/>
                        </a:moveTo>
                        <a:cubicBezTo>
                          <a:pt x="47" y="28"/>
                          <a:pt x="47" y="28"/>
                          <a:pt x="47" y="28"/>
                        </a:cubicBezTo>
                        <a:cubicBezTo>
                          <a:pt x="47" y="28"/>
                          <a:pt x="47" y="28"/>
                          <a:pt x="47" y="28"/>
                        </a:cubicBezTo>
                        <a:cubicBezTo>
                          <a:pt x="47" y="28"/>
                          <a:pt x="47" y="28"/>
                          <a:pt x="47" y="28"/>
                        </a:cubicBezTo>
                        <a:close/>
                        <a:moveTo>
                          <a:pt x="44" y="27"/>
                        </a:moveTo>
                        <a:cubicBezTo>
                          <a:pt x="43" y="27"/>
                          <a:pt x="43" y="27"/>
                          <a:pt x="44" y="27"/>
                        </a:cubicBezTo>
                        <a:cubicBezTo>
                          <a:pt x="44" y="27"/>
                          <a:pt x="44" y="27"/>
                          <a:pt x="44" y="27"/>
                        </a:cubicBezTo>
                        <a:close/>
                        <a:moveTo>
                          <a:pt x="52" y="31"/>
                        </a:move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2" y="32"/>
                          <a:pt x="52" y="32"/>
                        </a:cubicBezTo>
                        <a:cubicBezTo>
                          <a:pt x="52" y="32"/>
                          <a:pt x="52" y="32"/>
                          <a:pt x="52" y="32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lose/>
                        <a:moveTo>
                          <a:pt x="46" y="29"/>
                        </a:moveTo>
                        <a:cubicBezTo>
                          <a:pt x="46" y="29"/>
                          <a:pt x="46" y="30"/>
                          <a:pt x="46" y="30"/>
                        </a:cubicBezTo>
                        <a:cubicBezTo>
                          <a:pt x="46" y="29"/>
                          <a:pt x="46" y="29"/>
                          <a:pt x="46" y="29"/>
                        </a:cubicBezTo>
                        <a:close/>
                        <a:moveTo>
                          <a:pt x="43" y="27"/>
                        </a:moveTo>
                        <a:cubicBezTo>
                          <a:pt x="43" y="27"/>
                          <a:pt x="43" y="27"/>
                          <a:pt x="43" y="27"/>
                        </a:cubicBezTo>
                        <a:cubicBezTo>
                          <a:pt x="43" y="27"/>
                          <a:pt x="43" y="27"/>
                          <a:pt x="43" y="27"/>
                        </a:cubicBezTo>
                        <a:close/>
                        <a:moveTo>
                          <a:pt x="41" y="26"/>
                        </a:moveTo>
                        <a:cubicBezTo>
                          <a:pt x="41" y="26"/>
                          <a:pt x="41" y="26"/>
                          <a:pt x="41" y="26"/>
                        </a:cubicBezTo>
                        <a:cubicBezTo>
                          <a:pt x="41" y="26"/>
                          <a:pt x="41" y="26"/>
                          <a:pt x="41" y="26"/>
                        </a:cubicBezTo>
                        <a:cubicBezTo>
                          <a:pt x="41" y="26"/>
                          <a:pt x="40" y="26"/>
                          <a:pt x="41" y="26"/>
                        </a:cubicBezTo>
                        <a:close/>
                        <a:moveTo>
                          <a:pt x="52" y="32"/>
                        </a:moveTo>
                        <a:cubicBezTo>
                          <a:pt x="51" y="32"/>
                          <a:pt x="51" y="32"/>
                          <a:pt x="51" y="32"/>
                        </a:cubicBezTo>
                        <a:cubicBezTo>
                          <a:pt x="51" y="32"/>
                          <a:pt x="52" y="32"/>
                          <a:pt x="52" y="32"/>
                        </a:cubicBezTo>
                        <a:cubicBezTo>
                          <a:pt x="52" y="32"/>
                          <a:pt x="51" y="32"/>
                          <a:pt x="52" y="32"/>
                        </a:cubicBezTo>
                        <a:close/>
                        <a:moveTo>
                          <a:pt x="47" y="30"/>
                        </a:moveTo>
                        <a:cubicBezTo>
                          <a:pt x="47" y="30"/>
                          <a:pt x="47" y="30"/>
                          <a:pt x="47" y="30"/>
                        </a:cubicBezTo>
                        <a:cubicBezTo>
                          <a:pt x="47" y="30"/>
                          <a:pt x="47" y="30"/>
                          <a:pt x="47" y="30"/>
                        </a:cubicBezTo>
                        <a:cubicBezTo>
                          <a:pt x="47" y="30"/>
                          <a:pt x="47" y="30"/>
                          <a:pt x="47" y="30"/>
                        </a:cubicBezTo>
                        <a:cubicBezTo>
                          <a:pt x="47" y="30"/>
                          <a:pt x="47" y="30"/>
                          <a:pt x="47" y="30"/>
                        </a:cubicBezTo>
                        <a:close/>
                        <a:moveTo>
                          <a:pt x="44" y="28"/>
                        </a:moveTo>
                        <a:cubicBezTo>
                          <a:pt x="44" y="28"/>
                          <a:pt x="44" y="28"/>
                          <a:pt x="44" y="28"/>
                        </a:cubicBezTo>
                        <a:cubicBezTo>
                          <a:pt x="44" y="28"/>
                          <a:pt x="44" y="28"/>
                          <a:pt x="44" y="28"/>
                        </a:cubicBezTo>
                        <a:cubicBezTo>
                          <a:pt x="44" y="28"/>
                          <a:pt x="44" y="28"/>
                          <a:pt x="44" y="28"/>
                        </a:cubicBezTo>
                        <a:close/>
                        <a:moveTo>
                          <a:pt x="46" y="30"/>
                        </a:moveTo>
                        <a:cubicBezTo>
                          <a:pt x="46" y="30"/>
                          <a:pt x="46" y="30"/>
                          <a:pt x="46" y="30"/>
                        </a:cubicBezTo>
                        <a:cubicBezTo>
                          <a:pt x="46" y="30"/>
                          <a:pt x="46" y="30"/>
                          <a:pt x="46" y="30"/>
                        </a:cubicBezTo>
                        <a:cubicBezTo>
                          <a:pt x="46" y="30"/>
                          <a:pt x="46" y="30"/>
                          <a:pt x="46" y="30"/>
                        </a:cubicBezTo>
                        <a:cubicBezTo>
                          <a:pt x="46" y="30"/>
                          <a:pt x="46" y="30"/>
                          <a:pt x="46" y="30"/>
                        </a:cubicBezTo>
                        <a:cubicBezTo>
                          <a:pt x="46" y="30"/>
                          <a:pt x="46" y="30"/>
                          <a:pt x="46" y="30"/>
                        </a:cubicBezTo>
                        <a:close/>
                        <a:moveTo>
                          <a:pt x="42" y="28"/>
                        </a:moveTo>
                        <a:cubicBezTo>
                          <a:pt x="42" y="28"/>
                          <a:pt x="42" y="28"/>
                          <a:pt x="42" y="28"/>
                        </a:cubicBezTo>
                        <a:cubicBezTo>
                          <a:pt x="42" y="28"/>
                          <a:pt x="42" y="28"/>
                          <a:pt x="42" y="28"/>
                        </a:cubicBezTo>
                        <a:close/>
                        <a:moveTo>
                          <a:pt x="44" y="29"/>
                        </a:moveTo>
                        <a:cubicBezTo>
                          <a:pt x="44" y="29"/>
                          <a:pt x="44" y="29"/>
                          <a:pt x="44" y="29"/>
                        </a:cubicBezTo>
                        <a:cubicBezTo>
                          <a:pt x="44" y="29"/>
                          <a:pt x="44" y="29"/>
                          <a:pt x="44" y="29"/>
                        </a:cubicBezTo>
                        <a:cubicBezTo>
                          <a:pt x="44" y="29"/>
                          <a:pt x="44" y="29"/>
                          <a:pt x="44" y="29"/>
                        </a:cubicBezTo>
                        <a:cubicBezTo>
                          <a:pt x="44" y="29"/>
                          <a:pt x="44" y="29"/>
                          <a:pt x="44" y="29"/>
                        </a:cubicBezTo>
                        <a:close/>
                        <a:moveTo>
                          <a:pt x="44" y="29"/>
                        </a:moveTo>
                        <a:cubicBezTo>
                          <a:pt x="44" y="29"/>
                          <a:pt x="44" y="30"/>
                          <a:pt x="44" y="30"/>
                        </a:cubicBezTo>
                        <a:cubicBezTo>
                          <a:pt x="44" y="30"/>
                          <a:pt x="44" y="30"/>
                          <a:pt x="44" y="30"/>
                        </a:cubicBezTo>
                        <a:cubicBezTo>
                          <a:pt x="44" y="29"/>
                          <a:pt x="44" y="29"/>
                          <a:pt x="44" y="29"/>
                        </a:cubicBezTo>
                        <a:close/>
                        <a:moveTo>
                          <a:pt x="46" y="31"/>
                        </a:moveTo>
                        <a:cubicBezTo>
                          <a:pt x="46" y="31"/>
                          <a:pt x="46" y="31"/>
                          <a:pt x="46" y="31"/>
                        </a:cubicBezTo>
                        <a:cubicBezTo>
                          <a:pt x="46" y="31"/>
                          <a:pt x="46" y="31"/>
                          <a:pt x="46" y="31"/>
                        </a:cubicBezTo>
                        <a:cubicBezTo>
                          <a:pt x="46" y="31"/>
                          <a:pt x="47" y="31"/>
                          <a:pt x="46" y="31"/>
                        </a:cubicBezTo>
                        <a:close/>
                        <a:moveTo>
                          <a:pt x="40" y="28"/>
                        </a:moveTo>
                        <a:cubicBezTo>
                          <a:pt x="40" y="28"/>
                          <a:pt x="40" y="28"/>
                          <a:pt x="40" y="29"/>
                        </a:cubicBezTo>
                        <a:cubicBezTo>
                          <a:pt x="39" y="29"/>
                          <a:pt x="40" y="28"/>
                          <a:pt x="39" y="28"/>
                        </a:cubicBezTo>
                        <a:cubicBezTo>
                          <a:pt x="39" y="28"/>
                          <a:pt x="39" y="28"/>
                          <a:pt x="39" y="28"/>
                        </a:cubicBezTo>
                        <a:cubicBezTo>
                          <a:pt x="39" y="28"/>
                          <a:pt x="39" y="28"/>
                          <a:pt x="39" y="28"/>
                        </a:cubicBezTo>
                        <a:cubicBezTo>
                          <a:pt x="39" y="28"/>
                          <a:pt x="40" y="28"/>
                          <a:pt x="39" y="28"/>
                        </a:cubicBezTo>
                        <a:cubicBezTo>
                          <a:pt x="39" y="28"/>
                          <a:pt x="40" y="28"/>
                          <a:pt x="40" y="28"/>
                        </a:cubicBezTo>
                        <a:cubicBezTo>
                          <a:pt x="40" y="28"/>
                          <a:pt x="40" y="28"/>
                          <a:pt x="40" y="28"/>
                        </a:cubicBezTo>
                        <a:close/>
                        <a:moveTo>
                          <a:pt x="46" y="32"/>
                        </a:moveTo>
                        <a:cubicBezTo>
                          <a:pt x="46" y="32"/>
                          <a:pt x="46" y="32"/>
                          <a:pt x="46" y="32"/>
                        </a:cubicBezTo>
                        <a:cubicBezTo>
                          <a:pt x="46" y="32"/>
                          <a:pt x="46" y="32"/>
                          <a:pt x="46" y="32"/>
                        </a:cubicBezTo>
                        <a:cubicBezTo>
                          <a:pt x="46" y="32"/>
                          <a:pt x="46" y="32"/>
                          <a:pt x="46" y="32"/>
                        </a:cubicBezTo>
                        <a:cubicBezTo>
                          <a:pt x="46" y="32"/>
                          <a:pt x="46" y="32"/>
                          <a:pt x="46" y="32"/>
                        </a:cubicBezTo>
                        <a:close/>
                        <a:moveTo>
                          <a:pt x="49" y="33"/>
                        </a:moveTo>
                        <a:cubicBezTo>
                          <a:pt x="49" y="33"/>
                          <a:pt x="49" y="34"/>
                          <a:pt x="49" y="34"/>
                        </a:cubicBezTo>
                        <a:cubicBezTo>
                          <a:pt x="49" y="34"/>
                          <a:pt x="49" y="33"/>
                          <a:pt x="49" y="33"/>
                        </a:cubicBezTo>
                        <a:close/>
                        <a:moveTo>
                          <a:pt x="46" y="32"/>
                        </a:moveTo>
                        <a:cubicBezTo>
                          <a:pt x="46" y="32"/>
                          <a:pt x="46" y="32"/>
                          <a:pt x="46" y="32"/>
                        </a:cubicBezTo>
                        <a:cubicBezTo>
                          <a:pt x="46" y="32"/>
                          <a:pt x="46" y="32"/>
                          <a:pt x="46" y="32"/>
                        </a:cubicBezTo>
                        <a:cubicBezTo>
                          <a:pt x="46" y="32"/>
                          <a:pt x="46" y="32"/>
                          <a:pt x="46" y="32"/>
                        </a:cubicBezTo>
                        <a:cubicBezTo>
                          <a:pt x="46" y="32"/>
                          <a:pt x="46" y="32"/>
                          <a:pt x="46" y="32"/>
                        </a:cubicBezTo>
                        <a:close/>
                        <a:moveTo>
                          <a:pt x="43" y="31"/>
                        </a:moveTo>
                        <a:cubicBezTo>
                          <a:pt x="43" y="31"/>
                          <a:pt x="43" y="31"/>
                          <a:pt x="43" y="31"/>
                        </a:cubicBezTo>
                        <a:cubicBezTo>
                          <a:pt x="43" y="31"/>
                          <a:pt x="43" y="31"/>
                          <a:pt x="43" y="31"/>
                        </a:cubicBezTo>
                        <a:cubicBezTo>
                          <a:pt x="43" y="31"/>
                          <a:pt x="43" y="31"/>
                          <a:pt x="43" y="31"/>
                        </a:cubicBezTo>
                        <a:close/>
                        <a:moveTo>
                          <a:pt x="41" y="30"/>
                        </a:moveTo>
                        <a:cubicBezTo>
                          <a:pt x="41" y="30"/>
                          <a:pt x="41" y="30"/>
                          <a:pt x="41" y="30"/>
                        </a:cubicBezTo>
                        <a:cubicBezTo>
                          <a:pt x="41" y="30"/>
                          <a:pt x="41" y="30"/>
                          <a:pt x="41" y="30"/>
                        </a:cubicBezTo>
                        <a:close/>
                        <a:moveTo>
                          <a:pt x="45" y="32"/>
                        </a:moveTo>
                        <a:cubicBezTo>
                          <a:pt x="45" y="32"/>
                          <a:pt x="45" y="32"/>
                          <a:pt x="45" y="32"/>
                        </a:cubicBezTo>
                        <a:cubicBezTo>
                          <a:pt x="45" y="32"/>
                          <a:pt x="45" y="32"/>
                          <a:pt x="45" y="32"/>
                        </a:cubicBezTo>
                        <a:close/>
                        <a:moveTo>
                          <a:pt x="46" y="33"/>
                        </a:moveTo>
                        <a:cubicBezTo>
                          <a:pt x="46" y="33"/>
                          <a:pt x="46" y="33"/>
                          <a:pt x="46" y="32"/>
                        </a:cubicBezTo>
                        <a:cubicBezTo>
                          <a:pt x="46" y="32"/>
                          <a:pt x="46" y="33"/>
                          <a:pt x="46" y="33"/>
                        </a:cubicBezTo>
                        <a:cubicBezTo>
                          <a:pt x="46" y="33"/>
                          <a:pt x="46" y="33"/>
                          <a:pt x="46" y="33"/>
                        </a:cubicBezTo>
                        <a:close/>
                        <a:moveTo>
                          <a:pt x="44" y="32"/>
                        </a:moveTo>
                        <a:cubicBezTo>
                          <a:pt x="44" y="32"/>
                          <a:pt x="45" y="32"/>
                          <a:pt x="45" y="32"/>
                        </a:cubicBezTo>
                        <a:cubicBezTo>
                          <a:pt x="45" y="32"/>
                          <a:pt x="45" y="32"/>
                          <a:pt x="45" y="32"/>
                        </a:cubicBezTo>
                        <a:cubicBezTo>
                          <a:pt x="45" y="32"/>
                          <a:pt x="45" y="32"/>
                          <a:pt x="45" y="32"/>
                        </a:cubicBezTo>
                        <a:cubicBezTo>
                          <a:pt x="45" y="32"/>
                          <a:pt x="44" y="32"/>
                          <a:pt x="44" y="32"/>
                        </a:cubicBezTo>
                        <a:cubicBezTo>
                          <a:pt x="44" y="32"/>
                          <a:pt x="45" y="32"/>
                          <a:pt x="44" y="32"/>
                        </a:cubicBezTo>
                        <a:close/>
                        <a:moveTo>
                          <a:pt x="47" y="33"/>
                        </a:moveTo>
                        <a:cubicBezTo>
                          <a:pt x="47" y="33"/>
                          <a:pt x="47" y="33"/>
                          <a:pt x="47" y="33"/>
                        </a:cubicBezTo>
                        <a:cubicBezTo>
                          <a:pt x="47" y="33"/>
                          <a:pt x="47" y="34"/>
                          <a:pt x="47" y="33"/>
                        </a:cubicBezTo>
                        <a:close/>
                        <a:moveTo>
                          <a:pt x="43" y="32"/>
                        </a:moveTo>
                        <a:cubicBezTo>
                          <a:pt x="43" y="32"/>
                          <a:pt x="43" y="32"/>
                          <a:pt x="43" y="32"/>
                        </a:cubicBezTo>
                        <a:cubicBezTo>
                          <a:pt x="43" y="32"/>
                          <a:pt x="43" y="32"/>
                          <a:pt x="43" y="32"/>
                        </a:cubicBezTo>
                        <a:cubicBezTo>
                          <a:pt x="43" y="32"/>
                          <a:pt x="43" y="32"/>
                          <a:pt x="43" y="32"/>
                        </a:cubicBezTo>
                        <a:close/>
                        <a:moveTo>
                          <a:pt x="45" y="34"/>
                        </a:moveTo>
                        <a:cubicBezTo>
                          <a:pt x="45" y="34"/>
                          <a:pt x="45" y="33"/>
                          <a:pt x="45" y="33"/>
                        </a:cubicBezTo>
                        <a:cubicBezTo>
                          <a:pt x="46" y="33"/>
                          <a:pt x="45" y="33"/>
                          <a:pt x="45" y="33"/>
                        </a:cubicBezTo>
                        <a:cubicBezTo>
                          <a:pt x="45" y="33"/>
                          <a:pt x="45" y="34"/>
                          <a:pt x="45" y="34"/>
                        </a:cubicBezTo>
                        <a:close/>
                        <a:moveTo>
                          <a:pt x="41" y="31"/>
                        </a:moveTo>
                        <a:cubicBezTo>
                          <a:pt x="41" y="31"/>
                          <a:pt x="41" y="31"/>
                          <a:pt x="41" y="31"/>
                        </a:cubicBezTo>
                        <a:cubicBezTo>
                          <a:pt x="41" y="31"/>
                          <a:pt x="41" y="31"/>
                          <a:pt x="41" y="31"/>
                        </a:cubicBezTo>
                        <a:cubicBezTo>
                          <a:pt x="41" y="31"/>
                          <a:pt x="41" y="31"/>
                          <a:pt x="41" y="31"/>
                        </a:cubicBezTo>
                        <a:cubicBezTo>
                          <a:pt x="41" y="31"/>
                          <a:pt x="41" y="31"/>
                          <a:pt x="41" y="31"/>
                        </a:cubicBezTo>
                        <a:cubicBezTo>
                          <a:pt x="41" y="31"/>
                          <a:pt x="41" y="31"/>
                          <a:pt x="41" y="31"/>
                        </a:cubicBezTo>
                        <a:close/>
                        <a:moveTo>
                          <a:pt x="44" y="33"/>
                        </a:moveTo>
                        <a:cubicBezTo>
                          <a:pt x="44" y="33"/>
                          <a:pt x="44" y="33"/>
                          <a:pt x="44" y="33"/>
                        </a:cubicBezTo>
                        <a:cubicBezTo>
                          <a:pt x="44" y="33"/>
                          <a:pt x="44" y="33"/>
                          <a:pt x="44" y="33"/>
                        </a:cubicBezTo>
                        <a:cubicBezTo>
                          <a:pt x="44" y="33"/>
                          <a:pt x="44" y="33"/>
                          <a:pt x="44" y="33"/>
                        </a:cubicBezTo>
                        <a:cubicBezTo>
                          <a:pt x="44" y="33"/>
                          <a:pt x="44" y="33"/>
                          <a:pt x="44" y="33"/>
                        </a:cubicBezTo>
                        <a:cubicBezTo>
                          <a:pt x="44" y="33"/>
                          <a:pt x="44" y="33"/>
                          <a:pt x="44" y="33"/>
                        </a:cubicBezTo>
                        <a:close/>
                        <a:moveTo>
                          <a:pt x="44" y="33"/>
                        </a:moveTo>
                        <a:cubicBezTo>
                          <a:pt x="44" y="33"/>
                          <a:pt x="44" y="34"/>
                          <a:pt x="44" y="34"/>
                        </a:cubicBezTo>
                        <a:cubicBezTo>
                          <a:pt x="44" y="34"/>
                          <a:pt x="44" y="33"/>
                          <a:pt x="44" y="33"/>
                        </a:cubicBezTo>
                        <a:close/>
                        <a:moveTo>
                          <a:pt x="39" y="31"/>
                        </a:moveTo>
                        <a:cubicBezTo>
                          <a:pt x="39" y="31"/>
                          <a:pt x="39" y="31"/>
                          <a:pt x="39" y="31"/>
                        </a:cubicBezTo>
                        <a:cubicBezTo>
                          <a:pt x="39" y="31"/>
                          <a:pt x="39" y="31"/>
                          <a:pt x="39" y="31"/>
                        </a:cubicBezTo>
                        <a:cubicBezTo>
                          <a:pt x="39" y="31"/>
                          <a:pt x="39" y="31"/>
                          <a:pt x="39" y="31"/>
                        </a:cubicBezTo>
                        <a:close/>
                        <a:moveTo>
                          <a:pt x="42" y="33"/>
                        </a:moveTo>
                        <a:cubicBezTo>
                          <a:pt x="42" y="33"/>
                          <a:pt x="42" y="33"/>
                          <a:pt x="42" y="33"/>
                        </a:cubicBezTo>
                        <a:cubicBezTo>
                          <a:pt x="43" y="33"/>
                          <a:pt x="43" y="33"/>
                          <a:pt x="43" y="33"/>
                        </a:cubicBezTo>
                        <a:cubicBezTo>
                          <a:pt x="43" y="33"/>
                          <a:pt x="43" y="33"/>
                          <a:pt x="42" y="33"/>
                        </a:cubicBezTo>
                        <a:close/>
                        <a:moveTo>
                          <a:pt x="45" y="34"/>
                        </a:moveTo>
                        <a:cubicBezTo>
                          <a:pt x="45" y="34"/>
                          <a:pt x="45" y="34"/>
                          <a:pt x="45" y="34"/>
                        </a:cubicBezTo>
                        <a:cubicBezTo>
                          <a:pt x="45" y="34"/>
                          <a:pt x="45" y="34"/>
                          <a:pt x="45" y="34"/>
                        </a:cubicBezTo>
                        <a:close/>
                        <a:moveTo>
                          <a:pt x="40" y="32"/>
                        </a:moveTo>
                        <a:cubicBezTo>
                          <a:pt x="40" y="32"/>
                          <a:pt x="40" y="32"/>
                          <a:pt x="40" y="32"/>
                        </a:cubicBezTo>
                        <a:cubicBezTo>
                          <a:pt x="40" y="32"/>
                          <a:pt x="40" y="32"/>
                          <a:pt x="40" y="32"/>
                        </a:cubicBezTo>
                        <a:cubicBezTo>
                          <a:pt x="40" y="32"/>
                          <a:pt x="40" y="32"/>
                          <a:pt x="40" y="32"/>
                        </a:cubicBezTo>
                        <a:close/>
                        <a:moveTo>
                          <a:pt x="42" y="33"/>
                        </a:moveTo>
                        <a:cubicBezTo>
                          <a:pt x="42" y="33"/>
                          <a:pt x="42" y="33"/>
                          <a:pt x="42" y="33"/>
                        </a:cubicBezTo>
                        <a:cubicBezTo>
                          <a:pt x="42" y="33"/>
                          <a:pt x="42" y="33"/>
                          <a:pt x="42" y="33"/>
                        </a:cubicBezTo>
                        <a:close/>
                        <a:moveTo>
                          <a:pt x="44" y="34"/>
                        </a:moveTo>
                        <a:cubicBezTo>
                          <a:pt x="43" y="34"/>
                          <a:pt x="43" y="34"/>
                          <a:pt x="43" y="34"/>
                        </a:cubicBezTo>
                        <a:cubicBezTo>
                          <a:pt x="43" y="34"/>
                          <a:pt x="43" y="34"/>
                          <a:pt x="43" y="34"/>
                        </a:cubicBezTo>
                        <a:cubicBezTo>
                          <a:pt x="43" y="35"/>
                          <a:pt x="43" y="34"/>
                          <a:pt x="43" y="34"/>
                        </a:cubicBezTo>
                        <a:cubicBezTo>
                          <a:pt x="43" y="34"/>
                          <a:pt x="43" y="34"/>
                          <a:pt x="43" y="34"/>
                        </a:cubicBezTo>
                        <a:cubicBezTo>
                          <a:pt x="43" y="34"/>
                          <a:pt x="43" y="34"/>
                          <a:pt x="44" y="34"/>
                        </a:cubicBezTo>
                        <a:close/>
                        <a:moveTo>
                          <a:pt x="46" y="36"/>
                        </a:moveTo>
                        <a:cubicBezTo>
                          <a:pt x="46" y="36"/>
                          <a:pt x="46" y="36"/>
                          <a:pt x="47" y="35"/>
                        </a:cubicBezTo>
                        <a:cubicBezTo>
                          <a:pt x="47" y="36"/>
                          <a:pt x="47" y="36"/>
                          <a:pt x="47" y="36"/>
                        </a:cubicBezTo>
                        <a:cubicBezTo>
                          <a:pt x="46" y="36"/>
                          <a:pt x="46" y="36"/>
                          <a:pt x="46" y="36"/>
                        </a:cubicBezTo>
                        <a:close/>
                        <a:moveTo>
                          <a:pt x="41" y="33"/>
                        </a:moveTo>
                        <a:cubicBezTo>
                          <a:pt x="41" y="33"/>
                          <a:pt x="41" y="33"/>
                          <a:pt x="41" y="33"/>
                        </a:cubicBezTo>
                        <a:cubicBezTo>
                          <a:pt x="41" y="33"/>
                          <a:pt x="41" y="33"/>
                          <a:pt x="41" y="33"/>
                        </a:cubicBezTo>
                        <a:cubicBezTo>
                          <a:pt x="40" y="33"/>
                          <a:pt x="40" y="33"/>
                          <a:pt x="41" y="33"/>
                        </a:cubicBezTo>
                        <a:close/>
                        <a:moveTo>
                          <a:pt x="49" y="37"/>
                        </a:moveTo>
                        <a:cubicBezTo>
                          <a:pt x="49" y="37"/>
                          <a:pt x="49" y="37"/>
                          <a:pt x="48" y="37"/>
                        </a:cubicBezTo>
                        <a:cubicBezTo>
                          <a:pt x="48" y="37"/>
                          <a:pt x="48" y="37"/>
                          <a:pt x="48" y="37"/>
                        </a:cubicBezTo>
                        <a:cubicBezTo>
                          <a:pt x="48" y="37"/>
                          <a:pt x="48" y="37"/>
                          <a:pt x="48" y="37"/>
                        </a:cubicBezTo>
                        <a:cubicBezTo>
                          <a:pt x="48" y="37"/>
                          <a:pt x="48" y="37"/>
                          <a:pt x="48" y="37"/>
                        </a:cubicBezTo>
                        <a:cubicBezTo>
                          <a:pt x="48" y="37"/>
                          <a:pt x="48" y="37"/>
                          <a:pt x="49" y="37"/>
                        </a:cubicBezTo>
                        <a:close/>
                        <a:moveTo>
                          <a:pt x="42" y="34"/>
                        </a:moveTo>
                        <a:cubicBezTo>
                          <a:pt x="42" y="34"/>
                          <a:pt x="42" y="34"/>
                          <a:pt x="42" y="34"/>
                        </a:cubicBezTo>
                        <a:cubicBezTo>
                          <a:pt x="42" y="34"/>
                          <a:pt x="42" y="34"/>
                          <a:pt x="42" y="34"/>
                        </a:cubicBezTo>
                        <a:cubicBezTo>
                          <a:pt x="42" y="34"/>
                          <a:pt x="42" y="34"/>
                          <a:pt x="42" y="34"/>
                        </a:cubicBezTo>
                        <a:close/>
                        <a:moveTo>
                          <a:pt x="41" y="34"/>
                        </a:moveTo>
                        <a:cubicBezTo>
                          <a:pt x="42" y="34"/>
                          <a:pt x="42" y="34"/>
                          <a:pt x="42" y="34"/>
                        </a:cubicBezTo>
                        <a:cubicBezTo>
                          <a:pt x="41" y="34"/>
                          <a:pt x="41" y="34"/>
                          <a:pt x="42" y="34"/>
                        </a:cubicBezTo>
                        <a:cubicBezTo>
                          <a:pt x="42" y="34"/>
                          <a:pt x="41" y="34"/>
                          <a:pt x="41" y="34"/>
                        </a:cubicBezTo>
                        <a:cubicBezTo>
                          <a:pt x="41" y="34"/>
                          <a:pt x="41" y="34"/>
                          <a:pt x="41" y="34"/>
                        </a:cubicBezTo>
                        <a:close/>
                        <a:moveTo>
                          <a:pt x="41" y="34"/>
                        </a:moveTo>
                        <a:cubicBezTo>
                          <a:pt x="41" y="34"/>
                          <a:pt x="41" y="34"/>
                          <a:pt x="41" y="34"/>
                        </a:cubicBezTo>
                        <a:cubicBezTo>
                          <a:pt x="41" y="34"/>
                          <a:pt x="41" y="34"/>
                          <a:pt x="41" y="34"/>
                        </a:cubicBezTo>
                        <a:cubicBezTo>
                          <a:pt x="41" y="34"/>
                          <a:pt x="41" y="34"/>
                          <a:pt x="41" y="34"/>
                        </a:cubicBezTo>
                        <a:cubicBezTo>
                          <a:pt x="41" y="34"/>
                          <a:pt x="41" y="34"/>
                          <a:pt x="41" y="34"/>
                        </a:cubicBezTo>
                        <a:close/>
                        <a:moveTo>
                          <a:pt x="43" y="35"/>
                        </a:moveTo>
                        <a:cubicBezTo>
                          <a:pt x="43" y="35"/>
                          <a:pt x="43" y="35"/>
                          <a:pt x="43" y="36"/>
                        </a:cubicBezTo>
                        <a:cubicBezTo>
                          <a:pt x="43" y="36"/>
                          <a:pt x="43" y="36"/>
                          <a:pt x="43" y="36"/>
                        </a:cubicBezTo>
                        <a:cubicBezTo>
                          <a:pt x="43" y="36"/>
                          <a:pt x="43" y="36"/>
                          <a:pt x="43" y="36"/>
                        </a:cubicBezTo>
                        <a:cubicBezTo>
                          <a:pt x="43" y="36"/>
                          <a:pt x="43" y="35"/>
                          <a:pt x="43" y="35"/>
                        </a:cubicBezTo>
                        <a:cubicBezTo>
                          <a:pt x="43" y="35"/>
                          <a:pt x="43" y="35"/>
                          <a:pt x="43" y="35"/>
                        </a:cubicBezTo>
                        <a:cubicBezTo>
                          <a:pt x="43" y="35"/>
                          <a:pt x="43" y="35"/>
                          <a:pt x="43" y="35"/>
                        </a:cubicBezTo>
                        <a:close/>
                        <a:moveTo>
                          <a:pt x="48" y="38"/>
                        </a:moveTo>
                        <a:cubicBezTo>
                          <a:pt x="48" y="38"/>
                          <a:pt x="48" y="38"/>
                          <a:pt x="49" y="38"/>
                        </a:cubicBezTo>
                        <a:cubicBezTo>
                          <a:pt x="49" y="38"/>
                          <a:pt x="48" y="38"/>
                          <a:pt x="48" y="38"/>
                        </a:cubicBezTo>
                        <a:close/>
                        <a:moveTo>
                          <a:pt x="41" y="35"/>
                        </a:moveTo>
                        <a:cubicBezTo>
                          <a:pt x="41" y="35"/>
                          <a:pt x="41" y="35"/>
                          <a:pt x="41" y="35"/>
                        </a:cubicBezTo>
                        <a:cubicBezTo>
                          <a:pt x="41" y="35"/>
                          <a:pt x="41" y="34"/>
                          <a:pt x="42" y="35"/>
                        </a:cubicBezTo>
                        <a:cubicBezTo>
                          <a:pt x="42" y="35"/>
                          <a:pt x="41" y="35"/>
                          <a:pt x="41" y="35"/>
                        </a:cubicBezTo>
                        <a:close/>
                        <a:moveTo>
                          <a:pt x="42" y="36"/>
                        </a:moveTo>
                        <a:cubicBezTo>
                          <a:pt x="42" y="36"/>
                          <a:pt x="42" y="35"/>
                          <a:pt x="42" y="35"/>
                        </a:cubicBezTo>
                        <a:cubicBezTo>
                          <a:pt x="42" y="35"/>
                          <a:pt x="42" y="36"/>
                          <a:pt x="42" y="36"/>
                        </a:cubicBezTo>
                        <a:close/>
                        <a:moveTo>
                          <a:pt x="44" y="37"/>
                        </a:moveTo>
                        <a:cubicBezTo>
                          <a:pt x="44" y="37"/>
                          <a:pt x="44" y="37"/>
                          <a:pt x="44" y="36"/>
                        </a:cubicBezTo>
                        <a:cubicBezTo>
                          <a:pt x="44" y="36"/>
                          <a:pt x="44" y="37"/>
                          <a:pt x="44" y="37"/>
                        </a:cubicBezTo>
                        <a:cubicBezTo>
                          <a:pt x="44" y="37"/>
                          <a:pt x="44" y="37"/>
                          <a:pt x="44" y="37"/>
                        </a:cubicBezTo>
                        <a:cubicBezTo>
                          <a:pt x="44" y="37"/>
                          <a:pt x="44" y="36"/>
                          <a:pt x="44" y="37"/>
                        </a:cubicBezTo>
                        <a:close/>
                        <a:moveTo>
                          <a:pt x="48" y="38"/>
                        </a:moveTo>
                        <a:cubicBezTo>
                          <a:pt x="48" y="38"/>
                          <a:pt x="48" y="38"/>
                          <a:pt x="48" y="38"/>
                        </a:cubicBezTo>
                        <a:cubicBezTo>
                          <a:pt x="48" y="38"/>
                          <a:pt x="47" y="39"/>
                          <a:pt x="48" y="39"/>
                        </a:cubicBezTo>
                        <a:cubicBezTo>
                          <a:pt x="48" y="39"/>
                          <a:pt x="47" y="39"/>
                          <a:pt x="47" y="39"/>
                        </a:cubicBezTo>
                        <a:cubicBezTo>
                          <a:pt x="47" y="39"/>
                          <a:pt x="47" y="39"/>
                          <a:pt x="48" y="38"/>
                        </a:cubicBezTo>
                        <a:close/>
                        <a:moveTo>
                          <a:pt x="41" y="35"/>
                        </a:moveTo>
                        <a:cubicBezTo>
                          <a:pt x="40" y="35"/>
                          <a:pt x="40" y="36"/>
                          <a:pt x="40" y="36"/>
                        </a:cubicBezTo>
                        <a:cubicBezTo>
                          <a:pt x="40" y="36"/>
                          <a:pt x="40" y="35"/>
                          <a:pt x="41" y="35"/>
                        </a:cubicBezTo>
                        <a:close/>
                        <a:moveTo>
                          <a:pt x="37" y="34"/>
                        </a:moveTo>
                        <a:cubicBezTo>
                          <a:pt x="37" y="33"/>
                          <a:pt x="37" y="33"/>
                          <a:pt x="37" y="33"/>
                        </a:cubicBezTo>
                        <a:cubicBezTo>
                          <a:pt x="37" y="33"/>
                          <a:pt x="37" y="34"/>
                          <a:pt x="37" y="34"/>
                        </a:cubicBezTo>
                        <a:close/>
                        <a:moveTo>
                          <a:pt x="43" y="37"/>
                        </a:moveTo>
                        <a:cubicBezTo>
                          <a:pt x="44" y="37"/>
                          <a:pt x="44" y="37"/>
                          <a:pt x="44" y="37"/>
                        </a:cubicBezTo>
                        <a:cubicBezTo>
                          <a:pt x="44" y="37"/>
                          <a:pt x="44" y="37"/>
                          <a:pt x="43" y="37"/>
                        </a:cubicBezTo>
                        <a:close/>
                        <a:moveTo>
                          <a:pt x="48" y="39"/>
                        </a:moveTo>
                        <a:cubicBezTo>
                          <a:pt x="48" y="39"/>
                          <a:pt x="48" y="39"/>
                          <a:pt x="48" y="39"/>
                        </a:cubicBezTo>
                        <a:cubicBezTo>
                          <a:pt x="48" y="39"/>
                          <a:pt x="48" y="39"/>
                          <a:pt x="48" y="39"/>
                        </a:cubicBezTo>
                        <a:cubicBezTo>
                          <a:pt x="48" y="39"/>
                          <a:pt x="48" y="39"/>
                          <a:pt x="48" y="39"/>
                        </a:cubicBezTo>
                        <a:cubicBezTo>
                          <a:pt x="48" y="39"/>
                          <a:pt x="48" y="39"/>
                          <a:pt x="48" y="39"/>
                        </a:cubicBezTo>
                        <a:close/>
                        <a:moveTo>
                          <a:pt x="47" y="39"/>
                        </a:moveTo>
                        <a:cubicBezTo>
                          <a:pt x="47" y="39"/>
                          <a:pt x="47" y="39"/>
                          <a:pt x="47" y="39"/>
                        </a:cubicBezTo>
                        <a:cubicBezTo>
                          <a:pt x="47" y="39"/>
                          <a:pt x="47" y="39"/>
                          <a:pt x="47" y="39"/>
                        </a:cubicBezTo>
                        <a:cubicBezTo>
                          <a:pt x="47" y="39"/>
                          <a:pt x="47" y="39"/>
                          <a:pt x="47" y="39"/>
                        </a:cubicBezTo>
                        <a:cubicBezTo>
                          <a:pt x="47" y="39"/>
                          <a:pt x="47" y="39"/>
                          <a:pt x="47" y="39"/>
                        </a:cubicBezTo>
                        <a:cubicBezTo>
                          <a:pt x="47" y="40"/>
                          <a:pt x="47" y="40"/>
                          <a:pt x="47" y="40"/>
                        </a:cubicBezTo>
                        <a:cubicBezTo>
                          <a:pt x="47" y="40"/>
                          <a:pt x="47" y="39"/>
                          <a:pt x="47" y="39"/>
                        </a:cubicBezTo>
                        <a:close/>
                        <a:moveTo>
                          <a:pt x="40" y="36"/>
                        </a:moveTo>
                        <a:cubicBezTo>
                          <a:pt x="40" y="36"/>
                          <a:pt x="40" y="36"/>
                          <a:pt x="41" y="36"/>
                        </a:cubicBezTo>
                        <a:cubicBezTo>
                          <a:pt x="41" y="36"/>
                          <a:pt x="40" y="36"/>
                          <a:pt x="40" y="36"/>
                        </a:cubicBezTo>
                        <a:close/>
                        <a:moveTo>
                          <a:pt x="48" y="39"/>
                        </a:moveTo>
                        <a:cubicBezTo>
                          <a:pt x="48" y="39"/>
                          <a:pt x="48" y="40"/>
                          <a:pt x="48" y="40"/>
                        </a:cubicBezTo>
                        <a:cubicBezTo>
                          <a:pt x="47" y="40"/>
                          <a:pt x="48" y="39"/>
                          <a:pt x="48" y="39"/>
                        </a:cubicBezTo>
                        <a:close/>
                        <a:moveTo>
                          <a:pt x="41" y="37"/>
                        </a:moveTo>
                        <a:cubicBezTo>
                          <a:pt x="41" y="37"/>
                          <a:pt x="40" y="37"/>
                          <a:pt x="41" y="36"/>
                        </a:cubicBezTo>
                        <a:cubicBezTo>
                          <a:pt x="41" y="37"/>
                          <a:pt x="41" y="36"/>
                          <a:pt x="41" y="37"/>
                        </a:cubicBezTo>
                        <a:cubicBezTo>
                          <a:pt x="41" y="37"/>
                          <a:pt x="41" y="37"/>
                          <a:pt x="41" y="37"/>
                        </a:cubicBezTo>
                        <a:close/>
                        <a:moveTo>
                          <a:pt x="41" y="37"/>
                        </a:moveTo>
                        <a:cubicBezTo>
                          <a:pt x="42" y="37"/>
                          <a:pt x="41" y="37"/>
                          <a:pt x="42" y="38"/>
                        </a:cubicBezTo>
                        <a:cubicBezTo>
                          <a:pt x="42" y="38"/>
                          <a:pt x="42" y="37"/>
                          <a:pt x="42" y="37"/>
                        </a:cubicBezTo>
                        <a:cubicBezTo>
                          <a:pt x="42" y="37"/>
                          <a:pt x="42" y="37"/>
                          <a:pt x="42" y="37"/>
                        </a:cubicBezTo>
                        <a:cubicBezTo>
                          <a:pt x="42" y="37"/>
                          <a:pt x="42" y="38"/>
                          <a:pt x="42" y="38"/>
                        </a:cubicBezTo>
                        <a:cubicBezTo>
                          <a:pt x="42" y="38"/>
                          <a:pt x="42" y="38"/>
                          <a:pt x="41" y="38"/>
                        </a:cubicBezTo>
                        <a:cubicBezTo>
                          <a:pt x="41" y="38"/>
                          <a:pt x="41" y="38"/>
                          <a:pt x="42" y="38"/>
                        </a:cubicBezTo>
                        <a:cubicBezTo>
                          <a:pt x="41" y="38"/>
                          <a:pt x="41" y="38"/>
                          <a:pt x="41" y="38"/>
                        </a:cubicBezTo>
                        <a:cubicBezTo>
                          <a:pt x="41" y="38"/>
                          <a:pt x="41" y="37"/>
                          <a:pt x="41" y="37"/>
                        </a:cubicBezTo>
                        <a:close/>
                        <a:moveTo>
                          <a:pt x="47" y="40"/>
                        </a:moveTo>
                        <a:cubicBezTo>
                          <a:pt x="47" y="40"/>
                          <a:pt x="47" y="40"/>
                          <a:pt x="48" y="40"/>
                        </a:cubicBezTo>
                        <a:cubicBezTo>
                          <a:pt x="47" y="41"/>
                          <a:pt x="47" y="40"/>
                          <a:pt x="47" y="40"/>
                        </a:cubicBezTo>
                        <a:close/>
                        <a:moveTo>
                          <a:pt x="45" y="40"/>
                        </a:moveTo>
                        <a:cubicBezTo>
                          <a:pt x="45" y="40"/>
                          <a:pt x="45" y="40"/>
                          <a:pt x="45" y="40"/>
                        </a:cubicBezTo>
                        <a:cubicBezTo>
                          <a:pt x="46" y="40"/>
                          <a:pt x="46" y="40"/>
                          <a:pt x="46" y="40"/>
                        </a:cubicBezTo>
                        <a:cubicBezTo>
                          <a:pt x="46" y="40"/>
                          <a:pt x="46" y="40"/>
                          <a:pt x="46" y="40"/>
                        </a:cubicBezTo>
                        <a:cubicBezTo>
                          <a:pt x="46" y="40"/>
                          <a:pt x="46" y="40"/>
                          <a:pt x="46" y="40"/>
                        </a:cubicBezTo>
                        <a:cubicBezTo>
                          <a:pt x="46" y="40"/>
                          <a:pt x="46" y="40"/>
                          <a:pt x="46" y="40"/>
                        </a:cubicBezTo>
                        <a:cubicBezTo>
                          <a:pt x="46" y="40"/>
                          <a:pt x="45" y="40"/>
                          <a:pt x="45" y="40"/>
                        </a:cubicBezTo>
                        <a:cubicBezTo>
                          <a:pt x="45" y="40"/>
                          <a:pt x="45" y="40"/>
                          <a:pt x="45" y="40"/>
                        </a:cubicBezTo>
                        <a:cubicBezTo>
                          <a:pt x="45" y="40"/>
                          <a:pt x="45" y="39"/>
                          <a:pt x="46" y="39"/>
                        </a:cubicBezTo>
                        <a:cubicBezTo>
                          <a:pt x="46" y="39"/>
                          <a:pt x="45" y="40"/>
                          <a:pt x="46" y="40"/>
                        </a:cubicBezTo>
                        <a:cubicBezTo>
                          <a:pt x="45" y="40"/>
                          <a:pt x="45" y="40"/>
                          <a:pt x="45" y="40"/>
                        </a:cubicBezTo>
                        <a:cubicBezTo>
                          <a:pt x="45" y="40"/>
                          <a:pt x="45" y="40"/>
                          <a:pt x="45" y="40"/>
                        </a:cubicBezTo>
                        <a:cubicBezTo>
                          <a:pt x="45" y="40"/>
                          <a:pt x="45" y="40"/>
                          <a:pt x="45" y="40"/>
                        </a:cubicBezTo>
                        <a:cubicBezTo>
                          <a:pt x="45" y="40"/>
                          <a:pt x="45" y="40"/>
                          <a:pt x="45" y="40"/>
                        </a:cubicBezTo>
                        <a:close/>
                        <a:moveTo>
                          <a:pt x="47" y="40"/>
                        </a:moveTo>
                        <a:cubicBezTo>
                          <a:pt x="47" y="40"/>
                          <a:pt x="46" y="40"/>
                          <a:pt x="46" y="40"/>
                        </a:cubicBezTo>
                        <a:cubicBezTo>
                          <a:pt x="47" y="40"/>
                          <a:pt x="47" y="40"/>
                          <a:pt x="47" y="40"/>
                        </a:cubicBezTo>
                        <a:cubicBezTo>
                          <a:pt x="47" y="40"/>
                          <a:pt x="47" y="40"/>
                          <a:pt x="47" y="40"/>
                        </a:cubicBezTo>
                        <a:cubicBezTo>
                          <a:pt x="47" y="40"/>
                          <a:pt x="47" y="40"/>
                          <a:pt x="47" y="40"/>
                        </a:cubicBezTo>
                        <a:cubicBezTo>
                          <a:pt x="47" y="40"/>
                          <a:pt x="47" y="40"/>
                          <a:pt x="47" y="40"/>
                        </a:cubicBezTo>
                        <a:cubicBezTo>
                          <a:pt x="47" y="40"/>
                          <a:pt x="47" y="40"/>
                          <a:pt x="47" y="40"/>
                        </a:cubicBezTo>
                        <a:cubicBezTo>
                          <a:pt x="47" y="40"/>
                          <a:pt x="47" y="41"/>
                          <a:pt x="47" y="41"/>
                        </a:cubicBezTo>
                        <a:cubicBezTo>
                          <a:pt x="46" y="41"/>
                          <a:pt x="46" y="41"/>
                          <a:pt x="46" y="41"/>
                        </a:cubicBezTo>
                        <a:cubicBezTo>
                          <a:pt x="46" y="41"/>
                          <a:pt x="46" y="41"/>
                          <a:pt x="47" y="41"/>
                        </a:cubicBezTo>
                        <a:cubicBezTo>
                          <a:pt x="47" y="40"/>
                          <a:pt x="46" y="41"/>
                          <a:pt x="46" y="40"/>
                        </a:cubicBezTo>
                        <a:cubicBezTo>
                          <a:pt x="46" y="40"/>
                          <a:pt x="47" y="40"/>
                          <a:pt x="47" y="40"/>
                        </a:cubicBezTo>
                        <a:close/>
                        <a:moveTo>
                          <a:pt x="47" y="40"/>
                        </a:moveTo>
                        <a:cubicBezTo>
                          <a:pt x="47" y="41"/>
                          <a:pt x="47" y="41"/>
                          <a:pt x="47" y="41"/>
                        </a:cubicBezTo>
                        <a:cubicBezTo>
                          <a:pt x="47" y="41"/>
                          <a:pt x="47" y="41"/>
                          <a:pt x="47" y="41"/>
                        </a:cubicBezTo>
                        <a:cubicBezTo>
                          <a:pt x="47" y="40"/>
                          <a:pt x="47" y="41"/>
                          <a:pt x="47" y="40"/>
                        </a:cubicBezTo>
                        <a:close/>
                        <a:moveTo>
                          <a:pt x="40" y="37"/>
                        </a:moveTo>
                        <a:cubicBezTo>
                          <a:pt x="40" y="37"/>
                          <a:pt x="40" y="37"/>
                          <a:pt x="40" y="37"/>
                        </a:cubicBezTo>
                        <a:cubicBezTo>
                          <a:pt x="40" y="37"/>
                          <a:pt x="40" y="37"/>
                          <a:pt x="40" y="37"/>
                        </a:cubicBezTo>
                        <a:cubicBezTo>
                          <a:pt x="40" y="37"/>
                          <a:pt x="40" y="37"/>
                          <a:pt x="40" y="37"/>
                        </a:cubicBezTo>
                        <a:close/>
                        <a:moveTo>
                          <a:pt x="36" y="35"/>
                        </a:moveTo>
                        <a:cubicBezTo>
                          <a:pt x="36" y="35"/>
                          <a:pt x="36" y="35"/>
                          <a:pt x="36" y="35"/>
                        </a:cubicBezTo>
                        <a:cubicBezTo>
                          <a:pt x="36" y="35"/>
                          <a:pt x="36" y="35"/>
                          <a:pt x="36" y="35"/>
                        </a:cubicBezTo>
                        <a:cubicBezTo>
                          <a:pt x="36" y="35"/>
                          <a:pt x="36" y="35"/>
                          <a:pt x="36" y="35"/>
                        </a:cubicBezTo>
                        <a:close/>
                        <a:moveTo>
                          <a:pt x="40" y="38"/>
                        </a:moveTo>
                        <a:cubicBezTo>
                          <a:pt x="40" y="38"/>
                          <a:pt x="40" y="38"/>
                          <a:pt x="40" y="38"/>
                        </a:cubicBezTo>
                        <a:cubicBezTo>
                          <a:pt x="39" y="38"/>
                          <a:pt x="40" y="38"/>
                          <a:pt x="40" y="37"/>
                        </a:cubicBezTo>
                        <a:cubicBezTo>
                          <a:pt x="40" y="37"/>
                          <a:pt x="40" y="38"/>
                          <a:pt x="40" y="38"/>
                        </a:cubicBezTo>
                        <a:cubicBezTo>
                          <a:pt x="40" y="38"/>
                          <a:pt x="40" y="38"/>
                          <a:pt x="40" y="38"/>
                        </a:cubicBezTo>
                        <a:close/>
                        <a:moveTo>
                          <a:pt x="45" y="40"/>
                        </a:moveTo>
                        <a:cubicBezTo>
                          <a:pt x="45" y="40"/>
                          <a:pt x="45" y="40"/>
                          <a:pt x="45" y="40"/>
                        </a:cubicBezTo>
                        <a:cubicBezTo>
                          <a:pt x="45" y="40"/>
                          <a:pt x="45" y="41"/>
                          <a:pt x="45" y="42"/>
                        </a:cubicBezTo>
                        <a:cubicBezTo>
                          <a:pt x="45" y="41"/>
                          <a:pt x="45" y="41"/>
                          <a:pt x="45" y="40"/>
                        </a:cubicBezTo>
                        <a:cubicBezTo>
                          <a:pt x="45" y="40"/>
                          <a:pt x="45" y="41"/>
                          <a:pt x="45" y="40"/>
                        </a:cubicBezTo>
                        <a:cubicBezTo>
                          <a:pt x="45" y="40"/>
                          <a:pt x="45" y="40"/>
                          <a:pt x="45" y="40"/>
                        </a:cubicBezTo>
                        <a:close/>
                        <a:moveTo>
                          <a:pt x="45" y="41"/>
                        </a:moveTo>
                        <a:cubicBezTo>
                          <a:pt x="45" y="41"/>
                          <a:pt x="45" y="41"/>
                          <a:pt x="45" y="41"/>
                        </a:cubicBezTo>
                        <a:cubicBezTo>
                          <a:pt x="45" y="41"/>
                          <a:pt x="45" y="40"/>
                          <a:pt x="46" y="41"/>
                        </a:cubicBezTo>
                        <a:cubicBezTo>
                          <a:pt x="46" y="41"/>
                          <a:pt x="46" y="41"/>
                          <a:pt x="46" y="41"/>
                        </a:cubicBezTo>
                        <a:cubicBezTo>
                          <a:pt x="45" y="41"/>
                          <a:pt x="45" y="41"/>
                          <a:pt x="45" y="41"/>
                        </a:cubicBezTo>
                        <a:cubicBezTo>
                          <a:pt x="45" y="41"/>
                          <a:pt x="45" y="41"/>
                          <a:pt x="45" y="41"/>
                        </a:cubicBezTo>
                        <a:close/>
                        <a:moveTo>
                          <a:pt x="41" y="38"/>
                        </a:moveTo>
                        <a:cubicBezTo>
                          <a:pt x="41" y="38"/>
                          <a:pt x="41" y="38"/>
                          <a:pt x="41" y="38"/>
                        </a:cubicBezTo>
                        <a:cubicBezTo>
                          <a:pt x="41" y="38"/>
                          <a:pt x="41" y="38"/>
                          <a:pt x="41" y="38"/>
                        </a:cubicBezTo>
                        <a:close/>
                        <a:moveTo>
                          <a:pt x="39" y="38"/>
                        </a:moveTo>
                        <a:cubicBezTo>
                          <a:pt x="39" y="38"/>
                          <a:pt x="39" y="38"/>
                          <a:pt x="39" y="38"/>
                        </a:cubicBezTo>
                        <a:cubicBezTo>
                          <a:pt x="39" y="38"/>
                          <a:pt x="39" y="38"/>
                          <a:pt x="39" y="38"/>
                        </a:cubicBezTo>
                        <a:cubicBezTo>
                          <a:pt x="39" y="38"/>
                          <a:pt x="39" y="38"/>
                          <a:pt x="39" y="38"/>
                        </a:cubicBezTo>
                        <a:close/>
                        <a:moveTo>
                          <a:pt x="45" y="41"/>
                        </a:moveTo>
                        <a:cubicBezTo>
                          <a:pt x="45" y="41"/>
                          <a:pt x="45" y="41"/>
                          <a:pt x="45" y="41"/>
                        </a:cubicBezTo>
                        <a:cubicBezTo>
                          <a:pt x="45" y="41"/>
                          <a:pt x="45" y="41"/>
                          <a:pt x="45" y="41"/>
                        </a:cubicBezTo>
                        <a:close/>
                        <a:moveTo>
                          <a:pt x="39" y="39"/>
                        </a:moveTo>
                        <a:cubicBezTo>
                          <a:pt x="39" y="39"/>
                          <a:pt x="40" y="38"/>
                          <a:pt x="39" y="38"/>
                        </a:cubicBezTo>
                        <a:cubicBezTo>
                          <a:pt x="40" y="38"/>
                          <a:pt x="39" y="39"/>
                          <a:pt x="39" y="39"/>
                        </a:cubicBezTo>
                        <a:cubicBezTo>
                          <a:pt x="39" y="39"/>
                          <a:pt x="39" y="39"/>
                          <a:pt x="39" y="39"/>
                        </a:cubicBezTo>
                        <a:close/>
                        <a:moveTo>
                          <a:pt x="38" y="39"/>
                        </a:moveTo>
                        <a:cubicBezTo>
                          <a:pt x="38" y="38"/>
                          <a:pt x="38" y="38"/>
                          <a:pt x="38" y="38"/>
                        </a:cubicBezTo>
                        <a:cubicBezTo>
                          <a:pt x="39" y="38"/>
                          <a:pt x="39" y="38"/>
                          <a:pt x="39" y="38"/>
                        </a:cubicBezTo>
                        <a:cubicBezTo>
                          <a:pt x="39" y="38"/>
                          <a:pt x="39" y="38"/>
                          <a:pt x="38" y="39"/>
                        </a:cubicBezTo>
                        <a:close/>
                        <a:moveTo>
                          <a:pt x="43" y="40"/>
                        </a:moveTo>
                        <a:cubicBezTo>
                          <a:pt x="44" y="41"/>
                          <a:pt x="43" y="41"/>
                          <a:pt x="43" y="41"/>
                        </a:cubicBezTo>
                        <a:cubicBezTo>
                          <a:pt x="43" y="41"/>
                          <a:pt x="43" y="40"/>
                          <a:pt x="43" y="40"/>
                        </a:cubicBezTo>
                        <a:close/>
                        <a:moveTo>
                          <a:pt x="40" y="39"/>
                        </a:moveTo>
                        <a:cubicBezTo>
                          <a:pt x="40" y="39"/>
                          <a:pt x="40" y="39"/>
                          <a:pt x="40" y="39"/>
                        </a:cubicBezTo>
                        <a:cubicBezTo>
                          <a:pt x="40" y="39"/>
                          <a:pt x="40" y="39"/>
                          <a:pt x="39" y="39"/>
                        </a:cubicBezTo>
                        <a:cubicBezTo>
                          <a:pt x="40" y="39"/>
                          <a:pt x="40" y="39"/>
                          <a:pt x="40" y="39"/>
                        </a:cubicBezTo>
                        <a:close/>
                        <a:moveTo>
                          <a:pt x="38" y="39"/>
                        </a:moveTo>
                        <a:cubicBezTo>
                          <a:pt x="38" y="39"/>
                          <a:pt x="38" y="39"/>
                          <a:pt x="38" y="39"/>
                        </a:cubicBezTo>
                        <a:cubicBezTo>
                          <a:pt x="38" y="39"/>
                          <a:pt x="38" y="40"/>
                          <a:pt x="38" y="40"/>
                        </a:cubicBezTo>
                        <a:cubicBezTo>
                          <a:pt x="38" y="40"/>
                          <a:pt x="38" y="40"/>
                          <a:pt x="38" y="40"/>
                        </a:cubicBezTo>
                        <a:cubicBezTo>
                          <a:pt x="38" y="40"/>
                          <a:pt x="37" y="41"/>
                          <a:pt x="37" y="41"/>
                        </a:cubicBezTo>
                        <a:cubicBezTo>
                          <a:pt x="37" y="41"/>
                          <a:pt x="37" y="40"/>
                          <a:pt x="37" y="40"/>
                        </a:cubicBezTo>
                        <a:cubicBezTo>
                          <a:pt x="37" y="40"/>
                          <a:pt x="38" y="40"/>
                          <a:pt x="38" y="40"/>
                        </a:cubicBezTo>
                        <a:cubicBezTo>
                          <a:pt x="38" y="39"/>
                          <a:pt x="38" y="39"/>
                          <a:pt x="38" y="39"/>
                        </a:cubicBezTo>
                        <a:cubicBezTo>
                          <a:pt x="38" y="39"/>
                          <a:pt x="38" y="39"/>
                          <a:pt x="38" y="39"/>
                        </a:cubicBezTo>
                        <a:cubicBezTo>
                          <a:pt x="38" y="39"/>
                          <a:pt x="38" y="39"/>
                          <a:pt x="38" y="38"/>
                        </a:cubicBezTo>
                        <a:cubicBezTo>
                          <a:pt x="38" y="39"/>
                          <a:pt x="38" y="39"/>
                          <a:pt x="38" y="39"/>
                        </a:cubicBezTo>
                        <a:close/>
                        <a:moveTo>
                          <a:pt x="46" y="43"/>
                        </a:moveTo>
                        <a:cubicBezTo>
                          <a:pt x="45" y="43"/>
                          <a:pt x="46" y="43"/>
                          <a:pt x="46" y="42"/>
                        </a:cubicBezTo>
                        <a:cubicBezTo>
                          <a:pt x="46" y="43"/>
                          <a:pt x="46" y="43"/>
                          <a:pt x="46" y="43"/>
                        </a:cubicBezTo>
                        <a:close/>
                        <a:moveTo>
                          <a:pt x="41" y="40"/>
                        </a:moveTo>
                        <a:cubicBezTo>
                          <a:pt x="41" y="40"/>
                          <a:pt x="41" y="41"/>
                          <a:pt x="40" y="41"/>
                        </a:cubicBezTo>
                        <a:cubicBezTo>
                          <a:pt x="41" y="40"/>
                          <a:pt x="40" y="40"/>
                          <a:pt x="41" y="40"/>
                        </a:cubicBezTo>
                        <a:close/>
                        <a:moveTo>
                          <a:pt x="46" y="43"/>
                        </a:moveTo>
                        <a:cubicBezTo>
                          <a:pt x="46" y="43"/>
                          <a:pt x="46" y="43"/>
                          <a:pt x="46" y="43"/>
                        </a:cubicBezTo>
                        <a:cubicBezTo>
                          <a:pt x="46" y="43"/>
                          <a:pt x="46" y="43"/>
                          <a:pt x="46" y="43"/>
                        </a:cubicBezTo>
                        <a:cubicBezTo>
                          <a:pt x="46" y="43"/>
                          <a:pt x="46" y="43"/>
                          <a:pt x="46" y="43"/>
                        </a:cubicBezTo>
                        <a:close/>
                        <a:moveTo>
                          <a:pt x="43" y="42"/>
                        </a:moveTo>
                        <a:cubicBezTo>
                          <a:pt x="43" y="42"/>
                          <a:pt x="43" y="42"/>
                          <a:pt x="43" y="42"/>
                        </a:cubicBezTo>
                        <a:cubicBezTo>
                          <a:pt x="43" y="42"/>
                          <a:pt x="43" y="42"/>
                          <a:pt x="43" y="42"/>
                        </a:cubicBezTo>
                        <a:cubicBezTo>
                          <a:pt x="42" y="42"/>
                          <a:pt x="43" y="42"/>
                          <a:pt x="43" y="42"/>
                        </a:cubicBezTo>
                        <a:close/>
                        <a:moveTo>
                          <a:pt x="46" y="43"/>
                        </a:moveTo>
                        <a:cubicBezTo>
                          <a:pt x="46" y="43"/>
                          <a:pt x="46" y="44"/>
                          <a:pt x="46" y="44"/>
                        </a:cubicBezTo>
                        <a:cubicBezTo>
                          <a:pt x="46" y="44"/>
                          <a:pt x="46" y="44"/>
                          <a:pt x="46" y="43"/>
                        </a:cubicBezTo>
                        <a:close/>
                        <a:moveTo>
                          <a:pt x="42" y="42"/>
                        </a:moveTo>
                        <a:cubicBezTo>
                          <a:pt x="41" y="42"/>
                          <a:pt x="41" y="42"/>
                          <a:pt x="41" y="41"/>
                        </a:cubicBezTo>
                        <a:cubicBezTo>
                          <a:pt x="41" y="42"/>
                          <a:pt x="42" y="42"/>
                          <a:pt x="42" y="42"/>
                        </a:cubicBezTo>
                        <a:close/>
                        <a:moveTo>
                          <a:pt x="45" y="44"/>
                        </a:moveTo>
                        <a:cubicBezTo>
                          <a:pt x="45" y="44"/>
                          <a:pt x="45" y="44"/>
                          <a:pt x="45" y="44"/>
                        </a:cubicBezTo>
                        <a:cubicBezTo>
                          <a:pt x="45" y="44"/>
                          <a:pt x="45" y="44"/>
                          <a:pt x="45" y="44"/>
                        </a:cubicBezTo>
                        <a:cubicBezTo>
                          <a:pt x="46" y="44"/>
                          <a:pt x="45" y="44"/>
                          <a:pt x="45" y="44"/>
                        </a:cubicBezTo>
                        <a:close/>
                        <a:moveTo>
                          <a:pt x="35" y="39"/>
                        </a:moveTo>
                        <a:cubicBezTo>
                          <a:pt x="35" y="39"/>
                          <a:pt x="35" y="39"/>
                          <a:pt x="35" y="39"/>
                        </a:cubicBezTo>
                        <a:cubicBezTo>
                          <a:pt x="35" y="39"/>
                          <a:pt x="35" y="39"/>
                          <a:pt x="35" y="39"/>
                        </a:cubicBezTo>
                        <a:close/>
                        <a:moveTo>
                          <a:pt x="38" y="41"/>
                        </a:moveTo>
                        <a:cubicBezTo>
                          <a:pt x="38" y="41"/>
                          <a:pt x="38" y="41"/>
                          <a:pt x="38" y="41"/>
                        </a:cubicBezTo>
                        <a:cubicBezTo>
                          <a:pt x="38" y="41"/>
                          <a:pt x="38" y="41"/>
                          <a:pt x="38" y="41"/>
                        </a:cubicBezTo>
                        <a:close/>
                        <a:moveTo>
                          <a:pt x="37" y="41"/>
                        </a:moveTo>
                        <a:cubicBezTo>
                          <a:pt x="37" y="41"/>
                          <a:pt x="37" y="41"/>
                          <a:pt x="37" y="41"/>
                        </a:cubicBezTo>
                        <a:cubicBezTo>
                          <a:pt x="37" y="41"/>
                          <a:pt x="37" y="41"/>
                          <a:pt x="37" y="41"/>
                        </a:cubicBezTo>
                        <a:cubicBezTo>
                          <a:pt x="37" y="41"/>
                          <a:pt x="37" y="42"/>
                          <a:pt x="37" y="42"/>
                        </a:cubicBezTo>
                        <a:cubicBezTo>
                          <a:pt x="37" y="42"/>
                          <a:pt x="37" y="42"/>
                          <a:pt x="37" y="42"/>
                        </a:cubicBezTo>
                        <a:cubicBezTo>
                          <a:pt x="37" y="42"/>
                          <a:pt x="36" y="42"/>
                          <a:pt x="36" y="42"/>
                        </a:cubicBezTo>
                        <a:cubicBezTo>
                          <a:pt x="36" y="42"/>
                          <a:pt x="37" y="41"/>
                          <a:pt x="37" y="41"/>
                        </a:cubicBezTo>
                        <a:close/>
                        <a:moveTo>
                          <a:pt x="42" y="43"/>
                        </a:moveTo>
                        <a:cubicBezTo>
                          <a:pt x="42" y="44"/>
                          <a:pt x="42" y="44"/>
                          <a:pt x="42" y="44"/>
                        </a:cubicBezTo>
                        <a:cubicBezTo>
                          <a:pt x="42" y="44"/>
                          <a:pt x="42" y="44"/>
                          <a:pt x="42" y="44"/>
                        </a:cubicBezTo>
                        <a:cubicBezTo>
                          <a:pt x="42" y="44"/>
                          <a:pt x="42" y="43"/>
                          <a:pt x="42" y="43"/>
                        </a:cubicBezTo>
                        <a:close/>
                        <a:moveTo>
                          <a:pt x="40" y="43"/>
                        </a:moveTo>
                        <a:cubicBezTo>
                          <a:pt x="40" y="43"/>
                          <a:pt x="40" y="43"/>
                          <a:pt x="40" y="43"/>
                        </a:cubicBezTo>
                        <a:cubicBezTo>
                          <a:pt x="40" y="43"/>
                          <a:pt x="40" y="43"/>
                          <a:pt x="40" y="43"/>
                        </a:cubicBezTo>
                        <a:cubicBezTo>
                          <a:pt x="40" y="43"/>
                          <a:pt x="40" y="43"/>
                          <a:pt x="40" y="43"/>
                        </a:cubicBezTo>
                        <a:cubicBezTo>
                          <a:pt x="40" y="43"/>
                          <a:pt x="40" y="43"/>
                          <a:pt x="40" y="43"/>
                        </a:cubicBezTo>
                        <a:close/>
                        <a:moveTo>
                          <a:pt x="37" y="42"/>
                        </a:moveTo>
                        <a:cubicBezTo>
                          <a:pt x="37" y="42"/>
                          <a:pt x="37" y="42"/>
                          <a:pt x="37" y="42"/>
                        </a:cubicBezTo>
                        <a:cubicBezTo>
                          <a:pt x="37" y="42"/>
                          <a:pt x="37" y="42"/>
                          <a:pt x="37" y="42"/>
                        </a:cubicBezTo>
                        <a:close/>
                        <a:moveTo>
                          <a:pt x="41" y="44"/>
                        </a:moveTo>
                        <a:cubicBezTo>
                          <a:pt x="41" y="44"/>
                          <a:pt x="42" y="44"/>
                          <a:pt x="42" y="44"/>
                        </a:cubicBezTo>
                        <a:cubicBezTo>
                          <a:pt x="42" y="44"/>
                          <a:pt x="42" y="45"/>
                          <a:pt x="41" y="44"/>
                        </a:cubicBezTo>
                        <a:close/>
                        <a:moveTo>
                          <a:pt x="36" y="42"/>
                        </a:moveTo>
                        <a:cubicBezTo>
                          <a:pt x="36" y="42"/>
                          <a:pt x="36" y="42"/>
                          <a:pt x="36" y="42"/>
                        </a:cubicBezTo>
                        <a:cubicBezTo>
                          <a:pt x="36" y="42"/>
                          <a:pt x="36" y="42"/>
                          <a:pt x="36" y="42"/>
                        </a:cubicBezTo>
                        <a:close/>
                        <a:moveTo>
                          <a:pt x="40" y="44"/>
                        </a:moveTo>
                        <a:cubicBezTo>
                          <a:pt x="40" y="44"/>
                          <a:pt x="40" y="44"/>
                          <a:pt x="40" y="44"/>
                        </a:cubicBezTo>
                        <a:cubicBezTo>
                          <a:pt x="40" y="44"/>
                          <a:pt x="40" y="44"/>
                          <a:pt x="40" y="44"/>
                        </a:cubicBezTo>
                        <a:cubicBezTo>
                          <a:pt x="40" y="44"/>
                          <a:pt x="40" y="44"/>
                          <a:pt x="40" y="44"/>
                        </a:cubicBezTo>
                        <a:close/>
                        <a:moveTo>
                          <a:pt x="38" y="43"/>
                        </a:moveTo>
                        <a:cubicBezTo>
                          <a:pt x="38" y="43"/>
                          <a:pt x="38" y="44"/>
                          <a:pt x="38" y="43"/>
                        </a:cubicBezTo>
                        <a:cubicBezTo>
                          <a:pt x="38" y="43"/>
                          <a:pt x="38" y="43"/>
                          <a:pt x="38" y="43"/>
                        </a:cubicBezTo>
                        <a:close/>
                        <a:moveTo>
                          <a:pt x="37" y="43"/>
                        </a:moveTo>
                        <a:cubicBezTo>
                          <a:pt x="37" y="43"/>
                          <a:pt x="37" y="43"/>
                          <a:pt x="37" y="43"/>
                        </a:cubicBezTo>
                        <a:cubicBezTo>
                          <a:pt x="37" y="43"/>
                          <a:pt x="37" y="43"/>
                          <a:pt x="37" y="43"/>
                        </a:cubicBezTo>
                        <a:close/>
                        <a:moveTo>
                          <a:pt x="34" y="42"/>
                        </a:moveTo>
                        <a:cubicBezTo>
                          <a:pt x="34" y="42"/>
                          <a:pt x="35" y="42"/>
                          <a:pt x="35" y="42"/>
                        </a:cubicBezTo>
                        <a:cubicBezTo>
                          <a:pt x="35" y="42"/>
                          <a:pt x="34" y="42"/>
                          <a:pt x="34" y="42"/>
                        </a:cubicBezTo>
                        <a:close/>
                        <a:moveTo>
                          <a:pt x="42" y="46"/>
                        </a:moveTo>
                        <a:cubicBezTo>
                          <a:pt x="41" y="45"/>
                          <a:pt x="42" y="45"/>
                          <a:pt x="42" y="45"/>
                        </a:cubicBezTo>
                        <a:cubicBezTo>
                          <a:pt x="42" y="45"/>
                          <a:pt x="42" y="45"/>
                          <a:pt x="42" y="46"/>
                        </a:cubicBezTo>
                        <a:close/>
                        <a:moveTo>
                          <a:pt x="44" y="47"/>
                        </a:moveTo>
                        <a:cubicBezTo>
                          <a:pt x="44" y="47"/>
                          <a:pt x="44" y="47"/>
                          <a:pt x="44" y="47"/>
                        </a:cubicBezTo>
                        <a:cubicBezTo>
                          <a:pt x="44" y="47"/>
                          <a:pt x="44" y="47"/>
                          <a:pt x="44" y="47"/>
                        </a:cubicBezTo>
                        <a:cubicBezTo>
                          <a:pt x="44" y="47"/>
                          <a:pt x="44" y="47"/>
                          <a:pt x="44" y="47"/>
                        </a:cubicBezTo>
                        <a:close/>
                        <a:moveTo>
                          <a:pt x="40" y="45"/>
                        </a:moveTo>
                        <a:cubicBezTo>
                          <a:pt x="40" y="45"/>
                          <a:pt x="40" y="45"/>
                          <a:pt x="39" y="45"/>
                        </a:cubicBezTo>
                        <a:cubicBezTo>
                          <a:pt x="39" y="45"/>
                          <a:pt x="39" y="45"/>
                          <a:pt x="39" y="46"/>
                        </a:cubicBezTo>
                        <a:cubicBezTo>
                          <a:pt x="39" y="46"/>
                          <a:pt x="39" y="46"/>
                          <a:pt x="39" y="45"/>
                        </a:cubicBezTo>
                        <a:cubicBezTo>
                          <a:pt x="39" y="46"/>
                          <a:pt x="39" y="46"/>
                          <a:pt x="39" y="46"/>
                        </a:cubicBezTo>
                        <a:cubicBezTo>
                          <a:pt x="39" y="46"/>
                          <a:pt x="39" y="46"/>
                          <a:pt x="39" y="46"/>
                        </a:cubicBezTo>
                        <a:cubicBezTo>
                          <a:pt x="39" y="46"/>
                          <a:pt x="39" y="46"/>
                          <a:pt x="39" y="46"/>
                        </a:cubicBezTo>
                        <a:cubicBezTo>
                          <a:pt x="39" y="46"/>
                          <a:pt x="39" y="45"/>
                          <a:pt x="39" y="45"/>
                        </a:cubicBezTo>
                        <a:cubicBezTo>
                          <a:pt x="39" y="45"/>
                          <a:pt x="39" y="45"/>
                          <a:pt x="39" y="45"/>
                        </a:cubicBezTo>
                        <a:cubicBezTo>
                          <a:pt x="39" y="45"/>
                          <a:pt x="40" y="45"/>
                          <a:pt x="40" y="45"/>
                        </a:cubicBezTo>
                        <a:cubicBezTo>
                          <a:pt x="40" y="45"/>
                          <a:pt x="40" y="45"/>
                          <a:pt x="40" y="45"/>
                        </a:cubicBezTo>
                        <a:close/>
                        <a:moveTo>
                          <a:pt x="41" y="46"/>
                        </a:move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lose/>
                        <a:moveTo>
                          <a:pt x="40" y="46"/>
                        </a:moveTo>
                        <a:cubicBezTo>
                          <a:pt x="40" y="46"/>
                          <a:pt x="40" y="45"/>
                          <a:pt x="40" y="46"/>
                        </a:cubicBezTo>
                        <a:cubicBezTo>
                          <a:pt x="40" y="46"/>
                          <a:pt x="40" y="46"/>
                          <a:pt x="40" y="46"/>
                        </a:cubicBezTo>
                        <a:cubicBezTo>
                          <a:pt x="40" y="46"/>
                          <a:pt x="40" y="46"/>
                          <a:pt x="40" y="46"/>
                        </a:cubicBezTo>
                        <a:cubicBezTo>
                          <a:pt x="40" y="46"/>
                          <a:pt x="40" y="46"/>
                          <a:pt x="40" y="46"/>
                        </a:cubicBezTo>
                        <a:close/>
                        <a:moveTo>
                          <a:pt x="42" y="47"/>
                        </a:moveTo>
                        <a:cubicBezTo>
                          <a:pt x="42" y="47"/>
                          <a:pt x="42" y="47"/>
                          <a:pt x="42" y="47"/>
                        </a:cubicBezTo>
                        <a:cubicBezTo>
                          <a:pt x="42" y="47"/>
                          <a:pt x="42" y="47"/>
                          <a:pt x="42" y="47"/>
                        </a:cubicBezTo>
                        <a:cubicBezTo>
                          <a:pt x="42" y="47"/>
                          <a:pt x="42" y="47"/>
                          <a:pt x="42" y="47"/>
                        </a:cubicBezTo>
                        <a:cubicBezTo>
                          <a:pt x="42" y="47"/>
                          <a:pt x="42" y="47"/>
                          <a:pt x="42" y="47"/>
                        </a:cubicBezTo>
                        <a:cubicBezTo>
                          <a:pt x="42" y="47"/>
                          <a:pt x="42" y="47"/>
                          <a:pt x="41" y="47"/>
                        </a:cubicBezTo>
                        <a:cubicBezTo>
                          <a:pt x="41" y="47"/>
                          <a:pt x="42" y="47"/>
                          <a:pt x="42" y="47"/>
                        </a:cubicBezTo>
                        <a:close/>
                        <a:moveTo>
                          <a:pt x="36" y="44"/>
                        </a:moveTo>
                        <a:cubicBezTo>
                          <a:pt x="36" y="44"/>
                          <a:pt x="36" y="44"/>
                          <a:pt x="36" y="44"/>
                        </a:cubicBezTo>
                        <a:cubicBezTo>
                          <a:pt x="36" y="44"/>
                          <a:pt x="36" y="44"/>
                          <a:pt x="36" y="44"/>
                        </a:cubicBezTo>
                        <a:close/>
                        <a:moveTo>
                          <a:pt x="38" y="45"/>
                        </a:moveTo>
                        <a:cubicBezTo>
                          <a:pt x="38" y="45"/>
                          <a:pt x="38" y="45"/>
                          <a:pt x="38" y="46"/>
                        </a:cubicBezTo>
                        <a:cubicBezTo>
                          <a:pt x="38" y="45"/>
                          <a:pt x="38" y="45"/>
                          <a:pt x="38" y="45"/>
                        </a:cubicBezTo>
                        <a:close/>
                        <a:moveTo>
                          <a:pt x="40" y="46"/>
                        </a:moveTo>
                        <a:cubicBezTo>
                          <a:pt x="40" y="46"/>
                          <a:pt x="40" y="46"/>
                          <a:pt x="40" y="46"/>
                        </a:cubicBezTo>
                        <a:cubicBezTo>
                          <a:pt x="40" y="46"/>
                          <a:pt x="40" y="46"/>
                          <a:pt x="40" y="46"/>
                        </a:cubicBezTo>
                        <a:close/>
                        <a:moveTo>
                          <a:pt x="38" y="46"/>
                        </a:moveTo>
                        <a:cubicBezTo>
                          <a:pt x="38" y="46"/>
                          <a:pt x="38" y="46"/>
                          <a:pt x="38" y="46"/>
                        </a:cubicBezTo>
                        <a:cubicBezTo>
                          <a:pt x="38" y="46"/>
                          <a:pt x="38" y="46"/>
                          <a:pt x="38" y="46"/>
                        </a:cubicBezTo>
                        <a:cubicBezTo>
                          <a:pt x="38" y="46"/>
                          <a:pt x="38" y="47"/>
                          <a:pt x="38" y="47"/>
                        </a:cubicBezTo>
                        <a:cubicBezTo>
                          <a:pt x="38" y="47"/>
                          <a:pt x="38" y="47"/>
                          <a:pt x="38" y="47"/>
                        </a:cubicBezTo>
                        <a:cubicBezTo>
                          <a:pt x="38" y="46"/>
                          <a:pt x="38" y="46"/>
                          <a:pt x="38" y="46"/>
                        </a:cubicBezTo>
                        <a:close/>
                        <a:moveTo>
                          <a:pt x="43" y="48"/>
                        </a:moveTo>
                        <a:cubicBezTo>
                          <a:pt x="43" y="48"/>
                          <a:pt x="43" y="48"/>
                          <a:pt x="43" y="49"/>
                        </a:cubicBezTo>
                        <a:cubicBezTo>
                          <a:pt x="43" y="49"/>
                          <a:pt x="43" y="49"/>
                          <a:pt x="43" y="49"/>
                        </a:cubicBezTo>
                        <a:cubicBezTo>
                          <a:pt x="43" y="49"/>
                          <a:pt x="43" y="48"/>
                          <a:pt x="43" y="48"/>
                        </a:cubicBezTo>
                        <a:close/>
                        <a:moveTo>
                          <a:pt x="42" y="48"/>
                        </a:moveTo>
                        <a:cubicBezTo>
                          <a:pt x="42" y="48"/>
                          <a:pt x="42" y="48"/>
                          <a:pt x="42" y="48"/>
                        </a:cubicBezTo>
                        <a:cubicBezTo>
                          <a:pt x="42" y="48"/>
                          <a:pt x="42" y="48"/>
                          <a:pt x="42" y="48"/>
                        </a:cubicBezTo>
                        <a:close/>
                        <a:moveTo>
                          <a:pt x="43" y="49"/>
                        </a:moveTo>
                        <a:cubicBezTo>
                          <a:pt x="43" y="50"/>
                          <a:pt x="43" y="50"/>
                          <a:pt x="42" y="51"/>
                        </a:cubicBezTo>
                        <a:cubicBezTo>
                          <a:pt x="43" y="50"/>
                          <a:pt x="43" y="49"/>
                          <a:pt x="43" y="49"/>
                        </a:cubicBezTo>
                        <a:cubicBezTo>
                          <a:pt x="43" y="49"/>
                          <a:pt x="43" y="49"/>
                          <a:pt x="43" y="49"/>
                        </a:cubicBezTo>
                        <a:close/>
                        <a:moveTo>
                          <a:pt x="35" y="46"/>
                        </a:moveTo>
                        <a:cubicBezTo>
                          <a:pt x="35" y="45"/>
                          <a:pt x="35" y="45"/>
                          <a:pt x="35" y="45"/>
                        </a:cubicBezTo>
                        <a:cubicBezTo>
                          <a:pt x="35" y="45"/>
                          <a:pt x="35" y="46"/>
                          <a:pt x="35" y="46"/>
                        </a:cubicBezTo>
                        <a:close/>
                        <a:moveTo>
                          <a:pt x="41" y="48"/>
                        </a:moveTo>
                        <a:cubicBezTo>
                          <a:pt x="41" y="48"/>
                          <a:pt x="40" y="48"/>
                          <a:pt x="40" y="48"/>
                        </a:cubicBezTo>
                        <a:cubicBezTo>
                          <a:pt x="40" y="48"/>
                          <a:pt x="40" y="48"/>
                          <a:pt x="40" y="48"/>
                        </a:cubicBezTo>
                        <a:cubicBezTo>
                          <a:pt x="41" y="48"/>
                          <a:pt x="40" y="48"/>
                          <a:pt x="41" y="48"/>
                        </a:cubicBezTo>
                        <a:close/>
                        <a:moveTo>
                          <a:pt x="36" y="47"/>
                        </a:moveTo>
                        <a:cubicBezTo>
                          <a:pt x="37" y="46"/>
                          <a:pt x="37" y="46"/>
                          <a:pt x="37" y="46"/>
                        </a:cubicBezTo>
                        <a:cubicBezTo>
                          <a:pt x="37" y="47"/>
                          <a:pt x="37" y="47"/>
                          <a:pt x="37" y="47"/>
                        </a:cubicBezTo>
                        <a:cubicBezTo>
                          <a:pt x="36" y="47"/>
                          <a:pt x="37" y="47"/>
                          <a:pt x="36" y="47"/>
                        </a:cubicBezTo>
                        <a:close/>
                        <a:moveTo>
                          <a:pt x="36" y="47"/>
                        </a:moveTo>
                        <a:cubicBezTo>
                          <a:pt x="36" y="47"/>
                          <a:pt x="36" y="47"/>
                          <a:pt x="36" y="47"/>
                        </a:cubicBezTo>
                        <a:cubicBezTo>
                          <a:pt x="36" y="47"/>
                          <a:pt x="36" y="47"/>
                          <a:pt x="36" y="47"/>
                        </a:cubicBezTo>
                        <a:cubicBezTo>
                          <a:pt x="36" y="47"/>
                          <a:pt x="36" y="47"/>
                          <a:pt x="36" y="47"/>
                        </a:cubicBezTo>
                        <a:cubicBezTo>
                          <a:pt x="36" y="47"/>
                          <a:pt x="36" y="47"/>
                          <a:pt x="36" y="47"/>
                        </a:cubicBezTo>
                        <a:close/>
                        <a:moveTo>
                          <a:pt x="42" y="52"/>
                        </a:moveTo>
                        <a:cubicBezTo>
                          <a:pt x="42" y="52"/>
                          <a:pt x="42" y="52"/>
                          <a:pt x="42" y="52"/>
                        </a:cubicBezTo>
                        <a:close/>
                        <a:moveTo>
                          <a:pt x="38" y="50"/>
                        </a:moveTo>
                        <a:cubicBezTo>
                          <a:pt x="38" y="50"/>
                          <a:pt x="38" y="50"/>
                          <a:pt x="38" y="50"/>
                        </a:cubicBezTo>
                        <a:cubicBezTo>
                          <a:pt x="38" y="51"/>
                          <a:pt x="38" y="50"/>
                          <a:pt x="38" y="51"/>
                        </a:cubicBezTo>
                        <a:cubicBezTo>
                          <a:pt x="38" y="50"/>
                          <a:pt x="38" y="50"/>
                          <a:pt x="38" y="50"/>
                        </a:cubicBezTo>
                        <a:close/>
                        <a:moveTo>
                          <a:pt x="36" y="49"/>
                        </a:moveTo>
                        <a:cubicBezTo>
                          <a:pt x="36" y="49"/>
                          <a:pt x="36" y="49"/>
                          <a:pt x="36" y="49"/>
                        </a:cubicBezTo>
                        <a:cubicBezTo>
                          <a:pt x="36" y="49"/>
                          <a:pt x="36" y="49"/>
                          <a:pt x="36" y="49"/>
                        </a:cubicBezTo>
                        <a:close/>
                        <a:moveTo>
                          <a:pt x="39" y="51"/>
                        </a:moveTo>
                        <a:cubicBezTo>
                          <a:pt x="40" y="51"/>
                          <a:pt x="39" y="51"/>
                          <a:pt x="39" y="51"/>
                        </a:cubicBezTo>
                        <a:cubicBezTo>
                          <a:pt x="39" y="51"/>
                          <a:pt x="39" y="51"/>
                          <a:pt x="39" y="51"/>
                        </a:cubicBezTo>
                        <a:close/>
                        <a:moveTo>
                          <a:pt x="34" y="49"/>
                        </a:moveTo>
                        <a:cubicBezTo>
                          <a:pt x="34" y="49"/>
                          <a:pt x="34" y="49"/>
                          <a:pt x="34" y="49"/>
                        </a:cubicBezTo>
                        <a:cubicBezTo>
                          <a:pt x="34" y="48"/>
                          <a:pt x="35" y="49"/>
                          <a:pt x="34" y="49"/>
                        </a:cubicBezTo>
                        <a:close/>
                        <a:moveTo>
                          <a:pt x="36" y="51"/>
                        </a:moveTo>
                        <a:cubicBezTo>
                          <a:pt x="36" y="51"/>
                          <a:pt x="36" y="51"/>
                          <a:pt x="36" y="51"/>
                        </a:cubicBezTo>
                        <a:cubicBezTo>
                          <a:pt x="36" y="51"/>
                          <a:pt x="36" y="50"/>
                          <a:pt x="36" y="50"/>
                        </a:cubicBezTo>
                        <a:cubicBezTo>
                          <a:pt x="36" y="50"/>
                          <a:pt x="36" y="50"/>
                          <a:pt x="36" y="50"/>
                        </a:cubicBezTo>
                        <a:cubicBezTo>
                          <a:pt x="37" y="50"/>
                          <a:pt x="36" y="50"/>
                          <a:pt x="36" y="51"/>
                        </a:cubicBezTo>
                        <a:close/>
                        <a:moveTo>
                          <a:pt x="35" y="50"/>
                        </a:moveTo>
                        <a:cubicBezTo>
                          <a:pt x="35" y="50"/>
                          <a:pt x="35" y="50"/>
                          <a:pt x="35" y="50"/>
                        </a:cubicBezTo>
                        <a:cubicBezTo>
                          <a:pt x="35" y="49"/>
                          <a:pt x="35" y="50"/>
                          <a:pt x="35" y="50"/>
                        </a:cubicBezTo>
                        <a:close/>
                        <a:moveTo>
                          <a:pt x="38" y="51"/>
                        </a:moveTo>
                        <a:cubicBezTo>
                          <a:pt x="38" y="51"/>
                          <a:pt x="38" y="51"/>
                          <a:pt x="38" y="51"/>
                        </a:cubicBezTo>
                        <a:cubicBezTo>
                          <a:pt x="38" y="51"/>
                          <a:pt x="38" y="51"/>
                          <a:pt x="38" y="51"/>
                        </a:cubicBezTo>
                        <a:cubicBezTo>
                          <a:pt x="38" y="51"/>
                          <a:pt x="38" y="51"/>
                          <a:pt x="38" y="51"/>
                        </a:cubicBezTo>
                        <a:cubicBezTo>
                          <a:pt x="38" y="51"/>
                          <a:pt x="38" y="51"/>
                          <a:pt x="38" y="51"/>
                        </a:cubicBezTo>
                        <a:close/>
                        <a:moveTo>
                          <a:pt x="38" y="51"/>
                        </a:moveTo>
                        <a:cubicBezTo>
                          <a:pt x="38" y="51"/>
                          <a:pt x="38" y="51"/>
                          <a:pt x="38" y="51"/>
                        </a:cubicBezTo>
                        <a:cubicBezTo>
                          <a:pt x="38" y="51"/>
                          <a:pt x="38" y="52"/>
                          <a:pt x="38" y="51"/>
                        </a:cubicBezTo>
                        <a:close/>
                        <a:moveTo>
                          <a:pt x="36" y="51"/>
                        </a:moveTo>
                        <a:cubicBezTo>
                          <a:pt x="36" y="51"/>
                          <a:pt x="36" y="51"/>
                          <a:pt x="36" y="50"/>
                        </a:cubicBezTo>
                        <a:cubicBezTo>
                          <a:pt x="37" y="50"/>
                          <a:pt x="36" y="51"/>
                          <a:pt x="36" y="51"/>
                        </a:cubicBezTo>
                        <a:close/>
                        <a:moveTo>
                          <a:pt x="41" y="54"/>
                        </a:moveTo>
                        <a:cubicBezTo>
                          <a:pt x="41" y="54"/>
                          <a:pt x="41" y="53"/>
                          <a:pt x="42" y="53"/>
                        </a:cubicBezTo>
                        <a:cubicBezTo>
                          <a:pt x="42" y="53"/>
                          <a:pt x="41" y="54"/>
                          <a:pt x="41" y="54"/>
                        </a:cubicBezTo>
                        <a:close/>
                        <a:moveTo>
                          <a:pt x="32" y="49"/>
                        </a:moveTo>
                        <a:cubicBezTo>
                          <a:pt x="32" y="49"/>
                          <a:pt x="32" y="49"/>
                          <a:pt x="32" y="49"/>
                        </a:cubicBezTo>
                        <a:cubicBezTo>
                          <a:pt x="31" y="49"/>
                          <a:pt x="31" y="49"/>
                          <a:pt x="32" y="49"/>
                        </a:cubicBezTo>
                        <a:cubicBezTo>
                          <a:pt x="32" y="49"/>
                          <a:pt x="32" y="49"/>
                          <a:pt x="32" y="49"/>
                        </a:cubicBezTo>
                        <a:close/>
                        <a:moveTo>
                          <a:pt x="37" y="51"/>
                        </a:moveTo>
                        <a:cubicBezTo>
                          <a:pt x="37" y="51"/>
                          <a:pt x="37" y="51"/>
                          <a:pt x="37" y="51"/>
                        </a:cubicBezTo>
                        <a:cubicBezTo>
                          <a:pt x="37" y="51"/>
                          <a:pt x="37" y="52"/>
                          <a:pt x="37" y="52"/>
                        </a:cubicBezTo>
                        <a:cubicBezTo>
                          <a:pt x="37" y="52"/>
                          <a:pt x="37" y="51"/>
                          <a:pt x="37" y="51"/>
                        </a:cubicBezTo>
                        <a:cubicBezTo>
                          <a:pt x="37" y="51"/>
                          <a:pt x="37" y="51"/>
                          <a:pt x="37" y="51"/>
                        </a:cubicBezTo>
                        <a:close/>
                        <a:moveTo>
                          <a:pt x="33" y="50"/>
                        </a:moveTo>
                        <a:cubicBezTo>
                          <a:pt x="33" y="49"/>
                          <a:pt x="33" y="50"/>
                          <a:pt x="33" y="50"/>
                        </a:cubicBezTo>
                        <a:cubicBezTo>
                          <a:pt x="33" y="50"/>
                          <a:pt x="33" y="49"/>
                          <a:pt x="33" y="49"/>
                        </a:cubicBezTo>
                        <a:cubicBezTo>
                          <a:pt x="33" y="49"/>
                          <a:pt x="33" y="50"/>
                          <a:pt x="33" y="50"/>
                        </a:cubicBezTo>
                        <a:close/>
                        <a:moveTo>
                          <a:pt x="35" y="50"/>
                        </a:moveTo>
                        <a:cubicBezTo>
                          <a:pt x="35" y="50"/>
                          <a:pt x="35" y="50"/>
                          <a:pt x="35" y="50"/>
                        </a:cubicBezTo>
                        <a:cubicBezTo>
                          <a:pt x="34" y="50"/>
                          <a:pt x="35" y="50"/>
                          <a:pt x="35" y="50"/>
                        </a:cubicBezTo>
                        <a:close/>
                        <a:moveTo>
                          <a:pt x="40" y="53"/>
                        </a:moveTo>
                        <a:cubicBezTo>
                          <a:pt x="40" y="53"/>
                          <a:pt x="40" y="54"/>
                          <a:pt x="40" y="54"/>
                        </a:cubicBezTo>
                        <a:cubicBezTo>
                          <a:pt x="40" y="54"/>
                          <a:pt x="40" y="53"/>
                          <a:pt x="40" y="53"/>
                        </a:cubicBezTo>
                        <a:close/>
                        <a:moveTo>
                          <a:pt x="36" y="52"/>
                        </a:moveTo>
                        <a:cubicBezTo>
                          <a:pt x="36" y="52"/>
                          <a:pt x="36" y="52"/>
                          <a:pt x="36" y="52"/>
                        </a:cubicBezTo>
                        <a:cubicBezTo>
                          <a:pt x="36" y="52"/>
                          <a:pt x="36" y="52"/>
                          <a:pt x="36" y="52"/>
                        </a:cubicBezTo>
                        <a:close/>
                        <a:moveTo>
                          <a:pt x="36" y="52"/>
                        </a:moveTo>
                        <a:cubicBezTo>
                          <a:pt x="36" y="52"/>
                          <a:pt x="36" y="52"/>
                          <a:pt x="36" y="52"/>
                        </a:cubicBezTo>
                        <a:cubicBezTo>
                          <a:pt x="36" y="52"/>
                          <a:pt x="36" y="52"/>
                          <a:pt x="36" y="52"/>
                        </a:cubicBezTo>
                        <a:close/>
                        <a:moveTo>
                          <a:pt x="32" y="50"/>
                        </a:moveTo>
                        <a:cubicBezTo>
                          <a:pt x="32" y="50"/>
                          <a:pt x="32" y="50"/>
                          <a:pt x="32" y="50"/>
                        </a:cubicBezTo>
                        <a:cubicBezTo>
                          <a:pt x="32" y="50"/>
                          <a:pt x="32" y="50"/>
                          <a:pt x="32" y="50"/>
                        </a:cubicBezTo>
                        <a:close/>
                        <a:moveTo>
                          <a:pt x="40" y="54"/>
                        </a:moveTo>
                        <a:cubicBezTo>
                          <a:pt x="39" y="54"/>
                          <a:pt x="40" y="54"/>
                          <a:pt x="39" y="54"/>
                        </a:cubicBezTo>
                        <a:cubicBezTo>
                          <a:pt x="39" y="54"/>
                          <a:pt x="40" y="54"/>
                          <a:pt x="40" y="54"/>
                        </a:cubicBezTo>
                        <a:cubicBezTo>
                          <a:pt x="40" y="54"/>
                          <a:pt x="40" y="54"/>
                          <a:pt x="40" y="54"/>
                        </a:cubicBezTo>
                        <a:cubicBezTo>
                          <a:pt x="40" y="54"/>
                          <a:pt x="40" y="54"/>
                          <a:pt x="40" y="54"/>
                        </a:cubicBezTo>
                        <a:cubicBezTo>
                          <a:pt x="40" y="54"/>
                          <a:pt x="40" y="54"/>
                          <a:pt x="40" y="54"/>
                        </a:cubicBezTo>
                        <a:cubicBezTo>
                          <a:pt x="40" y="54"/>
                          <a:pt x="40" y="54"/>
                          <a:pt x="40" y="54"/>
                        </a:cubicBezTo>
                        <a:close/>
                        <a:moveTo>
                          <a:pt x="33" y="51"/>
                        </a:moveTo>
                        <a:cubicBezTo>
                          <a:pt x="33" y="51"/>
                          <a:pt x="33" y="51"/>
                          <a:pt x="33" y="51"/>
                        </a:cubicBezTo>
                        <a:cubicBezTo>
                          <a:pt x="33" y="51"/>
                          <a:pt x="33" y="51"/>
                          <a:pt x="33" y="50"/>
                        </a:cubicBezTo>
                        <a:cubicBezTo>
                          <a:pt x="33" y="51"/>
                          <a:pt x="33" y="51"/>
                          <a:pt x="33" y="51"/>
                        </a:cubicBezTo>
                        <a:close/>
                        <a:moveTo>
                          <a:pt x="30" y="49"/>
                        </a:moveTo>
                        <a:cubicBezTo>
                          <a:pt x="30" y="49"/>
                          <a:pt x="30" y="49"/>
                          <a:pt x="30" y="50"/>
                        </a:cubicBezTo>
                        <a:cubicBezTo>
                          <a:pt x="30" y="49"/>
                          <a:pt x="30" y="49"/>
                          <a:pt x="30" y="49"/>
                        </a:cubicBezTo>
                        <a:cubicBezTo>
                          <a:pt x="30" y="49"/>
                          <a:pt x="30" y="49"/>
                          <a:pt x="30" y="49"/>
                        </a:cubicBezTo>
                        <a:close/>
                        <a:moveTo>
                          <a:pt x="30" y="51"/>
                        </a:moveTo>
                        <a:cubicBezTo>
                          <a:pt x="30" y="51"/>
                          <a:pt x="30" y="52"/>
                          <a:pt x="29" y="52"/>
                        </a:cubicBezTo>
                        <a:cubicBezTo>
                          <a:pt x="30" y="51"/>
                          <a:pt x="30" y="51"/>
                          <a:pt x="30" y="50"/>
                        </a:cubicBezTo>
                        <a:cubicBezTo>
                          <a:pt x="30" y="50"/>
                          <a:pt x="31" y="50"/>
                          <a:pt x="31" y="50"/>
                        </a:cubicBezTo>
                        <a:cubicBezTo>
                          <a:pt x="31" y="50"/>
                          <a:pt x="30" y="50"/>
                          <a:pt x="30" y="51"/>
                        </a:cubicBezTo>
                        <a:close/>
                        <a:moveTo>
                          <a:pt x="34" y="51"/>
                        </a:moveTo>
                        <a:cubicBezTo>
                          <a:pt x="34" y="51"/>
                          <a:pt x="34" y="52"/>
                          <a:pt x="34" y="52"/>
                        </a:cubicBezTo>
                        <a:cubicBezTo>
                          <a:pt x="33" y="52"/>
                          <a:pt x="34" y="51"/>
                          <a:pt x="34" y="51"/>
                        </a:cubicBezTo>
                        <a:close/>
                        <a:moveTo>
                          <a:pt x="34" y="52"/>
                        </a:moveTo>
                        <a:cubicBezTo>
                          <a:pt x="34" y="52"/>
                          <a:pt x="34" y="52"/>
                          <a:pt x="34" y="52"/>
                        </a:cubicBezTo>
                        <a:cubicBezTo>
                          <a:pt x="34" y="52"/>
                          <a:pt x="34" y="52"/>
                          <a:pt x="34" y="52"/>
                        </a:cubicBezTo>
                        <a:cubicBezTo>
                          <a:pt x="34" y="52"/>
                          <a:pt x="34" y="52"/>
                          <a:pt x="34" y="52"/>
                        </a:cubicBezTo>
                        <a:close/>
                        <a:moveTo>
                          <a:pt x="30" y="50"/>
                        </a:moveTo>
                        <a:cubicBezTo>
                          <a:pt x="30" y="50"/>
                          <a:pt x="30" y="50"/>
                          <a:pt x="30" y="50"/>
                        </a:cubicBezTo>
                        <a:cubicBezTo>
                          <a:pt x="30" y="50"/>
                          <a:pt x="30" y="49"/>
                          <a:pt x="30" y="50"/>
                        </a:cubicBezTo>
                        <a:close/>
                        <a:moveTo>
                          <a:pt x="32" y="51"/>
                        </a:moveTo>
                        <a:cubicBezTo>
                          <a:pt x="32" y="51"/>
                          <a:pt x="32" y="51"/>
                          <a:pt x="32" y="51"/>
                        </a:cubicBezTo>
                        <a:cubicBezTo>
                          <a:pt x="32" y="51"/>
                          <a:pt x="32" y="51"/>
                          <a:pt x="33" y="51"/>
                        </a:cubicBezTo>
                        <a:cubicBezTo>
                          <a:pt x="33" y="51"/>
                          <a:pt x="32" y="51"/>
                          <a:pt x="32" y="51"/>
                        </a:cubicBezTo>
                        <a:close/>
                        <a:moveTo>
                          <a:pt x="33" y="51"/>
                        </a:moveTo>
                        <a:cubicBezTo>
                          <a:pt x="33" y="51"/>
                          <a:pt x="33" y="51"/>
                          <a:pt x="33" y="51"/>
                        </a:cubicBezTo>
                        <a:cubicBezTo>
                          <a:pt x="33" y="51"/>
                          <a:pt x="33" y="51"/>
                          <a:pt x="33" y="51"/>
                        </a:cubicBezTo>
                        <a:cubicBezTo>
                          <a:pt x="33" y="51"/>
                          <a:pt x="33" y="51"/>
                          <a:pt x="33" y="51"/>
                        </a:cubicBezTo>
                        <a:cubicBezTo>
                          <a:pt x="33" y="51"/>
                          <a:pt x="33" y="51"/>
                          <a:pt x="33" y="51"/>
                        </a:cubicBezTo>
                        <a:close/>
                        <a:moveTo>
                          <a:pt x="30" y="51"/>
                        </a:moveTo>
                        <a:cubicBezTo>
                          <a:pt x="30" y="50"/>
                          <a:pt x="30" y="50"/>
                          <a:pt x="31" y="50"/>
                        </a:cubicBezTo>
                        <a:cubicBezTo>
                          <a:pt x="31" y="50"/>
                          <a:pt x="31" y="50"/>
                          <a:pt x="31" y="51"/>
                        </a:cubicBezTo>
                        <a:cubicBezTo>
                          <a:pt x="30" y="50"/>
                          <a:pt x="30" y="51"/>
                          <a:pt x="30" y="51"/>
                        </a:cubicBezTo>
                        <a:close/>
                        <a:moveTo>
                          <a:pt x="31" y="51"/>
                        </a:moveTo>
                        <a:cubicBezTo>
                          <a:pt x="31" y="51"/>
                          <a:pt x="31" y="51"/>
                          <a:pt x="31" y="51"/>
                        </a:cubicBezTo>
                        <a:cubicBezTo>
                          <a:pt x="31" y="51"/>
                          <a:pt x="31" y="50"/>
                          <a:pt x="31" y="50"/>
                        </a:cubicBezTo>
                        <a:cubicBezTo>
                          <a:pt x="31" y="50"/>
                          <a:pt x="31" y="51"/>
                          <a:pt x="31" y="51"/>
                        </a:cubicBezTo>
                        <a:close/>
                        <a:moveTo>
                          <a:pt x="35" y="53"/>
                        </a:moveTo>
                        <a:cubicBezTo>
                          <a:pt x="35" y="53"/>
                          <a:pt x="35" y="53"/>
                          <a:pt x="35" y="53"/>
                        </a:cubicBezTo>
                        <a:cubicBezTo>
                          <a:pt x="35" y="53"/>
                          <a:pt x="35" y="53"/>
                          <a:pt x="35" y="52"/>
                        </a:cubicBezTo>
                        <a:cubicBezTo>
                          <a:pt x="35" y="52"/>
                          <a:pt x="35" y="53"/>
                          <a:pt x="35" y="53"/>
                        </a:cubicBezTo>
                        <a:cubicBezTo>
                          <a:pt x="35" y="53"/>
                          <a:pt x="35" y="53"/>
                          <a:pt x="35" y="53"/>
                        </a:cubicBezTo>
                        <a:close/>
                        <a:moveTo>
                          <a:pt x="36" y="53"/>
                        </a:moveTo>
                        <a:cubicBezTo>
                          <a:pt x="36" y="53"/>
                          <a:pt x="36" y="53"/>
                          <a:pt x="36" y="54"/>
                        </a:cubicBezTo>
                        <a:cubicBezTo>
                          <a:pt x="36" y="54"/>
                          <a:pt x="36" y="53"/>
                          <a:pt x="36" y="53"/>
                        </a:cubicBezTo>
                        <a:close/>
                        <a:moveTo>
                          <a:pt x="36" y="54"/>
                        </a:moveTo>
                        <a:cubicBezTo>
                          <a:pt x="36" y="53"/>
                          <a:pt x="36" y="53"/>
                          <a:pt x="36" y="53"/>
                        </a:cubicBezTo>
                        <a:cubicBezTo>
                          <a:pt x="36" y="53"/>
                          <a:pt x="36" y="54"/>
                          <a:pt x="36" y="54"/>
                        </a:cubicBezTo>
                        <a:close/>
                        <a:moveTo>
                          <a:pt x="33" y="52"/>
                        </a:moveTo>
                        <a:cubicBezTo>
                          <a:pt x="33" y="52"/>
                          <a:pt x="33" y="52"/>
                          <a:pt x="33" y="52"/>
                        </a:cubicBezTo>
                        <a:cubicBezTo>
                          <a:pt x="33" y="53"/>
                          <a:pt x="33" y="52"/>
                          <a:pt x="33" y="52"/>
                        </a:cubicBezTo>
                        <a:cubicBezTo>
                          <a:pt x="33" y="52"/>
                          <a:pt x="33" y="52"/>
                          <a:pt x="33" y="52"/>
                        </a:cubicBezTo>
                        <a:cubicBezTo>
                          <a:pt x="33" y="52"/>
                          <a:pt x="33" y="52"/>
                          <a:pt x="33" y="52"/>
                        </a:cubicBezTo>
                        <a:close/>
                        <a:moveTo>
                          <a:pt x="34" y="53"/>
                        </a:moveTo>
                        <a:cubicBezTo>
                          <a:pt x="34" y="53"/>
                          <a:pt x="34" y="53"/>
                          <a:pt x="34" y="53"/>
                        </a:cubicBezTo>
                        <a:cubicBezTo>
                          <a:pt x="34" y="53"/>
                          <a:pt x="34" y="53"/>
                          <a:pt x="34" y="53"/>
                        </a:cubicBezTo>
                        <a:cubicBezTo>
                          <a:pt x="34" y="53"/>
                          <a:pt x="34" y="53"/>
                          <a:pt x="34" y="53"/>
                        </a:cubicBezTo>
                        <a:cubicBezTo>
                          <a:pt x="34" y="53"/>
                          <a:pt x="34" y="53"/>
                          <a:pt x="34" y="53"/>
                        </a:cubicBezTo>
                        <a:close/>
                        <a:moveTo>
                          <a:pt x="35" y="53"/>
                        </a:moveTo>
                        <a:cubicBezTo>
                          <a:pt x="36" y="53"/>
                          <a:pt x="35" y="54"/>
                          <a:pt x="35" y="54"/>
                        </a:cubicBezTo>
                        <a:cubicBezTo>
                          <a:pt x="35" y="54"/>
                          <a:pt x="35" y="54"/>
                          <a:pt x="35" y="53"/>
                        </a:cubicBezTo>
                        <a:close/>
                        <a:moveTo>
                          <a:pt x="36" y="54"/>
                        </a:moveTo>
                        <a:cubicBezTo>
                          <a:pt x="36" y="54"/>
                          <a:pt x="36" y="54"/>
                          <a:pt x="36" y="54"/>
                        </a:cubicBezTo>
                        <a:cubicBezTo>
                          <a:pt x="36" y="54"/>
                          <a:pt x="36" y="54"/>
                          <a:pt x="36" y="54"/>
                        </a:cubicBezTo>
                        <a:close/>
                        <a:moveTo>
                          <a:pt x="30" y="51"/>
                        </a:moveTo>
                        <a:cubicBezTo>
                          <a:pt x="30" y="51"/>
                          <a:pt x="30" y="51"/>
                          <a:pt x="30" y="51"/>
                        </a:cubicBezTo>
                        <a:cubicBezTo>
                          <a:pt x="31" y="51"/>
                          <a:pt x="30" y="51"/>
                          <a:pt x="30" y="51"/>
                        </a:cubicBezTo>
                        <a:close/>
                        <a:moveTo>
                          <a:pt x="31" y="51"/>
                        </a:moveTo>
                        <a:cubicBezTo>
                          <a:pt x="31" y="51"/>
                          <a:pt x="31" y="52"/>
                          <a:pt x="31" y="52"/>
                        </a:cubicBezTo>
                        <a:cubicBezTo>
                          <a:pt x="30" y="52"/>
                          <a:pt x="30" y="52"/>
                          <a:pt x="31" y="51"/>
                        </a:cubicBezTo>
                        <a:close/>
                        <a:moveTo>
                          <a:pt x="34" y="54"/>
                        </a:move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4" y="54"/>
                          <a:pt x="34" y="54"/>
                          <a:pt x="34" y="53"/>
                        </a:cubicBezTo>
                        <a:cubicBezTo>
                          <a:pt x="34" y="53"/>
                          <a:pt x="34" y="54"/>
                          <a:pt x="34" y="54"/>
                        </a:cubicBezTo>
                        <a:close/>
                        <a:moveTo>
                          <a:pt x="31" y="53"/>
                        </a:moveTo>
                        <a:cubicBezTo>
                          <a:pt x="32" y="53"/>
                          <a:pt x="31" y="53"/>
                          <a:pt x="31" y="52"/>
                        </a:cubicBezTo>
                        <a:cubicBezTo>
                          <a:pt x="32" y="52"/>
                          <a:pt x="32" y="52"/>
                          <a:pt x="32" y="52"/>
                        </a:cubicBezTo>
                        <a:cubicBezTo>
                          <a:pt x="32" y="53"/>
                          <a:pt x="31" y="53"/>
                          <a:pt x="31" y="53"/>
                        </a:cubicBezTo>
                        <a:cubicBezTo>
                          <a:pt x="31" y="53"/>
                          <a:pt x="31" y="53"/>
                          <a:pt x="31" y="53"/>
                        </a:cubicBezTo>
                        <a:cubicBezTo>
                          <a:pt x="31" y="53"/>
                          <a:pt x="31" y="53"/>
                          <a:pt x="31" y="52"/>
                        </a:cubicBezTo>
                        <a:cubicBezTo>
                          <a:pt x="31" y="53"/>
                          <a:pt x="31" y="53"/>
                          <a:pt x="31" y="53"/>
                        </a:cubicBezTo>
                        <a:close/>
                        <a:moveTo>
                          <a:pt x="31" y="53"/>
                        </a:moveTo>
                        <a:cubicBezTo>
                          <a:pt x="31" y="53"/>
                          <a:pt x="31" y="53"/>
                          <a:pt x="31" y="53"/>
                        </a:cubicBezTo>
                        <a:cubicBezTo>
                          <a:pt x="31" y="53"/>
                          <a:pt x="31" y="53"/>
                          <a:pt x="31" y="53"/>
                        </a:cubicBezTo>
                        <a:close/>
                        <a:moveTo>
                          <a:pt x="34" y="54"/>
                        </a:move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4" y="55"/>
                          <a:pt x="34" y="54"/>
                          <a:pt x="33" y="55"/>
                        </a:cubicBezTo>
                        <a:cubicBezTo>
                          <a:pt x="33" y="54"/>
                          <a:pt x="33" y="54"/>
                          <a:pt x="34" y="54"/>
                        </a:cubicBez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4" y="54"/>
                          <a:pt x="34" y="54"/>
                          <a:pt x="34" y="54"/>
                        </a:cubicBezTo>
                        <a:close/>
                        <a:moveTo>
                          <a:pt x="31" y="52"/>
                        </a:moveTo>
                        <a:cubicBezTo>
                          <a:pt x="30" y="52"/>
                          <a:pt x="30" y="53"/>
                          <a:pt x="30" y="52"/>
                        </a:cubicBezTo>
                        <a:cubicBezTo>
                          <a:pt x="30" y="52"/>
                          <a:pt x="30" y="52"/>
                          <a:pt x="31" y="52"/>
                        </a:cubicBezTo>
                        <a:close/>
                        <a:moveTo>
                          <a:pt x="36" y="55"/>
                        </a:moveTo>
                        <a:cubicBezTo>
                          <a:pt x="36" y="55"/>
                          <a:pt x="36" y="55"/>
                          <a:pt x="36" y="55"/>
                        </a:cubicBezTo>
                        <a:cubicBezTo>
                          <a:pt x="36" y="55"/>
                          <a:pt x="36" y="55"/>
                          <a:pt x="36" y="55"/>
                        </a:cubicBezTo>
                        <a:close/>
                        <a:moveTo>
                          <a:pt x="37" y="56"/>
                        </a:moveTo>
                        <a:cubicBezTo>
                          <a:pt x="37" y="56"/>
                          <a:pt x="37" y="56"/>
                          <a:pt x="37" y="56"/>
                        </a:cubicBezTo>
                        <a:cubicBezTo>
                          <a:pt x="37" y="56"/>
                          <a:pt x="37" y="56"/>
                          <a:pt x="37" y="57"/>
                        </a:cubicBezTo>
                        <a:cubicBezTo>
                          <a:pt x="36" y="56"/>
                          <a:pt x="36" y="57"/>
                          <a:pt x="36" y="57"/>
                        </a:cubicBezTo>
                        <a:cubicBezTo>
                          <a:pt x="36" y="56"/>
                          <a:pt x="36" y="56"/>
                          <a:pt x="36" y="56"/>
                        </a:cubicBezTo>
                        <a:cubicBezTo>
                          <a:pt x="36" y="56"/>
                          <a:pt x="36" y="56"/>
                          <a:pt x="36" y="56"/>
                        </a:cubicBezTo>
                        <a:cubicBezTo>
                          <a:pt x="36" y="56"/>
                          <a:pt x="37" y="56"/>
                          <a:pt x="37" y="56"/>
                        </a:cubicBezTo>
                        <a:cubicBezTo>
                          <a:pt x="37" y="56"/>
                          <a:pt x="37" y="56"/>
                          <a:pt x="37" y="55"/>
                        </a:cubicBezTo>
                        <a:cubicBezTo>
                          <a:pt x="37" y="55"/>
                          <a:pt x="37" y="56"/>
                          <a:pt x="37" y="55"/>
                        </a:cubicBezTo>
                        <a:cubicBezTo>
                          <a:pt x="37" y="55"/>
                          <a:pt x="37" y="55"/>
                          <a:pt x="37" y="55"/>
                        </a:cubicBezTo>
                        <a:cubicBezTo>
                          <a:pt x="37" y="55"/>
                          <a:pt x="38" y="54"/>
                          <a:pt x="38" y="54"/>
                        </a:cubicBezTo>
                        <a:cubicBezTo>
                          <a:pt x="38" y="54"/>
                          <a:pt x="38" y="54"/>
                          <a:pt x="38" y="54"/>
                        </a:cubicBezTo>
                        <a:cubicBezTo>
                          <a:pt x="38" y="55"/>
                          <a:pt x="37" y="55"/>
                          <a:pt x="37" y="56"/>
                        </a:cubicBezTo>
                        <a:cubicBezTo>
                          <a:pt x="37" y="56"/>
                          <a:pt x="37" y="56"/>
                          <a:pt x="37" y="56"/>
                        </a:cubicBezTo>
                        <a:cubicBezTo>
                          <a:pt x="37" y="56"/>
                          <a:pt x="37" y="56"/>
                          <a:pt x="37" y="56"/>
                        </a:cubicBezTo>
                        <a:cubicBezTo>
                          <a:pt x="37" y="56"/>
                          <a:pt x="37" y="56"/>
                          <a:pt x="37" y="56"/>
                        </a:cubicBezTo>
                        <a:close/>
                        <a:moveTo>
                          <a:pt x="30" y="53"/>
                        </a:moveTo>
                        <a:cubicBezTo>
                          <a:pt x="30" y="53"/>
                          <a:pt x="30" y="53"/>
                          <a:pt x="30" y="53"/>
                        </a:cubicBezTo>
                        <a:cubicBezTo>
                          <a:pt x="30" y="53"/>
                          <a:pt x="30" y="53"/>
                          <a:pt x="30" y="53"/>
                        </a:cubicBezTo>
                        <a:cubicBezTo>
                          <a:pt x="30" y="53"/>
                          <a:pt x="30" y="53"/>
                          <a:pt x="30" y="53"/>
                        </a:cubicBezTo>
                        <a:cubicBezTo>
                          <a:pt x="30" y="53"/>
                          <a:pt x="30" y="53"/>
                          <a:pt x="30" y="53"/>
                        </a:cubicBezTo>
                        <a:close/>
                        <a:moveTo>
                          <a:pt x="34" y="55"/>
                        </a:moveTo>
                        <a:cubicBezTo>
                          <a:pt x="34" y="55"/>
                          <a:pt x="34" y="54"/>
                          <a:pt x="34" y="55"/>
                        </a:cubicBezTo>
                        <a:cubicBezTo>
                          <a:pt x="34" y="55"/>
                          <a:pt x="34" y="55"/>
                          <a:pt x="34" y="55"/>
                        </a:cubicBezTo>
                        <a:close/>
                        <a:moveTo>
                          <a:pt x="29" y="52"/>
                        </a:moveTo>
                        <a:cubicBezTo>
                          <a:pt x="29" y="52"/>
                          <a:pt x="29" y="52"/>
                          <a:pt x="29" y="52"/>
                        </a:cubicBezTo>
                        <a:cubicBezTo>
                          <a:pt x="29" y="52"/>
                          <a:pt x="29" y="53"/>
                          <a:pt x="29" y="52"/>
                        </a:cubicBezTo>
                        <a:close/>
                        <a:moveTo>
                          <a:pt x="30" y="53"/>
                        </a:moveTo>
                        <a:cubicBezTo>
                          <a:pt x="29" y="52"/>
                          <a:pt x="29" y="53"/>
                          <a:pt x="29" y="53"/>
                        </a:cubicBezTo>
                        <a:cubicBezTo>
                          <a:pt x="29" y="53"/>
                          <a:pt x="29" y="53"/>
                          <a:pt x="29" y="52"/>
                        </a:cubicBezTo>
                        <a:cubicBezTo>
                          <a:pt x="29" y="53"/>
                          <a:pt x="30" y="53"/>
                          <a:pt x="30" y="53"/>
                        </a:cubicBezTo>
                        <a:close/>
                        <a:moveTo>
                          <a:pt x="34" y="55"/>
                        </a:moveTo>
                        <a:cubicBezTo>
                          <a:pt x="34" y="55"/>
                          <a:pt x="34" y="55"/>
                          <a:pt x="34" y="55"/>
                        </a:cubicBezTo>
                        <a:cubicBezTo>
                          <a:pt x="34" y="55"/>
                          <a:pt x="34" y="55"/>
                          <a:pt x="34" y="55"/>
                        </a:cubicBezTo>
                        <a:close/>
                        <a:moveTo>
                          <a:pt x="32" y="55"/>
                        </a:moveTo>
                        <a:cubicBezTo>
                          <a:pt x="32" y="55"/>
                          <a:pt x="32" y="55"/>
                          <a:pt x="32" y="54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4"/>
                        </a:cubicBezTo>
                        <a:cubicBezTo>
                          <a:pt x="32" y="54"/>
                          <a:pt x="32" y="54"/>
                          <a:pt x="33" y="54"/>
                        </a:cubicBezTo>
                        <a:cubicBezTo>
                          <a:pt x="33" y="55"/>
                          <a:pt x="32" y="54"/>
                          <a:pt x="32" y="55"/>
                        </a:cubicBezTo>
                        <a:close/>
                        <a:moveTo>
                          <a:pt x="36" y="57"/>
                        </a:moveTo>
                        <a:cubicBezTo>
                          <a:pt x="36" y="57"/>
                          <a:pt x="36" y="57"/>
                          <a:pt x="36" y="56"/>
                        </a:cubicBezTo>
                        <a:cubicBezTo>
                          <a:pt x="36" y="56"/>
                          <a:pt x="36" y="56"/>
                          <a:pt x="36" y="56"/>
                        </a:cubicBezTo>
                        <a:cubicBezTo>
                          <a:pt x="35" y="56"/>
                          <a:pt x="36" y="56"/>
                          <a:pt x="36" y="56"/>
                        </a:cubicBezTo>
                        <a:cubicBezTo>
                          <a:pt x="36" y="56"/>
                          <a:pt x="36" y="56"/>
                          <a:pt x="36" y="56"/>
                        </a:cubicBezTo>
                        <a:cubicBezTo>
                          <a:pt x="36" y="57"/>
                          <a:pt x="36" y="57"/>
                          <a:pt x="35" y="57"/>
                        </a:cubicBezTo>
                        <a:cubicBezTo>
                          <a:pt x="35" y="57"/>
                          <a:pt x="36" y="57"/>
                          <a:pt x="36" y="57"/>
                        </a:cubicBezTo>
                        <a:close/>
                        <a:moveTo>
                          <a:pt x="34" y="55"/>
                        </a:moveTo>
                        <a:cubicBezTo>
                          <a:pt x="34" y="55"/>
                          <a:pt x="34" y="55"/>
                          <a:pt x="34" y="55"/>
                        </a:cubicBezTo>
                        <a:cubicBezTo>
                          <a:pt x="34" y="55"/>
                          <a:pt x="34" y="55"/>
                          <a:pt x="34" y="55"/>
                        </a:cubicBezTo>
                        <a:cubicBezTo>
                          <a:pt x="34" y="55"/>
                          <a:pt x="34" y="55"/>
                          <a:pt x="34" y="55"/>
                        </a:cubicBezTo>
                        <a:cubicBezTo>
                          <a:pt x="34" y="56"/>
                          <a:pt x="34" y="55"/>
                          <a:pt x="34" y="55"/>
                        </a:cubicBezTo>
                        <a:close/>
                        <a:moveTo>
                          <a:pt x="30" y="54"/>
                        </a:moveTo>
                        <a:cubicBezTo>
                          <a:pt x="31" y="54"/>
                          <a:pt x="31" y="54"/>
                          <a:pt x="31" y="54"/>
                        </a:cubicBezTo>
                        <a:cubicBezTo>
                          <a:pt x="31" y="54"/>
                          <a:pt x="31" y="54"/>
                          <a:pt x="31" y="54"/>
                        </a:cubicBezTo>
                        <a:cubicBezTo>
                          <a:pt x="31" y="54"/>
                          <a:pt x="31" y="54"/>
                          <a:pt x="30" y="54"/>
                        </a:cubicBezTo>
                        <a:close/>
                        <a:moveTo>
                          <a:pt x="29" y="54"/>
                        </a:moveTo>
                        <a:cubicBezTo>
                          <a:pt x="29" y="54"/>
                          <a:pt x="29" y="53"/>
                          <a:pt x="29" y="53"/>
                        </a:cubicBezTo>
                        <a:cubicBezTo>
                          <a:pt x="29" y="53"/>
                          <a:pt x="29" y="54"/>
                          <a:pt x="29" y="54"/>
                        </a:cubicBezTo>
                        <a:close/>
                        <a:moveTo>
                          <a:pt x="31" y="55"/>
                        </a:moveTo>
                        <a:cubicBezTo>
                          <a:pt x="31" y="55"/>
                          <a:pt x="31" y="55"/>
                          <a:pt x="31" y="55"/>
                        </a:cubicBezTo>
                        <a:cubicBezTo>
                          <a:pt x="31" y="55"/>
                          <a:pt x="30" y="55"/>
                          <a:pt x="31" y="55"/>
                        </a:cubicBezTo>
                        <a:close/>
                        <a:moveTo>
                          <a:pt x="33" y="57"/>
                        </a:moveTo>
                        <a:cubicBezTo>
                          <a:pt x="33" y="57"/>
                          <a:pt x="33" y="56"/>
                          <a:pt x="33" y="56"/>
                        </a:cubicBezTo>
                        <a:cubicBezTo>
                          <a:pt x="33" y="56"/>
                          <a:pt x="33" y="56"/>
                          <a:pt x="33" y="57"/>
                        </a:cubicBezTo>
                        <a:cubicBezTo>
                          <a:pt x="33" y="56"/>
                          <a:pt x="33" y="56"/>
                          <a:pt x="34" y="56"/>
                        </a:cubicBezTo>
                        <a:cubicBezTo>
                          <a:pt x="34" y="57"/>
                          <a:pt x="33" y="57"/>
                          <a:pt x="33" y="57"/>
                        </a:cubicBezTo>
                        <a:cubicBezTo>
                          <a:pt x="33" y="57"/>
                          <a:pt x="33" y="57"/>
                          <a:pt x="33" y="57"/>
                        </a:cubicBezTo>
                        <a:close/>
                        <a:moveTo>
                          <a:pt x="34" y="57"/>
                        </a:moveTo>
                        <a:cubicBezTo>
                          <a:pt x="34" y="57"/>
                          <a:pt x="34" y="57"/>
                          <a:pt x="34" y="56"/>
                        </a:cubicBezTo>
                        <a:cubicBezTo>
                          <a:pt x="34" y="57"/>
                          <a:pt x="34" y="57"/>
                          <a:pt x="34" y="57"/>
                        </a:cubicBezTo>
                        <a:close/>
                        <a:moveTo>
                          <a:pt x="29" y="54"/>
                        </a:moveTo>
                        <a:cubicBezTo>
                          <a:pt x="29" y="54"/>
                          <a:pt x="29" y="54"/>
                          <a:pt x="29" y="54"/>
                        </a:cubicBezTo>
                        <a:cubicBezTo>
                          <a:pt x="29" y="54"/>
                          <a:pt x="29" y="54"/>
                          <a:pt x="29" y="54"/>
                        </a:cubicBezTo>
                        <a:cubicBezTo>
                          <a:pt x="29" y="54"/>
                          <a:pt x="29" y="54"/>
                          <a:pt x="29" y="54"/>
                        </a:cubicBezTo>
                        <a:close/>
                        <a:moveTo>
                          <a:pt x="34" y="57"/>
                        </a:moveTo>
                        <a:cubicBezTo>
                          <a:pt x="34" y="57"/>
                          <a:pt x="34" y="58"/>
                          <a:pt x="34" y="58"/>
                        </a:cubicBezTo>
                        <a:cubicBezTo>
                          <a:pt x="34" y="58"/>
                          <a:pt x="34" y="57"/>
                          <a:pt x="34" y="57"/>
                        </a:cubicBezTo>
                        <a:close/>
                        <a:moveTo>
                          <a:pt x="33" y="57"/>
                        </a:moveTo>
                        <a:cubicBezTo>
                          <a:pt x="33" y="57"/>
                          <a:pt x="33" y="57"/>
                          <a:pt x="33" y="57"/>
                        </a:cubicBezTo>
                        <a:cubicBezTo>
                          <a:pt x="33" y="57"/>
                          <a:pt x="33" y="58"/>
                          <a:pt x="33" y="58"/>
                        </a:cubicBezTo>
                        <a:cubicBezTo>
                          <a:pt x="32" y="58"/>
                          <a:pt x="33" y="57"/>
                          <a:pt x="33" y="57"/>
                        </a:cubicBezTo>
                        <a:close/>
                        <a:moveTo>
                          <a:pt x="30" y="56"/>
                        </a:moveTo>
                        <a:cubicBezTo>
                          <a:pt x="30" y="56"/>
                          <a:pt x="30" y="56"/>
                          <a:pt x="30" y="56"/>
                        </a:cubicBezTo>
                        <a:cubicBezTo>
                          <a:pt x="30" y="56"/>
                          <a:pt x="30" y="56"/>
                          <a:pt x="30" y="56"/>
                        </a:cubicBezTo>
                        <a:close/>
                        <a:moveTo>
                          <a:pt x="34" y="59"/>
                        </a:moveTo>
                        <a:cubicBezTo>
                          <a:pt x="34" y="58"/>
                          <a:pt x="34" y="58"/>
                          <a:pt x="34" y="58"/>
                        </a:cubicBezTo>
                        <a:cubicBezTo>
                          <a:pt x="35" y="58"/>
                          <a:pt x="35" y="59"/>
                          <a:pt x="34" y="59"/>
                        </a:cubicBezTo>
                        <a:close/>
                        <a:moveTo>
                          <a:pt x="35" y="59"/>
                        </a:moveTo>
                        <a:cubicBezTo>
                          <a:pt x="35" y="59"/>
                          <a:pt x="35" y="59"/>
                          <a:pt x="35" y="59"/>
                        </a:cubicBezTo>
                        <a:cubicBezTo>
                          <a:pt x="35" y="58"/>
                          <a:pt x="35" y="58"/>
                          <a:pt x="35" y="58"/>
                        </a:cubicBezTo>
                        <a:cubicBezTo>
                          <a:pt x="35" y="58"/>
                          <a:pt x="35" y="59"/>
                          <a:pt x="35" y="59"/>
                        </a:cubicBezTo>
                        <a:cubicBezTo>
                          <a:pt x="35" y="59"/>
                          <a:pt x="35" y="59"/>
                          <a:pt x="35" y="59"/>
                        </a:cubicBezTo>
                        <a:close/>
                        <a:moveTo>
                          <a:pt x="29" y="56"/>
                        </a:moveTo>
                        <a:cubicBezTo>
                          <a:pt x="29" y="56"/>
                          <a:pt x="29" y="55"/>
                          <a:pt x="29" y="55"/>
                        </a:cubicBezTo>
                        <a:cubicBezTo>
                          <a:pt x="29" y="55"/>
                          <a:pt x="29" y="55"/>
                          <a:pt x="29" y="56"/>
                        </a:cubicBezTo>
                        <a:cubicBezTo>
                          <a:pt x="29" y="56"/>
                          <a:pt x="29" y="56"/>
                          <a:pt x="29" y="56"/>
                        </a:cubicBezTo>
                        <a:cubicBezTo>
                          <a:pt x="29" y="56"/>
                          <a:pt x="29" y="55"/>
                          <a:pt x="29" y="56"/>
                        </a:cubicBezTo>
                        <a:close/>
                        <a:moveTo>
                          <a:pt x="32" y="58"/>
                        </a:moveTo>
                        <a:cubicBezTo>
                          <a:pt x="33" y="58"/>
                          <a:pt x="33" y="58"/>
                          <a:pt x="33" y="58"/>
                        </a:cubicBezTo>
                        <a:cubicBezTo>
                          <a:pt x="32" y="58"/>
                          <a:pt x="32" y="58"/>
                          <a:pt x="32" y="58"/>
                        </a:cubicBezTo>
                        <a:cubicBezTo>
                          <a:pt x="32" y="58"/>
                          <a:pt x="32" y="58"/>
                          <a:pt x="32" y="58"/>
                        </a:cubicBezTo>
                        <a:close/>
                        <a:moveTo>
                          <a:pt x="28" y="56"/>
                        </a:moveTo>
                        <a:cubicBezTo>
                          <a:pt x="28" y="56"/>
                          <a:pt x="28" y="56"/>
                          <a:pt x="28" y="56"/>
                        </a:cubicBezTo>
                        <a:cubicBezTo>
                          <a:pt x="27" y="56"/>
                          <a:pt x="28" y="56"/>
                          <a:pt x="28" y="56"/>
                        </a:cubicBezTo>
                        <a:close/>
                        <a:moveTo>
                          <a:pt x="29" y="57"/>
                        </a:moveTo>
                        <a:cubicBezTo>
                          <a:pt x="29" y="57"/>
                          <a:pt x="29" y="57"/>
                          <a:pt x="29" y="57"/>
                        </a:cubicBezTo>
                        <a:cubicBezTo>
                          <a:pt x="29" y="57"/>
                          <a:pt x="29" y="57"/>
                          <a:pt x="29" y="57"/>
                        </a:cubicBezTo>
                        <a:cubicBezTo>
                          <a:pt x="29" y="57"/>
                          <a:pt x="29" y="57"/>
                          <a:pt x="29" y="57"/>
                        </a:cubicBezTo>
                        <a:close/>
                        <a:moveTo>
                          <a:pt x="32" y="59"/>
                        </a:moveTo>
                        <a:cubicBezTo>
                          <a:pt x="32" y="59"/>
                          <a:pt x="32" y="59"/>
                          <a:pt x="32" y="59"/>
                        </a:cubicBezTo>
                        <a:cubicBezTo>
                          <a:pt x="32" y="59"/>
                          <a:pt x="32" y="59"/>
                          <a:pt x="32" y="59"/>
                        </a:cubicBezTo>
                        <a:close/>
                        <a:moveTo>
                          <a:pt x="30" y="57"/>
                        </a:moveTo>
                        <a:cubicBezTo>
                          <a:pt x="30" y="58"/>
                          <a:pt x="30" y="58"/>
                          <a:pt x="30" y="58"/>
                        </a:cubicBezTo>
                        <a:cubicBezTo>
                          <a:pt x="29" y="58"/>
                          <a:pt x="30" y="58"/>
                          <a:pt x="30" y="57"/>
                        </a:cubicBezTo>
                        <a:close/>
                        <a:moveTo>
                          <a:pt x="31" y="59"/>
                        </a:moveTo>
                        <a:cubicBezTo>
                          <a:pt x="31" y="59"/>
                          <a:pt x="31" y="59"/>
                          <a:pt x="31" y="59"/>
                        </a:cubicBezTo>
                        <a:cubicBezTo>
                          <a:pt x="31" y="59"/>
                          <a:pt x="31" y="59"/>
                          <a:pt x="31" y="59"/>
                        </a:cubicBezTo>
                        <a:close/>
                        <a:moveTo>
                          <a:pt x="29" y="58"/>
                        </a:moveTo>
                        <a:cubicBezTo>
                          <a:pt x="29" y="58"/>
                          <a:pt x="29" y="58"/>
                          <a:pt x="29" y="58"/>
                        </a:cubicBezTo>
                        <a:cubicBezTo>
                          <a:pt x="29" y="58"/>
                          <a:pt x="29" y="58"/>
                          <a:pt x="29" y="58"/>
                        </a:cubicBezTo>
                        <a:close/>
                        <a:moveTo>
                          <a:pt x="27" y="58"/>
                        </a:moveTo>
                        <a:cubicBezTo>
                          <a:pt x="27" y="58"/>
                          <a:pt x="27" y="58"/>
                          <a:pt x="28" y="58"/>
                        </a:cubicBezTo>
                        <a:cubicBezTo>
                          <a:pt x="28" y="58"/>
                          <a:pt x="28" y="58"/>
                          <a:pt x="27" y="58"/>
                        </a:cubicBezTo>
                        <a:close/>
                        <a:moveTo>
                          <a:pt x="29" y="59"/>
                        </a:moveTo>
                        <a:cubicBezTo>
                          <a:pt x="29" y="59"/>
                          <a:pt x="29" y="59"/>
                          <a:pt x="29" y="59"/>
                        </a:cubicBezTo>
                        <a:cubicBezTo>
                          <a:pt x="29" y="59"/>
                          <a:pt x="28" y="59"/>
                          <a:pt x="28" y="59"/>
                        </a:cubicBezTo>
                        <a:cubicBezTo>
                          <a:pt x="28" y="59"/>
                          <a:pt x="29" y="59"/>
                          <a:pt x="29" y="59"/>
                        </a:cubicBezTo>
                        <a:cubicBezTo>
                          <a:pt x="29" y="59"/>
                          <a:pt x="28" y="59"/>
                          <a:pt x="29" y="59"/>
                        </a:cubicBezTo>
                        <a:cubicBezTo>
                          <a:pt x="29" y="59"/>
                          <a:pt x="29" y="59"/>
                          <a:pt x="29" y="58"/>
                        </a:cubicBezTo>
                        <a:cubicBezTo>
                          <a:pt x="29" y="59"/>
                          <a:pt x="29" y="59"/>
                          <a:pt x="29" y="59"/>
                        </a:cubicBezTo>
                        <a:cubicBezTo>
                          <a:pt x="29" y="59"/>
                          <a:pt x="29" y="59"/>
                          <a:pt x="29" y="59"/>
                        </a:cubicBezTo>
                        <a:cubicBezTo>
                          <a:pt x="29" y="59"/>
                          <a:pt x="29" y="59"/>
                          <a:pt x="29" y="59"/>
                        </a:cubicBezTo>
                        <a:close/>
                        <a:moveTo>
                          <a:pt x="33" y="62"/>
                        </a:moveTo>
                        <a:cubicBezTo>
                          <a:pt x="33" y="61"/>
                          <a:pt x="33" y="61"/>
                          <a:pt x="33" y="61"/>
                        </a:cubicBezTo>
                        <a:cubicBezTo>
                          <a:pt x="33" y="61"/>
                          <a:pt x="33" y="61"/>
                          <a:pt x="33" y="62"/>
                        </a:cubicBezTo>
                        <a:close/>
                        <a:moveTo>
                          <a:pt x="29" y="60"/>
                        </a:moveTo>
                        <a:cubicBezTo>
                          <a:pt x="29" y="59"/>
                          <a:pt x="29" y="60"/>
                          <a:pt x="29" y="60"/>
                        </a:cubicBezTo>
                        <a:cubicBezTo>
                          <a:pt x="29" y="60"/>
                          <a:pt x="29" y="59"/>
                          <a:pt x="29" y="59"/>
                        </a:cubicBezTo>
                        <a:cubicBezTo>
                          <a:pt x="30" y="59"/>
                          <a:pt x="30" y="59"/>
                          <a:pt x="30" y="59"/>
                        </a:cubicBezTo>
                        <a:cubicBezTo>
                          <a:pt x="30" y="60"/>
                          <a:pt x="29" y="60"/>
                          <a:pt x="29" y="60"/>
                        </a:cubicBezTo>
                        <a:cubicBezTo>
                          <a:pt x="29" y="60"/>
                          <a:pt x="29" y="60"/>
                          <a:pt x="29" y="60"/>
                        </a:cubicBezTo>
                        <a:close/>
                        <a:moveTo>
                          <a:pt x="27" y="58"/>
                        </a:moveTo>
                        <a:cubicBezTo>
                          <a:pt x="27" y="58"/>
                          <a:pt x="27" y="58"/>
                          <a:pt x="27" y="58"/>
                        </a:cubicBezTo>
                        <a:cubicBezTo>
                          <a:pt x="26" y="58"/>
                          <a:pt x="27" y="58"/>
                          <a:pt x="27" y="58"/>
                        </a:cubicBezTo>
                        <a:close/>
                        <a:moveTo>
                          <a:pt x="28" y="59"/>
                        </a:moveTo>
                        <a:cubicBezTo>
                          <a:pt x="28" y="59"/>
                          <a:pt x="28" y="59"/>
                          <a:pt x="28" y="59"/>
                        </a:cubicBezTo>
                        <a:cubicBezTo>
                          <a:pt x="28" y="59"/>
                          <a:pt x="28" y="59"/>
                          <a:pt x="28" y="60"/>
                        </a:cubicBezTo>
                        <a:cubicBezTo>
                          <a:pt x="28" y="59"/>
                          <a:pt x="28" y="59"/>
                          <a:pt x="28" y="59"/>
                        </a:cubicBezTo>
                        <a:cubicBezTo>
                          <a:pt x="28" y="59"/>
                          <a:pt x="28" y="59"/>
                          <a:pt x="28" y="59"/>
                        </a:cubicBezTo>
                        <a:close/>
                        <a:moveTo>
                          <a:pt x="31" y="61"/>
                        </a:moveTo>
                        <a:cubicBezTo>
                          <a:pt x="31" y="61"/>
                          <a:pt x="31" y="61"/>
                          <a:pt x="32" y="61"/>
                        </a:cubicBezTo>
                        <a:cubicBezTo>
                          <a:pt x="32" y="61"/>
                          <a:pt x="32" y="61"/>
                          <a:pt x="31" y="61"/>
                        </a:cubicBezTo>
                        <a:close/>
                        <a:moveTo>
                          <a:pt x="28" y="59"/>
                        </a:moveTo>
                        <a:cubicBezTo>
                          <a:pt x="28" y="60"/>
                          <a:pt x="28" y="60"/>
                          <a:pt x="28" y="60"/>
                        </a:cubicBezTo>
                        <a:cubicBezTo>
                          <a:pt x="28" y="60"/>
                          <a:pt x="28" y="59"/>
                          <a:pt x="28" y="59"/>
                        </a:cubicBezTo>
                        <a:cubicBezTo>
                          <a:pt x="28" y="59"/>
                          <a:pt x="28" y="59"/>
                          <a:pt x="28" y="59"/>
                        </a:cubicBezTo>
                        <a:close/>
                        <a:moveTo>
                          <a:pt x="29" y="61"/>
                        </a:moveTo>
                        <a:cubicBezTo>
                          <a:pt x="29" y="61"/>
                          <a:pt x="29" y="60"/>
                          <a:pt x="29" y="60"/>
                        </a:cubicBezTo>
                        <a:cubicBezTo>
                          <a:pt x="29" y="60"/>
                          <a:pt x="29" y="61"/>
                          <a:pt x="29" y="61"/>
                        </a:cubicBezTo>
                        <a:close/>
                        <a:moveTo>
                          <a:pt x="32" y="62"/>
                        </a:moveTo>
                        <a:cubicBezTo>
                          <a:pt x="32" y="62"/>
                          <a:pt x="32" y="62"/>
                          <a:pt x="32" y="62"/>
                        </a:cubicBezTo>
                        <a:cubicBezTo>
                          <a:pt x="32" y="62"/>
                          <a:pt x="32" y="62"/>
                          <a:pt x="32" y="62"/>
                        </a:cubicBezTo>
                        <a:close/>
                        <a:moveTo>
                          <a:pt x="26" y="59"/>
                        </a:moveTo>
                        <a:cubicBezTo>
                          <a:pt x="26" y="59"/>
                          <a:pt x="26" y="59"/>
                          <a:pt x="26" y="59"/>
                        </a:cubicBezTo>
                        <a:cubicBezTo>
                          <a:pt x="26" y="59"/>
                          <a:pt x="26" y="59"/>
                          <a:pt x="26" y="59"/>
                        </a:cubicBezTo>
                        <a:cubicBezTo>
                          <a:pt x="26" y="59"/>
                          <a:pt x="26" y="59"/>
                          <a:pt x="26" y="59"/>
                        </a:cubicBezTo>
                        <a:close/>
                        <a:moveTo>
                          <a:pt x="28" y="60"/>
                        </a:moveTo>
                        <a:cubicBezTo>
                          <a:pt x="28" y="60"/>
                          <a:pt x="28" y="60"/>
                          <a:pt x="28" y="60"/>
                        </a:cubicBezTo>
                        <a:cubicBezTo>
                          <a:pt x="29" y="60"/>
                          <a:pt x="29" y="60"/>
                          <a:pt x="29" y="60"/>
                        </a:cubicBezTo>
                        <a:cubicBezTo>
                          <a:pt x="29" y="60"/>
                          <a:pt x="28" y="60"/>
                          <a:pt x="28" y="60"/>
                        </a:cubicBezTo>
                        <a:cubicBezTo>
                          <a:pt x="28" y="60"/>
                          <a:pt x="28" y="60"/>
                          <a:pt x="28" y="60"/>
                        </a:cubicBezTo>
                        <a:close/>
                        <a:moveTo>
                          <a:pt x="31" y="62"/>
                        </a:moveTo>
                        <a:cubicBezTo>
                          <a:pt x="31" y="62"/>
                          <a:pt x="31" y="62"/>
                          <a:pt x="31" y="62"/>
                        </a:cubicBezTo>
                        <a:cubicBezTo>
                          <a:pt x="31" y="62"/>
                          <a:pt x="31" y="62"/>
                          <a:pt x="31" y="62"/>
                        </a:cubicBezTo>
                        <a:cubicBezTo>
                          <a:pt x="31" y="62"/>
                          <a:pt x="31" y="62"/>
                          <a:pt x="31" y="62"/>
                        </a:cubicBezTo>
                        <a:close/>
                        <a:moveTo>
                          <a:pt x="26" y="61"/>
                        </a:moveTo>
                        <a:cubicBezTo>
                          <a:pt x="26" y="60"/>
                          <a:pt x="27" y="60"/>
                          <a:pt x="27" y="60"/>
                        </a:cubicBezTo>
                        <a:cubicBezTo>
                          <a:pt x="27" y="60"/>
                          <a:pt x="27" y="60"/>
                          <a:pt x="26" y="61"/>
                        </a:cubicBezTo>
                        <a:close/>
                        <a:moveTo>
                          <a:pt x="36" y="65"/>
                        </a:moveTo>
                        <a:cubicBezTo>
                          <a:pt x="36" y="65"/>
                          <a:pt x="36" y="65"/>
                          <a:pt x="36" y="65"/>
                        </a:cubicBezTo>
                        <a:cubicBezTo>
                          <a:pt x="36" y="65"/>
                          <a:pt x="36" y="65"/>
                          <a:pt x="36" y="65"/>
                        </a:cubicBezTo>
                        <a:cubicBezTo>
                          <a:pt x="36" y="65"/>
                          <a:pt x="36" y="65"/>
                          <a:pt x="36" y="65"/>
                        </a:cubicBezTo>
                        <a:close/>
                        <a:moveTo>
                          <a:pt x="32" y="63"/>
                        </a:move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lose/>
                        <a:moveTo>
                          <a:pt x="35" y="65"/>
                        </a:moveTo>
                        <a:cubicBezTo>
                          <a:pt x="34" y="65"/>
                          <a:pt x="35" y="65"/>
                          <a:pt x="35" y="64"/>
                        </a:cubicBezTo>
                        <a:cubicBezTo>
                          <a:pt x="35" y="65"/>
                          <a:pt x="35" y="65"/>
                          <a:pt x="35" y="65"/>
                        </a:cubicBezTo>
                        <a:cubicBezTo>
                          <a:pt x="35" y="65"/>
                          <a:pt x="35" y="65"/>
                          <a:pt x="35" y="65"/>
                        </a:cubicBezTo>
                        <a:close/>
                        <a:moveTo>
                          <a:pt x="30" y="63"/>
                        </a:moveTo>
                        <a:cubicBezTo>
                          <a:pt x="30" y="63"/>
                          <a:pt x="30" y="63"/>
                          <a:pt x="30" y="63"/>
                        </a:cubicBezTo>
                        <a:cubicBezTo>
                          <a:pt x="30" y="63"/>
                          <a:pt x="30" y="63"/>
                          <a:pt x="30" y="63"/>
                        </a:cubicBezTo>
                        <a:cubicBezTo>
                          <a:pt x="30" y="63"/>
                          <a:pt x="30" y="63"/>
                          <a:pt x="30" y="63"/>
                        </a:cubicBezTo>
                        <a:close/>
                        <a:moveTo>
                          <a:pt x="34" y="65"/>
                        </a:moveTo>
                        <a:cubicBezTo>
                          <a:pt x="34" y="65"/>
                          <a:pt x="34" y="65"/>
                          <a:pt x="34" y="65"/>
                        </a:cubicBezTo>
                        <a:cubicBezTo>
                          <a:pt x="34" y="65"/>
                          <a:pt x="34" y="65"/>
                          <a:pt x="34" y="65"/>
                        </a:cubicBezTo>
                        <a:close/>
                        <a:moveTo>
                          <a:pt x="29" y="62"/>
                        </a:moveTo>
                        <a:cubicBezTo>
                          <a:pt x="29" y="62"/>
                          <a:pt x="29" y="62"/>
                          <a:pt x="29" y="62"/>
                        </a:cubicBezTo>
                        <a:cubicBezTo>
                          <a:pt x="29" y="62"/>
                          <a:pt x="29" y="63"/>
                          <a:pt x="29" y="62"/>
                        </a:cubicBezTo>
                        <a:close/>
                        <a:moveTo>
                          <a:pt x="26" y="61"/>
                        </a:moveTo>
                        <a:cubicBezTo>
                          <a:pt x="26" y="61"/>
                          <a:pt x="26" y="61"/>
                          <a:pt x="26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6" y="61"/>
                        </a:cubicBezTo>
                        <a:close/>
                        <a:moveTo>
                          <a:pt x="34" y="66"/>
                        </a:moveTo>
                        <a:cubicBezTo>
                          <a:pt x="34" y="66"/>
                          <a:pt x="34" y="66"/>
                          <a:pt x="34" y="66"/>
                        </a:cubicBezTo>
                        <a:cubicBezTo>
                          <a:pt x="34" y="66"/>
                          <a:pt x="34" y="66"/>
                          <a:pt x="34" y="66"/>
                        </a:cubicBezTo>
                        <a:cubicBezTo>
                          <a:pt x="34" y="66"/>
                          <a:pt x="34" y="66"/>
                          <a:pt x="34" y="66"/>
                        </a:cubicBezTo>
                        <a:cubicBezTo>
                          <a:pt x="34" y="66"/>
                          <a:pt x="34" y="66"/>
                          <a:pt x="34" y="66"/>
                        </a:cubicBezTo>
                        <a:cubicBezTo>
                          <a:pt x="34" y="66"/>
                          <a:pt x="34" y="66"/>
                          <a:pt x="34" y="66"/>
                        </a:cubicBezTo>
                        <a:close/>
                        <a:moveTo>
                          <a:pt x="26" y="62"/>
                        </a:moveTo>
                        <a:cubicBezTo>
                          <a:pt x="26" y="62"/>
                          <a:pt x="26" y="62"/>
                          <a:pt x="26" y="62"/>
                        </a:cubicBezTo>
                        <a:cubicBezTo>
                          <a:pt x="26" y="62"/>
                          <a:pt x="26" y="62"/>
                          <a:pt x="26" y="62"/>
                        </a:cubicBezTo>
                        <a:close/>
                        <a:moveTo>
                          <a:pt x="26" y="63"/>
                        </a:moveTo>
                        <a:cubicBezTo>
                          <a:pt x="26" y="63"/>
                          <a:pt x="26" y="63"/>
                          <a:pt x="26" y="63"/>
                        </a:cubicBezTo>
                        <a:cubicBezTo>
                          <a:pt x="26" y="63"/>
                          <a:pt x="26" y="63"/>
                          <a:pt x="26" y="63"/>
                        </a:cubicBezTo>
                        <a:cubicBezTo>
                          <a:pt x="26" y="63"/>
                          <a:pt x="26" y="63"/>
                          <a:pt x="26" y="63"/>
                        </a:cubicBezTo>
                        <a:cubicBezTo>
                          <a:pt x="26" y="62"/>
                          <a:pt x="26" y="63"/>
                          <a:pt x="26" y="63"/>
                        </a:cubicBezTo>
                        <a:close/>
                        <a:moveTo>
                          <a:pt x="26" y="63"/>
                        </a:moveTo>
                        <a:cubicBezTo>
                          <a:pt x="26" y="63"/>
                          <a:pt x="26" y="63"/>
                          <a:pt x="26" y="63"/>
                        </a:cubicBezTo>
                        <a:cubicBezTo>
                          <a:pt x="26" y="63"/>
                          <a:pt x="26" y="63"/>
                          <a:pt x="26" y="63"/>
                        </a:cubicBezTo>
                        <a:cubicBezTo>
                          <a:pt x="26" y="63"/>
                          <a:pt x="26" y="63"/>
                          <a:pt x="26" y="63"/>
                        </a:cubicBezTo>
                        <a:close/>
                        <a:moveTo>
                          <a:pt x="25" y="63"/>
                        </a:moveTo>
                        <a:cubicBezTo>
                          <a:pt x="26" y="63"/>
                          <a:pt x="26" y="63"/>
                          <a:pt x="26" y="63"/>
                        </a:cubicBezTo>
                        <a:cubicBezTo>
                          <a:pt x="26" y="63"/>
                          <a:pt x="25" y="64"/>
                          <a:pt x="25" y="63"/>
                        </a:cubicBezTo>
                        <a:cubicBezTo>
                          <a:pt x="25" y="63"/>
                          <a:pt x="25" y="63"/>
                          <a:pt x="25" y="63"/>
                        </a:cubicBezTo>
                        <a:close/>
                        <a:moveTo>
                          <a:pt x="27" y="65"/>
                        </a:moveTo>
                        <a:cubicBezTo>
                          <a:pt x="27" y="65"/>
                          <a:pt x="28" y="65"/>
                          <a:pt x="28" y="65"/>
                        </a:cubicBezTo>
                        <a:cubicBezTo>
                          <a:pt x="28" y="65"/>
                          <a:pt x="28" y="65"/>
                          <a:pt x="28" y="65"/>
                        </a:cubicBezTo>
                        <a:cubicBezTo>
                          <a:pt x="28" y="65"/>
                          <a:pt x="27" y="65"/>
                          <a:pt x="27" y="65"/>
                        </a:cubicBezTo>
                        <a:close/>
                        <a:moveTo>
                          <a:pt x="25" y="64"/>
                        </a:moveTo>
                        <a:cubicBezTo>
                          <a:pt x="25" y="64"/>
                          <a:pt x="25" y="64"/>
                          <a:pt x="25" y="64"/>
                        </a:cubicBezTo>
                        <a:cubicBezTo>
                          <a:pt x="25" y="64"/>
                          <a:pt x="25" y="64"/>
                          <a:pt x="25" y="64"/>
                        </a:cubicBezTo>
                        <a:cubicBezTo>
                          <a:pt x="25" y="64"/>
                          <a:pt x="25" y="64"/>
                          <a:pt x="25" y="64"/>
                        </a:cubicBezTo>
                        <a:close/>
                        <a:moveTo>
                          <a:pt x="29" y="66"/>
                        </a:moveTo>
                        <a:cubicBezTo>
                          <a:pt x="29" y="66"/>
                          <a:pt x="29" y="66"/>
                          <a:pt x="29" y="66"/>
                        </a:cubicBezTo>
                        <a:cubicBezTo>
                          <a:pt x="29" y="66"/>
                          <a:pt x="29" y="66"/>
                          <a:pt x="29" y="66"/>
                        </a:cubicBezTo>
                        <a:cubicBezTo>
                          <a:pt x="29" y="66"/>
                          <a:pt x="29" y="66"/>
                          <a:pt x="29" y="66"/>
                        </a:cubicBezTo>
                        <a:close/>
                        <a:moveTo>
                          <a:pt x="33" y="71"/>
                        </a:moveTo>
                        <a:cubicBezTo>
                          <a:pt x="33" y="71"/>
                          <a:pt x="33" y="71"/>
                          <a:pt x="32" y="71"/>
                        </a:cubicBezTo>
                        <a:cubicBezTo>
                          <a:pt x="33" y="70"/>
                          <a:pt x="33" y="69"/>
                          <a:pt x="34" y="69"/>
                        </a:cubicBezTo>
                        <a:cubicBezTo>
                          <a:pt x="34" y="69"/>
                          <a:pt x="34" y="69"/>
                          <a:pt x="34" y="69"/>
                        </a:cubicBezTo>
                        <a:cubicBezTo>
                          <a:pt x="33" y="69"/>
                          <a:pt x="33" y="70"/>
                          <a:pt x="33" y="71"/>
                        </a:cubicBezTo>
                        <a:cubicBezTo>
                          <a:pt x="33" y="71"/>
                          <a:pt x="33" y="71"/>
                          <a:pt x="33" y="71"/>
                        </a:cubicBezTo>
                        <a:close/>
                        <a:moveTo>
                          <a:pt x="26" y="66"/>
                        </a:moveTo>
                        <a:cubicBezTo>
                          <a:pt x="26" y="66"/>
                          <a:pt x="26" y="66"/>
                          <a:pt x="26" y="66"/>
                        </a:cubicBezTo>
                        <a:cubicBezTo>
                          <a:pt x="26" y="66"/>
                          <a:pt x="26" y="66"/>
                          <a:pt x="26" y="66"/>
                        </a:cubicBezTo>
                        <a:cubicBezTo>
                          <a:pt x="26" y="66"/>
                          <a:pt x="26" y="66"/>
                          <a:pt x="26" y="66"/>
                        </a:cubicBezTo>
                        <a:cubicBezTo>
                          <a:pt x="26" y="66"/>
                          <a:pt x="26" y="66"/>
                          <a:pt x="26" y="66"/>
                        </a:cubicBezTo>
                        <a:cubicBezTo>
                          <a:pt x="26" y="66"/>
                          <a:pt x="26" y="66"/>
                          <a:pt x="26" y="65"/>
                        </a:cubicBezTo>
                        <a:cubicBezTo>
                          <a:pt x="26" y="65"/>
                          <a:pt x="26" y="65"/>
                          <a:pt x="26" y="65"/>
                        </a:cubicBezTo>
                        <a:cubicBezTo>
                          <a:pt x="26" y="65"/>
                          <a:pt x="26" y="65"/>
                          <a:pt x="26" y="65"/>
                        </a:cubicBezTo>
                        <a:cubicBezTo>
                          <a:pt x="26" y="65"/>
                          <a:pt x="26" y="65"/>
                          <a:pt x="26" y="65"/>
                        </a:cubicBezTo>
                        <a:cubicBezTo>
                          <a:pt x="26" y="65"/>
                          <a:pt x="26" y="66"/>
                          <a:pt x="26" y="66"/>
                        </a:cubicBezTo>
                        <a:close/>
                        <a:moveTo>
                          <a:pt x="25" y="66"/>
                        </a:moveTo>
                        <a:cubicBezTo>
                          <a:pt x="25" y="66"/>
                          <a:pt x="25" y="66"/>
                          <a:pt x="25" y="66"/>
                        </a:cubicBezTo>
                        <a:cubicBezTo>
                          <a:pt x="25" y="67"/>
                          <a:pt x="25" y="67"/>
                          <a:pt x="25" y="67"/>
                        </a:cubicBezTo>
                        <a:cubicBezTo>
                          <a:pt x="25" y="67"/>
                          <a:pt x="25" y="67"/>
                          <a:pt x="25" y="67"/>
                        </a:cubicBezTo>
                        <a:cubicBezTo>
                          <a:pt x="25" y="67"/>
                          <a:pt x="25" y="67"/>
                          <a:pt x="25" y="67"/>
                        </a:cubicBezTo>
                        <a:cubicBezTo>
                          <a:pt x="25" y="67"/>
                          <a:pt x="25" y="66"/>
                          <a:pt x="25" y="66"/>
                        </a:cubicBezTo>
                        <a:cubicBezTo>
                          <a:pt x="25" y="66"/>
                          <a:pt x="25" y="66"/>
                          <a:pt x="25" y="66"/>
                        </a:cubicBezTo>
                        <a:cubicBezTo>
                          <a:pt x="26" y="66"/>
                          <a:pt x="25" y="66"/>
                          <a:pt x="25" y="66"/>
                        </a:cubicBezTo>
                        <a:close/>
                        <a:moveTo>
                          <a:pt x="28" y="68"/>
                        </a:moveTo>
                        <a:cubicBezTo>
                          <a:pt x="28" y="68"/>
                          <a:pt x="28" y="68"/>
                          <a:pt x="28" y="68"/>
                        </a:cubicBezTo>
                        <a:cubicBezTo>
                          <a:pt x="28" y="68"/>
                          <a:pt x="28" y="68"/>
                          <a:pt x="28" y="68"/>
                        </a:cubicBezTo>
                        <a:cubicBezTo>
                          <a:pt x="28" y="68"/>
                          <a:pt x="28" y="68"/>
                          <a:pt x="28" y="68"/>
                        </a:cubicBezTo>
                        <a:close/>
                        <a:moveTo>
                          <a:pt x="26" y="67"/>
                        </a:moveTo>
                        <a:cubicBezTo>
                          <a:pt x="26" y="67"/>
                          <a:pt x="26" y="67"/>
                          <a:pt x="26" y="67"/>
                        </a:cubicBezTo>
                        <a:cubicBezTo>
                          <a:pt x="25" y="67"/>
                          <a:pt x="25" y="67"/>
                          <a:pt x="25" y="66"/>
                        </a:cubicBezTo>
                        <a:cubicBezTo>
                          <a:pt x="25" y="67"/>
                          <a:pt x="26" y="66"/>
                          <a:pt x="26" y="67"/>
                        </a:cubicBezTo>
                        <a:close/>
                        <a:moveTo>
                          <a:pt x="25" y="67"/>
                        </a:moveTo>
                        <a:cubicBezTo>
                          <a:pt x="24" y="67"/>
                          <a:pt x="25" y="66"/>
                          <a:pt x="25" y="66"/>
                        </a:cubicBezTo>
                        <a:cubicBezTo>
                          <a:pt x="25" y="66"/>
                          <a:pt x="25" y="67"/>
                          <a:pt x="25" y="67"/>
                        </a:cubicBezTo>
                        <a:close/>
                        <a:moveTo>
                          <a:pt x="24" y="67"/>
                        </a:move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7"/>
                          <a:pt x="24" y="67"/>
                        </a:cubicBezTo>
                        <a:close/>
                        <a:moveTo>
                          <a:pt x="27" y="69"/>
                        </a:moveTo>
                        <a:cubicBezTo>
                          <a:pt x="27" y="69"/>
                          <a:pt x="27" y="69"/>
                          <a:pt x="27" y="69"/>
                        </a:cubicBezTo>
                        <a:cubicBezTo>
                          <a:pt x="27" y="69"/>
                          <a:pt x="27" y="69"/>
                          <a:pt x="27" y="69"/>
                        </a:cubicBezTo>
                        <a:cubicBezTo>
                          <a:pt x="27" y="69"/>
                          <a:pt x="27" y="69"/>
                          <a:pt x="27" y="69"/>
                        </a:cubicBezTo>
                        <a:close/>
                        <a:moveTo>
                          <a:pt x="23" y="67"/>
                        </a:moveTo>
                        <a:cubicBezTo>
                          <a:pt x="23" y="67"/>
                          <a:pt x="24" y="67"/>
                          <a:pt x="24" y="67"/>
                        </a:cubicBezTo>
                        <a:cubicBezTo>
                          <a:pt x="24" y="67"/>
                          <a:pt x="24" y="67"/>
                          <a:pt x="23" y="67"/>
                        </a:cubicBezTo>
                        <a:close/>
                        <a:moveTo>
                          <a:pt x="25" y="68"/>
                        </a:moveTo>
                        <a:cubicBezTo>
                          <a:pt x="25" y="68"/>
                          <a:pt x="25" y="68"/>
                          <a:pt x="25" y="68"/>
                        </a:cubicBezTo>
                        <a:cubicBezTo>
                          <a:pt x="25" y="68"/>
                          <a:pt x="25" y="68"/>
                          <a:pt x="25" y="68"/>
                        </a:cubicBezTo>
                        <a:cubicBezTo>
                          <a:pt x="25" y="68"/>
                          <a:pt x="25" y="68"/>
                          <a:pt x="25" y="68"/>
                        </a:cubicBezTo>
                        <a:close/>
                        <a:moveTo>
                          <a:pt x="23" y="68"/>
                        </a:moveTo>
                        <a:cubicBezTo>
                          <a:pt x="23" y="68"/>
                          <a:pt x="23" y="68"/>
                          <a:pt x="23" y="68"/>
                        </a:cubicBezTo>
                        <a:cubicBezTo>
                          <a:pt x="23" y="68"/>
                          <a:pt x="23" y="68"/>
                          <a:pt x="23" y="67"/>
                        </a:cubicBezTo>
                        <a:cubicBezTo>
                          <a:pt x="23" y="67"/>
                          <a:pt x="23" y="67"/>
                          <a:pt x="23" y="67"/>
                        </a:cubicBezTo>
                        <a:cubicBezTo>
                          <a:pt x="23" y="67"/>
                          <a:pt x="23" y="67"/>
                          <a:pt x="23" y="68"/>
                        </a:cubicBezTo>
                        <a:cubicBezTo>
                          <a:pt x="23" y="68"/>
                          <a:pt x="23" y="67"/>
                          <a:pt x="23" y="68"/>
                        </a:cubicBezTo>
                        <a:close/>
                        <a:moveTo>
                          <a:pt x="24" y="68"/>
                        </a:moveTo>
                        <a:cubicBezTo>
                          <a:pt x="24" y="68"/>
                          <a:pt x="24" y="68"/>
                          <a:pt x="24" y="67"/>
                        </a:cubicBezTo>
                        <a:cubicBezTo>
                          <a:pt x="24" y="68"/>
                          <a:pt x="24" y="68"/>
                          <a:pt x="24" y="68"/>
                        </a:cubicBezTo>
                        <a:close/>
                        <a:moveTo>
                          <a:pt x="27" y="70"/>
                        </a:moveTo>
                        <a:cubicBezTo>
                          <a:pt x="27" y="70"/>
                          <a:pt x="27" y="71"/>
                          <a:pt x="27" y="71"/>
                        </a:cubicBezTo>
                        <a:cubicBezTo>
                          <a:pt x="26" y="70"/>
                          <a:pt x="27" y="70"/>
                          <a:pt x="27" y="70"/>
                        </a:cubicBezTo>
                        <a:cubicBezTo>
                          <a:pt x="27" y="70"/>
                          <a:pt x="27" y="70"/>
                          <a:pt x="27" y="70"/>
                        </a:cubicBezTo>
                        <a:close/>
                        <a:moveTo>
                          <a:pt x="26" y="70"/>
                        </a:move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70"/>
                        </a:cubicBezTo>
                        <a:cubicBezTo>
                          <a:pt x="26" y="70"/>
                          <a:pt x="26" y="70"/>
                          <a:pt x="26" y="70"/>
                        </a:cubicBezTo>
                        <a:close/>
                        <a:moveTo>
                          <a:pt x="25" y="70"/>
                        </a:moveTo>
                        <a:cubicBezTo>
                          <a:pt x="25" y="69"/>
                          <a:pt x="25" y="69"/>
                          <a:pt x="25" y="69"/>
                        </a:cubicBezTo>
                        <a:cubicBezTo>
                          <a:pt x="25" y="69"/>
                          <a:pt x="25" y="69"/>
                          <a:pt x="25" y="69"/>
                        </a:cubicBezTo>
                        <a:cubicBezTo>
                          <a:pt x="25" y="69"/>
                          <a:pt x="25" y="69"/>
                          <a:pt x="25" y="70"/>
                        </a:cubicBezTo>
                        <a:close/>
                        <a:moveTo>
                          <a:pt x="25" y="69"/>
                        </a:moveTo>
                        <a:cubicBezTo>
                          <a:pt x="25" y="69"/>
                          <a:pt x="25" y="70"/>
                          <a:pt x="25" y="70"/>
                        </a:cubicBezTo>
                        <a:cubicBezTo>
                          <a:pt x="25" y="70"/>
                          <a:pt x="25" y="69"/>
                          <a:pt x="25" y="69"/>
                        </a:cubicBezTo>
                        <a:close/>
                        <a:moveTo>
                          <a:pt x="25" y="70"/>
                        </a:moveTo>
                        <a:cubicBezTo>
                          <a:pt x="25" y="70"/>
                          <a:pt x="25" y="70"/>
                          <a:pt x="24" y="70"/>
                        </a:cubicBezTo>
                        <a:cubicBezTo>
                          <a:pt x="24" y="70"/>
                          <a:pt x="25" y="70"/>
                          <a:pt x="25" y="70"/>
                        </a:cubicBezTo>
                        <a:cubicBezTo>
                          <a:pt x="25" y="70"/>
                          <a:pt x="25" y="70"/>
                          <a:pt x="25" y="70"/>
                        </a:cubicBezTo>
                        <a:close/>
                        <a:moveTo>
                          <a:pt x="25" y="71"/>
                        </a:moveTo>
                        <a:cubicBezTo>
                          <a:pt x="25" y="71"/>
                          <a:pt x="26" y="71"/>
                          <a:pt x="26" y="71"/>
                        </a:cubicBezTo>
                        <a:cubicBezTo>
                          <a:pt x="26" y="71"/>
                          <a:pt x="26" y="71"/>
                          <a:pt x="26" y="71"/>
                        </a:cubicBezTo>
                        <a:cubicBezTo>
                          <a:pt x="25" y="71"/>
                          <a:pt x="26" y="71"/>
                          <a:pt x="25" y="71"/>
                        </a:cubicBezTo>
                        <a:cubicBezTo>
                          <a:pt x="25" y="71"/>
                          <a:pt x="25" y="72"/>
                          <a:pt x="25" y="72"/>
                        </a:cubicBezTo>
                        <a:cubicBezTo>
                          <a:pt x="25" y="72"/>
                          <a:pt x="25" y="73"/>
                          <a:pt x="24" y="73"/>
                        </a:cubicBezTo>
                        <a:cubicBezTo>
                          <a:pt x="25" y="72"/>
                          <a:pt x="25" y="71"/>
                          <a:pt x="26" y="70"/>
                        </a:cubicBezTo>
                        <a:cubicBezTo>
                          <a:pt x="26" y="70"/>
                          <a:pt x="26" y="70"/>
                          <a:pt x="25" y="71"/>
                        </a:cubicBezTo>
                        <a:close/>
                        <a:moveTo>
                          <a:pt x="23" y="69"/>
                        </a:moveTo>
                        <a:cubicBezTo>
                          <a:pt x="23" y="69"/>
                          <a:pt x="23" y="69"/>
                          <a:pt x="23" y="69"/>
                        </a:cubicBezTo>
                        <a:cubicBezTo>
                          <a:pt x="22" y="69"/>
                          <a:pt x="22" y="69"/>
                          <a:pt x="22" y="69"/>
                        </a:cubicBezTo>
                        <a:cubicBezTo>
                          <a:pt x="22" y="69"/>
                          <a:pt x="22" y="69"/>
                          <a:pt x="22" y="69"/>
                        </a:cubicBezTo>
                        <a:cubicBezTo>
                          <a:pt x="23" y="69"/>
                          <a:pt x="22" y="69"/>
                          <a:pt x="23" y="69"/>
                        </a:cubicBezTo>
                        <a:close/>
                        <a:moveTo>
                          <a:pt x="25" y="71"/>
                        </a:moveTo>
                        <a:cubicBezTo>
                          <a:pt x="25" y="70"/>
                          <a:pt x="25" y="70"/>
                          <a:pt x="25" y="70"/>
                        </a:cubicBezTo>
                        <a:cubicBezTo>
                          <a:pt x="25" y="70"/>
                          <a:pt x="25" y="71"/>
                          <a:pt x="25" y="71"/>
                        </a:cubicBezTo>
                        <a:close/>
                        <a:moveTo>
                          <a:pt x="23" y="69"/>
                        </a:moveTo>
                        <a:cubicBezTo>
                          <a:pt x="23" y="69"/>
                          <a:pt x="23" y="69"/>
                          <a:pt x="23" y="70"/>
                        </a:cubicBezTo>
                        <a:cubicBezTo>
                          <a:pt x="23" y="70"/>
                          <a:pt x="23" y="70"/>
                          <a:pt x="23" y="70"/>
                        </a:cubicBezTo>
                        <a:cubicBezTo>
                          <a:pt x="23" y="70"/>
                          <a:pt x="23" y="70"/>
                          <a:pt x="23" y="70"/>
                        </a:cubicBezTo>
                        <a:cubicBezTo>
                          <a:pt x="23" y="69"/>
                          <a:pt x="23" y="69"/>
                          <a:pt x="23" y="69"/>
                        </a:cubicBezTo>
                        <a:close/>
                        <a:moveTo>
                          <a:pt x="22" y="70"/>
                        </a:moveTo>
                        <a:cubicBezTo>
                          <a:pt x="23" y="69"/>
                          <a:pt x="23" y="69"/>
                          <a:pt x="23" y="69"/>
                        </a:cubicBezTo>
                        <a:cubicBezTo>
                          <a:pt x="23" y="69"/>
                          <a:pt x="23" y="70"/>
                          <a:pt x="22" y="70"/>
                        </a:cubicBezTo>
                        <a:close/>
                        <a:moveTo>
                          <a:pt x="28" y="72"/>
                        </a:moveTo>
                        <a:cubicBezTo>
                          <a:pt x="28" y="72"/>
                          <a:pt x="28" y="72"/>
                          <a:pt x="28" y="73"/>
                        </a:cubicBezTo>
                        <a:cubicBezTo>
                          <a:pt x="28" y="72"/>
                          <a:pt x="28" y="72"/>
                          <a:pt x="28" y="72"/>
                        </a:cubicBezTo>
                        <a:cubicBezTo>
                          <a:pt x="28" y="72"/>
                          <a:pt x="28" y="72"/>
                          <a:pt x="28" y="72"/>
                        </a:cubicBezTo>
                        <a:close/>
                        <a:moveTo>
                          <a:pt x="26" y="71"/>
                        </a:moveTo>
                        <a:cubicBezTo>
                          <a:pt x="26" y="71"/>
                          <a:pt x="26" y="71"/>
                          <a:pt x="26" y="71"/>
                        </a:cubicBezTo>
                        <a:cubicBezTo>
                          <a:pt x="26" y="71"/>
                          <a:pt x="26" y="71"/>
                          <a:pt x="26" y="71"/>
                        </a:cubicBezTo>
                        <a:cubicBezTo>
                          <a:pt x="26" y="71"/>
                          <a:pt x="26" y="71"/>
                          <a:pt x="26" y="71"/>
                        </a:cubicBezTo>
                        <a:close/>
                        <a:moveTo>
                          <a:pt x="22" y="70"/>
                        </a:moveTo>
                        <a:cubicBezTo>
                          <a:pt x="22" y="69"/>
                          <a:pt x="22" y="69"/>
                          <a:pt x="22" y="69"/>
                        </a:cubicBezTo>
                        <a:cubicBezTo>
                          <a:pt x="22" y="69"/>
                          <a:pt x="22" y="70"/>
                          <a:pt x="22" y="70"/>
                        </a:cubicBezTo>
                        <a:close/>
                        <a:moveTo>
                          <a:pt x="24" y="71"/>
                        </a:moveTo>
                        <a:cubicBezTo>
                          <a:pt x="25" y="71"/>
                          <a:pt x="24" y="71"/>
                          <a:pt x="24" y="71"/>
                        </a:cubicBezTo>
                        <a:cubicBezTo>
                          <a:pt x="24" y="71"/>
                          <a:pt x="24" y="71"/>
                          <a:pt x="24" y="71"/>
                        </a:cubicBezTo>
                        <a:cubicBezTo>
                          <a:pt x="24" y="71"/>
                          <a:pt x="24" y="71"/>
                          <a:pt x="24" y="71"/>
                        </a:cubicBezTo>
                        <a:close/>
                        <a:moveTo>
                          <a:pt x="23" y="71"/>
                        </a:moveTo>
                        <a:cubicBezTo>
                          <a:pt x="23" y="71"/>
                          <a:pt x="23" y="71"/>
                          <a:pt x="23" y="70"/>
                        </a:cubicBezTo>
                        <a:cubicBezTo>
                          <a:pt x="23" y="71"/>
                          <a:pt x="23" y="71"/>
                          <a:pt x="23" y="71"/>
                        </a:cubicBezTo>
                        <a:close/>
                        <a:moveTo>
                          <a:pt x="26" y="72"/>
                        </a:moveTo>
                        <a:cubicBezTo>
                          <a:pt x="26" y="72"/>
                          <a:pt x="26" y="72"/>
                          <a:pt x="26" y="72"/>
                        </a:cubicBezTo>
                        <a:cubicBezTo>
                          <a:pt x="26" y="72"/>
                          <a:pt x="26" y="72"/>
                          <a:pt x="26" y="72"/>
                        </a:cubicBezTo>
                        <a:cubicBezTo>
                          <a:pt x="26" y="72"/>
                          <a:pt x="26" y="72"/>
                          <a:pt x="26" y="72"/>
                        </a:cubicBezTo>
                        <a:close/>
                        <a:moveTo>
                          <a:pt x="27" y="73"/>
                        </a:moveTo>
                        <a:cubicBezTo>
                          <a:pt x="27" y="73"/>
                          <a:pt x="27" y="73"/>
                          <a:pt x="27" y="73"/>
                        </a:cubicBezTo>
                        <a:cubicBezTo>
                          <a:pt x="27" y="73"/>
                          <a:pt x="27" y="73"/>
                          <a:pt x="27" y="73"/>
                        </a:cubicBezTo>
                        <a:close/>
                        <a:moveTo>
                          <a:pt x="23" y="73"/>
                        </a:moveTo>
                        <a:cubicBezTo>
                          <a:pt x="23" y="72"/>
                          <a:pt x="23" y="72"/>
                          <a:pt x="23" y="72"/>
                        </a:cubicBezTo>
                        <a:cubicBezTo>
                          <a:pt x="23" y="72"/>
                          <a:pt x="23" y="72"/>
                          <a:pt x="23" y="73"/>
                        </a:cubicBezTo>
                        <a:close/>
                        <a:moveTo>
                          <a:pt x="27" y="75"/>
                        </a:moveTo>
                        <a:cubicBezTo>
                          <a:pt x="27" y="75"/>
                          <a:pt x="27" y="74"/>
                          <a:pt x="27" y="74"/>
                        </a:cubicBezTo>
                        <a:cubicBezTo>
                          <a:pt x="27" y="75"/>
                          <a:pt x="27" y="75"/>
                          <a:pt x="27" y="75"/>
                        </a:cubicBezTo>
                        <a:close/>
                        <a:moveTo>
                          <a:pt x="26" y="75"/>
                        </a:moveTo>
                        <a:cubicBezTo>
                          <a:pt x="27" y="75"/>
                          <a:pt x="27" y="75"/>
                          <a:pt x="27" y="75"/>
                        </a:cubicBezTo>
                        <a:cubicBezTo>
                          <a:pt x="26" y="75"/>
                          <a:pt x="26" y="75"/>
                          <a:pt x="26" y="75"/>
                        </a:cubicBezTo>
                        <a:close/>
                        <a:moveTo>
                          <a:pt x="25" y="75"/>
                        </a:moveTo>
                        <a:cubicBezTo>
                          <a:pt x="25" y="75"/>
                          <a:pt x="25" y="75"/>
                          <a:pt x="26" y="75"/>
                        </a:cubicBezTo>
                        <a:cubicBezTo>
                          <a:pt x="26" y="75"/>
                          <a:pt x="25" y="75"/>
                          <a:pt x="25" y="75"/>
                        </a:cubicBezTo>
                        <a:close/>
                        <a:moveTo>
                          <a:pt x="23" y="74"/>
                        </a:moveTo>
                        <a:cubicBezTo>
                          <a:pt x="23" y="74"/>
                          <a:pt x="23" y="74"/>
                          <a:pt x="23" y="74"/>
                        </a:cubicBezTo>
                        <a:cubicBezTo>
                          <a:pt x="22" y="74"/>
                          <a:pt x="23" y="74"/>
                          <a:pt x="23" y="74"/>
                        </a:cubicBezTo>
                        <a:close/>
                        <a:moveTo>
                          <a:pt x="26" y="78"/>
                        </a:moveTo>
                        <a:cubicBezTo>
                          <a:pt x="27" y="78"/>
                          <a:pt x="27" y="77"/>
                          <a:pt x="27" y="77"/>
                        </a:cubicBezTo>
                        <a:cubicBezTo>
                          <a:pt x="27" y="77"/>
                          <a:pt x="27" y="77"/>
                          <a:pt x="27" y="77"/>
                        </a:cubicBezTo>
                        <a:cubicBezTo>
                          <a:pt x="27" y="77"/>
                          <a:pt x="27" y="77"/>
                          <a:pt x="27" y="77"/>
                        </a:cubicBezTo>
                        <a:cubicBezTo>
                          <a:pt x="27" y="76"/>
                          <a:pt x="27" y="76"/>
                          <a:pt x="27" y="76"/>
                        </a:cubicBezTo>
                        <a:cubicBezTo>
                          <a:pt x="27" y="76"/>
                          <a:pt x="27" y="77"/>
                          <a:pt x="27" y="77"/>
                        </a:cubicBezTo>
                        <a:cubicBezTo>
                          <a:pt x="27" y="77"/>
                          <a:pt x="27" y="77"/>
                          <a:pt x="27" y="77"/>
                        </a:cubicBezTo>
                        <a:cubicBezTo>
                          <a:pt x="27" y="77"/>
                          <a:pt x="27" y="77"/>
                          <a:pt x="27" y="77"/>
                        </a:cubicBezTo>
                        <a:cubicBezTo>
                          <a:pt x="27" y="77"/>
                          <a:pt x="27" y="77"/>
                          <a:pt x="27" y="78"/>
                        </a:cubicBezTo>
                        <a:cubicBezTo>
                          <a:pt x="27" y="77"/>
                          <a:pt x="27" y="78"/>
                          <a:pt x="26" y="78"/>
                        </a:cubicBezTo>
                        <a:cubicBezTo>
                          <a:pt x="26" y="78"/>
                          <a:pt x="27" y="78"/>
                          <a:pt x="26" y="78"/>
                        </a:cubicBezTo>
                        <a:cubicBezTo>
                          <a:pt x="26" y="78"/>
                          <a:pt x="26" y="78"/>
                          <a:pt x="26" y="78"/>
                        </a:cubicBezTo>
                        <a:cubicBezTo>
                          <a:pt x="26" y="78"/>
                          <a:pt x="26" y="78"/>
                          <a:pt x="26" y="78"/>
                        </a:cubicBezTo>
                        <a:cubicBezTo>
                          <a:pt x="26" y="78"/>
                          <a:pt x="26" y="78"/>
                          <a:pt x="26" y="77"/>
                        </a:cubicBezTo>
                        <a:cubicBezTo>
                          <a:pt x="26" y="77"/>
                          <a:pt x="26" y="78"/>
                          <a:pt x="26" y="78"/>
                        </a:cubicBezTo>
                        <a:close/>
                        <a:moveTo>
                          <a:pt x="25" y="75"/>
                        </a:moveTo>
                        <a:cubicBezTo>
                          <a:pt x="25" y="76"/>
                          <a:pt x="25" y="76"/>
                          <a:pt x="25" y="76"/>
                        </a:cubicBezTo>
                        <a:lnTo>
                          <a:pt x="25" y="75"/>
                        </a:lnTo>
                        <a:close/>
                        <a:moveTo>
                          <a:pt x="26" y="77"/>
                        </a:moveTo>
                        <a:cubicBezTo>
                          <a:pt x="26" y="77"/>
                          <a:pt x="26" y="76"/>
                          <a:pt x="26" y="76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6" y="76"/>
                          <a:pt x="26" y="76"/>
                          <a:pt x="26" y="77"/>
                        </a:cubicBezTo>
                        <a:close/>
                        <a:moveTo>
                          <a:pt x="27" y="76"/>
                        </a:moveTo>
                        <a:cubicBezTo>
                          <a:pt x="27" y="77"/>
                          <a:pt x="27" y="77"/>
                          <a:pt x="26" y="77"/>
                        </a:cubicBezTo>
                        <a:cubicBezTo>
                          <a:pt x="26" y="77"/>
                          <a:pt x="26" y="76"/>
                          <a:pt x="27" y="76"/>
                        </a:cubicBezTo>
                        <a:close/>
                        <a:moveTo>
                          <a:pt x="27" y="76"/>
                        </a:moveTo>
                        <a:cubicBezTo>
                          <a:pt x="27" y="77"/>
                          <a:pt x="27" y="77"/>
                          <a:pt x="27" y="77"/>
                        </a:cubicBezTo>
                        <a:cubicBezTo>
                          <a:pt x="26" y="77"/>
                          <a:pt x="27" y="77"/>
                          <a:pt x="27" y="76"/>
                        </a:cubicBezTo>
                        <a:close/>
                        <a:moveTo>
                          <a:pt x="28" y="78"/>
                        </a:moveTo>
                        <a:cubicBezTo>
                          <a:pt x="28" y="77"/>
                          <a:pt x="28" y="77"/>
                          <a:pt x="28" y="77"/>
                        </a:cubicBezTo>
                        <a:cubicBezTo>
                          <a:pt x="28" y="77"/>
                          <a:pt x="28" y="77"/>
                          <a:pt x="28" y="77"/>
                        </a:cubicBezTo>
                        <a:cubicBezTo>
                          <a:pt x="28" y="77"/>
                          <a:pt x="28" y="77"/>
                          <a:pt x="28" y="78"/>
                        </a:cubicBezTo>
                        <a:close/>
                        <a:moveTo>
                          <a:pt x="29" y="78"/>
                        </a:moveTo>
                        <a:cubicBezTo>
                          <a:pt x="28" y="78"/>
                          <a:pt x="29" y="78"/>
                          <a:pt x="29" y="78"/>
                        </a:cubicBezTo>
                        <a:cubicBezTo>
                          <a:pt x="29" y="78"/>
                          <a:pt x="28" y="78"/>
                          <a:pt x="28" y="78"/>
                        </a:cubicBezTo>
                        <a:cubicBezTo>
                          <a:pt x="28" y="78"/>
                          <a:pt x="28" y="78"/>
                          <a:pt x="29" y="77"/>
                        </a:cubicBezTo>
                        <a:cubicBezTo>
                          <a:pt x="29" y="78"/>
                          <a:pt x="29" y="78"/>
                          <a:pt x="29" y="78"/>
                        </a:cubicBezTo>
                        <a:close/>
                        <a:moveTo>
                          <a:pt x="23" y="76"/>
                        </a:moveTo>
                        <a:cubicBezTo>
                          <a:pt x="22" y="75"/>
                          <a:pt x="23" y="75"/>
                          <a:pt x="23" y="75"/>
                        </a:cubicBezTo>
                        <a:cubicBezTo>
                          <a:pt x="23" y="75"/>
                          <a:pt x="23" y="75"/>
                          <a:pt x="23" y="76"/>
                        </a:cubicBezTo>
                        <a:close/>
                        <a:moveTo>
                          <a:pt x="27" y="77"/>
                        </a:moveTo>
                        <a:cubicBezTo>
                          <a:pt x="27" y="77"/>
                          <a:pt x="27" y="77"/>
                          <a:pt x="26" y="77"/>
                        </a:cubicBezTo>
                        <a:cubicBezTo>
                          <a:pt x="26" y="77"/>
                          <a:pt x="26" y="77"/>
                          <a:pt x="27" y="77"/>
                        </a:cubicBezTo>
                        <a:close/>
                        <a:moveTo>
                          <a:pt x="25" y="76"/>
                        </a:moveTo>
                        <a:cubicBezTo>
                          <a:pt x="26" y="77"/>
                          <a:pt x="25" y="77"/>
                          <a:pt x="25" y="77"/>
                        </a:cubicBezTo>
                        <a:cubicBezTo>
                          <a:pt x="25" y="77"/>
                          <a:pt x="25" y="77"/>
                          <a:pt x="25" y="76"/>
                        </a:cubicBezTo>
                        <a:close/>
                        <a:moveTo>
                          <a:pt x="20" y="74"/>
                        </a:moveTo>
                        <a:cubicBezTo>
                          <a:pt x="19" y="74"/>
                          <a:pt x="19" y="74"/>
                          <a:pt x="19" y="74"/>
                        </a:cubicBezTo>
                        <a:cubicBezTo>
                          <a:pt x="20" y="74"/>
                          <a:pt x="19" y="74"/>
                          <a:pt x="20" y="74"/>
                        </a:cubicBezTo>
                        <a:close/>
                        <a:moveTo>
                          <a:pt x="23" y="76"/>
                        </a:moveTo>
                        <a:cubicBezTo>
                          <a:pt x="23" y="76"/>
                          <a:pt x="23" y="76"/>
                          <a:pt x="23" y="76"/>
                        </a:cubicBezTo>
                        <a:cubicBezTo>
                          <a:pt x="23" y="76"/>
                          <a:pt x="23" y="76"/>
                          <a:pt x="23" y="76"/>
                        </a:cubicBezTo>
                        <a:cubicBezTo>
                          <a:pt x="23" y="76"/>
                          <a:pt x="23" y="76"/>
                          <a:pt x="23" y="76"/>
                        </a:cubicBezTo>
                        <a:close/>
                        <a:moveTo>
                          <a:pt x="19" y="75"/>
                        </a:moveTo>
                        <a:cubicBezTo>
                          <a:pt x="19" y="75"/>
                          <a:pt x="19" y="74"/>
                          <a:pt x="19" y="74"/>
                        </a:cubicBezTo>
                        <a:cubicBezTo>
                          <a:pt x="19" y="74"/>
                          <a:pt x="19" y="75"/>
                          <a:pt x="19" y="75"/>
                        </a:cubicBezTo>
                        <a:close/>
                        <a:moveTo>
                          <a:pt x="24" y="78"/>
                        </a:moveTo>
                        <a:cubicBezTo>
                          <a:pt x="24" y="77"/>
                          <a:pt x="24" y="77"/>
                          <a:pt x="24" y="77"/>
                        </a:cubicBezTo>
                        <a:cubicBezTo>
                          <a:pt x="24" y="77"/>
                          <a:pt x="24" y="77"/>
                          <a:pt x="24" y="77"/>
                        </a:cubicBezTo>
                        <a:cubicBezTo>
                          <a:pt x="25" y="77"/>
                          <a:pt x="25" y="77"/>
                          <a:pt x="25" y="77"/>
                        </a:cubicBezTo>
                        <a:cubicBezTo>
                          <a:pt x="24" y="77"/>
                          <a:pt x="24" y="78"/>
                          <a:pt x="24" y="78"/>
                        </a:cubicBezTo>
                        <a:cubicBezTo>
                          <a:pt x="24" y="78"/>
                          <a:pt x="24" y="78"/>
                          <a:pt x="24" y="78"/>
                        </a:cubicBezTo>
                        <a:close/>
                        <a:moveTo>
                          <a:pt x="27" y="79"/>
                        </a:moveTo>
                        <a:cubicBezTo>
                          <a:pt x="27" y="79"/>
                          <a:pt x="27" y="79"/>
                          <a:pt x="27" y="79"/>
                        </a:cubicBezTo>
                        <a:cubicBezTo>
                          <a:pt x="27" y="79"/>
                          <a:pt x="27" y="79"/>
                          <a:pt x="27" y="79"/>
                        </a:cubicBezTo>
                        <a:cubicBezTo>
                          <a:pt x="27" y="79"/>
                          <a:pt x="27" y="79"/>
                          <a:pt x="27" y="79"/>
                        </a:cubicBezTo>
                        <a:cubicBezTo>
                          <a:pt x="27" y="79"/>
                          <a:pt x="27" y="79"/>
                          <a:pt x="27" y="79"/>
                        </a:cubicBezTo>
                        <a:close/>
                        <a:moveTo>
                          <a:pt x="24" y="78"/>
                        </a:moveTo>
                        <a:cubicBezTo>
                          <a:pt x="24" y="77"/>
                          <a:pt x="24" y="77"/>
                          <a:pt x="24" y="78"/>
                        </a:cubicBezTo>
                        <a:cubicBezTo>
                          <a:pt x="24" y="78"/>
                          <a:pt x="24" y="78"/>
                          <a:pt x="23" y="78"/>
                        </a:cubicBezTo>
                        <a:cubicBezTo>
                          <a:pt x="24" y="77"/>
                          <a:pt x="23" y="77"/>
                          <a:pt x="24" y="77"/>
                        </a:cubicBezTo>
                        <a:cubicBezTo>
                          <a:pt x="24" y="77"/>
                          <a:pt x="24" y="77"/>
                          <a:pt x="24" y="78"/>
                        </a:cubicBezTo>
                        <a:close/>
                        <a:moveTo>
                          <a:pt x="27" y="79"/>
                        </a:moveTo>
                        <a:cubicBezTo>
                          <a:pt x="27" y="79"/>
                          <a:pt x="27" y="79"/>
                          <a:pt x="27" y="79"/>
                        </a:cubicBezTo>
                        <a:cubicBezTo>
                          <a:pt x="27" y="79"/>
                          <a:pt x="27" y="79"/>
                          <a:pt x="26" y="80"/>
                        </a:cubicBezTo>
                        <a:cubicBezTo>
                          <a:pt x="26" y="80"/>
                          <a:pt x="26" y="80"/>
                          <a:pt x="26" y="80"/>
                        </a:cubicBezTo>
                        <a:cubicBezTo>
                          <a:pt x="26" y="80"/>
                          <a:pt x="26" y="79"/>
                          <a:pt x="27" y="79"/>
                        </a:cubicBezTo>
                        <a:cubicBezTo>
                          <a:pt x="27" y="79"/>
                          <a:pt x="27" y="79"/>
                          <a:pt x="27" y="79"/>
                        </a:cubicBezTo>
                        <a:cubicBezTo>
                          <a:pt x="27" y="79"/>
                          <a:pt x="27" y="79"/>
                          <a:pt x="27" y="79"/>
                        </a:cubicBezTo>
                        <a:cubicBezTo>
                          <a:pt x="27" y="79"/>
                          <a:pt x="27" y="79"/>
                          <a:pt x="27" y="79"/>
                        </a:cubicBezTo>
                        <a:close/>
                        <a:moveTo>
                          <a:pt x="27" y="80"/>
                        </a:moveTo>
                        <a:cubicBezTo>
                          <a:pt x="27" y="80"/>
                          <a:pt x="28" y="79"/>
                          <a:pt x="28" y="79"/>
                        </a:cubicBezTo>
                        <a:cubicBezTo>
                          <a:pt x="28" y="79"/>
                          <a:pt x="28" y="79"/>
                          <a:pt x="28" y="79"/>
                        </a:cubicBezTo>
                        <a:cubicBezTo>
                          <a:pt x="28" y="80"/>
                          <a:pt x="28" y="79"/>
                          <a:pt x="27" y="80"/>
                        </a:cubicBezTo>
                        <a:close/>
                        <a:moveTo>
                          <a:pt x="26" y="79"/>
                        </a:moveTo>
                        <a:cubicBezTo>
                          <a:pt x="26" y="79"/>
                          <a:pt x="26" y="79"/>
                          <a:pt x="26" y="79"/>
                        </a:cubicBezTo>
                        <a:cubicBezTo>
                          <a:pt x="26" y="79"/>
                          <a:pt x="26" y="79"/>
                          <a:pt x="26" y="79"/>
                        </a:cubicBezTo>
                        <a:cubicBezTo>
                          <a:pt x="26" y="79"/>
                          <a:pt x="26" y="79"/>
                          <a:pt x="26" y="79"/>
                        </a:cubicBezTo>
                        <a:cubicBezTo>
                          <a:pt x="26" y="79"/>
                          <a:pt x="26" y="79"/>
                          <a:pt x="26" y="79"/>
                        </a:cubicBezTo>
                        <a:close/>
                        <a:moveTo>
                          <a:pt x="22" y="77"/>
                        </a:moveTo>
                        <a:cubicBezTo>
                          <a:pt x="22" y="77"/>
                          <a:pt x="22" y="77"/>
                          <a:pt x="22" y="77"/>
                        </a:cubicBezTo>
                        <a:cubicBezTo>
                          <a:pt x="22" y="77"/>
                          <a:pt x="22" y="77"/>
                          <a:pt x="22" y="77"/>
                        </a:cubicBezTo>
                        <a:cubicBezTo>
                          <a:pt x="22" y="77"/>
                          <a:pt x="22" y="77"/>
                          <a:pt x="22" y="77"/>
                        </a:cubicBezTo>
                        <a:cubicBezTo>
                          <a:pt x="23" y="77"/>
                          <a:pt x="22" y="77"/>
                          <a:pt x="22" y="77"/>
                        </a:cubicBezTo>
                        <a:close/>
                        <a:moveTo>
                          <a:pt x="25" y="79"/>
                        </a:moveTo>
                        <a:cubicBezTo>
                          <a:pt x="26" y="79"/>
                          <a:pt x="25" y="79"/>
                          <a:pt x="25" y="79"/>
                        </a:cubicBezTo>
                        <a:cubicBezTo>
                          <a:pt x="25" y="79"/>
                          <a:pt x="25" y="79"/>
                          <a:pt x="25" y="79"/>
                        </a:cubicBezTo>
                        <a:close/>
                        <a:moveTo>
                          <a:pt x="26" y="79"/>
                        </a:moveTo>
                        <a:cubicBezTo>
                          <a:pt x="26" y="79"/>
                          <a:pt x="26" y="79"/>
                          <a:pt x="25" y="80"/>
                        </a:cubicBezTo>
                        <a:cubicBezTo>
                          <a:pt x="25" y="79"/>
                          <a:pt x="26" y="79"/>
                          <a:pt x="26" y="79"/>
                        </a:cubicBezTo>
                        <a:close/>
                        <a:moveTo>
                          <a:pt x="23" y="78"/>
                        </a:moveTo>
                        <a:cubicBezTo>
                          <a:pt x="23" y="79"/>
                          <a:pt x="23" y="78"/>
                          <a:pt x="23" y="79"/>
                        </a:cubicBezTo>
                        <a:cubicBezTo>
                          <a:pt x="23" y="79"/>
                          <a:pt x="23" y="79"/>
                          <a:pt x="23" y="79"/>
                        </a:cubicBezTo>
                        <a:cubicBezTo>
                          <a:pt x="23" y="79"/>
                          <a:pt x="23" y="79"/>
                          <a:pt x="23" y="79"/>
                        </a:cubicBezTo>
                        <a:cubicBezTo>
                          <a:pt x="23" y="79"/>
                          <a:pt x="23" y="79"/>
                          <a:pt x="23" y="79"/>
                        </a:cubicBezTo>
                        <a:cubicBezTo>
                          <a:pt x="23" y="79"/>
                          <a:pt x="23" y="79"/>
                          <a:pt x="23" y="79"/>
                        </a:cubicBezTo>
                        <a:cubicBezTo>
                          <a:pt x="23" y="79"/>
                          <a:pt x="23" y="79"/>
                          <a:pt x="23" y="79"/>
                        </a:cubicBezTo>
                        <a:cubicBezTo>
                          <a:pt x="23" y="79"/>
                          <a:pt x="23" y="79"/>
                          <a:pt x="23" y="79"/>
                        </a:cubicBezTo>
                        <a:cubicBezTo>
                          <a:pt x="23" y="79"/>
                          <a:pt x="23" y="79"/>
                          <a:pt x="23" y="79"/>
                        </a:cubicBezTo>
                        <a:cubicBezTo>
                          <a:pt x="23" y="79"/>
                          <a:pt x="23" y="79"/>
                          <a:pt x="23" y="79"/>
                        </a:cubicBezTo>
                        <a:cubicBezTo>
                          <a:pt x="23" y="78"/>
                          <a:pt x="23" y="79"/>
                          <a:pt x="23" y="79"/>
                        </a:cubicBezTo>
                        <a:cubicBezTo>
                          <a:pt x="23" y="78"/>
                          <a:pt x="23" y="78"/>
                          <a:pt x="23" y="78"/>
                        </a:cubicBezTo>
                        <a:cubicBezTo>
                          <a:pt x="23" y="78"/>
                          <a:pt x="23" y="79"/>
                          <a:pt x="23" y="79"/>
                        </a:cubicBezTo>
                        <a:cubicBezTo>
                          <a:pt x="23" y="79"/>
                          <a:pt x="23" y="78"/>
                          <a:pt x="23" y="78"/>
                        </a:cubicBezTo>
                        <a:cubicBezTo>
                          <a:pt x="23" y="78"/>
                          <a:pt x="23" y="78"/>
                          <a:pt x="23" y="78"/>
                        </a:cubicBezTo>
                        <a:cubicBezTo>
                          <a:pt x="23" y="78"/>
                          <a:pt x="23" y="78"/>
                          <a:pt x="23" y="78"/>
                        </a:cubicBezTo>
                        <a:close/>
                        <a:moveTo>
                          <a:pt x="25" y="81"/>
                        </a:moveTo>
                        <a:cubicBezTo>
                          <a:pt x="25" y="80"/>
                          <a:pt x="26" y="80"/>
                          <a:pt x="26" y="79"/>
                        </a:cubicBezTo>
                        <a:cubicBezTo>
                          <a:pt x="26" y="80"/>
                          <a:pt x="25" y="80"/>
                          <a:pt x="25" y="81"/>
                        </a:cubicBezTo>
                        <a:close/>
                        <a:moveTo>
                          <a:pt x="24" y="79"/>
                        </a:moveTo>
                        <a:cubicBezTo>
                          <a:pt x="24" y="79"/>
                          <a:pt x="24" y="78"/>
                          <a:pt x="24" y="78"/>
                        </a:cubicBezTo>
                        <a:cubicBezTo>
                          <a:pt x="24" y="79"/>
                          <a:pt x="24" y="79"/>
                          <a:pt x="24" y="79"/>
                        </a:cubicBezTo>
                        <a:close/>
                        <a:moveTo>
                          <a:pt x="27" y="81"/>
                        </a:moveTo>
                        <a:cubicBezTo>
                          <a:pt x="27" y="81"/>
                          <a:pt x="27" y="81"/>
                          <a:pt x="27" y="80"/>
                        </a:cubicBezTo>
                        <a:cubicBezTo>
                          <a:pt x="27" y="81"/>
                          <a:pt x="27" y="81"/>
                          <a:pt x="27" y="81"/>
                        </a:cubicBezTo>
                        <a:close/>
                        <a:moveTo>
                          <a:pt x="23" y="79"/>
                        </a:moveTo>
                        <a:cubicBezTo>
                          <a:pt x="23" y="79"/>
                          <a:pt x="23" y="79"/>
                          <a:pt x="23" y="79"/>
                        </a:cubicBezTo>
                        <a:cubicBezTo>
                          <a:pt x="23" y="79"/>
                          <a:pt x="23" y="79"/>
                          <a:pt x="23" y="79"/>
                        </a:cubicBezTo>
                        <a:close/>
                        <a:moveTo>
                          <a:pt x="24" y="80"/>
                        </a:moveTo>
                        <a:cubicBezTo>
                          <a:pt x="24" y="80"/>
                          <a:pt x="24" y="80"/>
                          <a:pt x="24" y="80"/>
                        </a:cubicBezTo>
                        <a:cubicBezTo>
                          <a:pt x="24" y="80"/>
                          <a:pt x="24" y="80"/>
                          <a:pt x="24" y="80"/>
                        </a:cubicBezTo>
                        <a:cubicBezTo>
                          <a:pt x="24" y="80"/>
                          <a:pt x="24" y="80"/>
                          <a:pt x="24" y="79"/>
                        </a:cubicBezTo>
                        <a:cubicBezTo>
                          <a:pt x="24" y="80"/>
                          <a:pt x="24" y="80"/>
                          <a:pt x="24" y="80"/>
                        </a:cubicBezTo>
                        <a:close/>
                        <a:moveTo>
                          <a:pt x="25" y="80"/>
                        </a:moveTo>
                        <a:cubicBezTo>
                          <a:pt x="25" y="80"/>
                          <a:pt x="25" y="80"/>
                          <a:pt x="25" y="80"/>
                        </a:cubicBezTo>
                        <a:cubicBezTo>
                          <a:pt x="25" y="80"/>
                          <a:pt x="25" y="80"/>
                          <a:pt x="25" y="80"/>
                        </a:cubicBezTo>
                        <a:cubicBezTo>
                          <a:pt x="24" y="80"/>
                          <a:pt x="25" y="80"/>
                          <a:pt x="25" y="80"/>
                        </a:cubicBezTo>
                        <a:cubicBezTo>
                          <a:pt x="25" y="80"/>
                          <a:pt x="25" y="80"/>
                          <a:pt x="25" y="80"/>
                        </a:cubicBezTo>
                        <a:close/>
                        <a:moveTo>
                          <a:pt x="27" y="81"/>
                        </a:moveTo>
                        <a:cubicBezTo>
                          <a:pt x="27" y="81"/>
                          <a:pt x="27" y="81"/>
                          <a:pt x="27" y="81"/>
                        </a:cubicBezTo>
                        <a:cubicBezTo>
                          <a:pt x="27" y="81"/>
                          <a:pt x="27" y="81"/>
                          <a:pt x="27" y="81"/>
                        </a:cubicBezTo>
                        <a:cubicBezTo>
                          <a:pt x="27" y="82"/>
                          <a:pt x="27" y="81"/>
                          <a:pt x="27" y="81"/>
                        </a:cubicBezTo>
                        <a:close/>
                        <a:moveTo>
                          <a:pt x="26" y="81"/>
                        </a:moveTo>
                        <a:cubicBezTo>
                          <a:pt x="27" y="82"/>
                          <a:pt x="26" y="82"/>
                          <a:pt x="26" y="82"/>
                        </a:cubicBezTo>
                        <a:cubicBezTo>
                          <a:pt x="26" y="81"/>
                          <a:pt x="26" y="82"/>
                          <a:pt x="26" y="81"/>
                        </a:cubicBezTo>
                        <a:close/>
                        <a:moveTo>
                          <a:pt x="27" y="82"/>
                        </a:moveTo>
                        <a:cubicBezTo>
                          <a:pt x="27" y="82"/>
                          <a:pt x="27" y="82"/>
                          <a:pt x="27" y="82"/>
                        </a:cubicBezTo>
                        <a:cubicBezTo>
                          <a:pt x="27" y="82"/>
                          <a:pt x="27" y="82"/>
                          <a:pt x="27" y="82"/>
                        </a:cubicBezTo>
                        <a:cubicBezTo>
                          <a:pt x="27" y="82"/>
                          <a:pt x="27" y="82"/>
                          <a:pt x="27" y="82"/>
                        </a:cubicBezTo>
                        <a:close/>
                        <a:moveTo>
                          <a:pt x="21" y="79"/>
                        </a:moveTo>
                        <a:cubicBezTo>
                          <a:pt x="21" y="79"/>
                          <a:pt x="21" y="79"/>
                          <a:pt x="21" y="79"/>
                        </a:cubicBezTo>
                        <a:cubicBezTo>
                          <a:pt x="21" y="79"/>
                          <a:pt x="21" y="79"/>
                          <a:pt x="21" y="79"/>
                        </a:cubicBezTo>
                        <a:close/>
                        <a:moveTo>
                          <a:pt x="21" y="80"/>
                        </a:moveTo>
                        <a:cubicBezTo>
                          <a:pt x="21" y="80"/>
                          <a:pt x="21" y="80"/>
                          <a:pt x="21" y="80"/>
                        </a:cubicBezTo>
                        <a:cubicBezTo>
                          <a:pt x="21" y="79"/>
                          <a:pt x="21" y="79"/>
                          <a:pt x="21" y="79"/>
                        </a:cubicBezTo>
                        <a:cubicBezTo>
                          <a:pt x="22" y="79"/>
                          <a:pt x="21" y="79"/>
                          <a:pt x="21" y="80"/>
                        </a:cubicBezTo>
                        <a:cubicBezTo>
                          <a:pt x="22" y="80"/>
                          <a:pt x="22" y="79"/>
                          <a:pt x="22" y="79"/>
                        </a:cubicBezTo>
                        <a:cubicBezTo>
                          <a:pt x="22" y="79"/>
                          <a:pt x="22" y="80"/>
                          <a:pt x="21" y="80"/>
                        </a:cubicBezTo>
                        <a:close/>
                        <a:moveTo>
                          <a:pt x="21" y="80"/>
                        </a:moveTo>
                        <a:cubicBezTo>
                          <a:pt x="21" y="80"/>
                          <a:pt x="21" y="79"/>
                          <a:pt x="21" y="80"/>
                        </a:cubicBezTo>
                        <a:cubicBezTo>
                          <a:pt x="21" y="80"/>
                          <a:pt x="21" y="80"/>
                          <a:pt x="21" y="80"/>
                        </a:cubicBezTo>
                        <a:cubicBezTo>
                          <a:pt x="21" y="80"/>
                          <a:pt x="21" y="80"/>
                          <a:pt x="21" y="80"/>
                        </a:cubicBezTo>
                        <a:close/>
                        <a:moveTo>
                          <a:pt x="22" y="80"/>
                        </a:moveTo>
                        <a:cubicBezTo>
                          <a:pt x="22" y="80"/>
                          <a:pt x="22" y="80"/>
                          <a:pt x="22" y="80"/>
                        </a:cubicBezTo>
                        <a:cubicBezTo>
                          <a:pt x="22" y="80"/>
                          <a:pt x="22" y="80"/>
                          <a:pt x="22" y="80"/>
                        </a:cubicBezTo>
                        <a:cubicBezTo>
                          <a:pt x="22" y="80"/>
                          <a:pt x="22" y="80"/>
                          <a:pt x="22" y="80"/>
                        </a:cubicBezTo>
                        <a:cubicBezTo>
                          <a:pt x="22" y="80"/>
                          <a:pt x="22" y="80"/>
                          <a:pt x="22" y="80"/>
                        </a:cubicBezTo>
                        <a:close/>
                        <a:moveTo>
                          <a:pt x="19" y="79"/>
                        </a:moveTo>
                        <a:cubicBezTo>
                          <a:pt x="19" y="79"/>
                          <a:pt x="19" y="79"/>
                          <a:pt x="19" y="78"/>
                        </a:cubicBezTo>
                        <a:cubicBezTo>
                          <a:pt x="19" y="78"/>
                          <a:pt x="19" y="79"/>
                          <a:pt x="19" y="79"/>
                        </a:cubicBezTo>
                        <a:close/>
                        <a:moveTo>
                          <a:pt x="25" y="81"/>
                        </a:moveTo>
                        <a:cubicBezTo>
                          <a:pt x="25" y="81"/>
                          <a:pt x="25" y="82"/>
                          <a:pt x="25" y="82"/>
                        </a:cubicBezTo>
                        <a:cubicBezTo>
                          <a:pt x="25" y="82"/>
                          <a:pt x="25" y="82"/>
                          <a:pt x="25" y="82"/>
                        </a:cubicBezTo>
                        <a:cubicBezTo>
                          <a:pt x="25" y="82"/>
                          <a:pt x="25" y="82"/>
                          <a:pt x="25" y="82"/>
                        </a:cubicBezTo>
                        <a:cubicBezTo>
                          <a:pt x="25" y="82"/>
                          <a:pt x="25" y="82"/>
                          <a:pt x="25" y="81"/>
                        </a:cubicBezTo>
                        <a:close/>
                        <a:moveTo>
                          <a:pt x="27" y="82"/>
                        </a:moveTo>
                        <a:cubicBezTo>
                          <a:pt x="26" y="83"/>
                          <a:pt x="27" y="83"/>
                          <a:pt x="26" y="83"/>
                        </a:cubicBezTo>
                        <a:cubicBezTo>
                          <a:pt x="26" y="83"/>
                          <a:pt x="26" y="83"/>
                          <a:pt x="26" y="82"/>
                        </a:cubicBezTo>
                        <a:lnTo>
                          <a:pt x="27" y="82"/>
                        </a:lnTo>
                        <a:close/>
                        <a:moveTo>
                          <a:pt x="26" y="82"/>
                        </a:moveTo>
                        <a:cubicBezTo>
                          <a:pt x="26" y="83"/>
                          <a:pt x="26" y="83"/>
                          <a:pt x="26" y="83"/>
                        </a:cubicBezTo>
                        <a:cubicBezTo>
                          <a:pt x="26" y="83"/>
                          <a:pt x="26" y="82"/>
                          <a:pt x="26" y="82"/>
                        </a:cubicBezTo>
                        <a:close/>
                        <a:moveTo>
                          <a:pt x="25" y="82"/>
                        </a:moveTo>
                        <a:cubicBezTo>
                          <a:pt x="25" y="82"/>
                          <a:pt x="25" y="82"/>
                          <a:pt x="25" y="82"/>
                        </a:cubicBezTo>
                        <a:cubicBezTo>
                          <a:pt x="25" y="82"/>
                          <a:pt x="25" y="82"/>
                          <a:pt x="25" y="82"/>
                        </a:cubicBezTo>
                        <a:close/>
                        <a:moveTo>
                          <a:pt x="26" y="83"/>
                        </a:moveTo>
                        <a:cubicBezTo>
                          <a:pt x="26" y="83"/>
                          <a:pt x="26" y="82"/>
                          <a:pt x="26" y="82"/>
                        </a:cubicBezTo>
                        <a:cubicBezTo>
                          <a:pt x="25" y="83"/>
                          <a:pt x="25" y="83"/>
                          <a:pt x="25" y="83"/>
                        </a:cubicBezTo>
                        <a:cubicBezTo>
                          <a:pt x="25" y="82"/>
                          <a:pt x="25" y="82"/>
                          <a:pt x="26" y="82"/>
                        </a:cubicBezTo>
                        <a:cubicBezTo>
                          <a:pt x="26" y="82"/>
                          <a:pt x="26" y="82"/>
                          <a:pt x="26" y="83"/>
                        </a:cubicBezTo>
                        <a:close/>
                        <a:moveTo>
                          <a:pt x="21" y="81"/>
                        </a:moveTo>
                        <a:cubicBezTo>
                          <a:pt x="21" y="81"/>
                          <a:pt x="21" y="81"/>
                          <a:pt x="20" y="81"/>
                        </a:cubicBezTo>
                        <a:cubicBezTo>
                          <a:pt x="21" y="81"/>
                          <a:pt x="21" y="81"/>
                          <a:pt x="21" y="81"/>
                        </a:cubicBezTo>
                        <a:cubicBezTo>
                          <a:pt x="21" y="81"/>
                          <a:pt x="21" y="81"/>
                          <a:pt x="21" y="81"/>
                        </a:cubicBezTo>
                        <a:cubicBezTo>
                          <a:pt x="21" y="81"/>
                          <a:pt x="21" y="81"/>
                          <a:pt x="21" y="81"/>
                        </a:cubicBezTo>
                        <a:close/>
                        <a:moveTo>
                          <a:pt x="21" y="82"/>
                        </a:moveTo>
                        <a:cubicBezTo>
                          <a:pt x="20" y="82"/>
                          <a:pt x="21" y="81"/>
                          <a:pt x="20" y="82"/>
                        </a:cubicBezTo>
                        <a:cubicBezTo>
                          <a:pt x="20" y="82"/>
                          <a:pt x="20" y="82"/>
                          <a:pt x="20" y="82"/>
                        </a:cubicBezTo>
                        <a:cubicBezTo>
                          <a:pt x="20" y="81"/>
                          <a:pt x="21" y="82"/>
                          <a:pt x="21" y="81"/>
                        </a:cubicBezTo>
                        <a:cubicBezTo>
                          <a:pt x="21" y="81"/>
                          <a:pt x="21" y="81"/>
                          <a:pt x="21" y="82"/>
                        </a:cubicBezTo>
                        <a:close/>
                        <a:moveTo>
                          <a:pt x="22" y="83"/>
                        </a:moveTo>
                        <a:cubicBezTo>
                          <a:pt x="22" y="83"/>
                          <a:pt x="23" y="83"/>
                          <a:pt x="23" y="83"/>
                        </a:cubicBezTo>
                        <a:cubicBezTo>
                          <a:pt x="23" y="83"/>
                          <a:pt x="22" y="83"/>
                          <a:pt x="22" y="83"/>
                        </a:cubicBezTo>
                        <a:close/>
                        <a:moveTo>
                          <a:pt x="17" y="81"/>
                        </a:moveTo>
                        <a:cubicBezTo>
                          <a:pt x="17" y="81"/>
                          <a:pt x="17" y="81"/>
                          <a:pt x="17" y="81"/>
                        </a:cubicBezTo>
                        <a:cubicBezTo>
                          <a:pt x="17" y="80"/>
                          <a:pt x="17" y="81"/>
                          <a:pt x="17" y="81"/>
                        </a:cubicBezTo>
                        <a:close/>
                        <a:moveTo>
                          <a:pt x="20" y="82"/>
                        </a:moveTo>
                        <a:cubicBezTo>
                          <a:pt x="20" y="82"/>
                          <a:pt x="20" y="82"/>
                          <a:pt x="20" y="82"/>
                        </a:cubicBezTo>
                        <a:cubicBezTo>
                          <a:pt x="20" y="83"/>
                          <a:pt x="20" y="83"/>
                          <a:pt x="20" y="83"/>
                        </a:cubicBezTo>
                        <a:lnTo>
                          <a:pt x="20" y="82"/>
                        </a:lnTo>
                        <a:close/>
                        <a:moveTo>
                          <a:pt x="20" y="83"/>
                        </a:moveTo>
                        <a:cubicBezTo>
                          <a:pt x="20" y="83"/>
                          <a:pt x="20" y="83"/>
                          <a:pt x="20" y="83"/>
                        </a:cubicBezTo>
                        <a:cubicBezTo>
                          <a:pt x="20" y="83"/>
                          <a:pt x="20" y="83"/>
                          <a:pt x="20" y="83"/>
                        </a:cubicBezTo>
                        <a:cubicBezTo>
                          <a:pt x="20" y="83"/>
                          <a:pt x="20" y="83"/>
                          <a:pt x="20" y="83"/>
                        </a:cubicBezTo>
                        <a:close/>
                        <a:moveTo>
                          <a:pt x="17" y="82"/>
                        </a:moveTo>
                        <a:cubicBezTo>
                          <a:pt x="16" y="82"/>
                          <a:pt x="16" y="82"/>
                          <a:pt x="16" y="82"/>
                        </a:cubicBezTo>
                        <a:cubicBezTo>
                          <a:pt x="16" y="82"/>
                          <a:pt x="17" y="82"/>
                          <a:pt x="17" y="82"/>
                        </a:cubicBezTo>
                        <a:cubicBezTo>
                          <a:pt x="17" y="82"/>
                          <a:pt x="17" y="82"/>
                          <a:pt x="17" y="82"/>
                        </a:cubicBezTo>
                        <a:close/>
                        <a:moveTo>
                          <a:pt x="20" y="83"/>
                        </a:moveTo>
                        <a:cubicBezTo>
                          <a:pt x="20" y="84"/>
                          <a:pt x="20" y="84"/>
                          <a:pt x="20" y="84"/>
                        </a:cubicBezTo>
                        <a:cubicBezTo>
                          <a:pt x="20" y="84"/>
                          <a:pt x="20" y="84"/>
                          <a:pt x="20" y="83"/>
                        </a:cubicBezTo>
                        <a:close/>
                        <a:moveTo>
                          <a:pt x="19" y="83"/>
                        </a:moveTo>
                        <a:cubicBezTo>
                          <a:pt x="19" y="83"/>
                          <a:pt x="19" y="83"/>
                          <a:pt x="19" y="84"/>
                        </a:cubicBezTo>
                        <a:cubicBezTo>
                          <a:pt x="19" y="83"/>
                          <a:pt x="19" y="83"/>
                          <a:pt x="19" y="83"/>
                        </a:cubicBezTo>
                        <a:close/>
                        <a:moveTo>
                          <a:pt x="19" y="83"/>
                        </a:moveTo>
                        <a:cubicBezTo>
                          <a:pt x="20" y="84"/>
                          <a:pt x="19" y="84"/>
                          <a:pt x="19" y="83"/>
                        </a:cubicBezTo>
                        <a:close/>
                        <a:moveTo>
                          <a:pt x="16" y="82"/>
                        </a:moveTo>
                        <a:cubicBezTo>
                          <a:pt x="15" y="82"/>
                          <a:pt x="16" y="82"/>
                          <a:pt x="16" y="82"/>
                        </a:cubicBezTo>
                        <a:cubicBezTo>
                          <a:pt x="16" y="82"/>
                          <a:pt x="15" y="83"/>
                          <a:pt x="16" y="82"/>
                        </a:cubicBezTo>
                        <a:close/>
                        <a:moveTo>
                          <a:pt x="21" y="85"/>
                        </a:moveTo>
                        <a:cubicBezTo>
                          <a:pt x="21" y="85"/>
                          <a:pt x="21" y="85"/>
                          <a:pt x="21" y="85"/>
                        </a:cubicBezTo>
                        <a:cubicBezTo>
                          <a:pt x="21" y="85"/>
                          <a:pt x="21" y="85"/>
                          <a:pt x="21" y="85"/>
                        </a:cubicBezTo>
                        <a:close/>
                        <a:moveTo>
                          <a:pt x="21" y="87"/>
                        </a:moveTo>
                        <a:cubicBezTo>
                          <a:pt x="21" y="87"/>
                          <a:pt x="21" y="87"/>
                          <a:pt x="21" y="87"/>
                        </a:cubicBezTo>
                        <a:cubicBezTo>
                          <a:pt x="22" y="87"/>
                          <a:pt x="21" y="87"/>
                          <a:pt x="21" y="87"/>
                        </a:cubicBezTo>
                        <a:close/>
                        <a:moveTo>
                          <a:pt x="17" y="85"/>
                        </a:moveTo>
                        <a:cubicBezTo>
                          <a:pt x="17" y="85"/>
                          <a:pt x="17" y="85"/>
                          <a:pt x="17" y="85"/>
                        </a:cubicBezTo>
                        <a:cubicBezTo>
                          <a:pt x="17" y="85"/>
                          <a:pt x="17" y="85"/>
                          <a:pt x="17" y="85"/>
                        </a:cubicBezTo>
                        <a:close/>
                        <a:moveTo>
                          <a:pt x="18" y="86"/>
                        </a:moveTo>
                        <a:cubicBezTo>
                          <a:pt x="18" y="86"/>
                          <a:pt x="18" y="86"/>
                          <a:pt x="18" y="86"/>
                        </a:cubicBezTo>
                        <a:cubicBezTo>
                          <a:pt x="18" y="86"/>
                          <a:pt x="18" y="86"/>
                          <a:pt x="18" y="86"/>
                        </a:cubicBezTo>
                        <a:close/>
                        <a:moveTo>
                          <a:pt x="22" y="88"/>
                        </a:moveTo>
                        <a:cubicBezTo>
                          <a:pt x="22" y="88"/>
                          <a:pt x="22" y="88"/>
                          <a:pt x="22" y="88"/>
                        </a:cubicBezTo>
                        <a:cubicBezTo>
                          <a:pt x="22" y="88"/>
                          <a:pt x="22" y="88"/>
                          <a:pt x="22" y="88"/>
                        </a:cubicBezTo>
                        <a:cubicBezTo>
                          <a:pt x="22" y="88"/>
                          <a:pt x="22" y="88"/>
                          <a:pt x="22" y="88"/>
                        </a:cubicBezTo>
                        <a:close/>
                        <a:moveTo>
                          <a:pt x="21" y="88"/>
                        </a:moveTo>
                        <a:cubicBezTo>
                          <a:pt x="21" y="88"/>
                          <a:pt x="21" y="88"/>
                          <a:pt x="21" y="88"/>
                        </a:cubicBezTo>
                        <a:cubicBezTo>
                          <a:pt x="21" y="88"/>
                          <a:pt x="21" y="88"/>
                          <a:pt x="21" y="88"/>
                        </a:cubicBezTo>
                        <a:close/>
                        <a:moveTo>
                          <a:pt x="22" y="89"/>
                        </a:moveTo>
                        <a:cubicBezTo>
                          <a:pt x="22" y="89"/>
                          <a:pt x="22" y="89"/>
                          <a:pt x="22" y="89"/>
                        </a:cubicBezTo>
                        <a:cubicBezTo>
                          <a:pt x="22" y="89"/>
                          <a:pt x="22" y="89"/>
                          <a:pt x="22" y="89"/>
                        </a:cubicBezTo>
                        <a:cubicBezTo>
                          <a:pt x="22" y="89"/>
                          <a:pt x="22" y="89"/>
                          <a:pt x="22" y="89"/>
                        </a:cubicBezTo>
                        <a:close/>
                        <a:moveTo>
                          <a:pt x="16" y="86"/>
                        </a:moveTo>
                        <a:cubicBezTo>
                          <a:pt x="16" y="86"/>
                          <a:pt x="16" y="86"/>
                          <a:pt x="16" y="86"/>
                        </a:cubicBezTo>
                        <a:cubicBezTo>
                          <a:pt x="17" y="86"/>
                          <a:pt x="16" y="87"/>
                          <a:pt x="16" y="86"/>
                        </a:cubicBezTo>
                        <a:close/>
                        <a:moveTo>
                          <a:pt x="23" y="90"/>
                        </a:moveTo>
                        <a:cubicBezTo>
                          <a:pt x="23" y="90"/>
                          <a:pt x="23" y="90"/>
                          <a:pt x="23" y="90"/>
                        </a:cubicBezTo>
                        <a:cubicBezTo>
                          <a:pt x="23" y="90"/>
                          <a:pt x="23" y="90"/>
                          <a:pt x="23" y="90"/>
                        </a:cubicBezTo>
                        <a:close/>
                        <a:moveTo>
                          <a:pt x="21" y="89"/>
                        </a:moveTo>
                        <a:cubicBezTo>
                          <a:pt x="21" y="89"/>
                          <a:pt x="21" y="89"/>
                          <a:pt x="21" y="89"/>
                        </a:cubicBezTo>
                        <a:cubicBezTo>
                          <a:pt x="21" y="89"/>
                          <a:pt x="21" y="89"/>
                          <a:pt x="21" y="89"/>
                        </a:cubicBezTo>
                        <a:close/>
                        <a:moveTo>
                          <a:pt x="15" y="90"/>
                        </a:moveTo>
                        <a:cubicBezTo>
                          <a:pt x="16" y="90"/>
                          <a:pt x="15" y="90"/>
                          <a:pt x="15" y="90"/>
                        </a:cubicBezTo>
                        <a:cubicBezTo>
                          <a:pt x="15" y="90"/>
                          <a:pt x="15" y="90"/>
                          <a:pt x="15" y="90"/>
                        </a:cubicBezTo>
                        <a:close/>
                        <a:moveTo>
                          <a:pt x="17" y="96"/>
                        </a:moveTo>
                        <a:cubicBezTo>
                          <a:pt x="18" y="96"/>
                          <a:pt x="17" y="96"/>
                          <a:pt x="17" y="96"/>
                        </a:cubicBezTo>
                        <a:cubicBezTo>
                          <a:pt x="17" y="96"/>
                          <a:pt x="17" y="96"/>
                          <a:pt x="17" y="96"/>
                        </a:cubicBezTo>
                        <a:close/>
                        <a:moveTo>
                          <a:pt x="14" y="95"/>
                        </a:moveTo>
                        <a:cubicBezTo>
                          <a:pt x="14" y="95"/>
                          <a:pt x="14" y="95"/>
                          <a:pt x="14" y="95"/>
                        </a:cubicBezTo>
                        <a:cubicBezTo>
                          <a:pt x="13" y="95"/>
                          <a:pt x="14" y="95"/>
                          <a:pt x="14" y="95"/>
                        </a:cubicBezTo>
                        <a:close/>
                        <a:moveTo>
                          <a:pt x="17" y="97"/>
                        </a:moveTo>
                        <a:cubicBezTo>
                          <a:pt x="17" y="97"/>
                          <a:pt x="17" y="98"/>
                          <a:pt x="17" y="97"/>
                        </a:cubicBezTo>
                        <a:cubicBezTo>
                          <a:pt x="17" y="97"/>
                          <a:pt x="17" y="97"/>
                          <a:pt x="17" y="97"/>
                        </a:cubicBezTo>
                        <a:cubicBezTo>
                          <a:pt x="17" y="97"/>
                          <a:pt x="17" y="97"/>
                          <a:pt x="17" y="97"/>
                        </a:cubicBezTo>
                        <a:cubicBezTo>
                          <a:pt x="17" y="97"/>
                          <a:pt x="17" y="97"/>
                          <a:pt x="17" y="97"/>
                        </a:cubicBezTo>
                        <a:close/>
                        <a:moveTo>
                          <a:pt x="15" y="100"/>
                        </a:moveTo>
                        <a:cubicBezTo>
                          <a:pt x="16" y="100"/>
                          <a:pt x="15" y="100"/>
                          <a:pt x="15" y="101"/>
                        </a:cubicBezTo>
                        <a:cubicBezTo>
                          <a:pt x="15" y="100"/>
                          <a:pt x="15" y="100"/>
                          <a:pt x="15" y="100"/>
                        </a:cubicBezTo>
                        <a:close/>
                        <a:moveTo>
                          <a:pt x="16" y="102"/>
                        </a:moveTo>
                        <a:cubicBezTo>
                          <a:pt x="16" y="102"/>
                          <a:pt x="16" y="102"/>
                          <a:pt x="16" y="102"/>
                        </a:cubicBezTo>
                        <a:cubicBezTo>
                          <a:pt x="16" y="102"/>
                          <a:pt x="16" y="102"/>
                          <a:pt x="16" y="102"/>
                        </a:cubicBezTo>
                        <a:close/>
                        <a:moveTo>
                          <a:pt x="15" y="103"/>
                        </a:moveTo>
                        <a:cubicBezTo>
                          <a:pt x="15" y="103"/>
                          <a:pt x="15" y="103"/>
                          <a:pt x="15" y="103"/>
                        </a:cubicBezTo>
                        <a:cubicBezTo>
                          <a:pt x="15" y="104"/>
                          <a:pt x="15" y="103"/>
                          <a:pt x="15" y="103"/>
                        </a:cubicBezTo>
                        <a:close/>
                        <a:moveTo>
                          <a:pt x="15" y="103"/>
                        </a:moveTo>
                        <a:cubicBezTo>
                          <a:pt x="15" y="104"/>
                          <a:pt x="15" y="104"/>
                          <a:pt x="15" y="104"/>
                        </a:cubicBezTo>
                        <a:cubicBezTo>
                          <a:pt x="15" y="104"/>
                          <a:pt x="15" y="104"/>
                          <a:pt x="15" y="104"/>
                        </a:cubicBezTo>
                        <a:cubicBezTo>
                          <a:pt x="15" y="104"/>
                          <a:pt x="15" y="104"/>
                          <a:pt x="15" y="103"/>
                        </a:cubicBezTo>
                        <a:close/>
                        <a:moveTo>
                          <a:pt x="14" y="104"/>
                        </a:moveTo>
                        <a:cubicBezTo>
                          <a:pt x="14" y="104"/>
                          <a:pt x="14" y="104"/>
                          <a:pt x="14" y="104"/>
                        </a:cubicBezTo>
                        <a:cubicBezTo>
                          <a:pt x="14" y="103"/>
                          <a:pt x="14" y="103"/>
                          <a:pt x="14" y="103"/>
                        </a:cubicBezTo>
                        <a:cubicBezTo>
                          <a:pt x="14" y="103"/>
                          <a:pt x="14" y="104"/>
                          <a:pt x="14" y="104"/>
                        </a:cubicBezTo>
                        <a:close/>
                        <a:moveTo>
                          <a:pt x="12" y="104"/>
                        </a:moveTo>
                        <a:cubicBezTo>
                          <a:pt x="12" y="103"/>
                          <a:pt x="12" y="103"/>
                          <a:pt x="12" y="103"/>
                        </a:cubicBezTo>
                        <a:cubicBezTo>
                          <a:pt x="12" y="103"/>
                          <a:pt x="12" y="103"/>
                          <a:pt x="12" y="104"/>
                        </a:cubicBezTo>
                        <a:close/>
                        <a:moveTo>
                          <a:pt x="14" y="107"/>
                        </a:moveTo>
                        <a:cubicBezTo>
                          <a:pt x="14" y="107"/>
                          <a:pt x="13" y="107"/>
                          <a:pt x="14" y="107"/>
                        </a:cubicBezTo>
                        <a:cubicBezTo>
                          <a:pt x="14" y="106"/>
                          <a:pt x="14" y="106"/>
                          <a:pt x="14" y="105"/>
                        </a:cubicBezTo>
                        <a:cubicBezTo>
                          <a:pt x="14" y="106"/>
                          <a:pt x="14" y="106"/>
                          <a:pt x="14" y="107"/>
                        </a:cubicBezTo>
                        <a:close/>
                        <a:moveTo>
                          <a:pt x="11" y="105"/>
                        </a:moveTo>
                        <a:cubicBezTo>
                          <a:pt x="11" y="105"/>
                          <a:pt x="11" y="104"/>
                          <a:pt x="11" y="104"/>
                        </a:cubicBezTo>
                        <a:cubicBezTo>
                          <a:pt x="11" y="104"/>
                          <a:pt x="11" y="105"/>
                          <a:pt x="11" y="105"/>
                        </a:cubicBezTo>
                        <a:close/>
                        <a:moveTo>
                          <a:pt x="14" y="107"/>
                        </a:moveTo>
                        <a:cubicBezTo>
                          <a:pt x="14" y="107"/>
                          <a:pt x="13" y="108"/>
                          <a:pt x="13" y="108"/>
                        </a:cubicBezTo>
                        <a:cubicBezTo>
                          <a:pt x="13" y="108"/>
                          <a:pt x="13" y="107"/>
                          <a:pt x="14" y="107"/>
                        </a:cubicBezTo>
                        <a:close/>
                        <a:moveTo>
                          <a:pt x="13" y="110"/>
                        </a:moveTo>
                        <a:cubicBezTo>
                          <a:pt x="13" y="110"/>
                          <a:pt x="13" y="110"/>
                          <a:pt x="13" y="109"/>
                        </a:cubicBezTo>
                        <a:cubicBezTo>
                          <a:pt x="13" y="109"/>
                          <a:pt x="13" y="109"/>
                          <a:pt x="13" y="109"/>
                        </a:cubicBezTo>
                        <a:cubicBezTo>
                          <a:pt x="13" y="109"/>
                          <a:pt x="13" y="110"/>
                          <a:pt x="13" y="110"/>
                        </a:cubicBezTo>
                        <a:close/>
                        <a:moveTo>
                          <a:pt x="13" y="110"/>
                        </a:moveTo>
                        <a:cubicBezTo>
                          <a:pt x="13" y="110"/>
                          <a:pt x="12" y="110"/>
                          <a:pt x="12" y="110"/>
                        </a:cubicBezTo>
                        <a:cubicBezTo>
                          <a:pt x="12" y="110"/>
                          <a:pt x="13" y="110"/>
                          <a:pt x="13" y="110"/>
                        </a:cubicBezTo>
                        <a:close/>
                        <a:moveTo>
                          <a:pt x="11" y="110"/>
                        </a:moveTo>
                        <a:cubicBezTo>
                          <a:pt x="11" y="110"/>
                          <a:pt x="11" y="110"/>
                          <a:pt x="11" y="110"/>
                        </a:cubicBezTo>
                        <a:cubicBezTo>
                          <a:pt x="11" y="110"/>
                          <a:pt x="11" y="110"/>
                          <a:pt x="11" y="109"/>
                        </a:cubicBezTo>
                        <a:cubicBezTo>
                          <a:pt x="11" y="109"/>
                          <a:pt x="11" y="109"/>
                          <a:pt x="11" y="109"/>
                        </a:cubicBezTo>
                        <a:cubicBezTo>
                          <a:pt x="11" y="109"/>
                          <a:pt x="11" y="109"/>
                          <a:pt x="12" y="109"/>
                        </a:cubicBezTo>
                        <a:cubicBezTo>
                          <a:pt x="12" y="109"/>
                          <a:pt x="11" y="110"/>
                          <a:pt x="11" y="110"/>
                        </a:cubicBezTo>
                        <a:close/>
                        <a:moveTo>
                          <a:pt x="7" y="108"/>
                        </a:moveTo>
                        <a:cubicBezTo>
                          <a:pt x="7" y="108"/>
                          <a:pt x="7" y="107"/>
                          <a:pt x="7" y="107"/>
                        </a:cubicBezTo>
                        <a:cubicBezTo>
                          <a:pt x="7" y="107"/>
                          <a:pt x="7" y="108"/>
                          <a:pt x="7" y="108"/>
                        </a:cubicBezTo>
                        <a:close/>
                        <a:moveTo>
                          <a:pt x="10" y="110"/>
                        </a:moveTo>
                        <a:cubicBezTo>
                          <a:pt x="10" y="110"/>
                          <a:pt x="11" y="110"/>
                          <a:pt x="11" y="109"/>
                        </a:cubicBezTo>
                        <a:cubicBezTo>
                          <a:pt x="11" y="110"/>
                          <a:pt x="11" y="110"/>
                          <a:pt x="10" y="110"/>
                        </a:cubicBezTo>
                        <a:close/>
                        <a:moveTo>
                          <a:pt x="12" y="110"/>
                        </a:moveTo>
                        <a:cubicBezTo>
                          <a:pt x="12" y="110"/>
                          <a:pt x="12" y="110"/>
                          <a:pt x="12" y="110"/>
                        </a:cubicBezTo>
                        <a:cubicBezTo>
                          <a:pt x="12" y="110"/>
                          <a:pt x="12" y="110"/>
                          <a:pt x="12" y="110"/>
                        </a:cubicBezTo>
                        <a:close/>
                        <a:moveTo>
                          <a:pt x="11" y="110"/>
                        </a:moveTo>
                        <a:cubicBezTo>
                          <a:pt x="11" y="110"/>
                          <a:pt x="11" y="110"/>
                          <a:pt x="11" y="110"/>
                        </a:cubicBezTo>
                        <a:cubicBezTo>
                          <a:pt x="12" y="110"/>
                          <a:pt x="11" y="111"/>
                          <a:pt x="11" y="111"/>
                        </a:cubicBezTo>
                        <a:cubicBezTo>
                          <a:pt x="11" y="111"/>
                          <a:pt x="12" y="110"/>
                          <a:pt x="11" y="110"/>
                        </a:cubicBezTo>
                        <a:close/>
                        <a:moveTo>
                          <a:pt x="10" y="111"/>
                        </a:moveTo>
                        <a:cubicBezTo>
                          <a:pt x="10" y="111"/>
                          <a:pt x="10" y="110"/>
                          <a:pt x="10" y="110"/>
                        </a:cubicBezTo>
                        <a:cubicBezTo>
                          <a:pt x="10" y="110"/>
                          <a:pt x="10" y="111"/>
                          <a:pt x="10" y="111"/>
                        </a:cubicBezTo>
                        <a:close/>
                        <a:moveTo>
                          <a:pt x="10" y="111"/>
                        </a:moveTo>
                        <a:cubicBezTo>
                          <a:pt x="11" y="111"/>
                          <a:pt x="10" y="111"/>
                          <a:pt x="10" y="111"/>
                        </a:cubicBezTo>
                        <a:cubicBezTo>
                          <a:pt x="10" y="111"/>
                          <a:pt x="10" y="111"/>
                          <a:pt x="10" y="111"/>
                        </a:cubicBezTo>
                        <a:close/>
                        <a:moveTo>
                          <a:pt x="11" y="111"/>
                        </a:moveTo>
                        <a:cubicBezTo>
                          <a:pt x="11" y="111"/>
                          <a:pt x="11" y="111"/>
                          <a:pt x="11" y="111"/>
                        </a:cubicBezTo>
                        <a:cubicBezTo>
                          <a:pt x="11" y="111"/>
                          <a:pt x="11" y="111"/>
                          <a:pt x="11" y="111"/>
                        </a:cubicBezTo>
                        <a:cubicBezTo>
                          <a:pt x="11" y="111"/>
                          <a:pt x="11" y="111"/>
                          <a:pt x="11" y="111"/>
                        </a:cubicBezTo>
                        <a:cubicBezTo>
                          <a:pt x="11" y="111"/>
                          <a:pt x="11" y="111"/>
                          <a:pt x="11" y="111"/>
                        </a:cubicBezTo>
                        <a:close/>
                        <a:moveTo>
                          <a:pt x="11" y="112"/>
                        </a:moveTo>
                        <a:cubicBezTo>
                          <a:pt x="11" y="112"/>
                          <a:pt x="11" y="112"/>
                          <a:pt x="11" y="112"/>
                        </a:cubicBezTo>
                        <a:cubicBezTo>
                          <a:pt x="11" y="112"/>
                          <a:pt x="11" y="112"/>
                          <a:pt x="11" y="112"/>
                        </a:cubicBezTo>
                        <a:close/>
                        <a:moveTo>
                          <a:pt x="6" y="110"/>
                        </a:moveTo>
                        <a:cubicBezTo>
                          <a:pt x="6" y="110"/>
                          <a:pt x="6" y="110"/>
                          <a:pt x="6" y="110"/>
                        </a:cubicBezTo>
                        <a:cubicBezTo>
                          <a:pt x="6" y="110"/>
                          <a:pt x="6" y="110"/>
                          <a:pt x="6" y="110"/>
                        </a:cubicBezTo>
                        <a:close/>
                        <a:moveTo>
                          <a:pt x="5" y="111"/>
                        </a:moveTo>
                        <a:cubicBezTo>
                          <a:pt x="5" y="111"/>
                          <a:pt x="5" y="111"/>
                          <a:pt x="5" y="111"/>
                        </a:cubicBezTo>
                        <a:cubicBezTo>
                          <a:pt x="6" y="111"/>
                          <a:pt x="5" y="111"/>
                          <a:pt x="5" y="111"/>
                        </a:cubicBezTo>
                        <a:close/>
                        <a:moveTo>
                          <a:pt x="10" y="114"/>
                        </a:moveTo>
                        <a:cubicBezTo>
                          <a:pt x="10" y="114"/>
                          <a:pt x="9" y="115"/>
                          <a:pt x="9" y="116"/>
                        </a:cubicBezTo>
                        <a:cubicBezTo>
                          <a:pt x="8" y="116"/>
                          <a:pt x="8" y="117"/>
                          <a:pt x="8" y="117"/>
                        </a:cubicBezTo>
                        <a:cubicBezTo>
                          <a:pt x="8" y="116"/>
                          <a:pt x="9" y="115"/>
                          <a:pt x="10" y="114"/>
                        </a:cubicBezTo>
                        <a:close/>
                        <a:moveTo>
                          <a:pt x="11" y="115"/>
                        </a:moveTo>
                        <a:cubicBezTo>
                          <a:pt x="10" y="115"/>
                          <a:pt x="10" y="115"/>
                          <a:pt x="10" y="115"/>
                        </a:cubicBezTo>
                        <a:cubicBezTo>
                          <a:pt x="10" y="115"/>
                          <a:pt x="10" y="115"/>
                          <a:pt x="11" y="115"/>
                        </a:cubicBezTo>
                        <a:close/>
                        <a:moveTo>
                          <a:pt x="8" y="114"/>
                        </a:moveTo>
                        <a:cubicBezTo>
                          <a:pt x="8" y="114"/>
                          <a:pt x="8" y="114"/>
                          <a:pt x="8" y="114"/>
                        </a:cubicBezTo>
                        <a:cubicBezTo>
                          <a:pt x="8" y="114"/>
                          <a:pt x="8" y="114"/>
                          <a:pt x="8" y="114"/>
                        </a:cubicBezTo>
                        <a:cubicBezTo>
                          <a:pt x="8" y="114"/>
                          <a:pt x="8" y="114"/>
                          <a:pt x="8" y="114"/>
                        </a:cubicBezTo>
                        <a:close/>
                        <a:moveTo>
                          <a:pt x="10" y="115"/>
                        </a:moveTo>
                        <a:cubicBezTo>
                          <a:pt x="10" y="115"/>
                          <a:pt x="10" y="115"/>
                          <a:pt x="10" y="115"/>
                        </a:cubicBezTo>
                        <a:cubicBezTo>
                          <a:pt x="10" y="115"/>
                          <a:pt x="10" y="115"/>
                          <a:pt x="10" y="115"/>
                        </a:cubicBezTo>
                        <a:close/>
                        <a:moveTo>
                          <a:pt x="10" y="116"/>
                        </a:moveTo>
                        <a:cubicBezTo>
                          <a:pt x="10" y="115"/>
                          <a:pt x="10" y="115"/>
                          <a:pt x="10" y="115"/>
                        </a:cubicBezTo>
                        <a:cubicBezTo>
                          <a:pt x="10" y="115"/>
                          <a:pt x="10" y="116"/>
                          <a:pt x="10" y="116"/>
                        </a:cubicBezTo>
                        <a:close/>
                        <a:moveTo>
                          <a:pt x="10" y="116"/>
                        </a:moveTo>
                        <a:cubicBezTo>
                          <a:pt x="10" y="116"/>
                          <a:pt x="10" y="116"/>
                          <a:pt x="10" y="116"/>
                        </a:cubicBezTo>
                        <a:cubicBezTo>
                          <a:pt x="10" y="116"/>
                          <a:pt x="10" y="116"/>
                          <a:pt x="10" y="116"/>
                        </a:cubicBezTo>
                        <a:cubicBezTo>
                          <a:pt x="10" y="116"/>
                          <a:pt x="10" y="116"/>
                          <a:pt x="10" y="115"/>
                        </a:cubicBezTo>
                        <a:lnTo>
                          <a:pt x="10" y="116"/>
                        </a:lnTo>
                        <a:close/>
                        <a:moveTo>
                          <a:pt x="8" y="115"/>
                        </a:moveTo>
                        <a:cubicBezTo>
                          <a:pt x="8" y="115"/>
                          <a:pt x="8" y="115"/>
                          <a:pt x="8" y="115"/>
                        </a:cubicBezTo>
                        <a:cubicBezTo>
                          <a:pt x="8" y="115"/>
                          <a:pt x="8" y="115"/>
                          <a:pt x="8" y="115"/>
                        </a:cubicBezTo>
                        <a:close/>
                        <a:moveTo>
                          <a:pt x="3" y="113"/>
                        </a:moveTo>
                        <a:cubicBezTo>
                          <a:pt x="3" y="114"/>
                          <a:pt x="3" y="114"/>
                          <a:pt x="3" y="114"/>
                        </a:cubicBezTo>
                        <a:cubicBezTo>
                          <a:pt x="3" y="114"/>
                          <a:pt x="3" y="114"/>
                          <a:pt x="3" y="113"/>
                        </a:cubicBezTo>
                        <a:close/>
                        <a:moveTo>
                          <a:pt x="7" y="116"/>
                        </a:moveTo>
                        <a:cubicBezTo>
                          <a:pt x="7" y="117"/>
                          <a:pt x="7" y="116"/>
                          <a:pt x="7" y="117"/>
                        </a:cubicBezTo>
                        <a:cubicBezTo>
                          <a:pt x="6" y="116"/>
                          <a:pt x="7" y="116"/>
                          <a:pt x="7" y="116"/>
                        </a:cubicBezTo>
                        <a:cubicBezTo>
                          <a:pt x="7" y="116"/>
                          <a:pt x="7" y="116"/>
                          <a:pt x="7" y="116"/>
                        </a:cubicBezTo>
                        <a:close/>
                        <a:moveTo>
                          <a:pt x="7" y="116"/>
                        </a:moveTo>
                        <a:cubicBezTo>
                          <a:pt x="7" y="116"/>
                          <a:pt x="7" y="116"/>
                          <a:pt x="7" y="116"/>
                        </a:cubicBezTo>
                        <a:cubicBezTo>
                          <a:pt x="7" y="117"/>
                          <a:pt x="7" y="117"/>
                          <a:pt x="7" y="117"/>
                        </a:cubicBezTo>
                        <a:cubicBezTo>
                          <a:pt x="7" y="117"/>
                          <a:pt x="7" y="117"/>
                          <a:pt x="7" y="117"/>
                        </a:cubicBezTo>
                        <a:cubicBezTo>
                          <a:pt x="6" y="117"/>
                          <a:pt x="7" y="117"/>
                          <a:pt x="7" y="116"/>
                        </a:cubicBezTo>
                        <a:close/>
                        <a:moveTo>
                          <a:pt x="7" y="117"/>
                        </a:moveTo>
                        <a:cubicBezTo>
                          <a:pt x="7" y="117"/>
                          <a:pt x="7" y="117"/>
                          <a:pt x="7" y="117"/>
                        </a:cubicBezTo>
                        <a:cubicBezTo>
                          <a:pt x="7" y="117"/>
                          <a:pt x="7" y="117"/>
                          <a:pt x="6" y="118"/>
                        </a:cubicBezTo>
                        <a:cubicBezTo>
                          <a:pt x="6" y="117"/>
                          <a:pt x="7" y="117"/>
                          <a:pt x="7" y="117"/>
                        </a:cubicBezTo>
                        <a:close/>
                        <a:moveTo>
                          <a:pt x="9" y="119"/>
                        </a:moveTo>
                        <a:cubicBezTo>
                          <a:pt x="9" y="119"/>
                          <a:pt x="9" y="118"/>
                          <a:pt x="9" y="118"/>
                        </a:cubicBezTo>
                        <a:cubicBezTo>
                          <a:pt x="9" y="118"/>
                          <a:pt x="9" y="119"/>
                          <a:pt x="9" y="119"/>
                        </a:cubicBezTo>
                        <a:close/>
                        <a:moveTo>
                          <a:pt x="2" y="116"/>
                        </a:moveTo>
                        <a:cubicBezTo>
                          <a:pt x="2" y="116"/>
                          <a:pt x="2" y="115"/>
                          <a:pt x="2" y="115"/>
                        </a:cubicBezTo>
                        <a:cubicBezTo>
                          <a:pt x="2" y="116"/>
                          <a:pt x="2" y="116"/>
                          <a:pt x="2" y="116"/>
                        </a:cubicBezTo>
                        <a:close/>
                        <a:moveTo>
                          <a:pt x="7" y="118"/>
                        </a:moveTo>
                        <a:cubicBezTo>
                          <a:pt x="7" y="118"/>
                          <a:pt x="7" y="118"/>
                          <a:pt x="6" y="118"/>
                        </a:cubicBezTo>
                        <a:cubicBezTo>
                          <a:pt x="6" y="118"/>
                          <a:pt x="6" y="118"/>
                          <a:pt x="6" y="118"/>
                        </a:cubicBezTo>
                        <a:cubicBezTo>
                          <a:pt x="6" y="118"/>
                          <a:pt x="6" y="118"/>
                          <a:pt x="6" y="118"/>
                        </a:cubicBezTo>
                        <a:cubicBezTo>
                          <a:pt x="6" y="118"/>
                          <a:pt x="6" y="118"/>
                          <a:pt x="6" y="118"/>
                        </a:cubicBezTo>
                        <a:cubicBezTo>
                          <a:pt x="7" y="118"/>
                          <a:pt x="7" y="118"/>
                          <a:pt x="7" y="118"/>
                        </a:cubicBezTo>
                        <a:close/>
                        <a:moveTo>
                          <a:pt x="9" y="119"/>
                        </a:moveTo>
                        <a:cubicBezTo>
                          <a:pt x="9" y="119"/>
                          <a:pt x="8" y="119"/>
                          <a:pt x="8" y="120"/>
                        </a:cubicBezTo>
                        <a:cubicBezTo>
                          <a:pt x="8" y="119"/>
                          <a:pt x="8" y="119"/>
                          <a:pt x="9" y="119"/>
                        </a:cubicBezTo>
                        <a:close/>
                        <a:moveTo>
                          <a:pt x="7" y="118"/>
                        </a:moveTo>
                        <a:cubicBezTo>
                          <a:pt x="7" y="118"/>
                          <a:pt x="7" y="119"/>
                          <a:pt x="7" y="119"/>
                        </a:cubicBezTo>
                        <a:cubicBezTo>
                          <a:pt x="7" y="119"/>
                          <a:pt x="7" y="118"/>
                          <a:pt x="7" y="118"/>
                        </a:cubicBezTo>
                        <a:close/>
                        <a:moveTo>
                          <a:pt x="2" y="116"/>
                        </a:moveTo>
                        <a:cubicBezTo>
                          <a:pt x="2" y="116"/>
                          <a:pt x="2" y="117"/>
                          <a:pt x="2" y="117"/>
                        </a:cubicBezTo>
                        <a:cubicBezTo>
                          <a:pt x="2" y="117"/>
                          <a:pt x="2" y="116"/>
                          <a:pt x="2" y="116"/>
                        </a:cubicBezTo>
                        <a:close/>
                        <a:moveTo>
                          <a:pt x="4" y="118"/>
                        </a:moveTo>
                        <a:cubicBezTo>
                          <a:pt x="4" y="118"/>
                          <a:pt x="4" y="117"/>
                          <a:pt x="4" y="117"/>
                        </a:cubicBezTo>
                        <a:cubicBezTo>
                          <a:pt x="5" y="117"/>
                          <a:pt x="4" y="118"/>
                          <a:pt x="4" y="118"/>
                        </a:cubicBezTo>
                        <a:close/>
                        <a:moveTo>
                          <a:pt x="6" y="118"/>
                        </a:moveTo>
                        <a:cubicBezTo>
                          <a:pt x="6" y="119"/>
                          <a:pt x="6" y="119"/>
                          <a:pt x="6" y="119"/>
                        </a:cubicBezTo>
                        <a:cubicBezTo>
                          <a:pt x="6" y="119"/>
                          <a:pt x="6" y="118"/>
                          <a:pt x="6" y="118"/>
                        </a:cubicBezTo>
                        <a:close/>
                        <a:moveTo>
                          <a:pt x="8" y="120"/>
                        </a:moveTo>
                        <a:cubicBezTo>
                          <a:pt x="8" y="120"/>
                          <a:pt x="8" y="120"/>
                          <a:pt x="8" y="120"/>
                        </a:cubicBezTo>
                        <a:cubicBezTo>
                          <a:pt x="8" y="120"/>
                          <a:pt x="8" y="120"/>
                          <a:pt x="8" y="120"/>
                        </a:cubicBezTo>
                        <a:close/>
                        <a:moveTo>
                          <a:pt x="4" y="119"/>
                        </a:moveTo>
                        <a:cubicBezTo>
                          <a:pt x="4" y="118"/>
                          <a:pt x="4" y="118"/>
                          <a:pt x="4" y="118"/>
                        </a:cubicBezTo>
                        <a:cubicBezTo>
                          <a:pt x="4" y="118"/>
                          <a:pt x="4" y="118"/>
                          <a:pt x="4" y="119"/>
                        </a:cubicBezTo>
                        <a:close/>
                        <a:moveTo>
                          <a:pt x="1" y="117"/>
                        </a:moveTo>
                        <a:cubicBezTo>
                          <a:pt x="1" y="117"/>
                          <a:pt x="1" y="117"/>
                          <a:pt x="1" y="117"/>
                        </a:cubicBezTo>
                        <a:cubicBezTo>
                          <a:pt x="1" y="117"/>
                          <a:pt x="1" y="117"/>
                          <a:pt x="1" y="117"/>
                        </a:cubicBezTo>
                        <a:close/>
                        <a:moveTo>
                          <a:pt x="7" y="121"/>
                        </a:moveTo>
                        <a:cubicBezTo>
                          <a:pt x="7" y="121"/>
                          <a:pt x="7" y="121"/>
                          <a:pt x="7" y="121"/>
                        </a:cubicBezTo>
                        <a:cubicBezTo>
                          <a:pt x="7" y="121"/>
                          <a:pt x="7" y="121"/>
                          <a:pt x="7" y="121"/>
                        </a:cubicBezTo>
                        <a:cubicBezTo>
                          <a:pt x="7" y="121"/>
                          <a:pt x="7" y="121"/>
                          <a:pt x="7" y="121"/>
                        </a:cubicBezTo>
                        <a:cubicBezTo>
                          <a:pt x="7" y="120"/>
                          <a:pt x="8" y="120"/>
                          <a:pt x="8" y="120"/>
                        </a:cubicBezTo>
                        <a:cubicBezTo>
                          <a:pt x="8" y="121"/>
                          <a:pt x="8" y="121"/>
                          <a:pt x="7" y="121"/>
                        </a:cubicBezTo>
                        <a:close/>
                        <a:moveTo>
                          <a:pt x="0" y="118"/>
                        </a:moveTo>
                        <a:cubicBezTo>
                          <a:pt x="0" y="118"/>
                          <a:pt x="0" y="117"/>
                          <a:pt x="0" y="117"/>
                        </a:cubicBezTo>
                        <a:cubicBezTo>
                          <a:pt x="0" y="117"/>
                          <a:pt x="0" y="117"/>
                          <a:pt x="1" y="117"/>
                        </a:cubicBezTo>
                        <a:cubicBezTo>
                          <a:pt x="1" y="117"/>
                          <a:pt x="0" y="118"/>
                          <a:pt x="0" y="118"/>
                        </a:cubicBezTo>
                        <a:cubicBezTo>
                          <a:pt x="0" y="118"/>
                          <a:pt x="0" y="118"/>
                          <a:pt x="0" y="118"/>
                        </a:cubicBezTo>
                        <a:close/>
                        <a:moveTo>
                          <a:pt x="5" y="120"/>
                        </a:moveTo>
                        <a:cubicBezTo>
                          <a:pt x="5" y="120"/>
                          <a:pt x="5" y="120"/>
                          <a:pt x="5" y="120"/>
                        </a:cubicBezTo>
                        <a:cubicBezTo>
                          <a:pt x="6" y="120"/>
                          <a:pt x="5" y="120"/>
                          <a:pt x="5" y="120"/>
                        </a:cubicBezTo>
                        <a:close/>
                        <a:moveTo>
                          <a:pt x="5" y="120"/>
                        </a:moveTo>
                        <a:cubicBezTo>
                          <a:pt x="5" y="120"/>
                          <a:pt x="5" y="120"/>
                          <a:pt x="5" y="119"/>
                        </a:cubicBezTo>
                        <a:cubicBezTo>
                          <a:pt x="5" y="120"/>
                          <a:pt x="5" y="120"/>
                          <a:pt x="5" y="120"/>
                        </a:cubicBezTo>
                        <a:close/>
                        <a:moveTo>
                          <a:pt x="0" y="118"/>
                        </a:moveTo>
                        <a:cubicBezTo>
                          <a:pt x="0" y="118"/>
                          <a:pt x="0" y="118"/>
                          <a:pt x="1" y="118"/>
                        </a:cubicBezTo>
                        <a:cubicBezTo>
                          <a:pt x="1" y="118"/>
                          <a:pt x="0" y="118"/>
                          <a:pt x="0" y="118"/>
                        </a:cubicBezTo>
                        <a:close/>
                        <a:moveTo>
                          <a:pt x="0" y="118"/>
                        </a:moveTo>
                        <a:cubicBezTo>
                          <a:pt x="0" y="118"/>
                          <a:pt x="0" y="118"/>
                          <a:pt x="0" y="118"/>
                        </a:cubicBezTo>
                        <a:cubicBezTo>
                          <a:pt x="0" y="118"/>
                          <a:pt x="0" y="118"/>
                          <a:pt x="0" y="118"/>
                        </a:cubicBezTo>
                        <a:cubicBezTo>
                          <a:pt x="0" y="118"/>
                          <a:pt x="0" y="118"/>
                          <a:pt x="0" y="118"/>
                        </a:cubicBezTo>
                        <a:close/>
                        <a:moveTo>
                          <a:pt x="3" y="120"/>
                        </a:moveTo>
                        <a:cubicBezTo>
                          <a:pt x="3" y="120"/>
                          <a:pt x="3" y="120"/>
                          <a:pt x="3" y="120"/>
                        </a:cubicBezTo>
                        <a:cubicBezTo>
                          <a:pt x="3" y="120"/>
                          <a:pt x="3" y="120"/>
                          <a:pt x="3" y="120"/>
                        </a:cubicBezTo>
                        <a:cubicBezTo>
                          <a:pt x="3" y="120"/>
                          <a:pt x="3" y="120"/>
                          <a:pt x="3" y="120"/>
                        </a:cubicBezTo>
                        <a:close/>
                        <a:moveTo>
                          <a:pt x="0" y="119"/>
                        </a:moveTo>
                        <a:cubicBezTo>
                          <a:pt x="0" y="119"/>
                          <a:pt x="0" y="119"/>
                          <a:pt x="0" y="119"/>
                        </a:cubicBezTo>
                        <a:cubicBezTo>
                          <a:pt x="0" y="119"/>
                          <a:pt x="0" y="119"/>
                          <a:pt x="0" y="119"/>
                        </a:cubicBezTo>
                        <a:close/>
                        <a:moveTo>
                          <a:pt x="6" y="122"/>
                        </a:moveTo>
                        <a:cubicBezTo>
                          <a:pt x="6" y="122"/>
                          <a:pt x="6" y="122"/>
                          <a:pt x="6" y="122"/>
                        </a:cubicBezTo>
                        <a:cubicBezTo>
                          <a:pt x="7" y="122"/>
                          <a:pt x="6" y="122"/>
                          <a:pt x="6" y="122"/>
                        </a:cubicBezTo>
                        <a:cubicBezTo>
                          <a:pt x="6" y="122"/>
                          <a:pt x="6" y="122"/>
                          <a:pt x="6" y="122"/>
                        </a:cubicBezTo>
                        <a:close/>
                        <a:moveTo>
                          <a:pt x="5" y="123"/>
                        </a:moveTo>
                        <a:cubicBezTo>
                          <a:pt x="5" y="123"/>
                          <a:pt x="5" y="123"/>
                          <a:pt x="5" y="123"/>
                        </a:cubicBezTo>
                        <a:cubicBezTo>
                          <a:pt x="5" y="123"/>
                          <a:pt x="5" y="123"/>
                          <a:pt x="5" y="123"/>
                        </a:cubicBezTo>
                        <a:close/>
                        <a:moveTo>
                          <a:pt x="45" y="36"/>
                        </a:moveTo>
                        <a:cubicBezTo>
                          <a:pt x="45" y="36"/>
                          <a:pt x="45" y="36"/>
                          <a:pt x="45" y="36"/>
                        </a:cubicBezTo>
                        <a:cubicBezTo>
                          <a:pt x="45" y="36"/>
                          <a:pt x="45" y="36"/>
                          <a:pt x="45" y="36"/>
                        </a:cubicBezTo>
                        <a:close/>
                        <a:moveTo>
                          <a:pt x="62" y="17"/>
                        </a:moveTo>
                        <a:cubicBezTo>
                          <a:pt x="62" y="17"/>
                          <a:pt x="62" y="18"/>
                          <a:pt x="62" y="18"/>
                        </a:cubicBezTo>
                        <a:cubicBezTo>
                          <a:pt x="61" y="18"/>
                          <a:pt x="61" y="18"/>
                          <a:pt x="61" y="18"/>
                        </a:cubicBezTo>
                        <a:cubicBezTo>
                          <a:pt x="61" y="18"/>
                          <a:pt x="61" y="18"/>
                          <a:pt x="61" y="18"/>
                        </a:cubicBezTo>
                        <a:cubicBezTo>
                          <a:pt x="61" y="19"/>
                          <a:pt x="61" y="20"/>
                          <a:pt x="60" y="20"/>
                        </a:cubicBezTo>
                        <a:cubicBezTo>
                          <a:pt x="60" y="20"/>
                          <a:pt x="60" y="20"/>
                          <a:pt x="60" y="20"/>
                        </a:cubicBezTo>
                        <a:cubicBezTo>
                          <a:pt x="60" y="20"/>
                          <a:pt x="60" y="21"/>
                          <a:pt x="59" y="22"/>
                        </a:cubicBezTo>
                        <a:cubicBezTo>
                          <a:pt x="59" y="22"/>
                          <a:pt x="60" y="22"/>
                          <a:pt x="60" y="22"/>
                        </a:cubicBezTo>
                        <a:cubicBezTo>
                          <a:pt x="60" y="22"/>
                          <a:pt x="59" y="22"/>
                          <a:pt x="59" y="22"/>
                        </a:cubicBezTo>
                        <a:cubicBezTo>
                          <a:pt x="59" y="22"/>
                          <a:pt x="59" y="22"/>
                          <a:pt x="59" y="21"/>
                        </a:cubicBezTo>
                        <a:cubicBezTo>
                          <a:pt x="59" y="22"/>
                          <a:pt x="59" y="22"/>
                          <a:pt x="59" y="23"/>
                        </a:cubicBezTo>
                        <a:cubicBezTo>
                          <a:pt x="59" y="23"/>
                          <a:pt x="59" y="23"/>
                          <a:pt x="59" y="23"/>
                        </a:cubicBezTo>
                        <a:cubicBezTo>
                          <a:pt x="59" y="23"/>
                          <a:pt x="59" y="23"/>
                          <a:pt x="59" y="23"/>
                        </a:cubicBezTo>
                        <a:cubicBezTo>
                          <a:pt x="58" y="23"/>
                          <a:pt x="58" y="23"/>
                          <a:pt x="58" y="23"/>
                        </a:cubicBezTo>
                        <a:cubicBezTo>
                          <a:pt x="58" y="23"/>
                          <a:pt x="59" y="23"/>
                          <a:pt x="58" y="23"/>
                        </a:cubicBezTo>
                        <a:cubicBezTo>
                          <a:pt x="58" y="24"/>
                          <a:pt x="58" y="24"/>
                          <a:pt x="58" y="24"/>
                        </a:cubicBezTo>
                        <a:cubicBezTo>
                          <a:pt x="58" y="24"/>
                          <a:pt x="58" y="23"/>
                          <a:pt x="58" y="23"/>
                        </a:cubicBezTo>
                        <a:cubicBezTo>
                          <a:pt x="58" y="24"/>
                          <a:pt x="57" y="24"/>
                          <a:pt x="58" y="24"/>
                        </a:cubicBezTo>
                        <a:cubicBezTo>
                          <a:pt x="57" y="24"/>
                          <a:pt x="57" y="24"/>
                          <a:pt x="57" y="24"/>
                        </a:cubicBezTo>
                        <a:cubicBezTo>
                          <a:pt x="57" y="24"/>
                          <a:pt x="57" y="24"/>
                          <a:pt x="57" y="24"/>
                        </a:cubicBezTo>
                        <a:cubicBezTo>
                          <a:pt x="57" y="24"/>
                          <a:pt x="57" y="24"/>
                          <a:pt x="57" y="24"/>
                        </a:cubicBezTo>
                        <a:cubicBezTo>
                          <a:pt x="57" y="24"/>
                          <a:pt x="57" y="24"/>
                          <a:pt x="56" y="25"/>
                        </a:cubicBezTo>
                        <a:cubicBezTo>
                          <a:pt x="56" y="25"/>
                          <a:pt x="56" y="25"/>
                          <a:pt x="56" y="25"/>
                        </a:cubicBezTo>
                        <a:cubicBezTo>
                          <a:pt x="56" y="25"/>
                          <a:pt x="56" y="25"/>
                          <a:pt x="56" y="25"/>
                        </a:cubicBezTo>
                        <a:cubicBezTo>
                          <a:pt x="56" y="26"/>
                          <a:pt x="55" y="26"/>
                          <a:pt x="55" y="26"/>
                        </a:cubicBezTo>
                        <a:cubicBezTo>
                          <a:pt x="55" y="27"/>
                          <a:pt x="55" y="27"/>
                          <a:pt x="55" y="27"/>
                        </a:cubicBezTo>
                        <a:cubicBezTo>
                          <a:pt x="55" y="27"/>
                          <a:pt x="55" y="27"/>
                          <a:pt x="55" y="27"/>
                        </a:cubicBezTo>
                        <a:cubicBezTo>
                          <a:pt x="55" y="27"/>
                          <a:pt x="55" y="27"/>
                          <a:pt x="55" y="27"/>
                        </a:cubicBezTo>
                        <a:cubicBezTo>
                          <a:pt x="55" y="27"/>
                          <a:pt x="55" y="27"/>
                          <a:pt x="55" y="28"/>
                        </a:cubicBezTo>
                        <a:cubicBezTo>
                          <a:pt x="55" y="28"/>
                          <a:pt x="55" y="28"/>
                          <a:pt x="54" y="28"/>
                        </a:cubicBezTo>
                        <a:cubicBezTo>
                          <a:pt x="54" y="28"/>
                          <a:pt x="54" y="28"/>
                          <a:pt x="55" y="28"/>
                        </a:cubicBezTo>
                        <a:cubicBezTo>
                          <a:pt x="54" y="28"/>
                          <a:pt x="54" y="28"/>
                          <a:pt x="54" y="28"/>
                        </a:cubicBezTo>
                        <a:cubicBezTo>
                          <a:pt x="54" y="28"/>
                          <a:pt x="54" y="28"/>
                          <a:pt x="54" y="28"/>
                        </a:cubicBezTo>
                        <a:cubicBezTo>
                          <a:pt x="54" y="28"/>
                          <a:pt x="54" y="28"/>
                          <a:pt x="54" y="28"/>
                        </a:cubicBezTo>
                        <a:cubicBezTo>
                          <a:pt x="54" y="28"/>
                          <a:pt x="54" y="28"/>
                          <a:pt x="54" y="28"/>
                        </a:cubicBezTo>
                        <a:cubicBezTo>
                          <a:pt x="54" y="28"/>
                          <a:pt x="54" y="28"/>
                          <a:pt x="54" y="28"/>
                        </a:cubicBezTo>
                        <a:cubicBezTo>
                          <a:pt x="54" y="28"/>
                          <a:pt x="54" y="28"/>
                          <a:pt x="54" y="28"/>
                        </a:cubicBezTo>
                        <a:cubicBezTo>
                          <a:pt x="54" y="28"/>
                          <a:pt x="54" y="28"/>
                          <a:pt x="54" y="28"/>
                        </a:cubicBezTo>
                        <a:cubicBezTo>
                          <a:pt x="53" y="29"/>
                          <a:pt x="54" y="30"/>
                          <a:pt x="53" y="30"/>
                        </a:cubicBezTo>
                        <a:cubicBezTo>
                          <a:pt x="53" y="30"/>
                          <a:pt x="53" y="30"/>
                          <a:pt x="53" y="29"/>
                        </a:cubicBezTo>
                        <a:cubicBezTo>
                          <a:pt x="53" y="29"/>
                          <a:pt x="53" y="29"/>
                          <a:pt x="53" y="30"/>
                        </a:cubicBezTo>
                        <a:cubicBezTo>
                          <a:pt x="53" y="30"/>
                          <a:pt x="53" y="30"/>
                          <a:pt x="53" y="29"/>
                        </a:cubicBezTo>
                        <a:cubicBezTo>
                          <a:pt x="53" y="30"/>
                          <a:pt x="53" y="30"/>
                          <a:pt x="53" y="30"/>
                        </a:cubicBezTo>
                        <a:cubicBezTo>
                          <a:pt x="52" y="30"/>
                          <a:pt x="52" y="30"/>
                          <a:pt x="52" y="30"/>
                        </a:cubicBezTo>
                        <a:cubicBezTo>
                          <a:pt x="52" y="30"/>
                          <a:pt x="52" y="30"/>
                          <a:pt x="52" y="30"/>
                        </a:cubicBezTo>
                        <a:cubicBezTo>
                          <a:pt x="52" y="30"/>
                          <a:pt x="52" y="31"/>
                          <a:pt x="52" y="31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2" y="31"/>
                          <a:pt x="53" y="31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2" y="31"/>
                          <a:pt x="52" y="32"/>
                        </a:cubicBezTo>
                        <a:cubicBezTo>
                          <a:pt x="51" y="32"/>
                          <a:pt x="52" y="32"/>
                          <a:pt x="52" y="32"/>
                        </a:cubicBezTo>
                        <a:cubicBezTo>
                          <a:pt x="51" y="32"/>
                          <a:pt x="51" y="32"/>
                          <a:pt x="51" y="32"/>
                        </a:cubicBezTo>
                        <a:cubicBezTo>
                          <a:pt x="52" y="32"/>
                          <a:pt x="51" y="32"/>
                          <a:pt x="51" y="33"/>
                        </a:cubicBezTo>
                        <a:cubicBezTo>
                          <a:pt x="51" y="33"/>
                          <a:pt x="51" y="33"/>
                          <a:pt x="51" y="33"/>
                        </a:cubicBezTo>
                        <a:cubicBezTo>
                          <a:pt x="51" y="33"/>
                          <a:pt x="51" y="33"/>
                          <a:pt x="51" y="33"/>
                        </a:cubicBezTo>
                        <a:cubicBezTo>
                          <a:pt x="51" y="33"/>
                          <a:pt x="51" y="33"/>
                          <a:pt x="51" y="33"/>
                        </a:cubicBezTo>
                        <a:cubicBezTo>
                          <a:pt x="51" y="32"/>
                          <a:pt x="51" y="31"/>
                          <a:pt x="52" y="31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1" y="31"/>
                          <a:pt x="51" y="31"/>
                        </a:cubicBezTo>
                        <a:cubicBezTo>
                          <a:pt x="51" y="31"/>
                          <a:pt x="51" y="31"/>
                          <a:pt x="51" y="31"/>
                        </a:cubicBezTo>
                        <a:cubicBezTo>
                          <a:pt x="51" y="31"/>
                          <a:pt x="51" y="31"/>
                          <a:pt x="51" y="31"/>
                        </a:cubicBezTo>
                        <a:cubicBezTo>
                          <a:pt x="51" y="32"/>
                          <a:pt x="51" y="31"/>
                          <a:pt x="51" y="31"/>
                        </a:cubicBezTo>
                        <a:cubicBezTo>
                          <a:pt x="51" y="32"/>
                          <a:pt x="51" y="32"/>
                          <a:pt x="51" y="32"/>
                        </a:cubicBezTo>
                        <a:cubicBezTo>
                          <a:pt x="51" y="32"/>
                          <a:pt x="51" y="32"/>
                          <a:pt x="51" y="32"/>
                        </a:cubicBezTo>
                        <a:cubicBezTo>
                          <a:pt x="51" y="32"/>
                          <a:pt x="51" y="32"/>
                          <a:pt x="51" y="32"/>
                        </a:cubicBezTo>
                        <a:cubicBezTo>
                          <a:pt x="50" y="32"/>
                          <a:pt x="50" y="32"/>
                          <a:pt x="50" y="32"/>
                        </a:cubicBezTo>
                        <a:cubicBezTo>
                          <a:pt x="50" y="33"/>
                          <a:pt x="50" y="33"/>
                          <a:pt x="50" y="33"/>
                        </a:cubicBezTo>
                        <a:cubicBezTo>
                          <a:pt x="50" y="33"/>
                          <a:pt x="50" y="33"/>
                          <a:pt x="50" y="33"/>
                        </a:cubicBezTo>
                        <a:cubicBezTo>
                          <a:pt x="50" y="33"/>
                          <a:pt x="50" y="33"/>
                          <a:pt x="50" y="33"/>
                        </a:cubicBezTo>
                        <a:cubicBezTo>
                          <a:pt x="50" y="33"/>
                          <a:pt x="50" y="33"/>
                          <a:pt x="50" y="33"/>
                        </a:cubicBezTo>
                        <a:cubicBezTo>
                          <a:pt x="50" y="33"/>
                          <a:pt x="50" y="33"/>
                          <a:pt x="50" y="33"/>
                        </a:cubicBezTo>
                        <a:cubicBezTo>
                          <a:pt x="50" y="33"/>
                          <a:pt x="50" y="33"/>
                          <a:pt x="50" y="33"/>
                        </a:cubicBezTo>
                        <a:cubicBezTo>
                          <a:pt x="50" y="33"/>
                          <a:pt x="50" y="33"/>
                          <a:pt x="50" y="34"/>
                        </a:cubicBezTo>
                        <a:cubicBezTo>
                          <a:pt x="50" y="34"/>
                          <a:pt x="50" y="34"/>
                          <a:pt x="50" y="34"/>
                        </a:cubicBezTo>
                        <a:cubicBezTo>
                          <a:pt x="50" y="34"/>
                          <a:pt x="50" y="34"/>
                          <a:pt x="50" y="34"/>
                        </a:cubicBezTo>
                        <a:cubicBezTo>
                          <a:pt x="50" y="34"/>
                          <a:pt x="50" y="34"/>
                          <a:pt x="50" y="34"/>
                        </a:cubicBezTo>
                        <a:cubicBezTo>
                          <a:pt x="50" y="34"/>
                          <a:pt x="49" y="34"/>
                          <a:pt x="50" y="34"/>
                        </a:cubicBezTo>
                        <a:cubicBezTo>
                          <a:pt x="50" y="34"/>
                          <a:pt x="50" y="34"/>
                          <a:pt x="50" y="34"/>
                        </a:cubicBezTo>
                        <a:cubicBezTo>
                          <a:pt x="50" y="34"/>
                          <a:pt x="50" y="33"/>
                          <a:pt x="51" y="33"/>
                        </a:cubicBezTo>
                        <a:cubicBezTo>
                          <a:pt x="50" y="34"/>
                          <a:pt x="50" y="35"/>
                          <a:pt x="50" y="35"/>
                        </a:cubicBezTo>
                        <a:cubicBezTo>
                          <a:pt x="50" y="35"/>
                          <a:pt x="50" y="35"/>
                          <a:pt x="50" y="35"/>
                        </a:cubicBezTo>
                        <a:cubicBezTo>
                          <a:pt x="50" y="35"/>
                          <a:pt x="50" y="35"/>
                          <a:pt x="50" y="35"/>
                        </a:cubicBezTo>
                        <a:cubicBezTo>
                          <a:pt x="49" y="35"/>
                          <a:pt x="49" y="35"/>
                          <a:pt x="49" y="35"/>
                        </a:cubicBezTo>
                        <a:cubicBezTo>
                          <a:pt x="49" y="35"/>
                          <a:pt x="49" y="36"/>
                          <a:pt x="49" y="35"/>
                        </a:cubicBezTo>
                        <a:cubicBezTo>
                          <a:pt x="49" y="36"/>
                          <a:pt x="49" y="36"/>
                          <a:pt x="49" y="36"/>
                        </a:cubicBezTo>
                        <a:cubicBezTo>
                          <a:pt x="49" y="36"/>
                          <a:pt x="49" y="36"/>
                          <a:pt x="49" y="36"/>
                        </a:cubicBezTo>
                        <a:cubicBezTo>
                          <a:pt x="49" y="36"/>
                          <a:pt x="49" y="36"/>
                          <a:pt x="49" y="36"/>
                        </a:cubicBezTo>
                        <a:cubicBezTo>
                          <a:pt x="49" y="36"/>
                          <a:pt x="49" y="36"/>
                          <a:pt x="49" y="36"/>
                        </a:cubicBezTo>
                        <a:cubicBezTo>
                          <a:pt x="49" y="36"/>
                          <a:pt x="49" y="36"/>
                          <a:pt x="49" y="36"/>
                        </a:cubicBezTo>
                        <a:cubicBezTo>
                          <a:pt x="49" y="36"/>
                          <a:pt x="49" y="36"/>
                          <a:pt x="49" y="36"/>
                        </a:cubicBezTo>
                        <a:cubicBezTo>
                          <a:pt x="49" y="36"/>
                          <a:pt x="49" y="36"/>
                          <a:pt x="49" y="36"/>
                        </a:cubicBezTo>
                        <a:cubicBezTo>
                          <a:pt x="49" y="36"/>
                          <a:pt x="49" y="37"/>
                          <a:pt x="49" y="37"/>
                        </a:cubicBezTo>
                        <a:cubicBezTo>
                          <a:pt x="49" y="37"/>
                          <a:pt x="49" y="37"/>
                          <a:pt x="49" y="37"/>
                        </a:cubicBezTo>
                        <a:cubicBezTo>
                          <a:pt x="49" y="37"/>
                          <a:pt x="49" y="37"/>
                          <a:pt x="49" y="37"/>
                        </a:cubicBezTo>
                        <a:cubicBezTo>
                          <a:pt x="48" y="37"/>
                          <a:pt x="49" y="37"/>
                          <a:pt x="49" y="37"/>
                        </a:cubicBezTo>
                        <a:cubicBezTo>
                          <a:pt x="49" y="37"/>
                          <a:pt x="48" y="37"/>
                          <a:pt x="48" y="37"/>
                        </a:cubicBezTo>
                        <a:cubicBezTo>
                          <a:pt x="49" y="37"/>
                          <a:pt x="48" y="36"/>
                          <a:pt x="49" y="36"/>
                        </a:cubicBezTo>
                        <a:cubicBezTo>
                          <a:pt x="49" y="36"/>
                          <a:pt x="48" y="36"/>
                          <a:pt x="48" y="36"/>
                        </a:cubicBezTo>
                        <a:cubicBezTo>
                          <a:pt x="48" y="36"/>
                          <a:pt x="48" y="36"/>
                          <a:pt x="48" y="36"/>
                        </a:cubicBezTo>
                        <a:cubicBezTo>
                          <a:pt x="48" y="37"/>
                          <a:pt x="48" y="37"/>
                          <a:pt x="48" y="37"/>
                        </a:cubicBezTo>
                        <a:cubicBezTo>
                          <a:pt x="48" y="37"/>
                          <a:pt x="48" y="37"/>
                          <a:pt x="48" y="37"/>
                        </a:cubicBezTo>
                        <a:cubicBezTo>
                          <a:pt x="48" y="37"/>
                          <a:pt x="48" y="37"/>
                          <a:pt x="48" y="38"/>
                        </a:cubicBezTo>
                        <a:cubicBezTo>
                          <a:pt x="48" y="38"/>
                          <a:pt x="48" y="38"/>
                          <a:pt x="48" y="38"/>
                        </a:cubicBezTo>
                        <a:cubicBezTo>
                          <a:pt x="48" y="38"/>
                          <a:pt x="47" y="38"/>
                          <a:pt x="48" y="38"/>
                        </a:cubicBezTo>
                        <a:cubicBezTo>
                          <a:pt x="47" y="38"/>
                          <a:pt x="48" y="38"/>
                          <a:pt x="47" y="38"/>
                        </a:cubicBezTo>
                        <a:cubicBezTo>
                          <a:pt x="48" y="38"/>
                          <a:pt x="47" y="39"/>
                          <a:pt x="47" y="39"/>
                        </a:cubicBezTo>
                        <a:cubicBezTo>
                          <a:pt x="47" y="39"/>
                          <a:pt x="47" y="39"/>
                          <a:pt x="47" y="39"/>
                        </a:cubicBezTo>
                        <a:cubicBezTo>
                          <a:pt x="47" y="39"/>
                          <a:pt x="47" y="39"/>
                          <a:pt x="47" y="39"/>
                        </a:cubicBezTo>
                        <a:cubicBezTo>
                          <a:pt x="47" y="39"/>
                          <a:pt x="47" y="40"/>
                          <a:pt x="47" y="39"/>
                        </a:cubicBezTo>
                        <a:cubicBezTo>
                          <a:pt x="46" y="40"/>
                          <a:pt x="46" y="40"/>
                          <a:pt x="46" y="41"/>
                        </a:cubicBezTo>
                        <a:cubicBezTo>
                          <a:pt x="46" y="41"/>
                          <a:pt x="46" y="41"/>
                          <a:pt x="46" y="41"/>
                        </a:cubicBezTo>
                        <a:cubicBezTo>
                          <a:pt x="46" y="41"/>
                          <a:pt x="46" y="41"/>
                          <a:pt x="46" y="41"/>
                        </a:cubicBezTo>
                        <a:cubicBezTo>
                          <a:pt x="46" y="41"/>
                          <a:pt x="46" y="41"/>
                          <a:pt x="46" y="41"/>
                        </a:cubicBezTo>
                        <a:cubicBezTo>
                          <a:pt x="46" y="42"/>
                          <a:pt x="45" y="42"/>
                          <a:pt x="45" y="43"/>
                        </a:cubicBezTo>
                        <a:cubicBezTo>
                          <a:pt x="45" y="43"/>
                          <a:pt x="45" y="43"/>
                          <a:pt x="45" y="43"/>
                        </a:cubicBezTo>
                        <a:cubicBezTo>
                          <a:pt x="45" y="43"/>
                          <a:pt x="45" y="43"/>
                          <a:pt x="45" y="43"/>
                        </a:cubicBezTo>
                        <a:cubicBezTo>
                          <a:pt x="44" y="43"/>
                          <a:pt x="45" y="43"/>
                          <a:pt x="45" y="43"/>
                        </a:cubicBezTo>
                        <a:cubicBezTo>
                          <a:pt x="45" y="42"/>
                          <a:pt x="45" y="42"/>
                          <a:pt x="45" y="42"/>
                        </a:cubicBezTo>
                        <a:cubicBezTo>
                          <a:pt x="45" y="42"/>
                          <a:pt x="45" y="42"/>
                          <a:pt x="45" y="42"/>
                        </a:cubicBezTo>
                        <a:cubicBezTo>
                          <a:pt x="46" y="41"/>
                          <a:pt x="46" y="40"/>
                          <a:pt x="46" y="39"/>
                        </a:cubicBezTo>
                        <a:cubicBezTo>
                          <a:pt x="47" y="39"/>
                          <a:pt x="47" y="39"/>
                          <a:pt x="47" y="39"/>
                        </a:cubicBezTo>
                        <a:cubicBezTo>
                          <a:pt x="47" y="39"/>
                          <a:pt x="47" y="39"/>
                          <a:pt x="47" y="39"/>
                        </a:cubicBezTo>
                        <a:cubicBezTo>
                          <a:pt x="47" y="39"/>
                          <a:pt x="47" y="39"/>
                          <a:pt x="47" y="39"/>
                        </a:cubicBezTo>
                        <a:cubicBezTo>
                          <a:pt x="47" y="39"/>
                          <a:pt x="47" y="39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7" y="39"/>
                          <a:pt x="47" y="38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7" y="38"/>
                          <a:pt x="47" y="38"/>
                          <a:pt x="47" y="37"/>
                        </a:cubicBezTo>
                        <a:cubicBezTo>
                          <a:pt x="47" y="37"/>
                          <a:pt x="47" y="37"/>
                          <a:pt x="47" y="38"/>
                        </a:cubicBezTo>
                        <a:cubicBezTo>
                          <a:pt x="48" y="37"/>
                          <a:pt x="47" y="37"/>
                          <a:pt x="48" y="37"/>
                        </a:cubicBezTo>
                        <a:cubicBezTo>
                          <a:pt x="48" y="37"/>
                          <a:pt x="48" y="37"/>
                          <a:pt x="47" y="37"/>
                        </a:cubicBezTo>
                        <a:cubicBezTo>
                          <a:pt x="47" y="37"/>
                          <a:pt x="48" y="37"/>
                          <a:pt x="48" y="37"/>
                        </a:cubicBezTo>
                        <a:cubicBezTo>
                          <a:pt x="48" y="37"/>
                          <a:pt x="48" y="37"/>
                          <a:pt x="48" y="37"/>
                        </a:cubicBezTo>
                        <a:cubicBezTo>
                          <a:pt x="48" y="37"/>
                          <a:pt x="48" y="37"/>
                          <a:pt x="48" y="37"/>
                        </a:cubicBezTo>
                        <a:cubicBezTo>
                          <a:pt x="48" y="37"/>
                          <a:pt x="48" y="37"/>
                          <a:pt x="48" y="36"/>
                        </a:cubicBezTo>
                        <a:cubicBezTo>
                          <a:pt x="48" y="36"/>
                          <a:pt x="48" y="36"/>
                          <a:pt x="47" y="36"/>
                        </a:cubicBezTo>
                        <a:cubicBezTo>
                          <a:pt x="47" y="37"/>
                          <a:pt x="47" y="37"/>
                          <a:pt x="47" y="37"/>
                        </a:cubicBezTo>
                        <a:cubicBezTo>
                          <a:pt x="47" y="37"/>
                          <a:pt x="47" y="37"/>
                          <a:pt x="47" y="37"/>
                        </a:cubicBezTo>
                        <a:cubicBezTo>
                          <a:pt x="47" y="37"/>
                          <a:pt x="47" y="37"/>
                          <a:pt x="47" y="37"/>
                        </a:cubicBezTo>
                        <a:cubicBezTo>
                          <a:pt x="47" y="37"/>
                          <a:pt x="47" y="37"/>
                          <a:pt x="47" y="37"/>
                        </a:cubicBezTo>
                        <a:cubicBezTo>
                          <a:pt x="47" y="38"/>
                          <a:pt x="47" y="37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7" y="38"/>
                          <a:pt x="47" y="39"/>
                          <a:pt x="46" y="39"/>
                        </a:cubicBezTo>
                        <a:cubicBezTo>
                          <a:pt x="46" y="38"/>
                          <a:pt x="47" y="38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6" y="38"/>
                          <a:pt x="46" y="38"/>
                          <a:pt x="46" y="38"/>
                        </a:cubicBezTo>
                        <a:cubicBezTo>
                          <a:pt x="46" y="38"/>
                          <a:pt x="46" y="38"/>
                          <a:pt x="46" y="38"/>
                        </a:cubicBezTo>
                        <a:cubicBezTo>
                          <a:pt x="46" y="39"/>
                          <a:pt x="46" y="38"/>
                          <a:pt x="46" y="38"/>
                        </a:cubicBezTo>
                        <a:cubicBezTo>
                          <a:pt x="46" y="39"/>
                          <a:pt x="46" y="39"/>
                          <a:pt x="45" y="39"/>
                        </a:cubicBezTo>
                        <a:cubicBezTo>
                          <a:pt x="45" y="39"/>
                          <a:pt x="45" y="39"/>
                          <a:pt x="45" y="39"/>
                        </a:cubicBezTo>
                        <a:cubicBezTo>
                          <a:pt x="46" y="39"/>
                          <a:pt x="46" y="39"/>
                          <a:pt x="46" y="39"/>
                        </a:cubicBezTo>
                        <a:cubicBezTo>
                          <a:pt x="46" y="39"/>
                          <a:pt x="46" y="39"/>
                          <a:pt x="46" y="39"/>
                        </a:cubicBezTo>
                        <a:cubicBezTo>
                          <a:pt x="46" y="38"/>
                          <a:pt x="46" y="38"/>
                          <a:pt x="46" y="37"/>
                        </a:cubicBezTo>
                        <a:cubicBezTo>
                          <a:pt x="46" y="37"/>
                          <a:pt x="46" y="37"/>
                          <a:pt x="46" y="37"/>
                        </a:cubicBezTo>
                        <a:cubicBezTo>
                          <a:pt x="46" y="37"/>
                          <a:pt x="46" y="37"/>
                          <a:pt x="46" y="37"/>
                        </a:cubicBezTo>
                        <a:cubicBezTo>
                          <a:pt x="46" y="37"/>
                          <a:pt x="47" y="37"/>
                          <a:pt x="47" y="36"/>
                        </a:cubicBezTo>
                        <a:cubicBezTo>
                          <a:pt x="47" y="36"/>
                          <a:pt x="47" y="36"/>
                          <a:pt x="47" y="36"/>
                        </a:cubicBezTo>
                        <a:cubicBezTo>
                          <a:pt x="47" y="36"/>
                          <a:pt x="47" y="36"/>
                          <a:pt x="47" y="36"/>
                        </a:cubicBezTo>
                        <a:cubicBezTo>
                          <a:pt x="47" y="36"/>
                          <a:pt x="47" y="36"/>
                          <a:pt x="47" y="36"/>
                        </a:cubicBezTo>
                        <a:cubicBezTo>
                          <a:pt x="47" y="36"/>
                          <a:pt x="47" y="35"/>
                          <a:pt x="48" y="35"/>
                        </a:cubicBezTo>
                        <a:cubicBezTo>
                          <a:pt x="48" y="35"/>
                          <a:pt x="47" y="36"/>
                          <a:pt x="47" y="36"/>
                        </a:cubicBezTo>
                        <a:cubicBezTo>
                          <a:pt x="47" y="36"/>
                          <a:pt x="47" y="37"/>
                          <a:pt x="47" y="37"/>
                        </a:cubicBezTo>
                        <a:cubicBezTo>
                          <a:pt x="47" y="37"/>
                          <a:pt x="47" y="36"/>
                          <a:pt x="48" y="36"/>
                        </a:cubicBezTo>
                        <a:cubicBezTo>
                          <a:pt x="48" y="36"/>
                          <a:pt x="48" y="36"/>
                          <a:pt x="48" y="36"/>
                        </a:cubicBezTo>
                        <a:cubicBezTo>
                          <a:pt x="48" y="36"/>
                          <a:pt x="48" y="36"/>
                          <a:pt x="48" y="36"/>
                        </a:cubicBezTo>
                        <a:cubicBezTo>
                          <a:pt x="48" y="36"/>
                          <a:pt x="48" y="36"/>
                          <a:pt x="48" y="36"/>
                        </a:cubicBezTo>
                        <a:cubicBezTo>
                          <a:pt x="48" y="36"/>
                          <a:pt x="48" y="36"/>
                          <a:pt x="48" y="36"/>
                        </a:cubicBezTo>
                        <a:cubicBezTo>
                          <a:pt x="48" y="36"/>
                          <a:pt x="48" y="36"/>
                          <a:pt x="48" y="35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8" y="36"/>
                          <a:pt x="48" y="35"/>
                          <a:pt x="48" y="36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9" y="35"/>
                          <a:pt x="48" y="35"/>
                          <a:pt x="48" y="35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8" y="34"/>
                          <a:pt x="48" y="34"/>
                          <a:pt x="49" y="34"/>
                        </a:cubicBezTo>
                        <a:cubicBezTo>
                          <a:pt x="49" y="34"/>
                          <a:pt x="49" y="33"/>
                          <a:pt x="50" y="32"/>
                        </a:cubicBezTo>
                        <a:cubicBezTo>
                          <a:pt x="50" y="33"/>
                          <a:pt x="50" y="33"/>
                          <a:pt x="50" y="33"/>
                        </a:cubicBezTo>
                        <a:cubicBezTo>
                          <a:pt x="50" y="33"/>
                          <a:pt x="50" y="32"/>
                          <a:pt x="50" y="32"/>
                        </a:cubicBezTo>
                        <a:cubicBezTo>
                          <a:pt x="50" y="32"/>
                          <a:pt x="50" y="32"/>
                          <a:pt x="50" y="32"/>
                        </a:cubicBezTo>
                        <a:cubicBezTo>
                          <a:pt x="50" y="32"/>
                          <a:pt x="50" y="32"/>
                          <a:pt x="50" y="32"/>
                        </a:cubicBezTo>
                        <a:cubicBezTo>
                          <a:pt x="50" y="32"/>
                          <a:pt x="50" y="32"/>
                          <a:pt x="50" y="32"/>
                        </a:cubicBezTo>
                        <a:cubicBezTo>
                          <a:pt x="50" y="32"/>
                          <a:pt x="50" y="32"/>
                          <a:pt x="50" y="32"/>
                        </a:cubicBezTo>
                        <a:cubicBezTo>
                          <a:pt x="50" y="31"/>
                          <a:pt x="51" y="31"/>
                          <a:pt x="51" y="31"/>
                        </a:cubicBezTo>
                        <a:cubicBezTo>
                          <a:pt x="51" y="31"/>
                          <a:pt x="51" y="31"/>
                          <a:pt x="51" y="31"/>
                        </a:cubicBezTo>
                        <a:cubicBezTo>
                          <a:pt x="51" y="31"/>
                          <a:pt x="51" y="31"/>
                          <a:pt x="51" y="31"/>
                        </a:cubicBezTo>
                        <a:cubicBezTo>
                          <a:pt x="51" y="30"/>
                          <a:pt x="51" y="31"/>
                          <a:pt x="51" y="30"/>
                        </a:cubicBezTo>
                        <a:cubicBezTo>
                          <a:pt x="51" y="31"/>
                          <a:pt x="51" y="31"/>
                          <a:pt x="51" y="31"/>
                        </a:cubicBezTo>
                        <a:cubicBezTo>
                          <a:pt x="51" y="31"/>
                          <a:pt x="51" y="30"/>
                          <a:pt x="51" y="31"/>
                        </a:cubicBezTo>
                        <a:cubicBezTo>
                          <a:pt x="50" y="30"/>
                          <a:pt x="51" y="30"/>
                          <a:pt x="51" y="30"/>
                        </a:cubicBezTo>
                        <a:cubicBezTo>
                          <a:pt x="51" y="30"/>
                          <a:pt x="51" y="30"/>
                          <a:pt x="51" y="30"/>
                        </a:cubicBezTo>
                        <a:cubicBezTo>
                          <a:pt x="51" y="30"/>
                          <a:pt x="51" y="30"/>
                          <a:pt x="51" y="30"/>
                        </a:cubicBezTo>
                        <a:cubicBezTo>
                          <a:pt x="51" y="30"/>
                          <a:pt x="51" y="30"/>
                          <a:pt x="51" y="30"/>
                        </a:cubicBezTo>
                        <a:cubicBezTo>
                          <a:pt x="51" y="30"/>
                          <a:pt x="51" y="30"/>
                          <a:pt x="51" y="30"/>
                        </a:cubicBezTo>
                        <a:cubicBezTo>
                          <a:pt x="52" y="30"/>
                          <a:pt x="52" y="29"/>
                          <a:pt x="52" y="29"/>
                        </a:cubicBezTo>
                        <a:cubicBezTo>
                          <a:pt x="52" y="29"/>
                          <a:pt x="52" y="29"/>
                          <a:pt x="52" y="29"/>
                        </a:cubicBezTo>
                        <a:cubicBezTo>
                          <a:pt x="52" y="28"/>
                          <a:pt x="53" y="28"/>
                          <a:pt x="53" y="27"/>
                        </a:cubicBezTo>
                        <a:cubicBezTo>
                          <a:pt x="53" y="27"/>
                          <a:pt x="53" y="27"/>
                          <a:pt x="53" y="27"/>
                        </a:cubicBezTo>
                        <a:cubicBezTo>
                          <a:pt x="53" y="27"/>
                          <a:pt x="53" y="27"/>
                          <a:pt x="53" y="27"/>
                        </a:cubicBezTo>
                        <a:cubicBezTo>
                          <a:pt x="53" y="27"/>
                          <a:pt x="53" y="27"/>
                          <a:pt x="53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8"/>
                          <a:pt x="52" y="28"/>
                          <a:pt x="52" y="28"/>
                        </a:cubicBezTo>
                        <a:cubicBezTo>
                          <a:pt x="52" y="28"/>
                          <a:pt x="52" y="28"/>
                          <a:pt x="52" y="28"/>
                        </a:cubicBezTo>
                        <a:cubicBezTo>
                          <a:pt x="52" y="27"/>
                          <a:pt x="52" y="28"/>
                          <a:pt x="52" y="28"/>
                        </a:cubicBezTo>
                        <a:cubicBezTo>
                          <a:pt x="52" y="28"/>
                          <a:pt x="52" y="28"/>
                          <a:pt x="52" y="29"/>
                        </a:cubicBezTo>
                        <a:cubicBezTo>
                          <a:pt x="51" y="29"/>
                          <a:pt x="51" y="29"/>
                          <a:pt x="51" y="30"/>
                        </a:cubicBezTo>
                        <a:cubicBezTo>
                          <a:pt x="51" y="30"/>
                          <a:pt x="51" y="30"/>
                          <a:pt x="51" y="30"/>
                        </a:cubicBezTo>
                        <a:cubicBezTo>
                          <a:pt x="51" y="30"/>
                          <a:pt x="51" y="30"/>
                          <a:pt x="51" y="30"/>
                        </a:cubicBezTo>
                        <a:cubicBezTo>
                          <a:pt x="51" y="29"/>
                          <a:pt x="51" y="30"/>
                          <a:pt x="51" y="30"/>
                        </a:cubicBezTo>
                        <a:cubicBezTo>
                          <a:pt x="51" y="30"/>
                          <a:pt x="51" y="30"/>
                          <a:pt x="51" y="30"/>
                        </a:cubicBezTo>
                        <a:cubicBezTo>
                          <a:pt x="51" y="30"/>
                          <a:pt x="51" y="30"/>
                          <a:pt x="51" y="30"/>
                        </a:cubicBezTo>
                        <a:cubicBezTo>
                          <a:pt x="50" y="30"/>
                          <a:pt x="50" y="30"/>
                          <a:pt x="50" y="30"/>
                        </a:cubicBezTo>
                        <a:cubicBezTo>
                          <a:pt x="50" y="30"/>
                          <a:pt x="50" y="30"/>
                          <a:pt x="50" y="30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0" y="31"/>
                          <a:pt x="49" y="32"/>
                          <a:pt x="50" y="31"/>
                        </a:cubicBezTo>
                        <a:cubicBezTo>
                          <a:pt x="50" y="31"/>
                          <a:pt x="49" y="32"/>
                          <a:pt x="49" y="32"/>
                        </a:cubicBezTo>
                        <a:cubicBezTo>
                          <a:pt x="49" y="32"/>
                          <a:pt x="49" y="32"/>
                          <a:pt x="49" y="32"/>
                        </a:cubicBezTo>
                        <a:cubicBezTo>
                          <a:pt x="49" y="32"/>
                          <a:pt x="49" y="32"/>
                          <a:pt x="49" y="32"/>
                        </a:cubicBezTo>
                        <a:cubicBezTo>
                          <a:pt x="49" y="32"/>
                          <a:pt x="49" y="32"/>
                          <a:pt x="48" y="32"/>
                        </a:cubicBezTo>
                        <a:cubicBezTo>
                          <a:pt x="48" y="32"/>
                          <a:pt x="49" y="32"/>
                          <a:pt x="49" y="32"/>
                        </a:cubicBezTo>
                        <a:cubicBezTo>
                          <a:pt x="49" y="32"/>
                          <a:pt x="49" y="32"/>
                          <a:pt x="49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9" y="32"/>
                          <a:pt x="49" y="32"/>
                        </a:cubicBezTo>
                        <a:cubicBezTo>
                          <a:pt x="49" y="32"/>
                          <a:pt x="48" y="32"/>
                          <a:pt x="48" y="32"/>
                        </a:cubicBezTo>
                        <a:cubicBezTo>
                          <a:pt x="49" y="31"/>
                          <a:pt x="49" y="31"/>
                          <a:pt x="49" y="31"/>
                        </a:cubicBezTo>
                        <a:cubicBezTo>
                          <a:pt x="49" y="31"/>
                          <a:pt x="49" y="31"/>
                          <a:pt x="49" y="31"/>
                        </a:cubicBezTo>
                        <a:cubicBezTo>
                          <a:pt x="49" y="31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7" y="33"/>
                          <a:pt x="48" y="33"/>
                          <a:pt x="47" y="33"/>
                        </a:cubicBezTo>
                        <a:cubicBezTo>
                          <a:pt x="47" y="33"/>
                          <a:pt x="46" y="33"/>
                          <a:pt x="46" y="33"/>
                        </a:cubicBezTo>
                        <a:cubicBezTo>
                          <a:pt x="46" y="34"/>
                          <a:pt x="46" y="34"/>
                          <a:pt x="46" y="34"/>
                        </a:cubicBezTo>
                        <a:cubicBezTo>
                          <a:pt x="46" y="34"/>
                          <a:pt x="46" y="33"/>
                          <a:pt x="46" y="33"/>
                        </a:cubicBezTo>
                        <a:cubicBezTo>
                          <a:pt x="47" y="33"/>
                          <a:pt x="47" y="33"/>
                          <a:pt x="47" y="33"/>
                        </a:cubicBezTo>
                        <a:cubicBezTo>
                          <a:pt x="47" y="33"/>
                          <a:pt x="47" y="34"/>
                          <a:pt x="46" y="34"/>
                        </a:cubicBezTo>
                        <a:cubicBezTo>
                          <a:pt x="46" y="34"/>
                          <a:pt x="46" y="34"/>
                          <a:pt x="47" y="34"/>
                        </a:cubicBezTo>
                        <a:cubicBezTo>
                          <a:pt x="47" y="34"/>
                          <a:pt x="47" y="34"/>
                          <a:pt x="47" y="34"/>
                        </a:cubicBezTo>
                        <a:cubicBezTo>
                          <a:pt x="47" y="34"/>
                          <a:pt x="46" y="34"/>
                          <a:pt x="46" y="34"/>
                        </a:cubicBezTo>
                        <a:cubicBezTo>
                          <a:pt x="46" y="34"/>
                          <a:pt x="46" y="34"/>
                          <a:pt x="46" y="34"/>
                        </a:cubicBezTo>
                        <a:cubicBezTo>
                          <a:pt x="46" y="34"/>
                          <a:pt x="46" y="34"/>
                          <a:pt x="46" y="34"/>
                        </a:cubicBezTo>
                        <a:cubicBezTo>
                          <a:pt x="46" y="34"/>
                          <a:pt x="46" y="34"/>
                          <a:pt x="46" y="34"/>
                        </a:cubicBezTo>
                        <a:cubicBezTo>
                          <a:pt x="46" y="34"/>
                          <a:pt x="46" y="34"/>
                          <a:pt x="46" y="34"/>
                        </a:cubicBezTo>
                        <a:cubicBezTo>
                          <a:pt x="46" y="34"/>
                          <a:pt x="46" y="34"/>
                          <a:pt x="46" y="34"/>
                        </a:cubicBezTo>
                        <a:cubicBezTo>
                          <a:pt x="46" y="35"/>
                          <a:pt x="46" y="34"/>
                          <a:pt x="46" y="34"/>
                        </a:cubicBezTo>
                        <a:cubicBezTo>
                          <a:pt x="46" y="34"/>
                          <a:pt x="46" y="35"/>
                          <a:pt x="46" y="35"/>
                        </a:cubicBezTo>
                        <a:cubicBezTo>
                          <a:pt x="46" y="35"/>
                          <a:pt x="46" y="35"/>
                          <a:pt x="46" y="35"/>
                        </a:cubicBezTo>
                        <a:cubicBezTo>
                          <a:pt x="46" y="35"/>
                          <a:pt x="46" y="35"/>
                          <a:pt x="46" y="35"/>
                        </a:cubicBezTo>
                        <a:cubicBezTo>
                          <a:pt x="46" y="35"/>
                          <a:pt x="46" y="35"/>
                          <a:pt x="45" y="35"/>
                        </a:cubicBezTo>
                        <a:cubicBezTo>
                          <a:pt x="46" y="35"/>
                          <a:pt x="46" y="35"/>
                          <a:pt x="46" y="35"/>
                        </a:cubicBezTo>
                        <a:cubicBezTo>
                          <a:pt x="45" y="35"/>
                          <a:pt x="45" y="35"/>
                          <a:pt x="45" y="35"/>
                        </a:cubicBezTo>
                        <a:cubicBezTo>
                          <a:pt x="45" y="35"/>
                          <a:pt x="45" y="35"/>
                          <a:pt x="45" y="36"/>
                        </a:cubicBezTo>
                        <a:cubicBezTo>
                          <a:pt x="46" y="35"/>
                          <a:pt x="46" y="35"/>
                          <a:pt x="46" y="35"/>
                        </a:cubicBezTo>
                        <a:cubicBezTo>
                          <a:pt x="46" y="35"/>
                          <a:pt x="46" y="35"/>
                          <a:pt x="46" y="35"/>
                        </a:cubicBezTo>
                        <a:cubicBezTo>
                          <a:pt x="46" y="35"/>
                          <a:pt x="47" y="35"/>
                          <a:pt x="47" y="35"/>
                        </a:cubicBezTo>
                        <a:cubicBezTo>
                          <a:pt x="47" y="35"/>
                          <a:pt x="47" y="35"/>
                          <a:pt x="47" y="35"/>
                        </a:cubicBezTo>
                        <a:cubicBezTo>
                          <a:pt x="47" y="35"/>
                          <a:pt x="47" y="35"/>
                          <a:pt x="47" y="35"/>
                        </a:cubicBezTo>
                        <a:cubicBezTo>
                          <a:pt x="47" y="35"/>
                          <a:pt x="47" y="35"/>
                          <a:pt x="47" y="35"/>
                        </a:cubicBezTo>
                        <a:cubicBezTo>
                          <a:pt x="47" y="35"/>
                          <a:pt x="47" y="35"/>
                          <a:pt x="47" y="35"/>
                        </a:cubicBezTo>
                        <a:cubicBezTo>
                          <a:pt x="47" y="35"/>
                          <a:pt x="47" y="35"/>
                          <a:pt x="47" y="35"/>
                        </a:cubicBezTo>
                        <a:cubicBezTo>
                          <a:pt x="46" y="35"/>
                          <a:pt x="46" y="36"/>
                          <a:pt x="46" y="35"/>
                        </a:cubicBezTo>
                        <a:cubicBezTo>
                          <a:pt x="46" y="35"/>
                          <a:pt x="46" y="35"/>
                          <a:pt x="46" y="35"/>
                        </a:cubicBezTo>
                        <a:cubicBezTo>
                          <a:pt x="46" y="35"/>
                          <a:pt x="46" y="35"/>
                          <a:pt x="46" y="35"/>
                        </a:cubicBezTo>
                        <a:cubicBezTo>
                          <a:pt x="46" y="35"/>
                          <a:pt x="46" y="36"/>
                          <a:pt x="46" y="36"/>
                        </a:cubicBezTo>
                        <a:cubicBezTo>
                          <a:pt x="46" y="36"/>
                          <a:pt x="46" y="36"/>
                          <a:pt x="46" y="36"/>
                        </a:cubicBezTo>
                        <a:cubicBezTo>
                          <a:pt x="46" y="36"/>
                          <a:pt x="46" y="36"/>
                          <a:pt x="46" y="36"/>
                        </a:cubicBezTo>
                        <a:cubicBezTo>
                          <a:pt x="46" y="36"/>
                          <a:pt x="46" y="36"/>
                          <a:pt x="46" y="36"/>
                        </a:cubicBezTo>
                        <a:cubicBezTo>
                          <a:pt x="46" y="36"/>
                          <a:pt x="46" y="37"/>
                          <a:pt x="45" y="37"/>
                        </a:cubicBezTo>
                        <a:cubicBezTo>
                          <a:pt x="45" y="37"/>
                          <a:pt x="45" y="37"/>
                          <a:pt x="45" y="37"/>
                        </a:cubicBezTo>
                        <a:cubicBezTo>
                          <a:pt x="45" y="38"/>
                          <a:pt x="45" y="38"/>
                          <a:pt x="45" y="38"/>
                        </a:cubicBezTo>
                        <a:cubicBezTo>
                          <a:pt x="45" y="38"/>
                          <a:pt x="45" y="38"/>
                          <a:pt x="45" y="38"/>
                        </a:cubicBezTo>
                        <a:cubicBezTo>
                          <a:pt x="45" y="38"/>
                          <a:pt x="45" y="38"/>
                          <a:pt x="45" y="38"/>
                        </a:cubicBezTo>
                        <a:cubicBezTo>
                          <a:pt x="45" y="38"/>
                          <a:pt x="45" y="38"/>
                          <a:pt x="45" y="38"/>
                        </a:cubicBezTo>
                        <a:cubicBezTo>
                          <a:pt x="45" y="38"/>
                          <a:pt x="45" y="39"/>
                          <a:pt x="45" y="39"/>
                        </a:cubicBezTo>
                        <a:cubicBezTo>
                          <a:pt x="45" y="39"/>
                          <a:pt x="45" y="39"/>
                          <a:pt x="44" y="39"/>
                        </a:cubicBezTo>
                        <a:cubicBezTo>
                          <a:pt x="44" y="39"/>
                          <a:pt x="44" y="39"/>
                          <a:pt x="44" y="39"/>
                        </a:cubicBezTo>
                        <a:cubicBezTo>
                          <a:pt x="44" y="39"/>
                          <a:pt x="44" y="39"/>
                          <a:pt x="44" y="39"/>
                        </a:cubicBezTo>
                        <a:cubicBezTo>
                          <a:pt x="44" y="39"/>
                          <a:pt x="44" y="39"/>
                          <a:pt x="44" y="39"/>
                        </a:cubicBezTo>
                        <a:cubicBezTo>
                          <a:pt x="44" y="39"/>
                          <a:pt x="44" y="39"/>
                          <a:pt x="44" y="40"/>
                        </a:cubicBezTo>
                        <a:cubicBezTo>
                          <a:pt x="44" y="40"/>
                          <a:pt x="44" y="40"/>
                          <a:pt x="44" y="40"/>
                        </a:cubicBezTo>
                        <a:cubicBezTo>
                          <a:pt x="44" y="40"/>
                          <a:pt x="43" y="40"/>
                          <a:pt x="43" y="40"/>
                        </a:cubicBezTo>
                        <a:cubicBezTo>
                          <a:pt x="43" y="40"/>
                          <a:pt x="44" y="40"/>
                          <a:pt x="43" y="40"/>
                        </a:cubicBezTo>
                        <a:cubicBezTo>
                          <a:pt x="44" y="39"/>
                          <a:pt x="44" y="40"/>
                          <a:pt x="44" y="40"/>
                        </a:cubicBezTo>
                        <a:cubicBezTo>
                          <a:pt x="44" y="39"/>
                          <a:pt x="44" y="39"/>
                          <a:pt x="44" y="39"/>
                        </a:cubicBezTo>
                        <a:cubicBezTo>
                          <a:pt x="44" y="39"/>
                          <a:pt x="44" y="39"/>
                          <a:pt x="44" y="39"/>
                        </a:cubicBezTo>
                        <a:cubicBezTo>
                          <a:pt x="44" y="38"/>
                          <a:pt x="44" y="39"/>
                          <a:pt x="44" y="38"/>
                        </a:cubicBezTo>
                        <a:cubicBezTo>
                          <a:pt x="44" y="38"/>
                          <a:pt x="44" y="38"/>
                          <a:pt x="44" y="38"/>
                        </a:cubicBezTo>
                        <a:cubicBezTo>
                          <a:pt x="44" y="38"/>
                          <a:pt x="44" y="38"/>
                          <a:pt x="44" y="38"/>
                        </a:cubicBezTo>
                        <a:cubicBezTo>
                          <a:pt x="44" y="38"/>
                          <a:pt x="44" y="38"/>
                          <a:pt x="44" y="38"/>
                        </a:cubicBezTo>
                        <a:cubicBezTo>
                          <a:pt x="44" y="38"/>
                          <a:pt x="44" y="38"/>
                          <a:pt x="44" y="38"/>
                        </a:cubicBezTo>
                        <a:cubicBezTo>
                          <a:pt x="45" y="38"/>
                          <a:pt x="45" y="38"/>
                          <a:pt x="44" y="38"/>
                        </a:cubicBezTo>
                        <a:cubicBezTo>
                          <a:pt x="45" y="38"/>
                          <a:pt x="45" y="38"/>
                          <a:pt x="45" y="37"/>
                        </a:cubicBezTo>
                        <a:cubicBezTo>
                          <a:pt x="45" y="37"/>
                          <a:pt x="44" y="37"/>
                          <a:pt x="44" y="37"/>
                        </a:cubicBezTo>
                        <a:cubicBezTo>
                          <a:pt x="44" y="37"/>
                          <a:pt x="44" y="38"/>
                          <a:pt x="44" y="37"/>
                        </a:cubicBezTo>
                        <a:cubicBezTo>
                          <a:pt x="44" y="37"/>
                          <a:pt x="45" y="37"/>
                          <a:pt x="45" y="37"/>
                        </a:cubicBezTo>
                        <a:cubicBezTo>
                          <a:pt x="45" y="37"/>
                          <a:pt x="45" y="37"/>
                          <a:pt x="45" y="37"/>
                        </a:cubicBezTo>
                        <a:cubicBezTo>
                          <a:pt x="45" y="37"/>
                          <a:pt x="45" y="37"/>
                          <a:pt x="45" y="37"/>
                        </a:cubicBezTo>
                        <a:cubicBezTo>
                          <a:pt x="45" y="37"/>
                          <a:pt x="45" y="37"/>
                          <a:pt x="45" y="37"/>
                        </a:cubicBezTo>
                        <a:cubicBezTo>
                          <a:pt x="45" y="37"/>
                          <a:pt x="45" y="36"/>
                          <a:pt x="45" y="36"/>
                        </a:cubicBezTo>
                        <a:cubicBezTo>
                          <a:pt x="45" y="36"/>
                          <a:pt x="45" y="36"/>
                          <a:pt x="45" y="36"/>
                        </a:cubicBezTo>
                        <a:cubicBezTo>
                          <a:pt x="45" y="36"/>
                          <a:pt x="45" y="36"/>
                          <a:pt x="46" y="36"/>
                        </a:cubicBezTo>
                        <a:cubicBezTo>
                          <a:pt x="45" y="36"/>
                          <a:pt x="46" y="36"/>
                          <a:pt x="46" y="35"/>
                        </a:cubicBezTo>
                        <a:cubicBezTo>
                          <a:pt x="46" y="35"/>
                          <a:pt x="46" y="36"/>
                          <a:pt x="46" y="36"/>
                        </a:cubicBezTo>
                        <a:cubicBezTo>
                          <a:pt x="46" y="36"/>
                          <a:pt x="45" y="36"/>
                          <a:pt x="45" y="36"/>
                        </a:cubicBezTo>
                        <a:cubicBezTo>
                          <a:pt x="45" y="36"/>
                          <a:pt x="45" y="36"/>
                          <a:pt x="45" y="36"/>
                        </a:cubicBezTo>
                        <a:cubicBezTo>
                          <a:pt x="45" y="36"/>
                          <a:pt x="45" y="35"/>
                          <a:pt x="45" y="35"/>
                        </a:cubicBezTo>
                        <a:cubicBezTo>
                          <a:pt x="45" y="35"/>
                          <a:pt x="45" y="35"/>
                          <a:pt x="45" y="35"/>
                        </a:cubicBezTo>
                        <a:cubicBezTo>
                          <a:pt x="45" y="36"/>
                          <a:pt x="45" y="36"/>
                          <a:pt x="45" y="36"/>
                        </a:cubicBezTo>
                        <a:cubicBezTo>
                          <a:pt x="45" y="36"/>
                          <a:pt x="45" y="36"/>
                          <a:pt x="45" y="36"/>
                        </a:cubicBezTo>
                        <a:cubicBezTo>
                          <a:pt x="45" y="36"/>
                          <a:pt x="44" y="36"/>
                          <a:pt x="45" y="36"/>
                        </a:cubicBezTo>
                        <a:cubicBezTo>
                          <a:pt x="44" y="36"/>
                          <a:pt x="44" y="36"/>
                          <a:pt x="44" y="36"/>
                        </a:cubicBezTo>
                        <a:cubicBezTo>
                          <a:pt x="44" y="36"/>
                          <a:pt x="44" y="35"/>
                          <a:pt x="45" y="35"/>
                        </a:cubicBezTo>
                        <a:cubicBezTo>
                          <a:pt x="45" y="35"/>
                          <a:pt x="44" y="35"/>
                          <a:pt x="44" y="35"/>
                        </a:cubicBezTo>
                        <a:cubicBezTo>
                          <a:pt x="44" y="35"/>
                          <a:pt x="45" y="35"/>
                          <a:pt x="45" y="35"/>
                        </a:cubicBezTo>
                        <a:cubicBezTo>
                          <a:pt x="45" y="35"/>
                          <a:pt x="45" y="35"/>
                          <a:pt x="45" y="35"/>
                        </a:cubicBezTo>
                        <a:cubicBezTo>
                          <a:pt x="45" y="34"/>
                          <a:pt x="45" y="34"/>
                          <a:pt x="45" y="34"/>
                        </a:cubicBezTo>
                        <a:cubicBezTo>
                          <a:pt x="45" y="34"/>
                          <a:pt x="45" y="34"/>
                          <a:pt x="45" y="34"/>
                        </a:cubicBezTo>
                        <a:cubicBezTo>
                          <a:pt x="45" y="34"/>
                          <a:pt x="45" y="34"/>
                          <a:pt x="46" y="34"/>
                        </a:cubicBezTo>
                        <a:cubicBezTo>
                          <a:pt x="46" y="34"/>
                          <a:pt x="46" y="33"/>
                          <a:pt x="46" y="33"/>
                        </a:cubicBezTo>
                        <a:cubicBezTo>
                          <a:pt x="46" y="33"/>
                          <a:pt x="46" y="33"/>
                          <a:pt x="46" y="33"/>
                        </a:cubicBezTo>
                        <a:cubicBezTo>
                          <a:pt x="45" y="33"/>
                          <a:pt x="46" y="33"/>
                          <a:pt x="46" y="33"/>
                        </a:cubicBezTo>
                        <a:cubicBezTo>
                          <a:pt x="46" y="33"/>
                          <a:pt x="46" y="33"/>
                          <a:pt x="46" y="33"/>
                        </a:cubicBezTo>
                        <a:cubicBezTo>
                          <a:pt x="46" y="33"/>
                          <a:pt x="46" y="33"/>
                          <a:pt x="46" y="33"/>
                        </a:cubicBezTo>
                        <a:cubicBezTo>
                          <a:pt x="46" y="33"/>
                          <a:pt x="46" y="33"/>
                          <a:pt x="46" y="33"/>
                        </a:cubicBezTo>
                        <a:cubicBezTo>
                          <a:pt x="46" y="33"/>
                          <a:pt x="46" y="33"/>
                          <a:pt x="46" y="33"/>
                        </a:cubicBezTo>
                        <a:cubicBezTo>
                          <a:pt x="46" y="33"/>
                          <a:pt x="46" y="33"/>
                          <a:pt x="46" y="33"/>
                        </a:cubicBezTo>
                        <a:cubicBezTo>
                          <a:pt x="46" y="33"/>
                          <a:pt x="46" y="33"/>
                          <a:pt x="47" y="33"/>
                        </a:cubicBezTo>
                        <a:cubicBezTo>
                          <a:pt x="47" y="33"/>
                          <a:pt x="47" y="33"/>
                          <a:pt x="47" y="33"/>
                        </a:cubicBezTo>
                        <a:cubicBezTo>
                          <a:pt x="47" y="32"/>
                          <a:pt x="46" y="32"/>
                          <a:pt x="46" y="33"/>
                        </a:cubicBezTo>
                        <a:cubicBezTo>
                          <a:pt x="46" y="33"/>
                          <a:pt x="46" y="33"/>
                          <a:pt x="46" y="32"/>
                        </a:cubicBezTo>
                        <a:cubicBezTo>
                          <a:pt x="46" y="32"/>
                          <a:pt x="46" y="32"/>
                          <a:pt x="47" y="32"/>
                        </a:cubicBezTo>
                        <a:cubicBezTo>
                          <a:pt x="46" y="32"/>
                          <a:pt x="46" y="32"/>
                          <a:pt x="46" y="32"/>
                        </a:cubicBezTo>
                        <a:cubicBezTo>
                          <a:pt x="46" y="32"/>
                          <a:pt x="46" y="32"/>
                          <a:pt x="46" y="32"/>
                        </a:cubicBezTo>
                        <a:cubicBezTo>
                          <a:pt x="46" y="32"/>
                          <a:pt x="46" y="32"/>
                          <a:pt x="46" y="32"/>
                        </a:cubicBezTo>
                        <a:cubicBezTo>
                          <a:pt x="46" y="32"/>
                          <a:pt x="47" y="31"/>
                          <a:pt x="47" y="31"/>
                        </a:cubicBezTo>
                        <a:cubicBezTo>
                          <a:pt x="47" y="31"/>
                          <a:pt x="47" y="31"/>
                          <a:pt x="47" y="31"/>
                        </a:cubicBezTo>
                        <a:cubicBezTo>
                          <a:pt x="47" y="31"/>
                          <a:pt x="47" y="31"/>
                          <a:pt x="47" y="31"/>
                        </a:cubicBezTo>
                        <a:cubicBezTo>
                          <a:pt x="47" y="31"/>
                          <a:pt x="47" y="30"/>
                          <a:pt x="47" y="30"/>
                        </a:cubicBezTo>
                        <a:cubicBezTo>
                          <a:pt x="47" y="30"/>
                          <a:pt x="47" y="30"/>
                          <a:pt x="47" y="30"/>
                        </a:cubicBezTo>
                        <a:cubicBezTo>
                          <a:pt x="47" y="30"/>
                          <a:pt x="47" y="30"/>
                          <a:pt x="47" y="30"/>
                        </a:cubicBezTo>
                        <a:cubicBezTo>
                          <a:pt x="47" y="30"/>
                          <a:pt x="47" y="30"/>
                          <a:pt x="47" y="30"/>
                        </a:cubicBezTo>
                        <a:cubicBezTo>
                          <a:pt x="47" y="30"/>
                          <a:pt x="47" y="30"/>
                          <a:pt x="48" y="30"/>
                        </a:cubicBezTo>
                        <a:cubicBezTo>
                          <a:pt x="48" y="30"/>
                          <a:pt x="47" y="30"/>
                          <a:pt x="48" y="30"/>
                        </a:cubicBezTo>
                        <a:cubicBezTo>
                          <a:pt x="48" y="30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7" y="30"/>
                          <a:pt x="47" y="30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8"/>
                        </a:cubicBezTo>
                        <a:cubicBezTo>
                          <a:pt x="48" y="28"/>
                          <a:pt x="48" y="29"/>
                          <a:pt x="48" y="28"/>
                        </a:cubicBezTo>
                        <a:cubicBezTo>
                          <a:pt x="48" y="28"/>
                          <a:pt x="48" y="28"/>
                          <a:pt x="48" y="28"/>
                        </a:cubicBezTo>
                        <a:cubicBezTo>
                          <a:pt x="48" y="28"/>
                          <a:pt x="48" y="28"/>
                          <a:pt x="48" y="28"/>
                        </a:cubicBezTo>
                        <a:cubicBezTo>
                          <a:pt x="48" y="28"/>
                          <a:pt x="48" y="28"/>
                          <a:pt x="48" y="28"/>
                        </a:cubicBezTo>
                        <a:cubicBezTo>
                          <a:pt x="48" y="28"/>
                          <a:pt x="48" y="28"/>
                          <a:pt x="47" y="28"/>
                        </a:cubicBezTo>
                        <a:cubicBezTo>
                          <a:pt x="48" y="28"/>
                          <a:pt x="48" y="28"/>
                          <a:pt x="48" y="28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8"/>
                        </a:cubicBezTo>
                        <a:cubicBezTo>
                          <a:pt x="48" y="28"/>
                          <a:pt x="47" y="27"/>
                          <a:pt x="47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7" y="27"/>
                          <a:pt x="47" y="27"/>
                          <a:pt x="47" y="27"/>
                        </a:cubicBezTo>
                        <a:cubicBezTo>
                          <a:pt x="47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7" y="27"/>
                          <a:pt x="47" y="27"/>
                          <a:pt x="47" y="28"/>
                        </a:cubicBezTo>
                        <a:cubicBezTo>
                          <a:pt x="47" y="27"/>
                          <a:pt x="47" y="27"/>
                          <a:pt x="47" y="27"/>
                        </a:cubicBezTo>
                        <a:cubicBezTo>
                          <a:pt x="47" y="27"/>
                          <a:pt x="47" y="27"/>
                          <a:pt x="47" y="27"/>
                        </a:cubicBezTo>
                        <a:cubicBezTo>
                          <a:pt x="47" y="27"/>
                          <a:pt x="47" y="27"/>
                          <a:pt x="47" y="26"/>
                        </a:cubicBezTo>
                        <a:cubicBezTo>
                          <a:pt x="47" y="27"/>
                          <a:pt x="47" y="27"/>
                          <a:pt x="47" y="27"/>
                        </a:cubicBezTo>
                        <a:cubicBezTo>
                          <a:pt x="47" y="27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8" y="26"/>
                        </a:cubicBezTo>
                        <a:cubicBezTo>
                          <a:pt x="47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6"/>
                          <a:pt x="48" y="27"/>
                          <a:pt x="48" y="26"/>
                        </a:cubicBezTo>
                        <a:cubicBezTo>
                          <a:pt x="48" y="26"/>
                          <a:pt x="48" y="27"/>
                          <a:pt x="48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9" y="26"/>
                          <a:pt x="48" y="26"/>
                          <a:pt x="48" y="26"/>
                        </a:cubicBezTo>
                        <a:cubicBezTo>
                          <a:pt x="48" y="26"/>
                          <a:pt x="49" y="26"/>
                          <a:pt x="49" y="26"/>
                        </a:cubicBezTo>
                        <a:cubicBezTo>
                          <a:pt x="49" y="26"/>
                          <a:pt x="49" y="26"/>
                          <a:pt x="48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9" y="26"/>
                          <a:pt x="49" y="26"/>
                          <a:pt x="49" y="26"/>
                        </a:cubicBezTo>
                        <a:cubicBezTo>
                          <a:pt x="49" y="26"/>
                          <a:pt x="49" y="26"/>
                          <a:pt x="49" y="25"/>
                        </a:cubicBezTo>
                        <a:cubicBezTo>
                          <a:pt x="49" y="25"/>
                          <a:pt x="48" y="25"/>
                          <a:pt x="48" y="25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8" y="26"/>
                          <a:pt x="48" y="26"/>
                          <a:pt x="47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8" y="26"/>
                          <a:pt x="48" y="26"/>
                          <a:pt x="47" y="26"/>
                        </a:cubicBezTo>
                        <a:cubicBezTo>
                          <a:pt x="47" y="26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6" y="26"/>
                        </a:cubicBezTo>
                        <a:cubicBezTo>
                          <a:pt x="46" y="26"/>
                          <a:pt x="47" y="26"/>
                          <a:pt x="47" y="26"/>
                        </a:cubicBezTo>
                        <a:cubicBezTo>
                          <a:pt x="46" y="26"/>
                          <a:pt x="47" y="27"/>
                          <a:pt x="47" y="27"/>
                        </a:cubicBezTo>
                        <a:cubicBezTo>
                          <a:pt x="47" y="27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7" y="27"/>
                        </a:cubicBezTo>
                        <a:cubicBezTo>
                          <a:pt x="47" y="27"/>
                          <a:pt x="47" y="27"/>
                          <a:pt x="47" y="27"/>
                        </a:cubicBezTo>
                        <a:cubicBezTo>
                          <a:pt x="47" y="27"/>
                          <a:pt x="47" y="27"/>
                          <a:pt x="47" y="27"/>
                        </a:cubicBezTo>
                        <a:cubicBezTo>
                          <a:pt x="47" y="27"/>
                          <a:pt x="47" y="28"/>
                          <a:pt x="47" y="27"/>
                        </a:cubicBezTo>
                        <a:cubicBezTo>
                          <a:pt x="46" y="28"/>
                          <a:pt x="47" y="28"/>
                          <a:pt x="47" y="28"/>
                        </a:cubicBezTo>
                        <a:cubicBezTo>
                          <a:pt x="47" y="28"/>
                          <a:pt x="47" y="28"/>
                          <a:pt x="47" y="28"/>
                        </a:cubicBezTo>
                        <a:cubicBezTo>
                          <a:pt x="47" y="28"/>
                          <a:pt x="47" y="28"/>
                          <a:pt x="47" y="28"/>
                        </a:cubicBezTo>
                        <a:cubicBezTo>
                          <a:pt x="47" y="28"/>
                          <a:pt x="47" y="28"/>
                          <a:pt x="46" y="28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ubicBezTo>
                          <a:pt x="46" y="28"/>
                          <a:pt x="46" y="29"/>
                          <a:pt x="46" y="29"/>
                        </a:cubicBezTo>
                        <a:cubicBezTo>
                          <a:pt x="46" y="29"/>
                          <a:pt x="46" y="29"/>
                          <a:pt x="46" y="29"/>
                        </a:cubicBezTo>
                        <a:cubicBezTo>
                          <a:pt x="46" y="29"/>
                          <a:pt x="46" y="29"/>
                          <a:pt x="46" y="29"/>
                        </a:cubicBezTo>
                        <a:cubicBezTo>
                          <a:pt x="46" y="29"/>
                          <a:pt x="46" y="29"/>
                          <a:pt x="45" y="29"/>
                        </a:cubicBezTo>
                        <a:cubicBezTo>
                          <a:pt x="45" y="30"/>
                          <a:pt x="45" y="30"/>
                          <a:pt x="45" y="30"/>
                        </a:cubicBezTo>
                        <a:cubicBezTo>
                          <a:pt x="45" y="30"/>
                          <a:pt x="45" y="30"/>
                          <a:pt x="45" y="30"/>
                        </a:cubicBezTo>
                        <a:cubicBezTo>
                          <a:pt x="45" y="30"/>
                          <a:pt x="45" y="30"/>
                          <a:pt x="45" y="30"/>
                        </a:cubicBezTo>
                        <a:cubicBezTo>
                          <a:pt x="46" y="30"/>
                          <a:pt x="46" y="30"/>
                          <a:pt x="46" y="30"/>
                        </a:cubicBezTo>
                        <a:cubicBezTo>
                          <a:pt x="46" y="30"/>
                          <a:pt x="45" y="30"/>
                          <a:pt x="45" y="30"/>
                        </a:cubicBezTo>
                        <a:cubicBezTo>
                          <a:pt x="45" y="30"/>
                          <a:pt x="45" y="30"/>
                          <a:pt x="45" y="30"/>
                        </a:cubicBezTo>
                        <a:cubicBezTo>
                          <a:pt x="45" y="30"/>
                          <a:pt x="45" y="30"/>
                          <a:pt x="45" y="30"/>
                        </a:cubicBezTo>
                        <a:cubicBezTo>
                          <a:pt x="45" y="30"/>
                          <a:pt x="45" y="30"/>
                          <a:pt x="45" y="31"/>
                        </a:cubicBezTo>
                        <a:cubicBezTo>
                          <a:pt x="45" y="31"/>
                          <a:pt x="45" y="31"/>
                          <a:pt x="45" y="30"/>
                        </a:cubicBezTo>
                        <a:cubicBezTo>
                          <a:pt x="45" y="31"/>
                          <a:pt x="45" y="31"/>
                          <a:pt x="45" y="31"/>
                        </a:cubicBezTo>
                        <a:cubicBezTo>
                          <a:pt x="45" y="31"/>
                          <a:pt x="45" y="31"/>
                          <a:pt x="45" y="31"/>
                        </a:cubicBezTo>
                        <a:cubicBezTo>
                          <a:pt x="45" y="31"/>
                          <a:pt x="44" y="31"/>
                          <a:pt x="45" y="31"/>
                        </a:cubicBezTo>
                        <a:cubicBezTo>
                          <a:pt x="44" y="31"/>
                          <a:pt x="44" y="31"/>
                          <a:pt x="44" y="31"/>
                        </a:cubicBezTo>
                        <a:cubicBezTo>
                          <a:pt x="44" y="31"/>
                          <a:pt x="44" y="31"/>
                          <a:pt x="44" y="31"/>
                        </a:cubicBezTo>
                        <a:cubicBezTo>
                          <a:pt x="44" y="31"/>
                          <a:pt x="44" y="32"/>
                          <a:pt x="44" y="32"/>
                        </a:cubicBezTo>
                        <a:cubicBezTo>
                          <a:pt x="44" y="32"/>
                          <a:pt x="44" y="32"/>
                          <a:pt x="44" y="32"/>
                        </a:cubicBezTo>
                        <a:cubicBezTo>
                          <a:pt x="44" y="32"/>
                          <a:pt x="44" y="32"/>
                          <a:pt x="44" y="32"/>
                        </a:cubicBezTo>
                        <a:cubicBezTo>
                          <a:pt x="43" y="32"/>
                          <a:pt x="43" y="33"/>
                          <a:pt x="43" y="33"/>
                        </a:cubicBezTo>
                        <a:cubicBezTo>
                          <a:pt x="43" y="33"/>
                          <a:pt x="43" y="33"/>
                          <a:pt x="43" y="33"/>
                        </a:cubicBezTo>
                        <a:cubicBezTo>
                          <a:pt x="44" y="32"/>
                          <a:pt x="44" y="30"/>
                          <a:pt x="45" y="30"/>
                        </a:cubicBezTo>
                        <a:cubicBezTo>
                          <a:pt x="45" y="30"/>
                          <a:pt x="45" y="30"/>
                          <a:pt x="45" y="30"/>
                        </a:cubicBezTo>
                        <a:cubicBezTo>
                          <a:pt x="45" y="30"/>
                          <a:pt x="45" y="30"/>
                          <a:pt x="45" y="30"/>
                        </a:cubicBezTo>
                        <a:cubicBezTo>
                          <a:pt x="45" y="30"/>
                          <a:pt x="45" y="30"/>
                          <a:pt x="45" y="29"/>
                        </a:cubicBezTo>
                        <a:cubicBezTo>
                          <a:pt x="45" y="29"/>
                          <a:pt x="45" y="29"/>
                          <a:pt x="45" y="29"/>
                        </a:cubicBezTo>
                        <a:cubicBezTo>
                          <a:pt x="45" y="29"/>
                          <a:pt x="45" y="29"/>
                          <a:pt x="45" y="29"/>
                        </a:cubicBezTo>
                        <a:cubicBezTo>
                          <a:pt x="45" y="29"/>
                          <a:pt x="45" y="29"/>
                          <a:pt x="45" y="29"/>
                        </a:cubicBezTo>
                        <a:cubicBezTo>
                          <a:pt x="45" y="29"/>
                          <a:pt x="45" y="29"/>
                          <a:pt x="45" y="29"/>
                        </a:cubicBezTo>
                        <a:cubicBezTo>
                          <a:pt x="45" y="29"/>
                          <a:pt x="45" y="29"/>
                          <a:pt x="45" y="29"/>
                        </a:cubicBezTo>
                        <a:cubicBezTo>
                          <a:pt x="45" y="29"/>
                          <a:pt x="45" y="28"/>
                          <a:pt x="45" y="28"/>
                        </a:cubicBezTo>
                        <a:cubicBezTo>
                          <a:pt x="45" y="28"/>
                          <a:pt x="45" y="29"/>
                          <a:pt x="45" y="29"/>
                        </a:cubicBezTo>
                        <a:cubicBezTo>
                          <a:pt x="46" y="29"/>
                          <a:pt x="45" y="28"/>
                          <a:pt x="45" y="28"/>
                        </a:cubicBezTo>
                        <a:cubicBezTo>
                          <a:pt x="45" y="28"/>
                          <a:pt x="45" y="28"/>
                          <a:pt x="45" y="28"/>
                        </a:cubicBezTo>
                        <a:cubicBezTo>
                          <a:pt x="45" y="28"/>
                          <a:pt x="46" y="28"/>
                          <a:pt x="46" y="27"/>
                        </a:cubicBezTo>
                        <a:cubicBezTo>
                          <a:pt x="46" y="27"/>
                          <a:pt x="46" y="27"/>
                          <a:pt x="46" y="27"/>
                        </a:cubicBezTo>
                        <a:cubicBezTo>
                          <a:pt x="45" y="27"/>
                          <a:pt x="46" y="27"/>
                          <a:pt x="46" y="27"/>
                        </a:cubicBezTo>
                        <a:cubicBezTo>
                          <a:pt x="46" y="27"/>
                          <a:pt x="46" y="27"/>
                          <a:pt x="46" y="27"/>
                        </a:cubicBezTo>
                        <a:cubicBezTo>
                          <a:pt x="46" y="27"/>
                          <a:pt x="46" y="27"/>
                          <a:pt x="46" y="27"/>
                        </a:cubicBezTo>
                        <a:cubicBezTo>
                          <a:pt x="46" y="27"/>
                          <a:pt x="46" y="27"/>
                          <a:pt x="46" y="27"/>
                        </a:cubicBezTo>
                        <a:cubicBezTo>
                          <a:pt x="46" y="27"/>
                          <a:pt x="46" y="27"/>
                          <a:pt x="45" y="27"/>
                        </a:cubicBezTo>
                        <a:cubicBezTo>
                          <a:pt x="46" y="26"/>
                          <a:pt x="45" y="26"/>
                          <a:pt x="45" y="26"/>
                        </a:cubicBezTo>
                        <a:cubicBezTo>
                          <a:pt x="46" y="26"/>
                          <a:pt x="46" y="26"/>
                          <a:pt x="46" y="26"/>
                        </a:cubicBezTo>
                        <a:cubicBezTo>
                          <a:pt x="46" y="26"/>
                          <a:pt x="45" y="26"/>
                          <a:pt x="45" y="26"/>
                        </a:cubicBezTo>
                        <a:cubicBezTo>
                          <a:pt x="45" y="26"/>
                          <a:pt x="45" y="26"/>
                          <a:pt x="45" y="27"/>
                        </a:cubicBezTo>
                        <a:cubicBezTo>
                          <a:pt x="45" y="27"/>
                          <a:pt x="45" y="27"/>
                          <a:pt x="45" y="27"/>
                        </a:cubicBezTo>
                        <a:cubicBezTo>
                          <a:pt x="45" y="27"/>
                          <a:pt x="45" y="27"/>
                          <a:pt x="45" y="27"/>
                        </a:cubicBezTo>
                        <a:cubicBezTo>
                          <a:pt x="45" y="26"/>
                          <a:pt x="45" y="26"/>
                          <a:pt x="45" y="26"/>
                        </a:cubicBezTo>
                        <a:cubicBezTo>
                          <a:pt x="45" y="26"/>
                          <a:pt x="45" y="26"/>
                          <a:pt x="45" y="26"/>
                        </a:cubicBezTo>
                        <a:cubicBezTo>
                          <a:pt x="45" y="25"/>
                          <a:pt x="45" y="26"/>
                          <a:pt x="45" y="26"/>
                        </a:cubicBezTo>
                        <a:cubicBezTo>
                          <a:pt x="45" y="26"/>
                          <a:pt x="45" y="26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4"/>
                          <a:pt x="45" y="25"/>
                          <a:pt x="45" y="25"/>
                        </a:cubicBezTo>
                        <a:cubicBezTo>
                          <a:pt x="45" y="24"/>
                          <a:pt x="45" y="25"/>
                          <a:pt x="45" y="24"/>
                        </a:cubicBezTo>
                        <a:cubicBezTo>
                          <a:pt x="45" y="24"/>
                          <a:pt x="45" y="24"/>
                          <a:pt x="45" y="24"/>
                        </a:cubicBezTo>
                        <a:cubicBezTo>
                          <a:pt x="45" y="24"/>
                          <a:pt x="45" y="24"/>
                          <a:pt x="46" y="24"/>
                        </a:cubicBezTo>
                        <a:cubicBezTo>
                          <a:pt x="45" y="24"/>
                          <a:pt x="45" y="24"/>
                          <a:pt x="45" y="24"/>
                        </a:cubicBezTo>
                        <a:cubicBezTo>
                          <a:pt x="45" y="24"/>
                          <a:pt x="45" y="24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5" y="25"/>
                          <a:pt x="45" y="26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4" y="26"/>
                          <a:pt x="44" y="26"/>
                        </a:cubicBezTo>
                        <a:cubicBezTo>
                          <a:pt x="44" y="26"/>
                          <a:pt x="44" y="25"/>
                          <a:pt x="44" y="25"/>
                        </a:cubicBezTo>
                        <a:cubicBezTo>
                          <a:pt x="44" y="25"/>
                          <a:pt x="44" y="25"/>
                          <a:pt x="44" y="25"/>
                        </a:cubicBezTo>
                        <a:cubicBezTo>
                          <a:pt x="44" y="25"/>
                          <a:pt x="44" y="25"/>
                          <a:pt x="44" y="25"/>
                        </a:cubicBezTo>
                        <a:cubicBezTo>
                          <a:pt x="44" y="25"/>
                          <a:pt x="44" y="25"/>
                          <a:pt x="45" y="25"/>
                        </a:cubicBezTo>
                        <a:cubicBezTo>
                          <a:pt x="45" y="25"/>
                          <a:pt x="45" y="24"/>
                          <a:pt x="44" y="24"/>
                        </a:cubicBezTo>
                        <a:cubicBezTo>
                          <a:pt x="45" y="24"/>
                          <a:pt x="45" y="24"/>
                          <a:pt x="45" y="24"/>
                        </a:cubicBezTo>
                        <a:cubicBezTo>
                          <a:pt x="45" y="24"/>
                          <a:pt x="45" y="24"/>
                          <a:pt x="45" y="24"/>
                        </a:cubicBezTo>
                        <a:cubicBezTo>
                          <a:pt x="45" y="24"/>
                          <a:pt x="45" y="24"/>
                          <a:pt x="44" y="24"/>
                        </a:cubicBezTo>
                        <a:cubicBezTo>
                          <a:pt x="44" y="24"/>
                          <a:pt x="45" y="24"/>
                          <a:pt x="44" y="24"/>
                        </a:cubicBezTo>
                        <a:cubicBezTo>
                          <a:pt x="44" y="24"/>
                          <a:pt x="44" y="24"/>
                          <a:pt x="44" y="24"/>
                        </a:cubicBezTo>
                        <a:cubicBezTo>
                          <a:pt x="45" y="24"/>
                          <a:pt x="45" y="24"/>
                          <a:pt x="45" y="24"/>
                        </a:cubicBezTo>
                        <a:cubicBezTo>
                          <a:pt x="45" y="24"/>
                          <a:pt x="45" y="24"/>
                          <a:pt x="44" y="23"/>
                        </a:cubicBezTo>
                        <a:cubicBezTo>
                          <a:pt x="45" y="23"/>
                          <a:pt x="45" y="24"/>
                          <a:pt x="45" y="23"/>
                        </a:cubicBezTo>
                        <a:cubicBezTo>
                          <a:pt x="45" y="23"/>
                          <a:pt x="45" y="23"/>
                          <a:pt x="45" y="23"/>
                        </a:cubicBezTo>
                        <a:cubicBezTo>
                          <a:pt x="45" y="23"/>
                          <a:pt x="45" y="23"/>
                          <a:pt x="45" y="23"/>
                        </a:cubicBezTo>
                        <a:cubicBezTo>
                          <a:pt x="45" y="23"/>
                          <a:pt x="45" y="23"/>
                          <a:pt x="45" y="23"/>
                        </a:cubicBezTo>
                        <a:cubicBezTo>
                          <a:pt x="45" y="23"/>
                          <a:pt x="45" y="23"/>
                          <a:pt x="45" y="23"/>
                        </a:cubicBezTo>
                        <a:cubicBezTo>
                          <a:pt x="45" y="23"/>
                          <a:pt x="45" y="23"/>
                          <a:pt x="45" y="23"/>
                        </a:cubicBezTo>
                        <a:cubicBezTo>
                          <a:pt x="45" y="22"/>
                          <a:pt x="45" y="23"/>
                          <a:pt x="45" y="22"/>
                        </a:cubicBezTo>
                        <a:cubicBezTo>
                          <a:pt x="45" y="22"/>
                          <a:pt x="45" y="22"/>
                          <a:pt x="45" y="22"/>
                        </a:cubicBezTo>
                        <a:cubicBezTo>
                          <a:pt x="45" y="22"/>
                          <a:pt x="45" y="22"/>
                          <a:pt x="45" y="22"/>
                        </a:cubicBezTo>
                        <a:cubicBezTo>
                          <a:pt x="45" y="22"/>
                          <a:pt x="45" y="22"/>
                          <a:pt x="45" y="22"/>
                        </a:cubicBezTo>
                        <a:cubicBezTo>
                          <a:pt x="45" y="22"/>
                          <a:pt x="45" y="22"/>
                          <a:pt x="45" y="22"/>
                        </a:cubicBezTo>
                        <a:cubicBezTo>
                          <a:pt x="45" y="22"/>
                          <a:pt x="45" y="22"/>
                          <a:pt x="45" y="22"/>
                        </a:cubicBezTo>
                        <a:cubicBezTo>
                          <a:pt x="45" y="22"/>
                          <a:pt x="46" y="22"/>
                          <a:pt x="46" y="22"/>
                        </a:cubicBezTo>
                        <a:cubicBezTo>
                          <a:pt x="46" y="22"/>
                          <a:pt x="46" y="22"/>
                          <a:pt x="46" y="22"/>
                        </a:cubicBezTo>
                        <a:cubicBezTo>
                          <a:pt x="46" y="22"/>
                          <a:pt x="46" y="22"/>
                          <a:pt x="45" y="22"/>
                        </a:cubicBezTo>
                        <a:cubicBezTo>
                          <a:pt x="46" y="22"/>
                          <a:pt x="46" y="22"/>
                          <a:pt x="46" y="22"/>
                        </a:cubicBezTo>
                        <a:cubicBezTo>
                          <a:pt x="46" y="22"/>
                          <a:pt x="46" y="22"/>
                          <a:pt x="46" y="21"/>
                        </a:cubicBezTo>
                        <a:cubicBezTo>
                          <a:pt x="45" y="21"/>
                          <a:pt x="46" y="22"/>
                          <a:pt x="45" y="21"/>
                        </a:cubicBezTo>
                        <a:cubicBezTo>
                          <a:pt x="45" y="21"/>
                          <a:pt x="45" y="21"/>
                          <a:pt x="46" y="21"/>
                        </a:cubicBezTo>
                        <a:cubicBezTo>
                          <a:pt x="46" y="21"/>
                          <a:pt x="46" y="21"/>
                          <a:pt x="46" y="21"/>
                        </a:cubicBezTo>
                        <a:cubicBezTo>
                          <a:pt x="46" y="21"/>
                          <a:pt x="46" y="21"/>
                          <a:pt x="46" y="21"/>
                        </a:cubicBezTo>
                        <a:cubicBezTo>
                          <a:pt x="46" y="21"/>
                          <a:pt x="46" y="20"/>
                          <a:pt x="46" y="20"/>
                        </a:cubicBezTo>
                        <a:cubicBezTo>
                          <a:pt x="46" y="20"/>
                          <a:pt x="46" y="20"/>
                          <a:pt x="46" y="20"/>
                        </a:cubicBezTo>
                        <a:cubicBezTo>
                          <a:pt x="46" y="20"/>
                          <a:pt x="46" y="20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8"/>
                          <a:pt x="46" y="19"/>
                        </a:cubicBezTo>
                        <a:cubicBezTo>
                          <a:pt x="45" y="19"/>
                          <a:pt x="46" y="19"/>
                          <a:pt x="45" y="19"/>
                        </a:cubicBezTo>
                        <a:cubicBezTo>
                          <a:pt x="45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5" y="19"/>
                        </a:cubicBezTo>
                        <a:cubicBezTo>
                          <a:pt x="46" y="19"/>
                          <a:pt x="46" y="19"/>
                          <a:pt x="45" y="19"/>
                        </a:cubicBezTo>
                        <a:cubicBezTo>
                          <a:pt x="45" y="19"/>
                          <a:pt x="46" y="19"/>
                          <a:pt x="46" y="19"/>
                        </a:cubicBezTo>
                        <a:cubicBezTo>
                          <a:pt x="46" y="20"/>
                          <a:pt x="45" y="19"/>
                          <a:pt x="45" y="19"/>
                        </a:cubicBezTo>
                        <a:cubicBezTo>
                          <a:pt x="45" y="20"/>
                          <a:pt x="45" y="20"/>
                          <a:pt x="45" y="20"/>
                        </a:cubicBezTo>
                        <a:cubicBezTo>
                          <a:pt x="45" y="20"/>
                          <a:pt x="45" y="20"/>
                          <a:pt x="45" y="20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8"/>
                          <a:pt x="45" y="18"/>
                          <a:pt x="45" y="18"/>
                        </a:cubicBezTo>
                        <a:cubicBezTo>
                          <a:pt x="45" y="18"/>
                          <a:pt x="45" y="18"/>
                          <a:pt x="45" y="18"/>
                        </a:cubicBezTo>
                        <a:cubicBezTo>
                          <a:pt x="45" y="18"/>
                          <a:pt x="45" y="18"/>
                          <a:pt x="45" y="18"/>
                        </a:cubicBezTo>
                        <a:cubicBezTo>
                          <a:pt x="45" y="17"/>
                          <a:pt x="45" y="17"/>
                          <a:pt x="45" y="17"/>
                        </a:cubicBezTo>
                        <a:cubicBezTo>
                          <a:pt x="45" y="17"/>
                          <a:pt x="45" y="17"/>
                          <a:pt x="45" y="17"/>
                        </a:cubicBezTo>
                        <a:cubicBezTo>
                          <a:pt x="45" y="17"/>
                          <a:pt x="45" y="17"/>
                          <a:pt x="45" y="17"/>
                        </a:cubicBezTo>
                        <a:cubicBezTo>
                          <a:pt x="45" y="17"/>
                          <a:pt x="45" y="17"/>
                          <a:pt x="45" y="17"/>
                        </a:cubicBezTo>
                        <a:cubicBezTo>
                          <a:pt x="45" y="17"/>
                          <a:pt x="45" y="17"/>
                          <a:pt x="46" y="17"/>
                        </a:cubicBezTo>
                        <a:cubicBezTo>
                          <a:pt x="45" y="17"/>
                          <a:pt x="45" y="17"/>
                          <a:pt x="46" y="16"/>
                        </a:cubicBezTo>
                        <a:cubicBezTo>
                          <a:pt x="46" y="16"/>
                          <a:pt x="46" y="17"/>
                          <a:pt x="45" y="17"/>
                        </a:cubicBezTo>
                        <a:cubicBezTo>
                          <a:pt x="46" y="17"/>
                          <a:pt x="46" y="16"/>
                          <a:pt x="45" y="16"/>
                        </a:cubicBezTo>
                        <a:cubicBezTo>
                          <a:pt x="46" y="16"/>
                          <a:pt x="46" y="16"/>
                          <a:pt x="46" y="15"/>
                        </a:cubicBezTo>
                        <a:cubicBezTo>
                          <a:pt x="46" y="15"/>
                          <a:pt x="46" y="16"/>
                          <a:pt x="46" y="15"/>
                        </a:cubicBezTo>
                        <a:cubicBezTo>
                          <a:pt x="46" y="15"/>
                          <a:pt x="45" y="15"/>
                          <a:pt x="45" y="15"/>
                        </a:cubicBezTo>
                        <a:cubicBezTo>
                          <a:pt x="46" y="15"/>
                          <a:pt x="46" y="15"/>
                          <a:pt x="46" y="14"/>
                        </a:cubicBezTo>
                        <a:cubicBezTo>
                          <a:pt x="46" y="14"/>
                          <a:pt x="46" y="15"/>
                          <a:pt x="45" y="15"/>
                        </a:cubicBezTo>
                        <a:cubicBezTo>
                          <a:pt x="45" y="15"/>
                          <a:pt x="45" y="14"/>
                          <a:pt x="45" y="14"/>
                        </a:cubicBezTo>
                        <a:cubicBezTo>
                          <a:pt x="45" y="14"/>
                          <a:pt x="46" y="14"/>
                          <a:pt x="46" y="14"/>
                        </a:cubicBezTo>
                        <a:cubicBezTo>
                          <a:pt x="46" y="14"/>
                          <a:pt x="46" y="14"/>
                          <a:pt x="46" y="14"/>
                        </a:cubicBezTo>
                        <a:cubicBezTo>
                          <a:pt x="46" y="14"/>
                          <a:pt x="46" y="14"/>
                          <a:pt x="46" y="14"/>
                        </a:cubicBezTo>
                        <a:cubicBezTo>
                          <a:pt x="46" y="14"/>
                          <a:pt x="46" y="14"/>
                          <a:pt x="46" y="14"/>
                        </a:cubicBezTo>
                        <a:cubicBezTo>
                          <a:pt x="46" y="14"/>
                          <a:pt x="46" y="14"/>
                          <a:pt x="46" y="14"/>
                        </a:cubicBezTo>
                        <a:cubicBezTo>
                          <a:pt x="46" y="14"/>
                          <a:pt x="46" y="14"/>
                          <a:pt x="46" y="14"/>
                        </a:cubicBezTo>
                        <a:cubicBezTo>
                          <a:pt x="47" y="14"/>
                          <a:pt x="46" y="13"/>
                          <a:pt x="47" y="13"/>
                        </a:cubicBezTo>
                        <a:cubicBezTo>
                          <a:pt x="47" y="13"/>
                          <a:pt x="47" y="13"/>
                          <a:pt x="47" y="12"/>
                        </a:cubicBezTo>
                        <a:cubicBezTo>
                          <a:pt x="47" y="12"/>
                          <a:pt x="47" y="12"/>
                          <a:pt x="47" y="12"/>
                        </a:cubicBezTo>
                        <a:cubicBezTo>
                          <a:pt x="47" y="12"/>
                          <a:pt x="47" y="13"/>
                          <a:pt x="47" y="12"/>
                        </a:cubicBezTo>
                        <a:cubicBezTo>
                          <a:pt x="47" y="12"/>
                          <a:pt x="47" y="12"/>
                          <a:pt x="47" y="12"/>
                        </a:cubicBezTo>
                        <a:cubicBezTo>
                          <a:pt x="47" y="12"/>
                          <a:pt x="48" y="12"/>
                          <a:pt x="48" y="12"/>
                        </a:cubicBezTo>
                        <a:cubicBezTo>
                          <a:pt x="48" y="12"/>
                          <a:pt x="48" y="12"/>
                          <a:pt x="47" y="12"/>
                        </a:cubicBezTo>
                        <a:cubicBezTo>
                          <a:pt x="47" y="12"/>
                          <a:pt x="48" y="12"/>
                          <a:pt x="48" y="11"/>
                        </a:cubicBezTo>
                        <a:cubicBezTo>
                          <a:pt x="48" y="11"/>
                          <a:pt x="48" y="11"/>
                          <a:pt x="48" y="11"/>
                        </a:cubicBezTo>
                        <a:cubicBezTo>
                          <a:pt x="48" y="11"/>
                          <a:pt x="48" y="11"/>
                          <a:pt x="49" y="11"/>
                        </a:cubicBezTo>
                        <a:cubicBezTo>
                          <a:pt x="49" y="11"/>
                          <a:pt x="49" y="11"/>
                          <a:pt x="49" y="10"/>
                        </a:cubicBezTo>
                        <a:cubicBezTo>
                          <a:pt x="49" y="11"/>
                          <a:pt x="49" y="10"/>
                          <a:pt x="50" y="10"/>
                        </a:cubicBezTo>
                        <a:cubicBezTo>
                          <a:pt x="50" y="10"/>
                          <a:pt x="50" y="10"/>
                          <a:pt x="50" y="10"/>
                        </a:cubicBezTo>
                        <a:cubicBezTo>
                          <a:pt x="49" y="10"/>
                          <a:pt x="49" y="10"/>
                          <a:pt x="49" y="11"/>
                        </a:cubicBezTo>
                        <a:cubicBezTo>
                          <a:pt x="49" y="11"/>
                          <a:pt x="49" y="11"/>
                          <a:pt x="49" y="11"/>
                        </a:cubicBezTo>
                        <a:cubicBezTo>
                          <a:pt x="49" y="11"/>
                          <a:pt x="49" y="11"/>
                          <a:pt x="49" y="11"/>
                        </a:cubicBezTo>
                        <a:cubicBezTo>
                          <a:pt x="49" y="11"/>
                          <a:pt x="48" y="11"/>
                          <a:pt x="48" y="11"/>
                        </a:cubicBezTo>
                        <a:cubicBezTo>
                          <a:pt x="48" y="10"/>
                          <a:pt x="48" y="10"/>
                          <a:pt x="48" y="10"/>
                        </a:cubicBezTo>
                        <a:cubicBezTo>
                          <a:pt x="48" y="10"/>
                          <a:pt x="48" y="10"/>
                          <a:pt x="48" y="10"/>
                        </a:cubicBezTo>
                        <a:cubicBezTo>
                          <a:pt x="48" y="10"/>
                          <a:pt x="49" y="10"/>
                          <a:pt x="49" y="10"/>
                        </a:cubicBezTo>
                        <a:cubicBezTo>
                          <a:pt x="49" y="10"/>
                          <a:pt x="49" y="10"/>
                          <a:pt x="49" y="9"/>
                        </a:cubicBezTo>
                        <a:cubicBezTo>
                          <a:pt x="49" y="10"/>
                          <a:pt x="49" y="10"/>
                          <a:pt x="50" y="10"/>
                        </a:cubicBezTo>
                        <a:cubicBezTo>
                          <a:pt x="49" y="9"/>
                          <a:pt x="49" y="10"/>
                          <a:pt x="49" y="9"/>
                        </a:cubicBezTo>
                        <a:cubicBezTo>
                          <a:pt x="49" y="9"/>
                          <a:pt x="49" y="9"/>
                          <a:pt x="50" y="9"/>
                        </a:cubicBezTo>
                        <a:cubicBezTo>
                          <a:pt x="50" y="8"/>
                          <a:pt x="50" y="8"/>
                          <a:pt x="51" y="8"/>
                        </a:cubicBezTo>
                        <a:cubicBezTo>
                          <a:pt x="51" y="7"/>
                          <a:pt x="51" y="7"/>
                          <a:pt x="51" y="7"/>
                        </a:cubicBezTo>
                        <a:cubicBezTo>
                          <a:pt x="51" y="7"/>
                          <a:pt x="50" y="7"/>
                          <a:pt x="50" y="8"/>
                        </a:cubicBezTo>
                        <a:cubicBezTo>
                          <a:pt x="50" y="7"/>
                          <a:pt x="51" y="7"/>
                          <a:pt x="51" y="7"/>
                        </a:cubicBezTo>
                        <a:cubicBezTo>
                          <a:pt x="50" y="7"/>
                          <a:pt x="50" y="7"/>
                          <a:pt x="50" y="7"/>
                        </a:cubicBezTo>
                        <a:cubicBezTo>
                          <a:pt x="50" y="6"/>
                          <a:pt x="51" y="6"/>
                          <a:pt x="51" y="7"/>
                        </a:cubicBezTo>
                        <a:cubicBezTo>
                          <a:pt x="51" y="7"/>
                          <a:pt x="51" y="7"/>
                          <a:pt x="51" y="7"/>
                        </a:cubicBezTo>
                        <a:cubicBezTo>
                          <a:pt x="51" y="7"/>
                          <a:pt x="51" y="7"/>
                          <a:pt x="51" y="7"/>
                        </a:cubicBezTo>
                        <a:cubicBezTo>
                          <a:pt x="51" y="6"/>
                          <a:pt x="51" y="6"/>
                          <a:pt x="52" y="6"/>
                        </a:cubicBezTo>
                        <a:cubicBezTo>
                          <a:pt x="51" y="6"/>
                          <a:pt x="51" y="6"/>
                          <a:pt x="51" y="6"/>
                        </a:cubicBezTo>
                        <a:cubicBezTo>
                          <a:pt x="51" y="6"/>
                          <a:pt x="51" y="6"/>
                          <a:pt x="51" y="6"/>
                        </a:cubicBezTo>
                        <a:cubicBezTo>
                          <a:pt x="51" y="6"/>
                          <a:pt x="51" y="6"/>
                          <a:pt x="51" y="6"/>
                        </a:cubicBezTo>
                        <a:cubicBezTo>
                          <a:pt x="50" y="6"/>
                          <a:pt x="51" y="6"/>
                          <a:pt x="51" y="6"/>
                        </a:cubicBezTo>
                        <a:cubicBezTo>
                          <a:pt x="52" y="6"/>
                          <a:pt x="52" y="5"/>
                          <a:pt x="52" y="6"/>
                        </a:cubicBezTo>
                        <a:cubicBezTo>
                          <a:pt x="52" y="5"/>
                          <a:pt x="52" y="6"/>
                          <a:pt x="52" y="5"/>
                        </a:cubicBezTo>
                        <a:cubicBezTo>
                          <a:pt x="52" y="5"/>
                          <a:pt x="52" y="5"/>
                          <a:pt x="52" y="5"/>
                        </a:cubicBezTo>
                        <a:cubicBezTo>
                          <a:pt x="52" y="5"/>
                          <a:pt x="52" y="5"/>
                          <a:pt x="51" y="5"/>
                        </a:cubicBezTo>
                        <a:cubicBezTo>
                          <a:pt x="51" y="5"/>
                          <a:pt x="52" y="5"/>
                          <a:pt x="52" y="5"/>
                        </a:cubicBezTo>
                        <a:cubicBezTo>
                          <a:pt x="52" y="5"/>
                          <a:pt x="52" y="5"/>
                          <a:pt x="52" y="5"/>
                        </a:cubicBezTo>
                        <a:cubicBezTo>
                          <a:pt x="52" y="5"/>
                          <a:pt x="52" y="5"/>
                          <a:pt x="52" y="5"/>
                        </a:cubicBezTo>
                        <a:cubicBezTo>
                          <a:pt x="52" y="4"/>
                          <a:pt x="52" y="4"/>
                          <a:pt x="52" y="4"/>
                        </a:cubicBezTo>
                        <a:cubicBezTo>
                          <a:pt x="52" y="4"/>
                          <a:pt x="53" y="4"/>
                          <a:pt x="53" y="3"/>
                        </a:cubicBezTo>
                        <a:cubicBezTo>
                          <a:pt x="53" y="3"/>
                          <a:pt x="53" y="3"/>
                          <a:pt x="53" y="3"/>
                        </a:cubicBezTo>
                        <a:cubicBezTo>
                          <a:pt x="53" y="3"/>
                          <a:pt x="53" y="3"/>
                          <a:pt x="54" y="3"/>
                        </a:cubicBezTo>
                        <a:cubicBezTo>
                          <a:pt x="54" y="2"/>
                          <a:pt x="54" y="2"/>
                          <a:pt x="55" y="1"/>
                        </a:cubicBezTo>
                        <a:cubicBezTo>
                          <a:pt x="55" y="1"/>
                          <a:pt x="55" y="1"/>
                          <a:pt x="55" y="1"/>
                        </a:cubicBezTo>
                        <a:cubicBezTo>
                          <a:pt x="56" y="0"/>
                          <a:pt x="58" y="0"/>
                          <a:pt x="59" y="0"/>
                        </a:cubicBezTo>
                        <a:cubicBezTo>
                          <a:pt x="59" y="0"/>
                          <a:pt x="59" y="0"/>
                          <a:pt x="59" y="0"/>
                        </a:cubicBezTo>
                        <a:cubicBezTo>
                          <a:pt x="59" y="0"/>
                          <a:pt x="59" y="0"/>
                          <a:pt x="60" y="0"/>
                        </a:cubicBezTo>
                        <a:cubicBezTo>
                          <a:pt x="60" y="0"/>
                          <a:pt x="60" y="0"/>
                          <a:pt x="60" y="0"/>
                        </a:cubicBezTo>
                        <a:cubicBezTo>
                          <a:pt x="61" y="1"/>
                          <a:pt x="62" y="1"/>
                          <a:pt x="62" y="1"/>
                        </a:cubicBezTo>
                        <a:cubicBezTo>
                          <a:pt x="62" y="1"/>
                          <a:pt x="62" y="1"/>
                          <a:pt x="62" y="2"/>
                        </a:cubicBezTo>
                        <a:cubicBezTo>
                          <a:pt x="62" y="2"/>
                          <a:pt x="62" y="2"/>
                          <a:pt x="62" y="2"/>
                        </a:cubicBezTo>
                        <a:cubicBezTo>
                          <a:pt x="63" y="2"/>
                          <a:pt x="63" y="3"/>
                          <a:pt x="64" y="3"/>
                        </a:cubicBezTo>
                        <a:cubicBezTo>
                          <a:pt x="64" y="3"/>
                          <a:pt x="64" y="3"/>
                          <a:pt x="64" y="3"/>
                        </a:cubicBezTo>
                        <a:cubicBezTo>
                          <a:pt x="65" y="4"/>
                          <a:pt x="64" y="5"/>
                          <a:pt x="65" y="6"/>
                        </a:cubicBezTo>
                        <a:cubicBezTo>
                          <a:pt x="65" y="6"/>
                          <a:pt x="65" y="6"/>
                          <a:pt x="65" y="6"/>
                        </a:cubicBezTo>
                        <a:cubicBezTo>
                          <a:pt x="65" y="6"/>
                          <a:pt x="65" y="6"/>
                          <a:pt x="65" y="6"/>
                        </a:cubicBezTo>
                        <a:cubicBezTo>
                          <a:pt x="65" y="6"/>
                          <a:pt x="65" y="7"/>
                          <a:pt x="65" y="7"/>
                        </a:cubicBezTo>
                        <a:cubicBezTo>
                          <a:pt x="65" y="8"/>
                          <a:pt x="65" y="9"/>
                          <a:pt x="65" y="10"/>
                        </a:cubicBezTo>
                        <a:cubicBezTo>
                          <a:pt x="65" y="10"/>
                          <a:pt x="65" y="10"/>
                          <a:pt x="65" y="10"/>
                        </a:cubicBezTo>
                        <a:cubicBezTo>
                          <a:pt x="64" y="11"/>
                          <a:pt x="65" y="11"/>
                          <a:pt x="65" y="12"/>
                        </a:cubicBezTo>
                        <a:cubicBezTo>
                          <a:pt x="64" y="12"/>
                          <a:pt x="64" y="12"/>
                          <a:pt x="64" y="13"/>
                        </a:cubicBezTo>
                        <a:cubicBezTo>
                          <a:pt x="64" y="13"/>
                          <a:pt x="64" y="13"/>
                          <a:pt x="64" y="14"/>
                        </a:cubicBezTo>
                        <a:cubicBezTo>
                          <a:pt x="64" y="14"/>
                          <a:pt x="63" y="14"/>
                          <a:pt x="63" y="14"/>
                        </a:cubicBezTo>
                        <a:cubicBezTo>
                          <a:pt x="63" y="15"/>
                          <a:pt x="63" y="16"/>
                          <a:pt x="62" y="17"/>
                        </a:cubicBezTo>
                        <a:cubicBezTo>
                          <a:pt x="62" y="17"/>
                          <a:pt x="62" y="17"/>
                          <a:pt x="62" y="17"/>
                        </a:cubicBezTo>
                        <a:close/>
                        <a:moveTo>
                          <a:pt x="46" y="16"/>
                        </a:moveTo>
                        <a:cubicBezTo>
                          <a:pt x="46" y="16"/>
                          <a:pt x="46" y="16"/>
                          <a:pt x="46" y="16"/>
                        </a:cubicBezTo>
                        <a:cubicBezTo>
                          <a:pt x="46" y="16"/>
                          <a:pt x="46" y="16"/>
                          <a:pt x="46" y="16"/>
                        </a:cubicBezTo>
                        <a:close/>
                        <a:moveTo>
                          <a:pt x="46" y="16"/>
                        </a:moveTo>
                        <a:cubicBezTo>
                          <a:pt x="46" y="16"/>
                          <a:pt x="46" y="16"/>
                          <a:pt x="46" y="16"/>
                        </a:cubicBezTo>
                        <a:cubicBezTo>
                          <a:pt x="46" y="16"/>
                          <a:pt x="46" y="16"/>
                          <a:pt x="46" y="16"/>
                        </a:cubicBezTo>
                        <a:close/>
                        <a:moveTo>
                          <a:pt x="45" y="19"/>
                        </a:move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lose/>
                        <a:moveTo>
                          <a:pt x="47" y="17"/>
                        </a:moveTo>
                        <a:cubicBezTo>
                          <a:pt x="47" y="17"/>
                          <a:pt x="47" y="17"/>
                          <a:pt x="47" y="17"/>
                        </a:cubicBezTo>
                        <a:cubicBezTo>
                          <a:pt x="47" y="17"/>
                          <a:pt x="47" y="17"/>
                          <a:pt x="47" y="17"/>
                        </a:cubicBezTo>
                        <a:cubicBezTo>
                          <a:pt x="47" y="17"/>
                          <a:pt x="47" y="17"/>
                          <a:pt x="47" y="17"/>
                        </a:cubicBezTo>
                        <a:close/>
                        <a:moveTo>
                          <a:pt x="46" y="18"/>
                        </a:moveTo>
                        <a:cubicBezTo>
                          <a:pt x="46" y="18"/>
                          <a:pt x="46" y="18"/>
                          <a:pt x="46" y="18"/>
                        </a:cubicBezTo>
                        <a:cubicBezTo>
                          <a:pt x="46" y="18"/>
                          <a:pt x="46" y="17"/>
                          <a:pt x="46" y="18"/>
                        </a:cubicBezTo>
                        <a:cubicBezTo>
                          <a:pt x="46" y="18"/>
                          <a:pt x="46" y="18"/>
                          <a:pt x="46" y="18"/>
                        </a:cubicBezTo>
                        <a:cubicBezTo>
                          <a:pt x="46" y="18"/>
                          <a:pt x="46" y="18"/>
                          <a:pt x="46" y="18"/>
                        </a:cubicBezTo>
                        <a:cubicBezTo>
                          <a:pt x="46" y="18"/>
                          <a:pt x="46" y="18"/>
                          <a:pt x="46" y="18"/>
                        </a:cubicBezTo>
                        <a:close/>
                        <a:moveTo>
                          <a:pt x="46" y="18"/>
                        </a:moveTo>
                        <a:cubicBezTo>
                          <a:pt x="46" y="18"/>
                          <a:pt x="46" y="18"/>
                          <a:pt x="46" y="18"/>
                        </a:cubicBezTo>
                        <a:cubicBezTo>
                          <a:pt x="46" y="18"/>
                          <a:pt x="46" y="18"/>
                          <a:pt x="46" y="18"/>
                        </a:cubicBezTo>
                        <a:close/>
                        <a:moveTo>
                          <a:pt x="46" y="19"/>
                        </a:moveTo>
                        <a:cubicBezTo>
                          <a:pt x="46" y="19"/>
                          <a:pt x="46" y="19"/>
                          <a:pt x="46" y="18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lose/>
                        <a:moveTo>
                          <a:pt x="47" y="18"/>
                        </a:moveTo>
                        <a:cubicBezTo>
                          <a:pt x="47" y="18"/>
                          <a:pt x="47" y="18"/>
                          <a:pt x="47" y="18"/>
                        </a:cubicBezTo>
                        <a:cubicBezTo>
                          <a:pt x="47" y="17"/>
                          <a:pt x="47" y="17"/>
                          <a:pt x="47" y="17"/>
                        </a:cubicBezTo>
                        <a:cubicBezTo>
                          <a:pt x="47" y="17"/>
                          <a:pt x="47" y="17"/>
                          <a:pt x="47" y="17"/>
                        </a:cubicBezTo>
                        <a:cubicBezTo>
                          <a:pt x="47" y="18"/>
                          <a:pt x="47" y="18"/>
                          <a:pt x="47" y="18"/>
                        </a:cubicBezTo>
                        <a:close/>
                        <a:moveTo>
                          <a:pt x="46" y="19"/>
                        </a:move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lose/>
                        <a:moveTo>
                          <a:pt x="47" y="18"/>
                        </a:moveTo>
                        <a:cubicBezTo>
                          <a:pt x="47" y="18"/>
                          <a:pt x="47" y="18"/>
                          <a:pt x="47" y="18"/>
                        </a:cubicBezTo>
                        <a:cubicBezTo>
                          <a:pt x="47" y="18"/>
                          <a:pt x="47" y="18"/>
                          <a:pt x="47" y="18"/>
                        </a:cubicBezTo>
                        <a:cubicBezTo>
                          <a:pt x="47" y="18"/>
                          <a:pt x="47" y="18"/>
                          <a:pt x="47" y="18"/>
                        </a:cubicBezTo>
                        <a:close/>
                        <a:moveTo>
                          <a:pt x="46" y="20"/>
                        </a:moveTo>
                        <a:cubicBezTo>
                          <a:pt x="46" y="20"/>
                          <a:pt x="46" y="20"/>
                          <a:pt x="46" y="20"/>
                        </a:cubicBezTo>
                        <a:cubicBezTo>
                          <a:pt x="46" y="20"/>
                          <a:pt x="46" y="20"/>
                          <a:pt x="46" y="20"/>
                        </a:cubicBezTo>
                        <a:cubicBezTo>
                          <a:pt x="46" y="20"/>
                          <a:pt x="46" y="20"/>
                          <a:pt x="46" y="20"/>
                        </a:cubicBezTo>
                        <a:cubicBezTo>
                          <a:pt x="46" y="20"/>
                          <a:pt x="46" y="20"/>
                          <a:pt x="46" y="20"/>
                        </a:cubicBezTo>
                        <a:close/>
                        <a:moveTo>
                          <a:pt x="46" y="21"/>
                        </a:moveTo>
                        <a:cubicBezTo>
                          <a:pt x="46" y="21"/>
                          <a:pt x="46" y="21"/>
                          <a:pt x="46" y="21"/>
                        </a:cubicBezTo>
                        <a:cubicBezTo>
                          <a:pt x="46" y="21"/>
                          <a:pt x="46" y="21"/>
                          <a:pt x="46" y="21"/>
                        </a:cubicBezTo>
                        <a:close/>
                        <a:moveTo>
                          <a:pt x="46" y="22"/>
                        </a:moveTo>
                        <a:cubicBezTo>
                          <a:pt x="46" y="21"/>
                          <a:pt x="46" y="21"/>
                          <a:pt x="46" y="21"/>
                        </a:cubicBezTo>
                        <a:cubicBezTo>
                          <a:pt x="46" y="21"/>
                          <a:pt x="46" y="21"/>
                          <a:pt x="46" y="21"/>
                        </a:cubicBezTo>
                        <a:cubicBezTo>
                          <a:pt x="46" y="22"/>
                          <a:pt x="46" y="22"/>
                          <a:pt x="46" y="22"/>
                        </a:cubicBezTo>
                        <a:cubicBezTo>
                          <a:pt x="46" y="22"/>
                          <a:pt x="46" y="22"/>
                          <a:pt x="46" y="22"/>
                        </a:cubicBezTo>
                        <a:close/>
                        <a:moveTo>
                          <a:pt x="45" y="23"/>
                        </a:moveTo>
                        <a:cubicBezTo>
                          <a:pt x="45" y="23"/>
                          <a:pt x="45" y="23"/>
                          <a:pt x="45" y="23"/>
                        </a:cubicBezTo>
                        <a:cubicBezTo>
                          <a:pt x="45" y="23"/>
                          <a:pt x="45" y="23"/>
                          <a:pt x="45" y="23"/>
                        </a:cubicBezTo>
                        <a:close/>
                        <a:moveTo>
                          <a:pt x="47" y="22"/>
                        </a:moveTo>
                        <a:cubicBezTo>
                          <a:pt x="47" y="22"/>
                          <a:pt x="47" y="22"/>
                          <a:pt x="47" y="22"/>
                        </a:cubicBezTo>
                        <a:cubicBezTo>
                          <a:pt x="47" y="22"/>
                          <a:pt x="47" y="22"/>
                          <a:pt x="47" y="22"/>
                        </a:cubicBezTo>
                        <a:cubicBezTo>
                          <a:pt x="47" y="22"/>
                          <a:pt x="46" y="22"/>
                          <a:pt x="47" y="22"/>
                        </a:cubicBezTo>
                        <a:close/>
                        <a:moveTo>
                          <a:pt x="46" y="22"/>
                        </a:moveTo>
                        <a:cubicBezTo>
                          <a:pt x="47" y="22"/>
                          <a:pt x="46" y="22"/>
                          <a:pt x="46" y="22"/>
                        </a:cubicBezTo>
                        <a:cubicBezTo>
                          <a:pt x="46" y="22"/>
                          <a:pt x="47" y="22"/>
                          <a:pt x="46" y="22"/>
                        </a:cubicBezTo>
                        <a:cubicBezTo>
                          <a:pt x="46" y="22"/>
                          <a:pt x="46" y="22"/>
                          <a:pt x="46" y="22"/>
                        </a:cubicBezTo>
                        <a:cubicBezTo>
                          <a:pt x="46" y="22"/>
                          <a:pt x="46" y="22"/>
                          <a:pt x="46" y="22"/>
                        </a:cubicBezTo>
                        <a:close/>
                        <a:moveTo>
                          <a:pt x="46" y="23"/>
                        </a:moveTo>
                        <a:cubicBezTo>
                          <a:pt x="46" y="23"/>
                          <a:pt x="46" y="22"/>
                          <a:pt x="46" y="23"/>
                        </a:cubicBezTo>
                        <a:cubicBezTo>
                          <a:pt x="46" y="22"/>
                          <a:pt x="46" y="22"/>
                          <a:pt x="46" y="23"/>
                        </a:cubicBezTo>
                        <a:close/>
                        <a:moveTo>
                          <a:pt x="46" y="23"/>
                        </a:moveTo>
                        <a:cubicBezTo>
                          <a:pt x="46" y="23"/>
                          <a:pt x="46" y="23"/>
                          <a:pt x="46" y="23"/>
                        </a:cubicBezTo>
                        <a:cubicBezTo>
                          <a:pt x="46" y="23"/>
                          <a:pt x="46" y="23"/>
                          <a:pt x="46" y="23"/>
                        </a:cubicBezTo>
                        <a:cubicBezTo>
                          <a:pt x="46" y="23"/>
                          <a:pt x="46" y="23"/>
                          <a:pt x="46" y="23"/>
                        </a:cubicBezTo>
                        <a:cubicBezTo>
                          <a:pt x="46" y="23"/>
                          <a:pt x="46" y="23"/>
                          <a:pt x="46" y="23"/>
                        </a:cubicBezTo>
                        <a:cubicBezTo>
                          <a:pt x="46" y="23"/>
                          <a:pt x="46" y="23"/>
                          <a:pt x="46" y="23"/>
                        </a:cubicBezTo>
                        <a:close/>
                        <a:moveTo>
                          <a:pt x="46" y="24"/>
                        </a:moveTo>
                        <a:cubicBezTo>
                          <a:pt x="46" y="24"/>
                          <a:pt x="46" y="24"/>
                          <a:pt x="46" y="23"/>
                        </a:cubicBezTo>
                        <a:cubicBezTo>
                          <a:pt x="46" y="24"/>
                          <a:pt x="46" y="24"/>
                          <a:pt x="46" y="24"/>
                        </a:cubicBezTo>
                        <a:cubicBezTo>
                          <a:pt x="46" y="24"/>
                          <a:pt x="46" y="24"/>
                          <a:pt x="46" y="24"/>
                        </a:cubicBezTo>
                        <a:close/>
                        <a:moveTo>
                          <a:pt x="46" y="26"/>
                        </a:moveTo>
                        <a:cubicBezTo>
                          <a:pt x="46" y="26"/>
                          <a:pt x="46" y="26"/>
                          <a:pt x="46" y="26"/>
                        </a:cubicBezTo>
                        <a:cubicBezTo>
                          <a:pt x="46" y="26"/>
                          <a:pt x="46" y="26"/>
                          <a:pt x="46" y="26"/>
                        </a:cubicBezTo>
                        <a:cubicBezTo>
                          <a:pt x="46" y="26"/>
                          <a:pt x="46" y="26"/>
                          <a:pt x="46" y="26"/>
                        </a:cubicBezTo>
                        <a:cubicBezTo>
                          <a:pt x="46" y="26"/>
                          <a:pt x="46" y="26"/>
                          <a:pt x="46" y="26"/>
                        </a:cubicBezTo>
                        <a:cubicBezTo>
                          <a:pt x="46" y="26"/>
                          <a:pt x="46" y="26"/>
                          <a:pt x="46" y="26"/>
                        </a:cubicBezTo>
                        <a:close/>
                        <a:moveTo>
                          <a:pt x="46" y="26"/>
                        </a:moveTo>
                        <a:cubicBezTo>
                          <a:pt x="46" y="26"/>
                          <a:pt x="46" y="26"/>
                          <a:pt x="46" y="25"/>
                        </a:cubicBezTo>
                        <a:cubicBezTo>
                          <a:pt x="46" y="25"/>
                          <a:pt x="46" y="25"/>
                          <a:pt x="45" y="25"/>
                        </a:cubicBezTo>
                        <a:cubicBezTo>
                          <a:pt x="46" y="26"/>
                          <a:pt x="46" y="25"/>
                          <a:pt x="46" y="26"/>
                        </a:cubicBezTo>
                        <a:cubicBezTo>
                          <a:pt x="46" y="26"/>
                          <a:pt x="46" y="26"/>
                          <a:pt x="46" y="26"/>
                        </a:cubicBezTo>
                        <a:cubicBezTo>
                          <a:pt x="46" y="26"/>
                          <a:pt x="46" y="26"/>
                          <a:pt x="46" y="26"/>
                        </a:cubicBezTo>
                        <a:close/>
                        <a:moveTo>
                          <a:pt x="46" y="28"/>
                        </a:moveTo>
                        <a:cubicBezTo>
                          <a:pt x="46" y="28"/>
                          <a:pt x="46" y="28"/>
                          <a:pt x="46" y="28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lose/>
                        <a:moveTo>
                          <a:pt x="46" y="28"/>
                        </a:moveTo>
                        <a:cubicBezTo>
                          <a:pt x="46" y="28"/>
                          <a:pt x="46" y="28"/>
                          <a:pt x="46" y="28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lose/>
                        <a:moveTo>
                          <a:pt x="45" y="30"/>
                        </a:moveTo>
                        <a:cubicBezTo>
                          <a:pt x="45" y="30"/>
                          <a:pt x="45" y="30"/>
                          <a:pt x="45" y="30"/>
                        </a:cubicBezTo>
                        <a:cubicBezTo>
                          <a:pt x="45" y="30"/>
                          <a:pt x="45" y="30"/>
                          <a:pt x="45" y="30"/>
                        </a:cubicBezTo>
                        <a:cubicBezTo>
                          <a:pt x="45" y="30"/>
                          <a:pt x="45" y="30"/>
                          <a:pt x="45" y="30"/>
                        </a:cubicBezTo>
                        <a:close/>
                        <a:moveTo>
                          <a:pt x="46" y="28"/>
                        </a:moveTo>
                        <a:cubicBezTo>
                          <a:pt x="46" y="28"/>
                          <a:pt x="46" y="28"/>
                          <a:pt x="46" y="28"/>
                        </a:cubicBezTo>
                        <a:cubicBezTo>
                          <a:pt x="46" y="27"/>
                          <a:pt x="46" y="27"/>
                          <a:pt x="46" y="28"/>
                        </a:cubicBezTo>
                        <a:close/>
                        <a:moveTo>
                          <a:pt x="46" y="28"/>
                        </a:moveTo>
                        <a:cubicBezTo>
                          <a:pt x="46" y="28"/>
                          <a:pt x="46" y="27"/>
                          <a:pt x="46" y="27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lose/>
                        <a:moveTo>
                          <a:pt x="46" y="28"/>
                        </a:moveTo>
                        <a:cubicBezTo>
                          <a:pt x="46" y="28"/>
                          <a:pt x="45" y="28"/>
                          <a:pt x="45" y="28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lose/>
                        <a:moveTo>
                          <a:pt x="48" y="24"/>
                        </a:moveTo>
                        <a:cubicBezTo>
                          <a:pt x="47" y="24"/>
                          <a:pt x="48" y="24"/>
                          <a:pt x="47" y="25"/>
                        </a:cubicBezTo>
                        <a:cubicBezTo>
                          <a:pt x="48" y="25"/>
                          <a:pt x="48" y="24"/>
                          <a:pt x="48" y="24"/>
                        </a:cubicBezTo>
                        <a:close/>
                        <a:moveTo>
                          <a:pt x="52" y="17"/>
                        </a:moveTo>
                        <a:cubicBezTo>
                          <a:pt x="52" y="17"/>
                          <a:pt x="51" y="17"/>
                          <a:pt x="52" y="17"/>
                        </a:cubicBezTo>
                        <a:cubicBezTo>
                          <a:pt x="52" y="17"/>
                          <a:pt x="52" y="17"/>
                          <a:pt x="52" y="17"/>
                        </a:cubicBezTo>
                        <a:close/>
                        <a:moveTo>
                          <a:pt x="49" y="24"/>
                        </a:move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lose/>
                        <a:moveTo>
                          <a:pt x="49" y="24"/>
                        </a:move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3"/>
                          <a:pt x="49" y="23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lose/>
                        <a:moveTo>
                          <a:pt x="49" y="24"/>
                        </a:moveTo>
                        <a:cubicBezTo>
                          <a:pt x="48" y="24"/>
                          <a:pt x="48" y="24"/>
                          <a:pt x="48" y="25"/>
                        </a:cubicBezTo>
                        <a:cubicBezTo>
                          <a:pt x="49" y="25"/>
                          <a:pt x="49" y="24"/>
                          <a:pt x="49" y="24"/>
                        </a:cubicBezTo>
                        <a:cubicBezTo>
                          <a:pt x="49" y="24"/>
                          <a:pt x="48" y="24"/>
                          <a:pt x="48" y="24"/>
                        </a:cubicBezTo>
                        <a:cubicBezTo>
                          <a:pt x="48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lose/>
                        <a:moveTo>
                          <a:pt x="48" y="25"/>
                        </a:move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lose/>
                        <a:moveTo>
                          <a:pt x="49" y="22"/>
                        </a:moveTo>
                        <a:cubicBezTo>
                          <a:pt x="49" y="22"/>
                          <a:pt x="49" y="23"/>
                          <a:pt x="49" y="23"/>
                        </a:cubicBezTo>
                        <a:cubicBezTo>
                          <a:pt x="49" y="22"/>
                          <a:pt x="49" y="22"/>
                          <a:pt x="49" y="22"/>
                        </a:cubicBezTo>
                        <a:cubicBezTo>
                          <a:pt x="49" y="22"/>
                          <a:pt x="49" y="22"/>
                          <a:pt x="49" y="22"/>
                        </a:cubicBezTo>
                        <a:close/>
                        <a:moveTo>
                          <a:pt x="48" y="25"/>
                        </a:move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6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6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6"/>
                          <a:pt x="48" y="25"/>
                          <a:pt x="48" y="25"/>
                        </a:cubicBezTo>
                        <a:close/>
                        <a:moveTo>
                          <a:pt x="49" y="25"/>
                        </a:moveTo>
                        <a:cubicBezTo>
                          <a:pt x="49" y="25"/>
                          <a:pt x="48" y="25"/>
                          <a:pt x="49" y="25"/>
                        </a:cubicBezTo>
                        <a:cubicBezTo>
                          <a:pt x="48" y="25"/>
                          <a:pt x="49" y="25"/>
                          <a:pt x="49" y="25"/>
                        </a:cubicBezTo>
                        <a:close/>
                        <a:moveTo>
                          <a:pt x="49" y="25"/>
                        </a:moveTo>
                        <a:cubicBezTo>
                          <a:pt x="49" y="25"/>
                          <a:pt x="49" y="25"/>
                          <a:pt x="49" y="25"/>
                        </a:cubicBezTo>
                        <a:cubicBezTo>
                          <a:pt x="49" y="25"/>
                          <a:pt x="49" y="24"/>
                          <a:pt x="49" y="24"/>
                        </a:cubicBezTo>
                        <a:cubicBezTo>
                          <a:pt x="49" y="25"/>
                          <a:pt x="49" y="25"/>
                          <a:pt x="49" y="25"/>
                        </a:cubicBezTo>
                        <a:close/>
                        <a:moveTo>
                          <a:pt x="49" y="25"/>
                        </a:moveTo>
                        <a:cubicBezTo>
                          <a:pt x="49" y="25"/>
                          <a:pt x="49" y="25"/>
                          <a:pt x="49" y="25"/>
                        </a:cubicBezTo>
                        <a:cubicBezTo>
                          <a:pt x="49" y="25"/>
                          <a:pt x="49" y="25"/>
                          <a:pt x="49" y="25"/>
                        </a:cubicBezTo>
                        <a:cubicBezTo>
                          <a:pt x="49" y="25"/>
                          <a:pt x="49" y="25"/>
                          <a:pt x="49" y="25"/>
                        </a:cubicBezTo>
                        <a:cubicBezTo>
                          <a:pt x="49" y="25"/>
                          <a:pt x="49" y="25"/>
                          <a:pt x="49" y="25"/>
                        </a:cubicBezTo>
                        <a:close/>
                        <a:moveTo>
                          <a:pt x="50" y="25"/>
                        </a:moveTo>
                        <a:cubicBezTo>
                          <a:pt x="50" y="25"/>
                          <a:pt x="49" y="25"/>
                          <a:pt x="49" y="25"/>
                        </a:cubicBezTo>
                        <a:cubicBezTo>
                          <a:pt x="50" y="25"/>
                          <a:pt x="49" y="25"/>
                          <a:pt x="50" y="25"/>
                        </a:cubicBezTo>
                        <a:cubicBezTo>
                          <a:pt x="50" y="25"/>
                          <a:pt x="50" y="25"/>
                          <a:pt x="50" y="25"/>
                        </a:cubicBezTo>
                        <a:close/>
                        <a:moveTo>
                          <a:pt x="50" y="23"/>
                        </a:moveTo>
                        <a:cubicBezTo>
                          <a:pt x="50" y="23"/>
                          <a:pt x="50" y="23"/>
                          <a:pt x="50" y="23"/>
                        </a:cubicBezTo>
                        <a:cubicBezTo>
                          <a:pt x="50" y="23"/>
                          <a:pt x="50" y="23"/>
                          <a:pt x="50" y="23"/>
                        </a:cubicBezTo>
                        <a:cubicBezTo>
                          <a:pt x="50" y="23"/>
                          <a:pt x="50" y="23"/>
                          <a:pt x="50" y="23"/>
                        </a:cubicBezTo>
                        <a:close/>
                        <a:moveTo>
                          <a:pt x="49" y="26"/>
                        </a:moveTo>
                        <a:cubicBezTo>
                          <a:pt x="49" y="26"/>
                          <a:pt x="49" y="26"/>
                          <a:pt x="49" y="26"/>
                        </a:cubicBezTo>
                        <a:cubicBezTo>
                          <a:pt x="49" y="26"/>
                          <a:pt x="49" y="26"/>
                          <a:pt x="49" y="26"/>
                        </a:cubicBezTo>
                        <a:cubicBezTo>
                          <a:pt x="49" y="26"/>
                          <a:pt x="49" y="26"/>
                          <a:pt x="49" y="26"/>
                        </a:cubicBezTo>
                        <a:cubicBezTo>
                          <a:pt x="49" y="26"/>
                          <a:pt x="49" y="26"/>
                          <a:pt x="49" y="26"/>
                        </a:cubicBezTo>
                        <a:close/>
                        <a:moveTo>
                          <a:pt x="48" y="27"/>
                        </a:move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8"/>
                        </a:cubicBezTo>
                        <a:cubicBezTo>
                          <a:pt x="48" y="28"/>
                          <a:pt x="48" y="28"/>
                          <a:pt x="48" y="27"/>
                        </a:cubicBezTo>
                        <a:close/>
                        <a:moveTo>
                          <a:pt x="48" y="28"/>
                        </a:moveTo>
                        <a:cubicBezTo>
                          <a:pt x="48" y="28"/>
                          <a:pt x="48" y="28"/>
                          <a:pt x="48" y="28"/>
                        </a:cubicBezTo>
                        <a:cubicBezTo>
                          <a:pt x="48" y="28"/>
                          <a:pt x="48" y="28"/>
                          <a:pt x="48" y="28"/>
                        </a:cubicBezTo>
                        <a:cubicBezTo>
                          <a:pt x="48" y="28"/>
                          <a:pt x="48" y="28"/>
                          <a:pt x="48" y="28"/>
                        </a:cubicBezTo>
                        <a:close/>
                        <a:moveTo>
                          <a:pt x="49" y="27"/>
                        </a:moveTo>
                        <a:cubicBezTo>
                          <a:pt x="49" y="27"/>
                          <a:pt x="49" y="27"/>
                          <a:pt x="49" y="27"/>
                        </a:cubicBezTo>
                        <a:cubicBezTo>
                          <a:pt x="49" y="27"/>
                          <a:pt x="49" y="27"/>
                          <a:pt x="49" y="27"/>
                        </a:cubicBezTo>
                        <a:close/>
                        <a:moveTo>
                          <a:pt x="44" y="39"/>
                        </a:moveTo>
                        <a:cubicBezTo>
                          <a:pt x="44" y="39"/>
                          <a:pt x="44" y="38"/>
                          <a:pt x="44" y="38"/>
                        </a:cubicBezTo>
                        <a:cubicBezTo>
                          <a:pt x="44" y="38"/>
                          <a:pt x="44" y="38"/>
                          <a:pt x="44" y="39"/>
                        </a:cubicBezTo>
                        <a:cubicBezTo>
                          <a:pt x="44" y="39"/>
                          <a:pt x="44" y="39"/>
                          <a:pt x="44" y="39"/>
                        </a:cubicBezTo>
                        <a:close/>
                        <a:moveTo>
                          <a:pt x="46" y="37"/>
                        </a:moveTo>
                        <a:cubicBezTo>
                          <a:pt x="46" y="36"/>
                          <a:pt x="46" y="36"/>
                          <a:pt x="46" y="36"/>
                        </a:cubicBezTo>
                        <a:cubicBezTo>
                          <a:pt x="46" y="36"/>
                          <a:pt x="45" y="36"/>
                          <a:pt x="46" y="37"/>
                        </a:cubicBezTo>
                        <a:close/>
                        <a:moveTo>
                          <a:pt x="45" y="35"/>
                        </a:moveTo>
                        <a:cubicBezTo>
                          <a:pt x="45" y="35"/>
                          <a:pt x="45" y="34"/>
                          <a:pt x="45" y="34"/>
                        </a:cubicBezTo>
                        <a:cubicBezTo>
                          <a:pt x="45" y="34"/>
                          <a:pt x="45" y="34"/>
                          <a:pt x="45" y="35"/>
                        </a:cubicBezTo>
                        <a:cubicBezTo>
                          <a:pt x="45" y="35"/>
                          <a:pt x="45" y="35"/>
                          <a:pt x="45" y="35"/>
                        </a:cubicBezTo>
                        <a:close/>
                        <a:moveTo>
                          <a:pt x="49" y="27"/>
                        </a:moveTo>
                        <a:cubicBezTo>
                          <a:pt x="49" y="27"/>
                          <a:pt x="49" y="27"/>
                          <a:pt x="49" y="27"/>
                        </a:cubicBezTo>
                        <a:cubicBezTo>
                          <a:pt x="49" y="27"/>
                          <a:pt x="49" y="28"/>
                          <a:pt x="49" y="28"/>
                        </a:cubicBezTo>
                        <a:cubicBezTo>
                          <a:pt x="49" y="28"/>
                          <a:pt x="49" y="28"/>
                          <a:pt x="49" y="28"/>
                        </a:cubicBezTo>
                        <a:cubicBezTo>
                          <a:pt x="49" y="28"/>
                          <a:pt x="49" y="28"/>
                          <a:pt x="49" y="27"/>
                        </a:cubicBezTo>
                        <a:close/>
                        <a:moveTo>
                          <a:pt x="47" y="30"/>
                        </a:moveTo>
                        <a:cubicBezTo>
                          <a:pt x="47" y="30"/>
                          <a:pt x="47" y="31"/>
                          <a:pt x="47" y="31"/>
                        </a:cubicBezTo>
                        <a:cubicBezTo>
                          <a:pt x="47" y="31"/>
                          <a:pt x="48" y="30"/>
                          <a:pt x="47" y="30"/>
                        </a:cubicBezTo>
                        <a:close/>
                        <a:moveTo>
                          <a:pt x="47" y="32"/>
                        </a:moveTo>
                        <a:cubicBezTo>
                          <a:pt x="47" y="32"/>
                          <a:pt x="47" y="32"/>
                          <a:pt x="47" y="32"/>
                        </a:cubicBezTo>
                        <a:cubicBezTo>
                          <a:pt x="47" y="32"/>
                          <a:pt x="47" y="32"/>
                          <a:pt x="47" y="32"/>
                        </a:cubicBezTo>
                        <a:close/>
                        <a:moveTo>
                          <a:pt x="47" y="32"/>
                        </a:moveTo>
                        <a:cubicBezTo>
                          <a:pt x="47" y="32"/>
                          <a:pt x="47" y="32"/>
                          <a:pt x="47" y="32"/>
                        </a:cubicBezTo>
                        <a:cubicBezTo>
                          <a:pt x="47" y="32"/>
                          <a:pt x="47" y="32"/>
                          <a:pt x="47" y="32"/>
                        </a:cubicBezTo>
                        <a:cubicBezTo>
                          <a:pt x="47" y="32"/>
                          <a:pt x="47" y="32"/>
                          <a:pt x="47" y="33"/>
                        </a:cubicBezTo>
                        <a:cubicBezTo>
                          <a:pt x="47" y="32"/>
                          <a:pt x="47" y="32"/>
                          <a:pt x="47" y="32"/>
                        </a:cubicBezTo>
                        <a:close/>
                        <a:moveTo>
                          <a:pt x="47" y="32"/>
                        </a:moveTo>
                        <a:cubicBezTo>
                          <a:pt x="47" y="32"/>
                          <a:pt x="47" y="32"/>
                          <a:pt x="47" y="32"/>
                        </a:cubicBezTo>
                        <a:cubicBezTo>
                          <a:pt x="48" y="32"/>
                          <a:pt x="47" y="31"/>
                          <a:pt x="48" y="31"/>
                        </a:cubicBezTo>
                        <a:cubicBezTo>
                          <a:pt x="47" y="31"/>
                          <a:pt x="47" y="31"/>
                          <a:pt x="47" y="31"/>
                        </a:cubicBezTo>
                        <a:cubicBezTo>
                          <a:pt x="47" y="31"/>
                          <a:pt x="47" y="31"/>
                          <a:pt x="47" y="31"/>
                        </a:cubicBezTo>
                        <a:cubicBezTo>
                          <a:pt x="47" y="31"/>
                          <a:pt x="47" y="31"/>
                          <a:pt x="47" y="31"/>
                        </a:cubicBezTo>
                        <a:cubicBezTo>
                          <a:pt x="47" y="31"/>
                          <a:pt x="48" y="31"/>
                          <a:pt x="48" y="31"/>
                        </a:cubicBezTo>
                        <a:cubicBezTo>
                          <a:pt x="48" y="31"/>
                          <a:pt x="48" y="31"/>
                          <a:pt x="48" y="31"/>
                        </a:cubicBezTo>
                        <a:cubicBezTo>
                          <a:pt x="48" y="31"/>
                          <a:pt x="48" y="31"/>
                          <a:pt x="47" y="31"/>
                        </a:cubicBezTo>
                        <a:cubicBezTo>
                          <a:pt x="47" y="31"/>
                          <a:pt x="47" y="31"/>
                          <a:pt x="47" y="31"/>
                        </a:cubicBezTo>
                        <a:cubicBezTo>
                          <a:pt x="47" y="31"/>
                          <a:pt x="47" y="31"/>
                          <a:pt x="47" y="31"/>
                        </a:cubicBezTo>
                        <a:cubicBezTo>
                          <a:pt x="47" y="31"/>
                          <a:pt x="47" y="31"/>
                          <a:pt x="47" y="32"/>
                        </a:cubicBezTo>
                        <a:cubicBezTo>
                          <a:pt x="47" y="32"/>
                          <a:pt x="47" y="32"/>
                          <a:pt x="47" y="32"/>
                        </a:cubicBezTo>
                        <a:close/>
                        <a:moveTo>
                          <a:pt x="49" y="30"/>
                        </a:moveTo>
                        <a:cubicBezTo>
                          <a:pt x="49" y="30"/>
                          <a:pt x="49" y="30"/>
                          <a:pt x="49" y="30"/>
                        </a:cubicBezTo>
                        <a:cubicBezTo>
                          <a:pt x="49" y="30"/>
                          <a:pt x="49" y="30"/>
                          <a:pt x="49" y="30"/>
                        </a:cubicBezTo>
                        <a:close/>
                        <a:moveTo>
                          <a:pt x="50" y="29"/>
                        </a:moveTo>
                        <a:cubicBezTo>
                          <a:pt x="50" y="29"/>
                          <a:pt x="50" y="29"/>
                          <a:pt x="50" y="29"/>
                        </a:cubicBezTo>
                        <a:cubicBezTo>
                          <a:pt x="50" y="29"/>
                          <a:pt x="49" y="29"/>
                          <a:pt x="50" y="29"/>
                        </a:cubicBezTo>
                        <a:close/>
                        <a:moveTo>
                          <a:pt x="49" y="30"/>
                        </a:moveTo>
                        <a:cubicBezTo>
                          <a:pt x="49" y="30"/>
                          <a:pt x="49" y="30"/>
                          <a:pt x="49" y="30"/>
                        </a:cubicBezTo>
                        <a:cubicBezTo>
                          <a:pt x="49" y="30"/>
                          <a:pt x="49" y="30"/>
                          <a:pt x="49" y="30"/>
                        </a:cubicBezTo>
                        <a:cubicBezTo>
                          <a:pt x="49" y="30"/>
                          <a:pt x="49" y="30"/>
                          <a:pt x="49" y="30"/>
                        </a:cubicBezTo>
                        <a:cubicBezTo>
                          <a:pt x="49" y="31"/>
                          <a:pt x="49" y="30"/>
                          <a:pt x="49" y="31"/>
                        </a:cubicBezTo>
                        <a:cubicBezTo>
                          <a:pt x="49" y="31"/>
                          <a:pt x="49" y="30"/>
                          <a:pt x="49" y="30"/>
                        </a:cubicBezTo>
                        <a:close/>
                        <a:moveTo>
                          <a:pt x="53" y="25"/>
                        </a:moveTo>
                        <a:cubicBezTo>
                          <a:pt x="53" y="25"/>
                          <a:pt x="53" y="25"/>
                          <a:pt x="53" y="25"/>
                        </a:cubicBezTo>
                        <a:cubicBezTo>
                          <a:pt x="53" y="25"/>
                          <a:pt x="53" y="25"/>
                          <a:pt x="53" y="25"/>
                        </a:cubicBezTo>
                        <a:close/>
                        <a:moveTo>
                          <a:pt x="52" y="27"/>
                        </a:move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lose/>
                        <a:moveTo>
                          <a:pt x="52" y="27"/>
                        </a:move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8"/>
                          <a:pt x="52" y="28"/>
                          <a:pt x="52" y="28"/>
                        </a:cubicBezTo>
                        <a:cubicBezTo>
                          <a:pt x="52" y="28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lose/>
                        <a:moveTo>
                          <a:pt x="53" y="26"/>
                        </a:move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26"/>
                          <a:pt x="53" y="26"/>
                          <a:pt x="53" y="25"/>
                        </a:cubicBezTo>
                        <a:cubicBezTo>
                          <a:pt x="53" y="25"/>
                          <a:pt x="53" y="26"/>
                          <a:pt x="53" y="25"/>
                        </a:cubicBezTo>
                        <a:lnTo>
                          <a:pt x="53" y="26"/>
                        </a:lnTo>
                        <a:close/>
                        <a:moveTo>
                          <a:pt x="52" y="26"/>
                        </a:move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26"/>
                          <a:pt x="52" y="26"/>
                          <a:pt x="52" y="26"/>
                        </a:cubicBezTo>
                        <a:close/>
                        <a:moveTo>
                          <a:pt x="52" y="26"/>
                        </a:moveTo>
                        <a:cubicBezTo>
                          <a:pt x="52" y="26"/>
                          <a:pt x="52" y="27"/>
                          <a:pt x="52" y="27"/>
                        </a:cubicBezTo>
                        <a:cubicBezTo>
                          <a:pt x="52" y="26"/>
                          <a:pt x="52" y="26"/>
                          <a:pt x="52" y="26"/>
                        </a:cubicBezTo>
                        <a:cubicBezTo>
                          <a:pt x="52" y="26"/>
                          <a:pt x="52" y="26"/>
                          <a:pt x="52" y="26"/>
                        </a:cubicBezTo>
                        <a:cubicBezTo>
                          <a:pt x="52" y="26"/>
                          <a:pt x="52" y="26"/>
                          <a:pt x="52" y="26"/>
                        </a:cubicBezTo>
                        <a:close/>
                        <a:moveTo>
                          <a:pt x="52" y="27"/>
                        </a:move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lose/>
                        <a:moveTo>
                          <a:pt x="51" y="29"/>
                        </a:moveTo>
                        <a:cubicBezTo>
                          <a:pt x="51" y="29"/>
                          <a:pt x="51" y="29"/>
                          <a:pt x="51" y="29"/>
                        </a:cubicBezTo>
                        <a:cubicBezTo>
                          <a:pt x="51" y="29"/>
                          <a:pt x="50" y="29"/>
                          <a:pt x="51" y="29"/>
                        </a:cubicBezTo>
                        <a:close/>
                        <a:moveTo>
                          <a:pt x="50" y="31"/>
                        </a:moveTo>
                        <a:cubicBezTo>
                          <a:pt x="50" y="31"/>
                          <a:pt x="50" y="30"/>
                          <a:pt x="50" y="30"/>
                        </a:cubicBezTo>
                        <a:cubicBezTo>
                          <a:pt x="50" y="30"/>
                          <a:pt x="50" y="30"/>
                          <a:pt x="50" y="31"/>
                        </a:cubicBezTo>
                        <a:close/>
                        <a:moveTo>
                          <a:pt x="50" y="30"/>
                        </a:moveTo>
                        <a:cubicBezTo>
                          <a:pt x="50" y="30"/>
                          <a:pt x="50" y="30"/>
                          <a:pt x="50" y="30"/>
                        </a:cubicBezTo>
                        <a:cubicBezTo>
                          <a:pt x="50" y="30"/>
                          <a:pt x="50" y="30"/>
                          <a:pt x="50" y="30"/>
                        </a:cubicBezTo>
                        <a:cubicBezTo>
                          <a:pt x="50" y="30"/>
                          <a:pt x="49" y="30"/>
                          <a:pt x="50" y="31"/>
                        </a:cubicBezTo>
                        <a:cubicBezTo>
                          <a:pt x="50" y="31"/>
                          <a:pt x="50" y="31"/>
                          <a:pt x="50" y="30"/>
                        </a:cubicBezTo>
                        <a:close/>
                        <a:moveTo>
                          <a:pt x="50" y="31"/>
                        </a:moveTo>
                        <a:cubicBezTo>
                          <a:pt x="50" y="31"/>
                          <a:pt x="50" y="31"/>
                          <a:pt x="49" y="31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lose/>
                        <a:moveTo>
                          <a:pt x="52" y="27"/>
                        </a:move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lose/>
                        <a:moveTo>
                          <a:pt x="52" y="28"/>
                        </a:moveTo>
                        <a:cubicBezTo>
                          <a:pt x="52" y="28"/>
                          <a:pt x="52" y="27"/>
                          <a:pt x="52" y="27"/>
                        </a:cubicBezTo>
                        <a:cubicBezTo>
                          <a:pt x="52" y="28"/>
                          <a:pt x="52" y="28"/>
                          <a:pt x="52" y="28"/>
                        </a:cubicBezTo>
                        <a:close/>
                        <a:moveTo>
                          <a:pt x="51" y="29"/>
                        </a:moveTo>
                        <a:cubicBezTo>
                          <a:pt x="51" y="29"/>
                          <a:pt x="51" y="29"/>
                          <a:pt x="51" y="29"/>
                        </a:cubicBezTo>
                        <a:cubicBezTo>
                          <a:pt x="51" y="29"/>
                          <a:pt x="51" y="29"/>
                          <a:pt x="51" y="30"/>
                        </a:cubicBezTo>
                        <a:cubicBezTo>
                          <a:pt x="51" y="29"/>
                          <a:pt x="51" y="29"/>
                          <a:pt x="51" y="29"/>
                        </a:cubicBezTo>
                        <a:close/>
                        <a:moveTo>
                          <a:pt x="52" y="29"/>
                        </a:moveTo>
                        <a:cubicBezTo>
                          <a:pt x="51" y="29"/>
                          <a:pt x="51" y="29"/>
                          <a:pt x="51" y="28"/>
                        </a:cubicBezTo>
                        <a:cubicBezTo>
                          <a:pt x="51" y="28"/>
                          <a:pt x="51" y="28"/>
                          <a:pt x="51" y="28"/>
                        </a:cubicBezTo>
                        <a:cubicBezTo>
                          <a:pt x="51" y="28"/>
                          <a:pt x="51" y="28"/>
                          <a:pt x="51" y="29"/>
                        </a:cubicBezTo>
                        <a:cubicBezTo>
                          <a:pt x="51" y="29"/>
                          <a:pt x="51" y="28"/>
                          <a:pt x="51" y="29"/>
                        </a:cubicBezTo>
                        <a:cubicBezTo>
                          <a:pt x="51" y="29"/>
                          <a:pt x="51" y="29"/>
                          <a:pt x="51" y="29"/>
                        </a:cubicBezTo>
                        <a:cubicBezTo>
                          <a:pt x="51" y="29"/>
                          <a:pt x="51" y="29"/>
                          <a:pt x="51" y="29"/>
                        </a:cubicBezTo>
                        <a:cubicBezTo>
                          <a:pt x="51" y="29"/>
                          <a:pt x="51" y="29"/>
                          <a:pt x="52" y="29"/>
                        </a:cubicBezTo>
                        <a:close/>
                        <a:moveTo>
                          <a:pt x="54" y="24"/>
                        </a:moveTo>
                        <a:cubicBezTo>
                          <a:pt x="54" y="24"/>
                          <a:pt x="54" y="24"/>
                          <a:pt x="54" y="24"/>
                        </a:cubicBezTo>
                        <a:cubicBezTo>
                          <a:pt x="54" y="24"/>
                          <a:pt x="54" y="25"/>
                          <a:pt x="54" y="25"/>
                        </a:cubicBezTo>
                        <a:lnTo>
                          <a:pt x="54" y="24"/>
                        </a:lnTo>
                        <a:close/>
                        <a:moveTo>
                          <a:pt x="53" y="25"/>
                        </a:moveTo>
                        <a:cubicBezTo>
                          <a:pt x="54" y="25"/>
                          <a:pt x="54" y="25"/>
                          <a:pt x="54" y="25"/>
                        </a:cubicBezTo>
                        <a:cubicBezTo>
                          <a:pt x="54" y="25"/>
                          <a:pt x="54" y="25"/>
                          <a:pt x="54" y="25"/>
                        </a:cubicBezTo>
                        <a:lnTo>
                          <a:pt x="53" y="25"/>
                        </a:lnTo>
                        <a:close/>
                        <a:moveTo>
                          <a:pt x="53" y="26"/>
                        </a:move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26"/>
                          <a:pt x="53" y="26"/>
                          <a:pt x="53" y="27"/>
                        </a:cubicBezTo>
                        <a:cubicBezTo>
                          <a:pt x="53" y="27"/>
                          <a:pt x="53" y="27"/>
                          <a:pt x="53" y="27"/>
                        </a:cubicBezTo>
                        <a:cubicBezTo>
                          <a:pt x="53" y="26"/>
                          <a:pt x="53" y="26"/>
                          <a:pt x="53" y="26"/>
                        </a:cubicBezTo>
                        <a:close/>
                        <a:moveTo>
                          <a:pt x="47" y="37"/>
                        </a:moveTo>
                        <a:cubicBezTo>
                          <a:pt x="47" y="37"/>
                          <a:pt x="47" y="37"/>
                          <a:pt x="47" y="37"/>
                        </a:cubicBezTo>
                        <a:cubicBezTo>
                          <a:pt x="47" y="37"/>
                          <a:pt x="47" y="37"/>
                          <a:pt x="47" y="37"/>
                        </a:cubicBezTo>
                        <a:cubicBezTo>
                          <a:pt x="47" y="37"/>
                          <a:pt x="46" y="38"/>
                          <a:pt x="46" y="38"/>
                        </a:cubicBezTo>
                        <a:cubicBezTo>
                          <a:pt x="47" y="38"/>
                          <a:pt x="47" y="38"/>
                          <a:pt x="47" y="37"/>
                        </a:cubicBezTo>
                        <a:close/>
                        <a:moveTo>
                          <a:pt x="49" y="34"/>
                        </a:moveTo>
                        <a:cubicBezTo>
                          <a:pt x="49" y="35"/>
                          <a:pt x="49" y="35"/>
                          <a:pt x="49" y="35"/>
                        </a:cubicBezTo>
                        <a:cubicBezTo>
                          <a:pt x="49" y="35"/>
                          <a:pt x="49" y="35"/>
                          <a:pt x="49" y="34"/>
                        </a:cubicBezTo>
                        <a:close/>
                        <a:moveTo>
                          <a:pt x="49" y="35"/>
                        </a:moveTo>
                        <a:cubicBezTo>
                          <a:pt x="49" y="35"/>
                          <a:pt x="49" y="35"/>
                          <a:pt x="49" y="35"/>
                        </a:cubicBezTo>
                        <a:cubicBezTo>
                          <a:pt x="49" y="35"/>
                          <a:pt x="49" y="35"/>
                          <a:pt x="49" y="35"/>
                        </a:cubicBezTo>
                        <a:close/>
                        <a:moveTo>
                          <a:pt x="49" y="35"/>
                        </a:moveTo>
                        <a:cubicBezTo>
                          <a:pt x="49" y="35"/>
                          <a:pt x="49" y="35"/>
                          <a:pt x="49" y="35"/>
                        </a:cubicBezTo>
                        <a:cubicBezTo>
                          <a:pt x="49" y="35"/>
                          <a:pt x="49" y="35"/>
                          <a:pt x="49" y="35"/>
                        </a:cubicBezTo>
                        <a:cubicBezTo>
                          <a:pt x="49" y="35"/>
                          <a:pt x="50" y="35"/>
                          <a:pt x="50" y="35"/>
                        </a:cubicBezTo>
                        <a:cubicBezTo>
                          <a:pt x="50" y="35"/>
                          <a:pt x="50" y="35"/>
                          <a:pt x="50" y="34"/>
                        </a:cubicBezTo>
                        <a:cubicBezTo>
                          <a:pt x="50" y="34"/>
                          <a:pt x="50" y="34"/>
                          <a:pt x="50" y="34"/>
                        </a:cubicBezTo>
                        <a:cubicBezTo>
                          <a:pt x="49" y="34"/>
                          <a:pt x="49" y="35"/>
                          <a:pt x="49" y="35"/>
                        </a:cubicBezTo>
                        <a:cubicBezTo>
                          <a:pt x="49" y="35"/>
                          <a:pt x="49" y="35"/>
                          <a:pt x="49" y="35"/>
                        </a:cubicBezTo>
                        <a:close/>
                        <a:moveTo>
                          <a:pt x="49" y="34"/>
                        </a:moveTo>
                        <a:cubicBezTo>
                          <a:pt x="49" y="34"/>
                          <a:pt x="49" y="34"/>
                          <a:pt x="49" y="34"/>
                        </a:cubicBezTo>
                        <a:cubicBezTo>
                          <a:pt x="49" y="34"/>
                          <a:pt x="49" y="34"/>
                          <a:pt x="49" y="34"/>
                        </a:cubicBezTo>
                        <a:cubicBezTo>
                          <a:pt x="49" y="34"/>
                          <a:pt x="49" y="34"/>
                          <a:pt x="49" y="34"/>
                        </a:cubicBezTo>
                        <a:close/>
                        <a:moveTo>
                          <a:pt x="52" y="28"/>
                        </a:moveTo>
                        <a:cubicBezTo>
                          <a:pt x="52" y="29"/>
                          <a:pt x="52" y="28"/>
                          <a:pt x="53" y="28"/>
                        </a:cubicBezTo>
                        <a:cubicBezTo>
                          <a:pt x="53" y="28"/>
                          <a:pt x="53" y="28"/>
                          <a:pt x="53" y="28"/>
                        </a:cubicBezTo>
                        <a:cubicBezTo>
                          <a:pt x="53" y="29"/>
                          <a:pt x="53" y="29"/>
                          <a:pt x="53" y="29"/>
                        </a:cubicBezTo>
                        <a:cubicBezTo>
                          <a:pt x="53" y="29"/>
                          <a:pt x="53" y="29"/>
                          <a:pt x="53" y="28"/>
                        </a:cubicBezTo>
                        <a:cubicBezTo>
                          <a:pt x="53" y="29"/>
                          <a:pt x="53" y="28"/>
                          <a:pt x="53" y="28"/>
                        </a:cubicBezTo>
                        <a:cubicBezTo>
                          <a:pt x="52" y="28"/>
                          <a:pt x="53" y="28"/>
                          <a:pt x="52" y="28"/>
                        </a:cubicBezTo>
                        <a:close/>
                        <a:moveTo>
                          <a:pt x="52" y="29"/>
                        </a:moveTo>
                        <a:cubicBezTo>
                          <a:pt x="52" y="29"/>
                          <a:pt x="52" y="29"/>
                          <a:pt x="52" y="29"/>
                        </a:cubicBezTo>
                        <a:cubicBezTo>
                          <a:pt x="52" y="29"/>
                          <a:pt x="52" y="29"/>
                          <a:pt x="52" y="29"/>
                        </a:cubicBezTo>
                        <a:cubicBezTo>
                          <a:pt x="52" y="29"/>
                          <a:pt x="52" y="29"/>
                          <a:pt x="52" y="29"/>
                        </a:cubicBezTo>
                        <a:cubicBezTo>
                          <a:pt x="52" y="28"/>
                          <a:pt x="52" y="29"/>
                          <a:pt x="52" y="29"/>
                        </a:cubicBezTo>
                        <a:cubicBezTo>
                          <a:pt x="52" y="29"/>
                          <a:pt x="52" y="29"/>
                          <a:pt x="52" y="29"/>
                        </a:cubicBezTo>
                        <a:close/>
                        <a:moveTo>
                          <a:pt x="52" y="29"/>
                        </a:moveTo>
                        <a:cubicBezTo>
                          <a:pt x="52" y="29"/>
                          <a:pt x="52" y="29"/>
                          <a:pt x="52" y="30"/>
                        </a:cubicBezTo>
                        <a:cubicBezTo>
                          <a:pt x="52" y="30"/>
                          <a:pt x="52" y="29"/>
                          <a:pt x="52" y="29"/>
                        </a:cubicBezTo>
                        <a:cubicBezTo>
                          <a:pt x="52" y="29"/>
                          <a:pt x="52" y="29"/>
                          <a:pt x="52" y="29"/>
                        </a:cubicBezTo>
                        <a:cubicBezTo>
                          <a:pt x="52" y="29"/>
                          <a:pt x="52" y="29"/>
                          <a:pt x="52" y="29"/>
                        </a:cubicBezTo>
                        <a:cubicBezTo>
                          <a:pt x="52" y="29"/>
                          <a:pt x="52" y="29"/>
                          <a:pt x="52" y="29"/>
                        </a:cubicBezTo>
                        <a:close/>
                        <a:moveTo>
                          <a:pt x="52" y="30"/>
                        </a:moveTo>
                        <a:cubicBezTo>
                          <a:pt x="51" y="30"/>
                          <a:pt x="51" y="30"/>
                          <a:pt x="51" y="31"/>
                        </a:cubicBezTo>
                        <a:cubicBezTo>
                          <a:pt x="51" y="30"/>
                          <a:pt x="52" y="30"/>
                          <a:pt x="52" y="30"/>
                        </a:cubicBezTo>
                        <a:close/>
                        <a:moveTo>
                          <a:pt x="53" y="29"/>
                        </a:moveTo>
                        <a:cubicBezTo>
                          <a:pt x="53" y="29"/>
                          <a:pt x="53" y="29"/>
                          <a:pt x="52" y="29"/>
                        </a:cubicBezTo>
                        <a:cubicBezTo>
                          <a:pt x="52" y="29"/>
                          <a:pt x="52" y="29"/>
                          <a:pt x="52" y="29"/>
                        </a:cubicBezTo>
                        <a:cubicBezTo>
                          <a:pt x="52" y="29"/>
                          <a:pt x="52" y="30"/>
                          <a:pt x="52" y="30"/>
                        </a:cubicBezTo>
                        <a:cubicBezTo>
                          <a:pt x="52" y="30"/>
                          <a:pt x="53" y="29"/>
                          <a:pt x="53" y="29"/>
                        </a:cubicBezTo>
                        <a:close/>
                        <a:moveTo>
                          <a:pt x="52" y="30"/>
                        </a:moveTo>
                        <a:cubicBezTo>
                          <a:pt x="52" y="30"/>
                          <a:pt x="52" y="30"/>
                          <a:pt x="52" y="30"/>
                        </a:cubicBezTo>
                        <a:cubicBezTo>
                          <a:pt x="52" y="30"/>
                          <a:pt x="52" y="30"/>
                          <a:pt x="52" y="30"/>
                        </a:cubicBezTo>
                        <a:cubicBezTo>
                          <a:pt x="52" y="30"/>
                          <a:pt x="52" y="30"/>
                          <a:pt x="52" y="30"/>
                        </a:cubicBezTo>
                        <a:cubicBezTo>
                          <a:pt x="52" y="30"/>
                          <a:pt x="52" y="30"/>
                          <a:pt x="52" y="30"/>
                        </a:cubicBezTo>
                        <a:close/>
                        <a:moveTo>
                          <a:pt x="53" y="28"/>
                        </a:moveTo>
                        <a:cubicBezTo>
                          <a:pt x="53" y="28"/>
                          <a:pt x="53" y="28"/>
                          <a:pt x="53" y="28"/>
                        </a:cubicBezTo>
                        <a:cubicBezTo>
                          <a:pt x="53" y="28"/>
                          <a:pt x="53" y="28"/>
                          <a:pt x="53" y="28"/>
                        </a:cubicBezTo>
                        <a:cubicBezTo>
                          <a:pt x="53" y="28"/>
                          <a:pt x="53" y="27"/>
                          <a:pt x="53" y="27"/>
                        </a:cubicBezTo>
                        <a:cubicBezTo>
                          <a:pt x="53" y="27"/>
                          <a:pt x="53" y="27"/>
                          <a:pt x="53" y="27"/>
                        </a:cubicBezTo>
                        <a:cubicBezTo>
                          <a:pt x="53" y="27"/>
                          <a:pt x="53" y="27"/>
                          <a:pt x="53" y="27"/>
                        </a:cubicBezTo>
                        <a:cubicBezTo>
                          <a:pt x="53" y="27"/>
                          <a:pt x="53" y="27"/>
                          <a:pt x="53" y="27"/>
                        </a:cubicBezTo>
                        <a:cubicBezTo>
                          <a:pt x="53" y="27"/>
                          <a:pt x="53" y="28"/>
                          <a:pt x="53" y="28"/>
                        </a:cubicBezTo>
                        <a:cubicBezTo>
                          <a:pt x="53" y="27"/>
                          <a:pt x="53" y="27"/>
                          <a:pt x="53" y="27"/>
                        </a:cubicBezTo>
                        <a:cubicBezTo>
                          <a:pt x="53" y="27"/>
                          <a:pt x="53" y="28"/>
                          <a:pt x="53" y="28"/>
                        </a:cubicBezTo>
                        <a:cubicBezTo>
                          <a:pt x="53" y="28"/>
                          <a:pt x="53" y="27"/>
                          <a:pt x="53" y="27"/>
                        </a:cubicBezTo>
                        <a:cubicBezTo>
                          <a:pt x="53" y="28"/>
                          <a:pt x="53" y="28"/>
                          <a:pt x="53" y="28"/>
                        </a:cubicBezTo>
                        <a:cubicBezTo>
                          <a:pt x="53" y="28"/>
                          <a:pt x="53" y="28"/>
                          <a:pt x="53" y="28"/>
                        </a:cubicBezTo>
                        <a:cubicBezTo>
                          <a:pt x="53" y="28"/>
                          <a:pt x="53" y="28"/>
                          <a:pt x="53" y="28"/>
                        </a:cubicBezTo>
                        <a:close/>
                        <a:moveTo>
                          <a:pt x="52" y="30"/>
                        </a:moveTo>
                        <a:cubicBezTo>
                          <a:pt x="52" y="30"/>
                          <a:pt x="52" y="30"/>
                          <a:pt x="52" y="30"/>
                        </a:cubicBezTo>
                        <a:cubicBezTo>
                          <a:pt x="52" y="30"/>
                          <a:pt x="53" y="30"/>
                          <a:pt x="52" y="30"/>
                        </a:cubicBezTo>
                        <a:close/>
                        <a:moveTo>
                          <a:pt x="53" y="29"/>
                        </a:moveTo>
                        <a:cubicBezTo>
                          <a:pt x="53" y="29"/>
                          <a:pt x="53" y="29"/>
                          <a:pt x="53" y="29"/>
                        </a:cubicBezTo>
                        <a:cubicBezTo>
                          <a:pt x="53" y="29"/>
                          <a:pt x="53" y="29"/>
                          <a:pt x="53" y="29"/>
                        </a:cubicBezTo>
                        <a:cubicBezTo>
                          <a:pt x="53" y="29"/>
                          <a:pt x="53" y="29"/>
                          <a:pt x="53" y="29"/>
                        </a:cubicBezTo>
                        <a:close/>
                        <a:moveTo>
                          <a:pt x="55" y="26"/>
                        </a:moveTo>
                        <a:cubicBezTo>
                          <a:pt x="55" y="26"/>
                          <a:pt x="55" y="26"/>
                          <a:pt x="55" y="26"/>
                        </a:cubicBezTo>
                        <a:cubicBezTo>
                          <a:pt x="55" y="26"/>
                          <a:pt x="55" y="26"/>
                          <a:pt x="55" y="26"/>
                        </a:cubicBezTo>
                        <a:close/>
                        <a:moveTo>
                          <a:pt x="58" y="23"/>
                        </a:moveTo>
                        <a:cubicBezTo>
                          <a:pt x="58" y="23"/>
                          <a:pt x="58" y="23"/>
                          <a:pt x="58" y="23"/>
                        </a:cubicBezTo>
                        <a:cubicBezTo>
                          <a:pt x="58" y="23"/>
                          <a:pt x="58" y="23"/>
                          <a:pt x="58" y="23"/>
                        </a:cubicBezTo>
                        <a:cubicBezTo>
                          <a:pt x="58" y="23"/>
                          <a:pt x="58" y="23"/>
                          <a:pt x="58" y="23"/>
                        </a:cubicBezTo>
                        <a:close/>
                        <a:moveTo>
                          <a:pt x="59" y="21"/>
                        </a:moveTo>
                        <a:cubicBezTo>
                          <a:pt x="59" y="21"/>
                          <a:pt x="59" y="21"/>
                          <a:pt x="59" y="21"/>
                        </a:cubicBezTo>
                        <a:cubicBezTo>
                          <a:pt x="59" y="21"/>
                          <a:pt x="59" y="22"/>
                          <a:pt x="59" y="22"/>
                        </a:cubicBezTo>
                        <a:cubicBezTo>
                          <a:pt x="59" y="22"/>
                          <a:pt x="59" y="21"/>
                          <a:pt x="59" y="21"/>
                        </a:cubicBezTo>
                        <a:cubicBezTo>
                          <a:pt x="59" y="21"/>
                          <a:pt x="58" y="21"/>
                          <a:pt x="58" y="21"/>
                        </a:cubicBezTo>
                        <a:cubicBezTo>
                          <a:pt x="58" y="22"/>
                          <a:pt x="58" y="22"/>
                          <a:pt x="59" y="22"/>
                        </a:cubicBezTo>
                        <a:cubicBezTo>
                          <a:pt x="59" y="22"/>
                          <a:pt x="58" y="22"/>
                          <a:pt x="59" y="22"/>
                        </a:cubicBezTo>
                        <a:cubicBezTo>
                          <a:pt x="59" y="22"/>
                          <a:pt x="59" y="21"/>
                          <a:pt x="59" y="22"/>
                        </a:cubicBezTo>
                        <a:cubicBezTo>
                          <a:pt x="59" y="22"/>
                          <a:pt x="59" y="22"/>
                          <a:pt x="59" y="21"/>
                        </a:cubicBezTo>
                        <a:close/>
                        <a:moveTo>
                          <a:pt x="45" y="26"/>
                        </a:moveTo>
                        <a:cubicBezTo>
                          <a:pt x="45" y="26"/>
                          <a:pt x="45" y="26"/>
                          <a:pt x="45" y="26"/>
                        </a:cubicBezTo>
                        <a:cubicBezTo>
                          <a:pt x="45" y="26"/>
                          <a:pt x="45" y="26"/>
                          <a:pt x="45" y="26"/>
                        </a:cubicBezTo>
                        <a:cubicBezTo>
                          <a:pt x="44" y="26"/>
                          <a:pt x="44" y="26"/>
                          <a:pt x="44" y="26"/>
                        </a:cubicBezTo>
                        <a:cubicBezTo>
                          <a:pt x="44" y="26"/>
                          <a:pt x="45" y="26"/>
                          <a:pt x="45" y="26"/>
                        </a:cubicBezTo>
                        <a:close/>
                        <a:moveTo>
                          <a:pt x="50" y="31"/>
                        </a:move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0" y="31"/>
                          <a:pt x="51" y="30"/>
                          <a:pt x="51" y="31"/>
                        </a:cubicBezTo>
                        <a:cubicBezTo>
                          <a:pt x="51" y="31"/>
                          <a:pt x="50" y="31"/>
                          <a:pt x="50" y="31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lose/>
                        <a:moveTo>
                          <a:pt x="64" y="4"/>
                        </a:moveTo>
                        <a:cubicBezTo>
                          <a:pt x="64" y="3"/>
                          <a:pt x="64" y="3"/>
                          <a:pt x="64" y="3"/>
                        </a:cubicBezTo>
                        <a:cubicBezTo>
                          <a:pt x="64" y="3"/>
                          <a:pt x="64" y="3"/>
                          <a:pt x="64" y="3"/>
                        </a:cubicBezTo>
                        <a:cubicBezTo>
                          <a:pt x="64" y="3"/>
                          <a:pt x="64" y="3"/>
                          <a:pt x="64" y="3"/>
                        </a:cubicBezTo>
                        <a:cubicBezTo>
                          <a:pt x="64" y="3"/>
                          <a:pt x="64" y="4"/>
                          <a:pt x="64" y="3"/>
                        </a:cubicBezTo>
                        <a:cubicBezTo>
                          <a:pt x="65" y="3"/>
                          <a:pt x="64" y="4"/>
                          <a:pt x="64" y="4"/>
                        </a:cubicBezTo>
                        <a:close/>
                        <a:moveTo>
                          <a:pt x="43" y="23"/>
                        </a:moveTo>
                        <a:cubicBezTo>
                          <a:pt x="42" y="23"/>
                          <a:pt x="42" y="23"/>
                          <a:pt x="42" y="23"/>
                        </a:cubicBezTo>
                        <a:cubicBezTo>
                          <a:pt x="42" y="23"/>
                          <a:pt x="42" y="23"/>
                          <a:pt x="42" y="23"/>
                        </a:cubicBezTo>
                        <a:cubicBezTo>
                          <a:pt x="42" y="23"/>
                          <a:pt x="42" y="23"/>
                          <a:pt x="42" y="23"/>
                        </a:cubicBezTo>
                        <a:cubicBezTo>
                          <a:pt x="43" y="23"/>
                          <a:pt x="42" y="23"/>
                          <a:pt x="43" y="23"/>
                        </a:cubicBezTo>
                        <a:close/>
                        <a:moveTo>
                          <a:pt x="44" y="26"/>
                        </a:moveTo>
                        <a:cubicBezTo>
                          <a:pt x="44" y="27"/>
                          <a:pt x="44" y="27"/>
                          <a:pt x="44" y="27"/>
                        </a:cubicBezTo>
                        <a:cubicBezTo>
                          <a:pt x="44" y="27"/>
                          <a:pt x="44" y="26"/>
                          <a:pt x="44" y="26"/>
                        </a:cubicBezTo>
                        <a:cubicBezTo>
                          <a:pt x="44" y="26"/>
                          <a:pt x="44" y="26"/>
                          <a:pt x="44" y="26"/>
                        </a:cubicBezTo>
                        <a:cubicBezTo>
                          <a:pt x="44" y="26"/>
                          <a:pt x="44" y="26"/>
                          <a:pt x="44" y="26"/>
                        </a:cubicBezTo>
                        <a:cubicBezTo>
                          <a:pt x="44" y="26"/>
                          <a:pt x="44" y="26"/>
                          <a:pt x="44" y="26"/>
                        </a:cubicBezTo>
                        <a:close/>
                        <a:moveTo>
                          <a:pt x="45" y="27"/>
                        </a:moveTo>
                        <a:cubicBezTo>
                          <a:pt x="45" y="27"/>
                          <a:pt x="45" y="27"/>
                          <a:pt x="45" y="28"/>
                        </a:cubicBezTo>
                        <a:cubicBezTo>
                          <a:pt x="45" y="28"/>
                          <a:pt x="45" y="27"/>
                          <a:pt x="45" y="27"/>
                        </a:cubicBezTo>
                        <a:cubicBezTo>
                          <a:pt x="45" y="27"/>
                          <a:pt x="45" y="27"/>
                          <a:pt x="45" y="27"/>
                        </a:cubicBezTo>
                        <a:cubicBezTo>
                          <a:pt x="45" y="27"/>
                          <a:pt x="45" y="27"/>
                          <a:pt x="45" y="27"/>
                        </a:cubicBezTo>
                        <a:close/>
                        <a:moveTo>
                          <a:pt x="44" y="28"/>
                        </a:moveTo>
                        <a:cubicBezTo>
                          <a:pt x="44" y="28"/>
                          <a:pt x="44" y="28"/>
                          <a:pt x="44" y="28"/>
                        </a:cubicBezTo>
                        <a:cubicBezTo>
                          <a:pt x="44" y="28"/>
                          <a:pt x="44" y="29"/>
                          <a:pt x="43" y="29"/>
                        </a:cubicBezTo>
                        <a:cubicBezTo>
                          <a:pt x="43" y="29"/>
                          <a:pt x="44" y="28"/>
                          <a:pt x="44" y="28"/>
                        </a:cubicBezTo>
                        <a:cubicBezTo>
                          <a:pt x="44" y="28"/>
                          <a:pt x="44" y="28"/>
                          <a:pt x="44" y="28"/>
                        </a:cubicBezTo>
                        <a:cubicBezTo>
                          <a:pt x="44" y="28"/>
                          <a:pt x="44" y="28"/>
                          <a:pt x="44" y="28"/>
                        </a:cubicBezTo>
                        <a:cubicBezTo>
                          <a:pt x="44" y="28"/>
                          <a:pt x="44" y="28"/>
                          <a:pt x="44" y="28"/>
                        </a:cubicBezTo>
                        <a:cubicBezTo>
                          <a:pt x="44" y="28"/>
                          <a:pt x="44" y="28"/>
                          <a:pt x="44" y="28"/>
                        </a:cubicBezTo>
                        <a:cubicBezTo>
                          <a:pt x="44" y="28"/>
                          <a:pt x="44" y="28"/>
                          <a:pt x="44" y="28"/>
                        </a:cubicBezTo>
                        <a:close/>
                        <a:moveTo>
                          <a:pt x="45" y="28"/>
                        </a:moveTo>
                        <a:cubicBezTo>
                          <a:pt x="45" y="28"/>
                          <a:pt x="45" y="28"/>
                          <a:pt x="45" y="28"/>
                        </a:cubicBezTo>
                        <a:cubicBezTo>
                          <a:pt x="45" y="28"/>
                          <a:pt x="45" y="28"/>
                          <a:pt x="44" y="28"/>
                        </a:cubicBezTo>
                        <a:cubicBezTo>
                          <a:pt x="44" y="28"/>
                          <a:pt x="45" y="28"/>
                          <a:pt x="45" y="28"/>
                        </a:cubicBezTo>
                        <a:close/>
                        <a:moveTo>
                          <a:pt x="44" y="28"/>
                        </a:moveTo>
                        <a:cubicBezTo>
                          <a:pt x="45" y="28"/>
                          <a:pt x="44" y="29"/>
                          <a:pt x="45" y="29"/>
                        </a:cubicBezTo>
                        <a:cubicBezTo>
                          <a:pt x="45" y="29"/>
                          <a:pt x="45" y="29"/>
                          <a:pt x="44" y="29"/>
                        </a:cubicBezTo>
                        <a:cubicBezTo>
                          <a:pt x="44" y="29"/>
                          <a:pt x="44" y="29"/>
                          <a:pt x="44" y="29"/>
                        </a:cubicBezTo>
                        <a:cubicBezTo>
                          <a:pt x="44" y="29"/>
                          <a:pt x="44" y="29"/>
                          <a:pt x="44" y="29"/>
                        </a:cubicBezTo>
                        <a:cubicBezTo>
                          <a:pt x="44" y="29"/>
                          <a:pt x="44" y="28"/>
                          <a:pt x="44" y="28"/>
                        </a:cubicBezTo>
                        <a:close/>
                        <a:moveTo>
                          <a:pt x="43" y="28"/>
                        </a:moveTo>
                        <a:cubicBezTo>
                          <a:pt x="43" y="28"/>
                          <a:pt x="43" y="28"/>
                          <a:pt x="43" y="28"/>
                        </a:cubicBezTo>
                        <a:cubicBezTo>
                          <a:pt x="43" y="28"/>
                          <a:pt x="43" y="28"/>
                          <a:pt x="43" y="28"/>
                        </a:cubicBezTo>
                        <a:cubicBezTo>
                          <a:pt x="43" y="28"/>
                          <a:pt x="43" y="28"/>
                          <a:pt x="43" y="28"/>
                        </a:cubicBezTo>
                        <a:close/>
                        <a:moveTo>
                          <a:pt x="43" y="29"/>
                        </a:moveTo>
                        <a:cubicBezTo>
                          <a:pt x="43" y="29"/>
                          <a:pt x="43" y="29"/>
                          <a:pt x="43" y="29"/>
                        </a:cubicBezTo>
                        <a:cubicBezTo>
                          <a:pt x="43" y="29"/>
                          <a:pt x="43" y="29"/>
                          <a:pt x="43" y="30"/>
                        </a:cubicBezTo>
                        <a:cubicBezTo>
                          <a:pt x="42" y="30"/>
                          <a:pt x="43" y="29"/>
                          <a:pt x="43" y="29"/>
                        </a:cubicBezTo>
                        <a:cubicBezTo>
                          <a:pt x="43" y="29"/>
                          <a:pt x="43" y="29"/>
                          <a:pt x="43" y="29"/>
                        </a:cubicBezTo>
                        <a:close/>
                        <a:moveTo>
                          <a:pt x="44" y="29"/>
                        </a:moveTo>
                        <a:cubicBezTo>
                          <a:pt x="44" y="29"/>
                          <a:pt x="44" y="29"/>
                          <a:pt x="44" y="29"/>
                        </a:cubicBezTo>
                        <a:cubicBezTo>
                          <a:pt x="44" y="29"/>
                          <a:pt x="44" y="29"/>
                          <a:pt x="44" y="29"/>
                        </a:cubicBezTo>
                        <a:cubicBezTo>
                          <a:pt x="44" y="29"/>
                          <a:pt x="43" y="29"/>
                          <a:pt x="44" y="29"/>
                        </a:cubicBezTo>
                        <a:cubicBezTo>
                          <a:pt x="44" y="29"/>
                          <a:pt x="44" y="29"/>
                          <a:pt x="44" y="29"/>
                        </a:cubicBezTo>
                        <a:cubicBezTo>
                          <a:pt x="44" y="29"/>
                          <a:pt x="44" y="29"/>
                          <a:pt x="44" y="29"/>
                        </a:cubicBezTo>
                        <a:close/>
                        <a:moveTo>
                          <a:pt x="45" y="31"/>
                        </a:moveTo>
                        <a:cubicBezTo>
                          <a:pt x="45" y="31"/>
                          <a:pt x="46" y="31"/>
                          <a:pt x="46" y="31"/>
                        </a:cubicBezTo>
                        <a:cubicBezTo>
                          <a:pt x="46" y="31"/>
                          <a:pt x="46" y="30"/>
                          <a:pt x="46" y="30"/>
                        </a:cubicBezTo>
                        <a:cubicBezTo>
                          <a:pt x="46" y="30"/>
                          <a:pt x="46" y="31"/>
                          <a:pt x="46" y="31"/>
                        </a:cubicBezTo>
                        <a:cubicBezTo>
                          <a:pt x="46" y="31"/>
                          <a:pt x="46" y="31"/>
                          <a:pt x="46" y="31"/>
                        </a:cubicBezTo>
                        <a:cubicBezTo>
                          <a:pt x="46" y="31"/>
                          <a:pt x="45" y="32"/>
                          <a:pt x="45" y="32"/>
                        </a:cubicBezTo>
                        <a:cubicBezTo>
                          <a:pt x="45" y="32"/>
                          <a:pt x="45" y="32"/>
                          <a:pt x="45" y="31"/>
                        </a:cubicBezTo>
                        <a:close/>
                        <a:moveTo>
                          <a:pt x="46" y="30"/>
                        </a:moveTo>
                        <a:cubicBezTo>
                          <a:pt x="46" y="30"/>
                          <a:pt x="46" y="31"/>
                          <a:pt x="46" y="31"/>
                        </a:cubicBezTo>
                        <a:cubicBezTo>
                          <a:pt x="46" y="31"/>
                          <a:pt x="46" y="30"/>
                          <a:pt x="46" y="30"/>
                        </a:cubicBezTo>
                        <a:cubicBezTo>
                          <a:pt x="46" y="30"/>
                          <a:pt x="46" y="30"/>
                          <a:pt x="46" y="30"/>
                        </a:cubicBezTo>
                        <a:cubicBezTo>
                          <a:pt x="46" y="30"/>
                          <a:pt x="46" y="30"/>
                          <a:pt x="46" y="30"/>
                        </a:cubicBezTo>
                        <a:cubicBezTo>
                          <a:pt x="46" y="30"/>
                          <a:pt x="46" y="31"/>
                          <a:pt x="46" y="30"/>
                        </a:cubicBezTo>
                        <a:close/>
                        <a:moveTo>
                          <a:pt x="44" y="30"/>
                        </a:moveTo>
                        <a:cubicBezTo>
                          <a:pt x="44" y="30"/>
                          <a:pt x="44" y="30"/>
                          <a:pt x="44" y="30"/>
                        </a:cubicBezTo>
                        <a:cubicBezTo>
                          <a:pt x="44" y="30"/>
                          <a:pt x="44" y="30"/>
                          <a:pt x="44" y="30"/>
                        </a:cubicBezTo>
                        <a:cubicBezTo>
                          <a:pt x="44" y="30"/>
                          <a:pt x="44" y="30"/>
                          <a:pt x="44" y="30"/>
                        </a:cubicBezTo>
                        <a:close/>
                        <a:moveTo>
                          <a:pt x="46" y="31"/>
                        </a:moveTo>
                        <a:cubicBezTo>
                          <a:pt x="46" y="31"/>
                          <a:pt x="46" y="31"/>
                          <a:pt x="46" y="31"/>
                        </a:cubicBezTo>
                        <a:cubicBezTo>
                          <a:pt x="46" y="31"/>
                          <a:pt x="46" y="31"/>
                          <a:pt x="46" y="31"/>
                        </a:cubicBezTo>
                        <a:close/>
                        <a:moveTo>
                          <a:pt x="49" y="33"/>
                        </a:moveTo>
                        <a:cubicBezTo>
                          <a:pt x="49" y="33"/>
                          <a:pt x="49" y="33"/>
                          <a:pt x="49" y="33"/>
                        </a:cubicBezTo>
                        <a:cubicBezTo>
                          <a:pt x="49" y="33"/>
                          <a:pt x="49" y="33"/>
                          <a:pt x="49" y="33"/>
                        </a:cubicBezTo>
                        <a:cubicBezTo>
                          <a:pt x="49" y="34"/>
                          <a:pt x="48" y="34"/>
                          <a:pt x="48" y="35"/>
                        </a:cubicBezTo>
                        <a:cubicBezTo>
                          <a:pt x="48" y="35"/>
                          <a:pt x="48" y="35"/>
                          <a:pt x="48" y="34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7" y="35"/>
                          <a:pt x="48" y="35"/>
                          <a:pt x="47" y="35"/>
                        </a:cubicBezTo>
                        <a:cubicBezTo>
                          <a:pt x="48" y="34"/>
                          <a:pt x="48" y="34"/>
                          <a:pt x="48" y="34"/>
                        </a:cubicBezTo>
                        <a:cubicBezTo>
                          <a:pt x="48" y="34"/>
                          <a:pt x="48" y="34"/>
                          <a:pt x="48" y="34"/>
                        </a:cubicBezTo>
                        <a:cubicBezTo>
                          <a:pt x="48" y="34"/>
                          <a:pt x="48" y="34"/>
                          <a:pt x="48" y="34"/>
                        </a:cubicBezTo>
                        <a:cubicBezTo>
                          <a:pt x="48" y="34"/>
                          <a:pt x="48" y="33"/>
                          <a:pt x="48" y="33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3"/>
                          <a:pt x="49" y="33"/>
                          <a:pt x="49" y="32"/>
                        </a:cubicBezTo>
                        <a:cubicBezTo>
                          <a:pt x="49" y="33"/>
                          <a:pt x="49" y="33"/>
                          <a:pt x="49" y="33"/>
                        </a:cubicBezTo>
                        <a:cubicBezTo>
                          <a:pt x="49" y="33"/>
                          <a:pt x="49" y="33"/>
                          <a:pt x="49" y="33"/>
                        </a:cubicBezTo>
                        <a:close/>
                        <a:moveTo>
                          <a:pt x="46" y="31"/>
                        </a:moveTo>
                        <a:cubicBezTo>
                          <a:pt x="46" y="31"/>
                          <a:pt x="46" y="31"/>
                          <a:pt x="46" y="31"/>
                        </a:cubicBezTo>
                        <a:cubicBezTo>
                          <a:pt x="46" y="31"/>
                          <a:pt x="46" y="31"/>
                          <a:pt x="46" y="32"/>
                        </a:cubicBezTo>
                        <a:cubicBezTo>
                          <a:pt x="46" y="31"/>
                          <a:pt x="46" y="31"/>
                          <a:pt x="46" y="31"/>
                        </a:cubicBezTo>
                        <a:close/>
                        <a:moveTo>
                          <a:pt x="43" y="31"/>
                        </a:moveTo>
                        <a:cubicBezTo>
                          <a:pt x="43" y="32"/>
                          <a:pt x="43" y="32"/>
                          <a:pt x="42" y="33"/>
                        </a:cubicBezTo>
                        <a:cubicBezTo>
                          <a:pt x="42" y="33"/>
                          <a:pt x="42" y="32"/>
                          <a:pt x="42" y="32"/>
                        </a:cubicBezTo>
                        <a:cubicBezTo>
                          <a:pt x="42" y="32"/>
                          <a:pt x="42" y="32"/>
                          <a:pt x="42" y="32"/>
                        </a:cubicBezTo>
                        <a:cubicBezTo>
                          <a:pt x="43" y="31"/>
                          <a:pt x="43" y="31"/>
                          <a:pt x="43" y="30"/>
                        </a:cubicBezTo>
                        <a:cubicBezTo>
                          <a:pt x="43" y="30"/>
                          <a:pt x="43" y="30"/>
                          <a:pt x="43" y="30"/>
                        </a:cubicBezTo>
                        <a:cubicBezTo>
                          <a:pt x="44" y="30"/>
                          <a:pt x="43" y="30"/>
                          <a:pt x="43" y="31"/>
                        </a:cubicBezTo>
                        <a:cubicBezTo>
                          <a:pt x="43" y="31"/>
                          <a:pt x="43" y="30"/>
                          <a:pt x="43" y="30"/>
                        </a:cubicBezTo>
                        <a:cubicBezTo>
                          <a:pt x="43" y="31"/>
                          <a:pt x="43" y="31"/>
                          <a:pt x="43" y="31"/>
                        </a:cubicBezTo>
                        <a:cubicBezTo>
                          <a:pt x="43" y="31"/>
                          <a:pt x="43" y="31"/>
                          <a:pt x="43" y="31"/>
                        </a:cubicBezTo>
                        <a:close/>
                        <a:moveTo>
                          <a:pt x="43" y="30"/>
                        </a:moveTo>
                        <a:cubicBezTo>
                          <a:pt x="43" y="30"/>
                          <a:pt x="43" y="30"/>
                          <a:pt x="43" y="30"/>
                        </a:cubicBezTo>
                        <a:cubicBezTo>
                          <a:pt x="43" y="30"/>
                          <a:pt x="43" y="30"/>
                          <a:pt x="43" y="30"/>
                        </a:cubicBezTo>
                        <a:cubicBezTo>
                          <a:pt x="43" y="30"/>
                          <a:pt x="43" y="30"/>
                          <a:pt x="43" y="30"/>
                        </a:cubicBezTo>
                        <a:cubicBezTo>
                          <a:pt x="43" y="30"/>
                          <a:pt x="43" y="30"/>
                          <a:pt x="43" y="30"/>
                        </a:cubicBezTo>
                        <a:close/>
                        <a:moveTo>
                          <a:pt x="47" y="34"/>
                        </a:moveTo>
                        <a:cubicBezTo>
                          <a:pt x="47" y="34"/>
                          <a:pt x="47" y="34"/>
                          <a:pt x="47" y="34"/>
                        </a:cubicBezTo>
                        <a:cubicBezTo>
                          <a:pt x="47" y="34"/>
                          <a:pt x="47" y="34"/>
                          <a:pt x="47" y="34"/>
                        </a:cubicBezTo>
                        <a:cubicBezTo>
                          <a:pt x="47" y="34"/>
                          <a:pt x="48" y="33"/>
                          <a:pt x="48" y="33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4"/>
                          <a:pt x="48" y="34"/>
                          <a:pt x="48" y="34"/>
                        </a:cubicBezTo>
                        <a:cubicBezTo>
                          <a:pt x="48" y="34"/>
                          <a:pt x="48" y="34"/>
                          <a:pt x="48" y="34"/>
                        </a:cubicBezTo>
                        <a:cubicBezTo>
                          <a:pt x="48" y="34"/>
                          <a:pt x="47" y="34"/>
                          <a:pt x="47" y="35"/>
                        </a:cubicBezTo>
                        <a:cubicBezTo>
                          <a:pt x="47" y="35"/>
                          <a:pt x="47" y="34"/>
                          <a:pt x="47" y="34"/>
                        </a:cubicBezTo>
                        <a:cubicBezTo>
                          <a:pt x="47" y="34"/>
                          <a:pt x="47" y="34"/>
                          <a:pt x="47" y="34"/>
                        </a:cubicBezTo>
                        <a:close/>
                        <a:moveTo>
                          <a:pt x="40" y="30"/>
                        </a:moveTo>
                        <a:cubicBezTo>
                          <a:pt x="40" y="30"/>
                          <a:pt x="40" y="30"/>
                          <a:pt x="40" y="30"/>
                        </a:cubicBezTo>
                        <a:cubicBezTo>
                          <a:pt x="40" y="30"/>
                          <a:pt x="40" y="30"/>
                          <a:pt x="40" y="30"/>
                        </a:cubicBezTo>
                        <a:close/>
                        <a:moveTo>
                          <a:pt x="42" y="31"/>
                        </a:moveTo>
                        <a:cubicBezTo>
                          <a:pt x="41" y="31"/>
                          <a:pt x="41" y="30"/>
                          <a:pt x="41" y="31"/>
                        </a:cubicBezTo>
                        <a:cubicBezTo>
                          <a:pt x="41" y="31"/>
                          <a:pt x="41" y="30"/>
                          <a:pt x="41" y="30"/>
                        </a:cubicBezTo>
                        <a:cubicBezTo>
                          <a:pt x="42" y="30"/>
                          <a:pt x="42" y="30"/>
                          <a:pt x="42" y="31"/>
                        </a:cubicBezTo>
                        <a:close/>
                        <a:moveTo>
                          <a:pt x="43" y="33"/>
                        </a:moveTo>
                        <a:cubicBezTo>
                          <a:pt x="43" y="33"/>
                          <a:pt x="43" y="33"/>
                          <a:pt x="43" y="33"/>
                        </a:cubicBezTo>
                        <a:cubicBezTo>
                          <a:pt x="43" y="33"/>
                          <a:pt x="43" y="33"/>
                          <a:pt x="43" y="34"/>
                        </a:cubicBezTo>
                        <a:cubicBezTo>
                          <a:pt x="43" y="34"/>
                          <a:pt x="43" y="34"/>
                          <a:pt x="43" y="34"/>
                        </a:cubicBezTo>
                        <a:cubicBezTo>
                          <a:pt x="43" y="34"/>
                          <a:pt x="43" y="34"/>
                          <a:pt x="43" y="34"/>
                        </a:cubicBezTo>
                        <a:cubicBezTo>
                          <a:pt x="43" y="34"/>
                          <a:pt x="43" y="34"/>
                          <a:pt x="43" y="34"/>
                        </a:cubicBezTo>
                        <a:cubicBezTo>
                          <a:pt x="43" y="34"/>
                          <a:pt x="43" y="34"/>
                          <a:pt x="43" y="34"/>
                        </a:cubicBezTo>
                        <a:cubicBezTo>
                          <a:pt x="43" y="34"/>
                          <a:pt x="43" y="34"/>
                          <a:pt x="43" y="34"/>
                        </a:cubicBezTo>
                        <a:cubicBezTo>
                          <a:pt x="43" y="34"/>
                          <a:pt x="43" y="34"/>
                          <a:pt x="43" y="35"/>
                        </a:cubicBezTo>
                        <a:cubicBezTo>
                          <a:pt x="42" y="35"/>
                          <a:pt x="42" y="34"/>
                          <a:pt x="42" y="34"/>
                        </a:cubicBezTo>
                        <a:cubicBezTo>
                          <a:pt x="43" y="34"/>
                          <a:pt x="43" y="33"/>
                          <a:pt x="43" y="33"/>
                        </a:cubicBezTo>
                        <a:cubicBezTo>
                          <a:pt x="43" y="33"/>
                          <a:pt x="43" y="33"/>
                          <a:pt x="43" y="33"/>
                        </a:cubicBezTo>
                        <a:close/>
                        <a:moveTo>
                          <a:pt x="43" y="36"/>
                        </a:moveTo>
                        <a:cubicBezTo>
                          <a:pt x="43" y="36"/>
                          <a:pt x="43" y="36"/>
                          <a:pt x="42" y="36"/>
                        </a:cubicBezTo>
                        <a:cubicBezTo>
                          <a:pt x="42" y="37"/>
                          <a:pt x="42" y="36"/>
                          <a:pt x="42" y="36"/>
                        </a:cubicBezTo>
                        <a:cubicBezTo>
                          <a:pt x="42" y="36"/>
                          <a:pt x="42" y="37"/>
                          <a:pt x="42" y="37"/>
                        </a:cubicBezTo>
                        <a:cubicBezTo>
                          <a:pt x="42" y="37"/>
                          <a:pt x="42" y="37"/>
                          <a:pt x="42" y="37"/>
                        </a:cubicBezTo>
                        <a:cubicBezTo>
                          <a:pt x="42" y="36"/>
                          <a:pt x="42" y="36"/>
                          <a:pt x="43" y="36"/>
                        </a:cubicBezTo>
                        <a:close/>
                        <a:moveTo>
                          <a:pt x="41" y="36"/>
                        </a:moveTo>
                        <a:cubicBezTo>
                          <a:pt x="41" y="36"/>
                          <a:pt x="41" y="36"/>
                          <a:pt x="41" y="36"/>
                        </a:cubicBezTo>
                        <a:cubicBezTo>
                          <a:pt x="41" y="36"/>
                          <a:pt x="41" y="36"/>
                          <a:pt x="41" y="36"/>
                        </a:cubicBezTo>
                        <a:cubicBezTo>
                          <a:pt x="41" y="36"/>
                          <a:pt x="41" y="36"/>
                          <a:pt x="41" y="36"/>
                        </a:cubicBezTo>
                        <a:cubicBezTo>
                          <a:pt x="41" y="35"/>
                          <a:pt x="41" y="36"/>
                          <a:pt x="41" y="36"/>
                        </a:cubicBezTo>
                        <a:cubicBezTo>
                          <a:pt x="41" y="36"/>
                          <a:pt x="41" y="36"/>
                          <a:pt x="41" y="36"/>
                        </a:cubicBezTo>
                        <a:close/>
                        <a:moveTo>
                          <a:pt x="40" y="36"/>
                        </a:moveTo>
                        <a:cubicBezTo>
                          <a:pt x="39" y="37"/>
                          <a:pt x="39" y="38"/>
                          <a:pt x="39" y="38"/>
                        </a:cubicBezTo>
                        <a:cubicBezTo>
                          <a:pt x="39" y="38"/>
                          <a:pt x="39" y="38"/>
                          <a:pt x="39" y="38"/>
                        </a:cubicBezTo>
                        <a:cubicBezTo>
                          <a:pt x="39" y="38"/>
                          <a:pt x="39" y="37"/>
                          <a:pt x="39" y="37"/>
                        </a:cubicBezTo>
                        <a:cubicBezTo>
                          <a:pt x="39" y="37"/>
                          <a:pt x="39" y="36"/>
                          <a:pt x="40" y="35"/>
                        </a:cubicBezTo>
                        <a:cubicBezTo>
                          <a:pt x="40" y="36"/>
                          <a:pt x="39" y="36"/>
                          <a:pt x="40" y="36"/>
                        </a:cubicBezTo>
                        <a:close/>
                        <a:moveTo>
                          <a:pt x="40" y="37"/>
                        </a:moveTo>
                        <a:cubicBezTo>
                          <a:pt x="40" y="37"/>
                          <a:pt x="40" y="37"/>
                          <a:pt x="40" y="38"/>
                        </a:cubicBezTo>
                        <a:cubicBezTo>
                          <a:pt x="40" y="38"/>
                          <a:pt x="40" y="37"/>
                          <a:pt x="40" y="37"/>
                        </a:cubicBezTo>
                        <a:cubicBezTo>
                          <a:pt x="40" y="37"/>
                          <a:pt x="40" y="38"/>
                          <a:pt x="40" y="38"/>
                        </a:cubicBezTo>
                        <a:cubicBezTo>
                          <a:pt x="40" y="38"/>
                          <a:pt x="40" y="37"/>
                          <a:pt x="40" y="38"/>
                        </a:cubicBezTo>
                        <a:cubicBezTo>
                          <a:pt x="40" y="38"/>
                          <a:pt x="40" y="38"/>
                          <a:pt x="40" y="38"/>
                        </a:cubicBezTo>
                        <a:cubicBezTo>
                          <a:pt x="40" y="38"/>
                          <a:pt x="40" y="38"/>
                          <a:pt x="40" y="38"/>
                        </a:cubicBezTo>
                        <a:cubicBezTo>
                          <a:pt x="40" y="37"/>
                          <a:pt x="40" y="37"/>
                          <a:pt x="40" y="37"/>
                        </a:cubicBezTo>
                        <a:cubicBezTo>
                          <a:pt x="40" y="37"/>
                          <a:pt x="40" y="37"/>
                          <a:pt x="40" y="37"/>
                        </a:cubicBezTo>
                        <a:close/>
                        <a:moveTo>
                          <a:pt x="40" y="37"/>
                        </a:moveTo>
                        <a:cubicBezTo>
                          <a:pt x="40" y="37"/>
                          <a:pt x="40" y="37"/>
                          <a:pt x="40" y="37"/>
                        </a:cubicBezTo>
                        <a:cubicBezTo>
                          <a:pt x="40" y="37"/>
                          <a:pt x="40" y="37"/>
                          <a:pt x="40" y="37"/>
                        </a:cubicBezTo>
                        <a:close/>
                        <a:moveTo>
                          <a:pt x="41" y="38"/>
                        </a:moveTo>
                        <a:cubicBezTo>
                          <a:pt x="41" y="38"/>
                          <a:pt x="41" y="38"/>
                          <a:pt x="41" y="38"/>
                        </a:cubicBezTo>
                        <a:cubicBezTo>
                          <a:pt x="41" y="38"/>
                          <a:pt x="41" y="38"/>
                          <a:pt x="42" y="38"/>
                        </a:cubicBezTo>
                        <a:cubicBezTo>
                          <a:pt x="41" y="38"/>
                          <a:pt x="41" y="38"/>
                          <a:pt x="41" y="39"/>
                        </a:cubicBezTo>
                        <a:cubicBezTo>
                          <a:pt x="41" y="39"/>
                          <a:pt x="41" y="38"/>
                          <a:pt x="41" y="38"/>
                        </a:cubicBezTo>
                        <a:cubicBezTo>
                          <a:pt x="41" y="38"/>
                          <a:pt x="41" y="38"/>
                          <a:pt x="41" y="38"/>
                        </a:cubicBezTo>
                        <a:cubicBezTo>
                          <a:pt x="41" y="38"/>
                          <a:pt x="41" y="38"/>
                          <a:pt x="41" y="38"/>
                        </a:cubicBezTo>
                        <a:cubicBezTo>
                          <a:pt x="41" y="38"/>
                          <a:pt x="41" y="38"/>
                          <a:pt x="41" y="38"/>
                        </a:cubicBezTo>
                        <a:cubicBezTo>
                          <a:pt x="41" y="38"/>
                          <a:pt x="41" y="38"/>
                          <a:pt x="41" y="38"/>
                        </a:cubicBezTo>
                        <a:close/>
                        <a:moveTo>
                          <a:pt x="46" y="42"/>
                        </a:moveTo>
                        <a:cubicBezTo>
                          <a:pt x="47" y="42"/>
                          <a:pt x="47" y="42"/>
                          <a:pt x="47" y="42"/>
                        </a:cubicBezTo>
                        <a:cubicBezTo>
                          <a:pt x="47" y="42"/>
                          <a:pt x="46" y="42"/>
                          <a:pt x="46" y="43"/>
                        </a:cubicBezTo>
                        <a:cubicBezTo>
                          <a:pt x="46" y="43"/>
                          <a:pt x="46" y="42"/>
                          <a:pt x="46" y="42"/>
                        </a:cubicBezTo>
                        <a:cubicBezTo>
                          <a:pt x="46" y="42"/>
                          <a:pt x="46" y="42"/>
                          <a:pt x="46" y="43"/>
                        </a:cubicBezTo>
                        <a:cubicBezTo>
                          <a:pt x="46" y="42"/>
                          <a:pt x="46" y="42"/>
                          <a:pt x="46" y="42"/>
                        </a:cubicBezTo>
                        <a:close/>
                        <a:moveTo>
                          <a:pt x="44" y="42"/>
                        </a:moveTo>
                        <a:cubicBezTo>
                          <a:pt x="44" y="42"/>
                          <a:pt x="45" y="42"/>
                          <a:pt x="44" y="42"/>
                        </a:cubicBezTo>
                        <a:cubicBezTo>
                          <a:pt x="44" y="42"/>
                          <a:pt x="44" y="42"/>
                          <a:pt x="44" y="42"/>
                        </a:cubicBezTo>
                        <a:cubicBezTo>
                          <a:pt x="44" y="43"/>
                          <a:pt x="44" y="43"/>
                          <a:pt x="44" y="43"/>
                        </a:cubicBezTo>
                        <a:cubicBezTo>
                          <a:pt x="43" y="43"/>
                          <a:pt x="44" y="42"/>
                          <a:pt x="44" y="42"/>
                        </a:cubicBezTo>
                        <a:close/>
                        <a:moveTo>
                          <a:pt x="39" y="40"/>
                        </a:moveTo>
                        <a:cubicBezTo>
                          <a:pt x="39" y="40"/>
                          <a:pt x="39" y="40"/>
                          <a:pt x="39" y="40"/>
                        </a:cubicBezTo>
                        <a:cubicBezTo>
                          <a:pt x="39" y="40"/>
                          <a:pt x="39" y="40"/>
                          <a:pt x="39" y="39"/>
                        </a:cubicBezTo>
                        <a:cubicBezTo>
                          <a:pt x="39" y="40"/>
                          <a:pt x="39" y="40"/>
                          <a:pt x="39" y="40"/>
                        </a:cubicBezTo>
                        <a:cubicBezTo>
                          <a:pt x="39" y="40"/>
                          <a:pt x="39" y="40"/>
                          <a:pt x="39" y="40"/>
                        </a:cubicBezTo>
                        <a:cubicBezTo>
                          <a:pt x="39" y="40"/>
                          <a:pt x="39" y="40"/>
                          <a:pt x="39" y="40"/>
                        </a:cubicBezTo>
                        <a:close/>
                        <a:moveTo>
                          <a:pt x="43" y="46"/>
                        </a:moveTo>
                        <a:cubicBezTo>
                          <a:pt x="43" y="46"/>
                          <a:pt x="43" y="46"/>
                          <a:pt x="43" y="46"/>
                        </a:cubicBezTo>
                        <a:cubicBezTo>
                          <a:pt x="42" y="46"/>
                          <a:pt x="42" y="46"/>
                          <a:pt x="42" y="47"/>
                        </a:cubicBezTo>
                        <a:cubicBezTo>
                          <a:pt x="42" y="47"/>
                          <a:pt x="42" y="47"/>
                          <a:pt x="42" y="47"/>
                        </a:cubicBezTo>
                        <a:cubicBezTo>
                          <a:pt x="42" y="47"/>
                          <a:pt x="42" y="47"/>
                          <a:pt x="42" y="47"/>
                        </a:cubicBezTo>
                        <a:cubicBezTo>
                          <a:pt x="42" y="47"/>
                          <a:pt x="42" y="47"/>
                          <a:pt x="42" y="47"/>
                        </a:cubicBezTo>
                        <a:cubicBezTo>
                          <a:pt x="42" y="47"/>
                          <a:pt x="42" y="47"/>
                          <a:pt x="42" y="47"/>
                        </a:cubicBezTo>
                        <a:cubicBezTo>
                          <a:pt x="42" y="46"/>
                          <a:pt x="43" y="45"/>
                          <a:pt x="43" y="44"/>
                        </a:cubicBezTo>
                        <a:cubicBezTo>
                          <a:pt x="43" y="44"/>
                          <a:pt x="44" y="43"/>
                          <a:pt x="44" y="43"/>
                        </a:cubicBezTo>
                        <a:cubicBezTo>
                          <a:pt x="44" y="43"/>
                          <a:pt x="44" y="43"/>
                          <a:pt x="44" y="44"/>
                        </a:cubicBezTo>
                        <a:cubicBezTo>
                          <a:pt x="44" y="44"/>
                          <a:pt x="44" y="44"/>
                          <a:pt x="44" y="44"/>
                        </a:cubicBezTo>
                        <a:cubicBezTo>
                          <a:pt x="44" y="44"/>
                          <a:pt x="44" y="44"/>
                          <a:pt x="44" y="44"/>
                        </a:cubicBezTo>
                        <a:cubicBezTo>
                          <a:pt x="44" y="44"/>
                          <a:pt x="44" y="44"/>
                          <a:pt x="44" y="44"/>
                        </a:cubicBezTo>
                        <a:cubicBezTo>
                          <a:pt x="43" y="44"/>
                          <a:pt x="43" y="45"/>
                          <a:pt x="43" y="46"/>
                        </a:cubicBezTo>
                        <a:cubicBezTo>
                          <a:pt x="43" y="46"/>
                          <a:pt x="43" y="46"/>
                          <a:pt x="43" y="46"/>
                        </a:cubicBezTo>
                        <a:close/>
                        <a:moveTo>
                          <a:pt x="42" y="46"/>
                        </a:moveTo>
                        <a:cubicBezTo>
                          <a:pt x="42" y="46"/>
                          <a:pt x="42" y="46"/>
                          <a:pt x="42" y="46"/>
                        </a:cubicBezTo>
                        <a:cubicBezTo>
                          <a:pt x="42" y="46"/>
                          <a:pt x="42" y="46"/>
                          <a:pt x="42" y="46"/>
                        </a:cubicBezTo>
                        <a:cubicBezTo>
                          <a:pt x="42" y="46"/>
                          <a:pt x="42" y="46"/>
                          <a:pt x="42" y="46"/>
                        </a:cubicBezTo>
                        <a:close/>
                        <a:moveTo>
                          <a:pt x="43" y="44"/>
                        </a:moveTo>
                        <a:cubicBezTo>
                          <a:pt x="43" y="44"/>
                          <a:pt x="43" y="44"/>
                          <a:pt x="43" y="44"/>
                        </a:cubicBezTo>
                        <a:cubicBezTo>
                          <a:pt x="43" y="44"/>
                          <a:pt x="43" y="44"/>
                          <a:pt x="43" y="44"/>
                        </a:cubicBezTo>
                        <a:close/>
                        <a:moveTo>
                          <a:pt x="45" y="45"/>
                        </a:move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4" y="45"/>
                        </a:cubicBezTo>
                        <a:cubicBezTo>
                          <a:pt x="44" y="45"/>
                          <a:pt x="44" y="45"/>
                          <a:pt x="44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lose/>
                        <a:moveTo>
                          <a:pt x="45" y="45"/>
                        </a:moveTo>
                        <a:cubicBezTo>
                          <a:pt x="45" y="45"/>
                          <a:pt x="45" y="46"/>
                          <a:pt x="45" y="46"/>
                        </a:cubicBezTo>
                        <a:cubicBezTo>
                          <a:pt x="45" y="46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6"/>
                        </a:cubicBezTo>
                        <a:cubicBezTo>
                          <a:pt x="45" y="46"/>
                          <a:pt x="44" y="46"/>
                          <a:pt x="44" y="46"/>
                        </a:cubicBezTo>
                        <a:cubicBezTo>
                          <a:pt x="44" y="46"/>
                          <a:pt x="44" y="46"/>
                          <a:pt x="44" y="45"/>
                        </a:cubicBezTo>
                        <a:cubicBezTo>
                          <a:pt x="44" y="45"/>
                          <a:pt x="44" y="46"/>
                          <a:pt x="44" y="46"/>
                        </a:cubicBezTo>
                        <a:cubicBezTo>
                          <a:pt x="44" y="46"/>
                          <a:pt x="44" y="45"/>
                          <a:pt x="44" y="45"/>
                        </a:cubicBezTo>
                        <a:cubicBezTo>
                          <a:pt x="44" y="45"/>
                          <a:pt x="44" y="45"/>
                          <a:pt x="44" y="45"/>
                        </a:cubicBezTo>
                        <a:cubicBezTo>
                          <a:pt x="44" y="45"/>
                          <a:pt x="44" y="45"/>
                          <a:pt x="44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lose/>
                        <a:moveTo>
                          <a:pt x="44" y="46"/>
                        </a:moveTo>
                        <a:cubicBezTo>
                          <a:pt x="44" y="46"/>
                          <a:pt x="44" y="46"/>
                          <a:pt x="44" y="46"/>
                        </a:cubicBezTo>
                        <a:cubicBezTo>
                          <a:pt x="44" y="46"/>
                          <a:pt x="44" y="46"/>
                          <a:pt x="44" y="46"/>
                        </a:cubicBezTo>
                        <a:cubicBezTo>
                          <a:pt x="44" y="46"/>
                          <a:pt x="44" y="46"/>
                          <a:pt x="44" y="46"/>
                        </a:cubicBezTo>
                        <a:cubicBezTo>
                          <a:pt x="44" y="46"/>
                          <a:pt x="44" y="46"/>
                          <a:pt x="44" y="46"/>
                        </a:cubicBezTo>
                        <a:cubicBezTo>
                          <a:pt x="44" y="46"/>
                          <a:pt x="44" y="46"/>
                          <a:pt x="44" y="46"/>
                        </a:cubicBezTo>
                        <a:cubicBezTo>
                          <a:pt x="44" y="46"/>
                          <a:pt x="44" y="46"/>
                          <a:pt x="44" y="46"/>
                        </a:cubicBezTo>
                        <a:cubicBezTo>
                          <a:pt x="44" y="46"/>
                          <a:pt x="44" y="46"/>
                          <a:pt x="44" y="46"/>
                        </a:cubicBezTo>
                        <a:cubicBezTo>
                          <a:pt x="44" y="46"/>
                          <a:pt x="44" y="46"/>
                          <a:pt x="44" y="46"/>
                        </a:cubicBezTo>
                        <a:close/>
                        <a:moveTo>
                          <a:pt x="41" y="45"/>
                        </a:moveTo>
                        <a:cubicBezTo>
                          <a:pt x="41" y="45"/>
                          <a:pt x="41" y="45"/>
                          <a:pt x="41" y="45"/>
                        </a:cubicBezTo>
                        <a:cubicBezTo>
                          <a:pt x="41" y="45"/>
                          <a:pt x="41" y="45"/>
                          <a:pt x="41" y="45"/>
                        </a:cubicBezTo>
                        <a:cubicBezTo>
                          <a:pt x="41" y="45"/>
                          <a:pt x="41" y="45"/>
                          <a:pt x="41" y="45"/>
                        </a:cubicBezTo>
                        <a:cubicBezTo>
                          <a:pt x="41" y="45"/>
                          <a:pt x="41" y="45"/>
                          <a:pt x="41" y="44"/>
                        </a:cubicBezTo>
                        <a:cubicBezTo>
                          <a:pt x="41" y="44"/>
                          <a:pt x="41" y="45"/>
                          <a:pt x="41" y="45"/>
                        </a:cubicBezTo>
                        <a:cubicBezTo>
                          <a:pt x="41" y="45"/>
                          <a:pt x="41" y="45"/>
                          <a:pt x="41" y="45"/>
                        </a:cubicBezTo>
                        <a:cubicBezTo>
                          <a:pt x="41" y="45"/>
                          <a:pt x="41" y="45"/>
                          <a:pt x="41" y="45"/>
                        </a:cubicBezTo>
                        <a:cubicBezTo>
                          <a:pt x="41" y="45"/>
                          <a:pt x="41" y="45"/>
                          <a:pt x="41" y="45"/>
                        </a:cubicBezTo>
                        <a:cubicBezTo>
                          <a:pt x="42" y="45"/>
                          <a:pt x="41" y="45"/>
                          <a:pt x="42" y="45"/>
                        </a:cubicBezTo>
                        <a:cubicBezTo>
                          <a:pt x="41" y="45"/>
                          <a:pt x="41" y="45"/>
                          <a:pt x="41" y="45"/>
                        </a:cubicBezTo>
                        <a:cubicBezTo>
                          <a:pt x="41" y="45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5"/>
                        </a:cubicBezTo>
                        <a:cubicBezTo>
                          <a:pt x="41" y="46"/>
                          <a:pt x="40" y="46"/>
                          <a:pt x="40" y="46"/>
                        </a:cubicBezTo>
                        <a:cubicBezTo>
                          <a:pt x="40" y="45"/>
                          <a:pt x="40" y="45"/>
                          <a:pt x="40" y="45"/>
                        </a:cubicBezTo>
                        <a:cubicBezTo>
                          <a:pt x="40" y="45"/>
                          <a:pt x="40" y="45"/>
                          <a:pt x="40" y="45"/>
                        </a:cubicBezTo>
                        <a:cubicBezTo>
                          <a:pt x="41" y="45"/>
                          <a:pt x="40" y="45"/>
                          <a:pt x="40" y="45"/>
                        </a:cubicBezTo>
                        <a:cubicBezTo>
                          <a:pt x="40" y="45"/>
                          <a:pt x="40" y="45"/>
                          <a:pt x="40" y="45"/>
                        </a:cubicBezTo>
                        <a:cubicBezTo>
                          <a:pt x="40" y="45"/>
                          <a:pt x="40" y="45"/>
                          <a:pt x="40" y="45"/>
                        </a:cubicBezTo>
                        <a:cubicBezTo>
                          <a:pt x="40" y="45"/>
                          <a:pt x="40" y="45"/>
                          <a:pt x="40" y="45"/>
                        </a:cubicBezTo>
                        <a:cubicBezTo>
                          <a:pt x="40" y="45"/>
                          <a:pt x="41" y="45"/>
                          <a:pt x="41" y="45"/>
                        </a:cubicBezTo>
                        <a:cubicBezTo>
                          <a:pt x="41" y="45"/>
                          <a:pt x="41" y="45"/>
                          <a:pt x="41" y="45"/>
                        </a:cubicBezTo>
                        <a:close/>
                        <a:moveTo>
                          <a:pt x="41" y="45"/>
                        </a:moveTo>
                        <a:cubicBezTo>
                          <a:pt x="40" y="45"/>
                          <a:pt x="41" y="45"/>
                          <a:pt x="41" y="45"/>
                        </a:cubicBezTo>
                        <a:cubicBezTo>
                          <a:pt x="41" y="45"/>
                          <a:pt x="41" y="45"/>
                          <a:pt x="41" y="45"/>
                        </a:cubicBezTo>
                        <a:close/>
                        <a:moveTo>
                          <a:pt x="41" y="44"/>
                        </a:moveTo>
                        <a:cubicBezTo>
                          <a:pt x="42" y="45"/>
                          <a:pt x="42" y="45"/>
                          <a:pt x="42" y="45"/>
                        </a:cubicBezTo>
                        <a:cubicBezTo>
                          <a:pt x="41" y="45"/>
                          <a:pt x="41" y="45"/>
                          <a:pt x="41" y="44"/>
                        </a:cubicBezTo>
                        <a:close/>
                        <a:moveTo>
                          <a:pt x="40" y="46"/>
                        </a:move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0" y="46"/>
                          <a:pt x="40" y="46"/>
                        </a:cubicBezTo>
                        <a:close/>
                        <a:moveTo>
                          <a:pt x="40" y="46"/>
                        </a:moveTo>
                        <a:cubicBezTo>
                          <a:pt x="40" y="46"/>
                          <a:pt x="41" y="47"/>
                          <a:pt x="41" y="47"/>
                        </a:cubicBezTo>
                        <a:cubicBezTo>
                          <a:pt x="41" y="47"/>
                          <a:pt x="41" y="47"/>
                          <a:pt x="41" y="47"/>
                        </a:cubicBezTo>
                        <a:cubicBezTo>
                          <a:pt x="41" y="47"/>
                          <a:pt x="41" y="47"/>
                          <a:pt x="41" y="47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2" y="46"/>
                          <a:pt x="41" y="46"/>
                          <a:pt x="41" y="47"/>
                        </a:cubicBezTo>
                        <a:cubicBezTo>
                          <a:pt x="41" y="47"/>
                          <a:pt x="41" y="47"/>
                          <a:pt x="41" y="47"/>
                        </a:cubicBezTo>
                        <a:cubicBezTo>
                          <a:pt x="41" y="47"/>
                          <a:pt x="41" y="47"/>
                          <a:pt x="41" y="47"/>
                        </a:cubicBezTo>
                        <a:cubicBezTo>
                          <a:pt x="41" y="47"/>
                          <a:pt x="41" y="47"/>
                          <a:pt x="41" y="47"/>
                        </a:cubicBezTo>
                        <a:cubicBezTo>
                          <a:pt x="41" y="47"/>
                          <a:pt x="40" y="47"/>
                          <a:pt x="40" y="46"/>
                        </a:cubicBezTo>
                        <a:close/>
                        <a:moveTo>
                          <a:pt x="40" y="49"/>
                        </a:moveTo>
                        <a:cubicBezTo>
                          <a:pt x="40" y="49"/>
                          <a:pt x="40" y="48"/>
                          <a:pt x="41" y="48"/>
                        </a:cubicBezTo>
                        <a:cubicBezTo>
                          <a:pt x="41" y="48"/>
                          <a:pt x="41" y="48"/>
                          <a:pt x="41" y="48"/>
                        </a:cubicBezTo>
                        <a:cubicBezTo>
                          <a:pt x="41" y="48"/>
                          <a:pt x="41" y="48"/>
                          <a:pt x="41" y="48"/>
                        </a:cubicBezTo>
                        <a:cubicBezTo>
                          <a:pt x="41" y="48"/>
                          <a:pt x="41" y="48"/>
                          <a:pt x="41" y="48"/>
                        </a:cubicBezTo>
                        <a:cubicBezTo>
                          <a:pt x="41" y="48"/>
                          <a:pt x="41" y="48"/>
                          <a:pt x="41" y="48"/>
                        </a:cubicBezTo>
                        <a:cubicBezTo>
                          <a:pt x="41" y="48"/>
                          <a:pt x="41" y="48"/>
                          <a:pt x="42" y="48"/>
                        </a:cubicBezTo>
                        <a:cubicBezTo>
                          <a:pt x="42" y="48"/>
                          <a:pt x="42" y="48"/>
                          <a:pt x="42" y="48"/>
                        </a:cubicBezTo>
                        <a:cubicBezTo>
                          <a:pt x="42" y="48"/>
                          <a:pt x="42" y="48"/>
                          <a:pt x="42" y="48"/>
                        </a:cubicBezTo>
                        <a:cubicBezTo>
                          <a:pt x="42" y="48"/>
                          <a:pt x="42" y="48"/>
                          <a:pt x="42" y="48"/>
                        </a:cubicBezTo>
                        <a:cubicBezTo>
                          <a:pt x="42" y="48"/>
                          <a:pt x="42" y="47"/>
                          <a:pt x="43" y="47"/>
                        </a:cubicBezTo>
                        <a:cubicBezTo>
                          <a:pt x="43" y="47"/>
                          <a:pt x="42" y="47"/>
                          <a:pt x="42" y="48"/>
                        </a:cubicBezTo>
                        <a:cubicBezTo>
                          <a:pt x="42" y="48"/>
                          <a:pt x="42" y="48"/>
                          <a:pt x="42" y="48"/>
                        </a:cubicBezTo>
                        <a:cubicBezTo>
                          <a:pt x="42" y="48"/>
                          <a:pt x="42" y="48"/>
                          <a:pt x="42" y="49"/>
                        </a:cubicBezTo>
                        <a:cubicBezTo>
                          <a:pt x="42" y="49"/>
                          <a:pt x="42" y="49"/>
                          <a:pt x="42" y="49"/>
                        </a:cubicBezTo>
                        <a:cubicBezTo>
                          <a:pt x="42" y="49"/>
                          <a:pt x="41" y="49"/>
                          <a:pt x="42" y="50"/>
                        </a:cubicBezTo>
                        <a:cubicBezTo>
                          <a:pt x="41" y="50"/>
                          <a:pt x="41" y="50"/>
                          <a:pt x="41" y="50"/>
                        </a:cubicBezTo>
                        <a:cubicBezTo>
                          <a:pt x="41" y="50"/>
                          <a:pt x="42" y="50"/>
                          <a:pt x="41" y="50"/>
                        </a:cubicBezTo>
                        <a:cubicBezTo>
                          <a:pt x="41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49"/>
                        </a:cubicBezTo>
                        <a:cubicBezTo>
                          <a:pt x="42" y="49"/>
                          <a:pt x="42" y="49"/>
                          <a:pt x="42" y="49"/>
                        </a:cubicBezTo>
                        <a:cubicBezTo>
                          <a:pt x="43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51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2" y="51"/>
                          <a:pt x="42" y="50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1" y="50"/>
                          <a:pt x="41" y="50"/>
                        </a:cubicBezTo>
                        <a:cubicBezTo>
                          <a:pt x="41" y="51"/>
                          <a:pt x="41" y="51"/>
                          <a:pt x="41" y="51"/>
                        </a:cubicBezTo>
                        <a:cubicBezTo>
                          <a:pt x="41" y="51"/>
                          <a:pt x="41" y="51"/>
                          <a:pt x="41" y="51"/>
                        </a:cubicBezTo>
                        <a:cubicBezTo>
                          <a:pt x="41" y="51"/>
                          <a:pt x="41" y="51"/>
                          <a:pt x="41" y="51"/>
                        </a:cubicBezTo>
                        <a:cubicBezTo>
                          <a:pt x="41" y="51"/>
                          <a:pt x="41" y="51"/>
                          <a:pt x="41" y="51"/>
                        </a:cubicBezTo>
                        <a:cubicBezTo>
                          <a:pt x="41" y="51"/>
                          <a:pt x="41" y="51"/>
                          <a:pt x="41" y="51"/>
                        </a:cubicBezTo>
                        <a:cubicBezTo>
                          <a:pt x="42" y="51"/>
                          <a:pt x="41" y="51"/>
                          <a:pt x="42" y="51"/>
                        </a:cubicBezTo>
                        <a:cubicBezTo>
                          <a:pt x="42" y="51"/>
                          <a:pt x="42" y="51"/>
                          <a:pt x="42" y="51"/>
                        </a:cubicBezTo>
                        <a:cubicBezTo>
                          <a:pt x="42" y="51"/>
                          <a:pt x="42" y="51"/>
                          <a:pt x="42" y="51"/>
                        </a:cubicBezTo>
                        <a:cubicBezTo>
                          <a:pt x="42" y="51"/>
                          <a:pt x="42" y="51"/>
                          <a:pt x="42" y="51"/>
                        </a:cubicBezTo>
                        <a:cubicBezTo>
                          <a:pt x="42" y="51"/>
                          <a:pt x="42" y="51"/>
                          <a:pt x="42" y="52"/>
                        </a:cubicBezTo>
                        <a:cubicBezTo>
                          <a:pt x="42" y="52"/>
                          <a:pt x="42" y="52"/>
                          <a:pt x="42" y="52"/>
                        </a:cubicBezTo>
                        <a:cubicBezTo>
                          <a:pt x="41" y="52"/>
                          <a:pt x="42" y="52"/>
                          <a:pt x="41" y="52"/>
                        </a:cubicBezTo>
                        <a:cubicBezTo>
                          <a:pt x="42" y="52"/>
                          <a:pt x="42" y="52"/>
                          <a:pt x="42" y="52"/>
                        </a:cubicBezTo>
                        <a:cubicBezTo>
                          <a:pt x="42" y="52"/>
                          <a:pt x="42" y="52"/>
                          <a:pt x="42" y="52"/>
                        </a:cubicBezTo>
                        <a:cubicBezTo>
                          <a:pt x="42" y="52"/>
                          <a:pt x="42" y="52"/>
                          <a:pt x="42" y="51"/>
                        </a:cubicBezTo>
                        <a:cubicBezTo>
                          <a:pt x="42" y="52"/>
                          <a:pt x="42" y="52"/>
                          <a:pt x="42" y="52"/>
                        </a:cubicBezTo>
                        <a:cubicBezTo>
                          <a:pt x="42" y="52"/>
                          <a:pt x="42" y="52"/>
                          <a:pt x="42" y="51"/>
                        </a:cubicBezTo>
                        <a:cubicBezTo>
                          <a:pt x="42" y="51"/>
                          <a:pt x="42" y="51"/>
                          <a:pt x="42" y="51"/>
                        </a:cubicBezTo>
                        <a:cubicBezTo>
                          <a:pt x="42" y="52"/>
                          <a:pt x="42" y="52"/>
                          <a:pt x="42" y="52"/>
                        </a:cubicBezTo>
                        <a:cubicBezTo>
                          <a:pt x="42" y="52"/>
                          <a:pt x="42" y="52"/>
                          <a:pt x="42" y="52"/>
                        </a:cubicBezTo>
                        <a:cubicBezTo>
                          <a:pt x="42" y="52"/>
                          <a:pt x="42" y="52"/>
                          <a:pt x="41" y="52"/>
                        </a:cubicBezTo>
                        <a:cubicBezTo>
                          <a:pt x="42" y="52"/>
                          <a:pt x="42" y="52"/>
                          <a:pt x="42" y="52"/>
                        </a:cubicBezTo>
                        <a:cubicBezTo>
                          <a:pt x="42" y="52"/>
                          <a:pt x="42" y="52"/>
                          <a:pt x="42" y="52"/>
                        </a:cubicBezTo>
                        <a:cubicBezTo>
                          <a:pt x="41" y="52"/>
                          <a:pt x="41" y="52"/>
                          <a:pt x="42" y="52"/>
                        </a:cubicBezTo>
                        <a:cubicBezTo>
                          <a:pt x="41" y="52"/>
                          <a:pt x="41" y="53"/>
                          <a:pt x="41" y="53"/>
                        </a:cubicBezTo>
                        <a:cubicBezTo>
                          <a:pt x="41" y="53"/>
                          <a:pt x="41" y="53"/>
                          <a:pt x="41" y="53"/>
                        </a:cubicBezTo>
                        <a:cubicBezTo>
                          <a:pt x="41" y="53"/>
                          <a:pt x="41" y="53"/>
                          <a:pt x="41" y="53"/>
                        </a:cubicBezTo>
                        <a:cubicBezTo>
                          <a:pt x="41" y="53"/>
                          <a:pt x="41" y="53"/>
                          <a:pt x="41" y="53"/>
                        </a:cubicBezTo>
                        <a:cubicBezTo>
                          <a:pt x="41" y="53"/>
                          <a:pt x="41" y="53"/>
                          <a:pt x="41" y="53"/>
                        </a:cubicBezTo>
                        <a:cubicBezTo>
                          <a:pt x="41" y="53"/>
                          <a:pt x="41" y="53"/>
                          <a:pt x="41" y="53"/>
                        </a:cubicBezTo>
                        <a:cubicBezTo>
                          <a:pt x="41" y="53"/>
                          <a:pt x="41" y="53"/>
                          <a:pt x="41" y="53"/>
                        </a:cubicBezTo>
                        <a:cubicBezTo>
                          <a:pt x="41" y="53"/>
                          <a:pt x="41" y="53"/>
                          <a:pt x="41" y="53"/>
                        </a:cubicBezTo>
                        <a:cubicBezTo>
                          <a:pt x="41" y="53"/>
                          <a:pt x="41" y="54"/>
                          <a:pt x="41" y="53"/>
                        </a:cubicBezTo>
                        <a:cubicBezTo>
                          <a:pt x="41" y="54"/>
                          <a:pt x="41" y="54"/>
                          <a:pt x="40" y="54"/>
                        </a:cubicBezTo>
                        <a:cubicBezTo>
                          <a:pt x="40" y="53"/>
                          <a:pt x="40" y="53"/>
                          <a:pt x="41" y="53"/>
                        </a:cubicBezTo>
                        <a:cubicBezTo>
                          <a:pt x="41" y="53"/>
                          <a:pt x="40" y="53"/>
                          <a:pt x="40" y="53"/>
                        </a:cubicBezTo>
                        <a:cubicBezTo>
                          <a:pt x="40" y="53"/>
                          <a:pt x="41" y="53"/>
                          <a:pt x="41" y="53"/>
                        </a:cubicBezTo>
                        <a:cubicBezTo>
                          <a:pt x="41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39" y="53"/>
                          <a:pt x="39" y="53"/>
                          <a:pt x="39" y="53"/>
                        </a:cubicBezTo>
                        <a:cubicBezTo>
                          <a:pt x="39" y="53"/>
                          <a:pt x="40" y="53"/>
                          <a:pt x="40" y="53"/>
                        </a:cubicBezTo>
                        <a:cubicBezTo>
                          <a:pt x="39" y="53"/>
                          <a:pt x="39" y="53"/>
                          <a:pt x="39" y="53"/>
                        </a:cubicBezTo>
                        <a:cubicBezTo>
                          <a:pt x="39" y="53"/>
                          <a:pt x="39" y="53"/>
                          <a:pt x="39" y="53"/>
                        </a:cubicBezTo>
                        <a:cubicBezTo>
                          <a:pt x="39" y="53"/>
                          <a:pt x="39" y="53"/>
                          <a:pt x="39" y="53"/>
                        </a:cubicBezTo>
                        <a:cubicBezTo>
                          <a:pt x="39" y="53"/>
                          <a:pt x="39" y="53"/>
                          <a:pt x="39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4"/>
                        </a:cubicBez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4"/>
                          <a:pt x="38" y="54"/>
                          <a:pt x="38" y="54"/>
                        </a:cubicBezTo>
                        <a:cubicBezTo>
                          <a:pt x="38" y="54"/>
                          <a:pt x="38" y="54"/>
                          <a:pt x="38" y="54"/>
                        </a:cubicBezTo>
                        <a:cubicBezTo>
                          <a:pt x="38" y="54"/>
                          <a:pt x="38" y="54"/>
                          <a:pt x="39" y="54"/>
                        </a:cubicBezTo>
                        <a:cubicBezTo>
                          <a:pt x="38" y="54"/>
                          <a:pt x="39" y="54"/>
                          <a:pt x="39" y="54"/>
                        </a:cubicBez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4"/>
                          <a:pt x="39" y="53"/>
                          <a:pt x="39" y="53"/>
                        </a:cubicBezTo>
                        <a:cubicBezTo>
                          <a:pt x="39" y="53"/>
                          <a:pt x="39" y="53"/>
                          <a:pt x="39" y="54"/>
                        </a:cubicBezTo>
                        <a:cubicBezTo>
                          <a:pt x="39" y="53"/>
                          <a:pt x="39" y="53"/>
                          <a:pt x="38" y="54"/>
                        </a:cubicBezTo>
                        <a:cubicBezTo>
                          <a:pt x="39" y="53"/>
                          <a:pt x="39" y="53"/>
                          <a:pt x="39" y="53"/>
                        </a:cubicBezTo>
                        <a:cubicBezTo>
                          <a:pt x="39" y="53"/>
                          <a:pt x="39" y="53"/>
                          <a:pt x="39" y="52"/>
                        </a:cubicBezTo>
                        <a:cubicBezTo>
                          <a:pt x="39" y="52"/>
                          <a:pt x="39" y="52"/>
                          <a:pt x="39" y="52"/>
                        </a:cubicBezTo>
                        <a:cubicBezTo>
                          <a:pt x="39" y="52"/>
                          <a:pt x="39" y="52"/>
                          <a:pt x="39" y="52"/>
                        </a:cubicBezTo>
                        <a:cubicBezTo>
                          <a:pt x="39" y="52"/>
                          <a:pt x="39" y="52"/>
                          <a:pt x="39" y="52"/>
                        </a:cubicBezTo>
                        <a:cubicBezTo>
                          <a:pt x="40" y="52"/>
                          <a:pt x="39" y="52"/>
                          <a:pt x="40" y="52"/>
                        </a:cubicBezTo>
                        <a:cubicBezTo>
                          <a:pt x="40" y="52"/>
                          <a:pt x="39" y="52"/>
                          <a:pt x="40" y="52"/>
                        </a:cubicBezTo>
                        <a:cubicBezTo>
                          <a:pt x="40" y="52"/>
                          <a:pt x="40" y="51"/>
                          <a:pt x="40" y="51"/>
                        </a:cubicBezTo>
                        <a:cubicBezTo>
                          <a:pt x="40" y="52"/>
                          <a:pt x="40" y="51"/>
                          <a:pt x="41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0"/>
                          <a:pt x="40" y="50"/>
                          <a:pt x="41" y="50"/>
                        </a:cubicBezTo>
                        <a:cubicBezTo>
                          <a:pt x="40" y="50"/>
                          <a:pt x="40" y="50"/>
                          <a:pt x="40" y="50"/>
                        </a:cubicBezTo>
                        <a:cubicBezTo>
                          <a:pt x="40" y="50"/>
                          <a:pt x="40" y="51"/>
                          <a:pt x="40" y="51"/>
                        </a:cubicBezTo>
                        <a:cubicBezTo>
                          <a:pt x="40" y="50"/>
                          <a:pt x="40" y="50"/>
                          <a:pt x="40" y="50"/>
                        </a:cubicBezTo>
                        <a:cubicBezTo>
                          <a:pt x="40" y="50"/>
                          <a:pt x="40" y="51"/>
                          <a:pt x="40" y="50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39" y="51"/>
                          <a:pt x="39" y="51"/>
                          <a:pt x="40" y="51"/>
                        </a:cubicBezTo>
                        <a:cubicBezTo>
                          <a:pt x="39" y="51"/>
                          <a:pt x="39" y="51"/>
                          <a:pt x="39" y="51"/>
                        </a:cubicBezTo>
                        <a:cubicBezTo>
                          <a:pt x="39" y="51"/>
                          <a:pt x="39" y="51"/>
                          <a:pt x="39" y="51"/>
                        </a:cubicBezTo>
                        <a:cubicBezTo>
                          <a:pt x="39" y="51"/>
                          <a:pt x="39" y="52"/>
                          <a:pt x="38" y="52"/>
                        </a:cubicBezTo>
                        <a:cubicBezTo>
                          <a:pt x="38" y="53"/>
                          <a:pt x="38" y="53"/>
                          <a:pt x="38" y="53"/>
                        </a:cubicBezTo>
                        <a:cubicBezTo>
                          <a:pt x="38" y="53"/>
                          <a:pt x="38" y="53"/>
                          <a:pt x="38" y="53"/>
                        </a:cubicBezTo>
                        <a:cubicBezTo>
                          <a:pt x="38" y="53"/>
                          <a:pt x="38" y="53"/>
                          <a:pt x="38" y="53"/>
                        </a:cubicBezTo>
                        <a:cubicBezTo>
                          <a:pt x="38" y="53"/>
                          <a:pt x="38" y="53"/>
                          <a:pt x="38" y="53"/>
                        </a:cubicBezTo>
                        <a:cubicBezTo>
                          <a:pt x="38" y="53"/>
                          <a:pt x="38" y="53"/>
                          <a:pt x="38" y="54"/>
                        </a:cubicBezTo>
                        <a:cubicBezTo>
                          <a:pt x="38" y="53"/>
                          <a:pt x="38" y="53"/>
                          <a:pt x="38" y="54"/>
                        </a:cubicBezTo>
                        <a:cubicBezTo>
                          <a:pt x="37" y="53"/>
                          <a:pt x="38" y="53"/>
                          <a:pt x="38" y="53"/>
                        </a:cubicBezTo>
                        <a:cubicBezTo>
                          <a:pt x="38" y="53"/>
                          <a:pt x="38" y="53"/>
                          <a:pt x="38" y="53"/>
                        </a:cubicBezTo>
                        <a:cubicBezTo>
                          <a:pt x="38" y="53"/>
                          <a:pt x="38" y="52"/>
                          <a:pt x="38" y="53"/>
                        </a:cubicBezTo>
                        <a:cubicBezTo>
                          <a:pt x="38" y="53"/>
                          <a:pt x="38" y="52"/>
                          <a:pt x="38" y="52"/>
                        </a:cubicBezTo>
                        <a:cubicBezTo>
                          <a:pt x="38" y="51"/>
                          <a:pt x="39" y="50"/>
                          <a:pt x="39" y="49"/>
                        </a:cubicBezTo>
                        <a:cubicBezTo>
                          <a:pt x="39" y="49"/>
                          <a:pt x="39" y="49"/>
                          <a:pt x="39" y="49"/>
                        </a:cubicBezTo>
                        <a:cubicBezTo>
                          <a:pt x="39" y="49"/>
                          <a:pt x="39" y="49"/>
                          <a:pt x="39" y="49"/>
                        </a:cubicBezTo>
                        <a:cubicBezTo>
                          <a:pt x="39" y="49"/>
                          <a:pt x="39" y="49"/>
                          <a:pt x="39" y="49"/>
                        </a:cubicBezTo>
                        <a:cubicBezTo>
                          <a:pt x="39" y="50"/>
                          <a:pt x="39" y="50"/>
                          <a:pt x="39" y="50"/>
                        </a:cubicBezTo>
                        <a:cubicBezTo>
                          <a:pt x="39" y="50"/>
                          <a:pt x="39" y="49"/>
                          <a:pt x="39" y="49"/>
                        </a:cubicBezTo>
                        <a:cubicBezTo>
                          <a:pt x="39" y="49"/>
                          <a:pt x="39" y="49"/>
                          <a:pt x="39" y="49"/>
                        </a:cubicBezTo>
                        <a:cubicBezTo>
                          <a:pt x="39" y="50"/>
                          <a:pt x="39" y="50"/>
                          <a:pt x="38" y="50"/>
                        </a:cubicBezTo>
                        <a:cubicBezTo>
                          <a:pt x="38" y="50"/>
                          <a:pt x="38" y="50"/>
                          <a:pt x="38" y="50"/>
                        </a:cubicBezTo>
                        <a:cubicBezTo>
                          <a:pt x="38" y="50"/>
                          <a:pt x="38" y="50"/>
                          <a:pt x="38" y="50"/>
                        </a:cubicBezTo>
                        <a:cubicBezTo>
                          <a:pt x="38" y="50"/>
                          <a:pt x="38" y="50"/>
                          <a:pt x="38" y="50"/>
                        </a:cubicBezTo>
                        <a:cubicBezTo>
                          <a:pt x="38" y="50"/>
                          <a:pt x="38" y="50"/>
                          <a:pt x="38" y="50"/>
                        </a:cubicBezTo>
                        <a:cubicBezTo>
                          <a:pt x="38" y="49"/>
                          <a:pt x="38" y="50"/>
                          <a:pt x="38" y="50"/>
                        </a:cubicBezTo>
                        <a:cubicBezTo>
                          <a:pt x="38" y="49"/>
                          <a:pt x="38" y="49"/>
                          <a:pt x="38" y="49"/>
                        </a:cubicBezTo>
                        <a:cubicBezTo>
                          <a:pt x="39" y="49"/>
                          <a:pt x="38" y="49"/>
                          <a:pt x="38" y="49"/>
                        </a:cubicBezTo>
                        <a:cubicBezTo>
                          <a:pt x="38" y="49"/>
                          <a:pt x="38" y="49"/>
                          <a:pt x="38" y="49"/>
                        </a:cubicBezTo>
                        <a:cubicBezTo>
                          <a:pt x="38" y="49"/>
                          <a:pt x="38" y="49"/>
                          <a:pt x="38" y="49"/>
                        </a:cubicBezTo>
                        <a:cubicBezTo>
                          <a:pt x="38" y="49"/>
                          <a:pt x="38" y="48"/>
                          <a:pt x="38" y="48"/>
                        </a:cubicBezTo>
                        <a:cubicBezTo>
                          <a:pt x="38" y="48"/>
                          <a:pt x="38" y="48"/>
                          <a:pt x="38" y="48"/>
                        </a:cubicBezTo>
                        <a:cubicBezTo>
                          <a:pt x="38" y="48"/>
                          <a:pt x="38" y="48"/>
                          <a:pt x="38" y="48"/>
                        </a:cubicBezTo>
                        <a:cubicBezTo>
                          <a:pt x="38" y="48"/>
                          <a:pt x="38" y="48"/>
                          <a:pt x="38" y="49"/>
                        </a:cubicBezTo>
                        <a:cubicBezTo>
                          <a:pt x="38" y="48"/>
                          <a:pt x="38" y="49"/>
                          <a:pt x="37" y="49"/>
                        </a:cubicBezTo>
                        <a:cubicBezTo>
                          <a:pt x="37" y="49"/>
                          <a:pt x="37" y="49"/>
                          <a:pt x="37" y="49"/>
                        </a:cubicBezTo>
                        <a:cubicBezTo>
                          <a:pt x="37" y="49"/>
                          <a:pt x="37" y="49"/>
                          <a:pt x="37" y="49"/>
                        </a:cubicBezTo>
                        <a:cubicBezTo>
                          <a:pt x="37" y="49"/>
                          <a:pt x="37" y="49"/>
                          <a:pt x="37" y="49"/>
                        </a:cubicBezTo>
                        <a:cubicBezTo>
                          <a:pt x="37" y="49"/>
                          <a:pt x="37" y="48"/>
                          <a:pt x="37" y="48"/>
                        </a:cubicBezTo>
                        <a:cubicBezTo>
                          <a:pt x="37" y="48"/>
                          <a:pt x="37" y="49"/>
                          <a:pt x="37" y="49"/>
                        </a:cubicBezTo>
                        <a:cubicBezTo>
                          <a:pt x="37" y="48"/>
                          <a:pt x="37" y="48"/>
                          <a:pt x="37" y="49"/>
                        </a:cubicBezTo>
                        <a:cubicBezTo>
                          <a:pt x="37" y="48"/>
                          <a:pt x="37" y="48"/>
                          <a:pt x="37" y="48"/>
                        </a:cubicBezTo>
                        <a:cubicBezTo>
                          <a:pt x="37" y="48"/>
                          <a:pt x="37" y="48"/>
                          <a:pt x="37" y="48"/>
                        </a:cubicBezTo>
                        <a:cubicBezTo>
                          <a:pt x="37" y="47"/>
                          <a:pt x="37" y="47"/>
                          <a:pt x="37" y="47"/>
                        </a:cubicBezTo>
                        <a:cubicBezTo>
                          <a:pt x="37" y="47"/>
                          <a:pt x="37" y="47"/>
                          <a:pt x="37" y="47"/>
                        </a:cubicBezTo>
                        <a:cubicBezTo>
                          <a:pt x="37" y="47"/>
                          <a:pt x="37" y="47"/>
                          <a:pt x="37" y="47"/>
                        </a:cubicBezTo>
                        <a:cubicBezTo>
                          <a:pt x="37" y="46"/>
                          <a:pt x="37" y="47"/>
                          <a:pt x="38" y="47"/>
                        </a:cubicBezTo>
                        <a:cubicBezTo>
                          <a:pt x="38" y="47"/>
                          <a:pt x="38" y="47"/>
                          <a:pt x="38" y="47"/>
                        </a:cubicBezTo>
                        <a:cubicBezTo>
                          <a:pt x="38" y="47"/>
                          <a:pt x="38" y="47"/>
                          <a:pt x="38" y="47"/>
                        </a:cubicBezTo>
                        <a:cubicBezTo>
                          <a:pt x="38" y="47"/>
                          <a:pt x="38" y="47"/>
                          <a:pt x="38" y="47"/>
                        </a:cubicBezTo>
                        <a:cubicBezTo>
                          <a:pt x="38" y="47"/>
                          <a:pt x="38" y="47"/>
                          <a:pt x="38" y="47"/>
                        </a:cubicBezTo>
                        <a:cubicBezTo>
                          <a:pt x="38" y="47"/>
                          <a:pt x="38" y="47"/>
                          <a:pt x="38" y="47"/>
                        </a:cubicBezTo>
                        <a:cubicBezTo>
                          <a:pt x="38" y="47"/>
                          <a:pt x="38" y="47"/>
                          <a:pt x="39" y="47"/>
                        </a:cubicBezTo>
                        <a:cubicBezTo>
                          <a:pt x="39" y="47"/>
                          <a:pt x="39" y="47"/>
                          <a:pt x="39" y="47"/>
                        </a:cubicBezTo>
                        <a:cubicBezTo>
                          <a:pt x="39" y="47"/>
                          <a:pt x="39" y="47"/>
                          <a:pt x="39" y="47"/>
                        </a:cubicBezTo>
                        <a:cubicBezTo>
                          <a:pt x="39" y="47"/>
                          <a:pt x="39" y="47"/>
                          <a:pt x="39" y="47"/>
                        </a:cubicBezTo>
                        <a:cubicBezTo>
                          <a:pt x="39" y="47"/>
                          <a:pt x="39" y="46"/>
                          <a:pt x="40" y="46"/>
                        </a:cubicBezTo>
                        <a:cubicBezTo>
                          <a:pt x="39" y="47"/>
                          <a:pt x="40" y="47"/>
                          <a:pt x="40" y="47"/>
                        </a:cubicBezTo>
                        <a:cubicBezTo>
                          <a:pt x="39" y="47"/>
                          <a:pt x="39" y="47"/>
                          <a:pt x="39" y="47"/>
                        </a:cubicBezTo>
                        <a:cubicBezTo>
                          <a:pt x="39" y="47"/>
                          <a:pt x="39" y="47"/>
                          <a:pt x="39" y="47"/>
                        </a:cubicBezTo>
                        <a:cubicBezTo>
                          <a:pt x="39" y="47"/>
                          <a:pt x="39" y="47"/>
                          <a:pt x="39" y="47"/>
                        </a:cubicBezTo>
                        <a:cubicBezTo>
                          <a:pt x="39" y="47"/>
                          <a:pt x="40" y="48"/>
                          <a:pt x="39" y="48"/>
                        </a:cubicBezTo>
                        <a:cubicBezTo>
                          <a:pt x="39" y="48"/>
                          <a:pt x="39" y="48"/>
                          <a:pt x="40" y="48"/>
                        </a:cubicBezTo>
                        <a:cubicBezTo>
                          <a:pt x="39" y="48"/>
                          <a:pt x="39" y="48"/>
                          <a:pt x="39" y="48"/>
                        </a:cubicBezTo>
                        <a:cubicBezTo>
                          <a:pt x="39" y="48"/>
                          <a:pt x="39" y="48"/>
                          <a:pt x="39" y="48"/>
                        </a:cubicBezTo>
                        <a:cubicBezTo>
                          <a:pt x="40" y="48"/>
                          <a:pt x="40" y="48"/>
                          <a:pt x="40" y="48"/>
                        </a:cubicBezTo>
                        <a:cubicBezTo>
                          <a:pt x="40" y="48"/>
                          <a:pt x="40" y="48"/>
                          <a:pt x="40" y="48"/>
                        </a:cubicBezTo>
                        <a:cubicBezTo>
                          <a:pt x="40" y="48"/>
                          <a:pt x="40" y="48"/>
                          <a:pt x="40" y="48"/>
                        </a:cubicBezTo>
                        <a:cubicBezTo>
                          <a:pt x="40" y="47"/>
                          <a:pt x="40" y="47"/>
                          <a:pt x="40" y="47"/>
                        </a:cubicBezTo>
                        <a:cubicBezTo>
                          <a:pt x="40" y="47"/>
                          <a:pt x="40" y="47"/>
                          <a:pt x="40" y="47"/>
                        </a:cubicBezTo>
                        <a:cubicBezTo>
                          <a:pt x="40" y="47"/>
                          <a:pt x="40" y="47"/>
                          <a:pt x="40" y="47"/>
                        </a:cubicBezTo>
                        <a:cubicBezTo>
                          <a:pt x="40" y="47"/>
                          <a:pt x="40" y="47"/>
                          <a:pt x="40" y="47"/>
                        </a:cubicBezTo>
                        <a:cubicBezTo>
                          <a:pt x="40" y="47"/>
                          <a:pt x="40" y="47"/>
                          <a:pt x="41" y="47"/>
                        </a:cubicBezTo>
                        <a:cubicBezTo>
                          <a:pt x="41" y="47"/>
                          <a:pt x="40" y="47"/>
                          <a:pt x="40" y="47"/>
                        </a:cubicBezTo>
                        <a:cubicBezTo>
                          <a:pt x="40" y="48"/>
                          <a:pt x="40" y="48"/>
                          <a:pt x="40" y="48"/>
                        </a:cubicBezTo>
                        <a:cubicBezTo>
                          <a:pt x="40" y="48"/>
                          <a:pt x="40" y="48"/>
                          <a:pt x="40" y="48"/>
                        </a:cubicBezTo>
                        <a:cubicBezTo>
                          <a:pt x="40" y="48"/>
                          <a:pt x="40" y="48"/>
                          <a:pt x="40" y="48"/>
                        </a:cubicBezTo>
                        <a:cubicBezTo>
                          <a:pt x="40" y="48"/>
                          <a:pt x="40" y="48"/>
                          <a:pt x="40" y="48"/>
                        </a:cubicBezTo>
                        <a:cubicBezTo>
                          <a:pt x="40" y="48"/>
                          <a:pt x="40" y="49"/>
                          <a:pt x="40" y="49"/>
                        </a:cubicBezTo>
                        <a:cubicBezTo>
                          <a:pt x="40" y="49"/>
                          <a:pt x="40" y="49"/>
                          <a:pt x="40" y="49"/>
                        </a:cubicBezTo>
                        <a:close/>
                        <a:moveTo>
                          <a:pt x="37" y="47"/>
                        </a:moveTo>
                        <a:cubicBezTo>
                          <a:pt x="37" y="47"/>
                          <a:pt x="37" y="47"/>
                          <a:pt x="37" y="47"/>
                        </a:cubicBezTo>
                        <a:cubicBezTo>
                          <a:pt x="37" y="47"/>
                          <a:pt x="37" y="47"/>
                          <a:pt x="37" y="47"/>
                        </a:cubicBezTo>
                        <a:cubicBezTo>
                          <a:pt x="37" y="47"/>
                          <a:pt x="37" y="47"/>
                          <a:pt x="37" y="47"/>
                        </a:cubicBezTo>
                        <a:close/>
                        <a:moveTo>
                          <a:pt x="38" y="47"/>
                        </a:moveTo>
                        <a:cubicBezTo>
                          <a:pt x="38" y="48"/>
                          <a:pt x="38" y="47"/>
                          <a:pt x="38" y="47"/>
                        </a:cubicBezTo>
                        <a:cubicBezTo>
                          <a:pt x="37" y="47"/>
                          <a:pt x="38" y="48"/>
                          <a:pt x="37" y="48"/>
                        </a:cubicBezTo>
                        <a:cubicBezTo>
                          <a:pt x="37" y="48"/>
                          <a:pt x="37" y="48"/>
                          <a:pt x="37" y="48"/>
                        </a:cubicBezTo>
                        <a:cubicBezTo>
                          <a:pt x="37" y="48"/>
                          <a:pt x="37" y="48"/>
                          <a:pt x="37" y="48"/>
                        </a:cubicBezTo>
                        <a:cubicBezTo>
                          <a:pt x="37" y="48"/>
                          <a:pt x="38" y="48"/>
                          <a:pt x="37" y="48"/>
                        </a:cubicBezTo>
                        <a:cubicBezTo>
                          <a:pt x="38" y="48"/>
                          <a:pt x="38" y="47"/>
                          <a:pt x="38" y="48"/>
                        </a:cubicBezTo>
                        <a:cubicBezTo>
                          <a:pt x="38" y="47"/>
                          <a:pt x="38" y="47"/>
                          <a:pt x="38" y="47"/>
                        </a:cubicBezTo>
                        <a:close/>
                        <a:moveTo>
                          <a:pt x="38" y="48"/>
                        </a:moveTo>
                        <a:cubicBezTo>
                          <a:pt x="38" y="48"/>
                          <a:pt x="38" y="48"/>
                          <a:pt x="38" y="48"/>
                        </a:cubicBezTo>
                        <a:cubicBezTo>
                          <a:pt x="38" y="48"/>
                          <a:pt x="38" y="48"/>
                          <a:pt x="38" y="48"/>
                        </a:cubicBezTo>
                        <a:close/>
                        <a:moveTo>
                          <a:pt x="39" y="49"/>
                        </a:moveTo>
                        <a:cubicBezTo>
                          <a:pt x="39" y="48"/>
                          <a:pt x="39" y="48"/>
                          <a:pt x="39" y="48"/>
                        </a:cubicBezTo>
                        <a:cubicBezTo>
                          <a:pt x="39" y="48"/>
                          <a:pt x="39" y="48"/>
                          <a:pt x="39" y="48"/>
                        </a:cubicBezTo>
                        <a:cubicBezTo>
                          <a:pt x="39" y="48"/>
                          <a:pt x="39" y="48"/>
                          <a:pt x="39" y="49"/>
                        </a:cubicBezTo>
                        <a:close/>
                        <a:moveTo>
                          <a:pt x="39" y="53"/>
                        </a:move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3"/>
                          <a:pt x="39" y="54"/>
                          <a:pt x="39" y="54"/>
                        </a:cubicBezTo>
                        <a:cubicBezTo>
                          <a:pt x="39" y="53"/>
                          <a:pt x="39" y="54"/>
                          <a:pt x="39" y="53"/>
                        </a:cubicBezTo>
                        <a:cubicBezTo>
                          <a:pt x="39" y="53"/>
                          <a:pt x="39" y="53"/>
                          <a:pt x="39" y="53"/>
                        </a:cubicBezTo>
                        <a:close/>
                        <a:moveTo>
                          <a:pt x="40" y="52"/>
                        </a:moveTo>
                        <a:cubicBezTo>
                          <a:pt x="40" y="52"/>
                          <a:pt x="40" y="52"/>
                          <a:pt x="40" y="52"/>
                        </a:cubicBezTo>
                        <a:cubicBezTo>
                          <a:pt x="40" y="52"/>
                          <a:pt x="40" y="52"/>
                          <a:pt x="40" y="52"/>
                        </a:cubicBezTo>
                        <a:cubicBezTo>
                          <a:pt x="40" y="52"/>
                          <a:pt x="40" y="52"/>
                          <a:pt x="40" y="52"/>
                        </a:cubicBezTo>
                        <a:close/>
                        <a:moveTo>
                          <a:pt x="40" y="52"/>
                        </a:moveTo>
                        <a:cubicBezTo>
                          <a:pt x="40" y="52"/>
                          <a:pt x="40" y="52"/>
                          <a:pt x="40" y="52"/>
                        </a:cubicBezTo>
                        <a:cubicBezTo>
                          <a:pt x="39" y="52"/>
                          <a:pt x="39" y="52"/>
                          <a:pt x="39" y="52"/>
                        </a:cubicBezTo>
                        <a:cubicBezTo>
                          <a:pt x="39" y="52"/>
                          <a:pt x="40" y="52"/>
                          <a:pt x="40" y="52"/>
                        </a:cubicBezTo>
                        <a:close/>
                        <a:moveTo>
                          <a:pt x="40" y="53"/>
                        </a:moveTo>
                        <a:cubicBezTo>
                          <a:pt x="40" y="52"/>
                          <a:pt x="40" y="52"/>
                          <a:pt x="40" y="52"/>
                        </a:cubicBezTo>
                        <a:cubicBezTo>
                          <a:pt x="40" y="52"/>
                          <a:pt x="40" y="52"/>
                          <a:pt x="40" y="52"/>
                        </a:cubicBezTo>
                        <a:cubicBezTo>
                          <a:pt x="40" y="52"/>
                          <a:pt x="40" y="52"/>
                          <a:pt x="40" y="52"/>
                        </a:cubicBezTo>
                        <a:cubicBezTo>
                          <a:pt x="40" y="52"/>
                          <a:pt x="40" y="52"/>
                          <a:pt x="40" y="53"/>
                        </a:cubicBezTo>
                        <a:close/>
                        <a:moveTo>
                          <a:pt x="42" y="50"/>
                        </a:move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lose/>
                        <a:moveTo>
                          <a:pt x="40" y="52"/>
                        </a:moveTo>
                        <a:cubicBezTo>
                          <a:pt x="40" y="52"/>
                          <a:pt x="40" y="52"/>
                          <a:pt x="41" y="52"/>
                        </a:cubicBezTo>
                        <a:cubicBezTo>
                          <a:pt x="41" y="52"/>
                          <a:pt x="41" y="52"/>
                          <a:pt x="41" y="52"/>
                        </a:cubicBezTo>
                        <a:cubicBezTo>
                          <a:pt x="40" y="52"/>
                          <a:pt x="40" y="52"/>
                          <a:pt x="40" y="53"/>
                        </a:cubicBezTo>
                        <a:cubicBezTo>
                          <a:pt x="40" y="53"/>
                          <a:pt x="40" y="52"/>
                          <a:pt x="40" y="52"/>
                        </a:cubicBezTo>
                        <a:cubicBezTo>
                          <a:pt x="40" y="52"/>
                          <a:pt x="40" y="52"/>
                          <a:pt x="40" y="52"/>
                        </a:cubicBezTo>
                        <a:cubicBezTo>
                          <a:pt x="41" y="52"/>
                          <a:pt x="40" y="52"/>
                          <a:pt x="40" y="52"/>
                        </a:cubicBezTo>
                        <a:close/>
                        <a:moveTo>
                          <a:pt x="40" y="52"/>
                        </a:moveTo>
                        <a:cubicBezTo>
                          <a:pt x="41" y="52"/>
                          <a:pt x="41" y="52"/>
                          <a:pt x="41" y="52"/>
                        </a:cubicBezTo>
                        <a:cubicBezTo>
                          <a:pt x="41" y="52"/>
                          <a:pt x="41" y="52"/>
                          <a:pt x="41" y="52"/>
                        </a:cubicBezTo>
                        <a:cubicBezTo>
                          <a:pt x="41" y="53"/>
                          <a:pt x="41" y="52"/>
                          <a:pt x="41" y="52"/>
                        </a:cubicBezTo>
                        <a:cubicBezTo>
                          <a:pt x="41" y="52"/>
                          <a:pt x="41" y="52"/>
                          <a:pt x="41" y="52"/>
                        </a:cubicBezTo>
                        <a:cubicBezTo>
                          <a:pt x="41" y="52"/>
                          <a:pt x="41" y="52"/>
                          <a:pt x="41" y="51"/>
                        </a:cubicBezTo>
                        <a:cubicBezTo>
                          <a:pt x="41" y="51"/>
                          <a:pt x="41" y="51"/>
                          <a:pt x="41" y="52"/>
                        </a:cubicBezTo>
                        <a:cubicBezTo>
                          <a:pt x="41" y="51"/>
                          <a:pt x="41" y="51"/>
                          <a:pt x="41" y="52"/>
                        </a:cubicBezTo>
                        <a:cubicBezTo>
                          <a:pt x="41" y="52"/>
                          <a:pt x="41" y="51"/>
                          <a:pt x="41" y="51"/>
                        </a:cubicBezTo>
                        <a:cubicBezTo>
                          <a:pt x="41" y="52"/>
                          <a:pt x="41" y="51"/>
                          <a:pt x="40" y="52"/>
                        </a:cubicBezTo>
                        <a:close/>
                        <a:moveTo>
                          <a:pt x="41" y="50"/>
                        </a:moveTo>
                        <a:cubicBezTo>
                          <a:pt x="41" y="50"/>
                          <a:pt x="41" y="49"/>
                          <a:pt x="41" y="49"/>
                        </a:cubicBezTo>
                        <a:cubicBezTo>
                          <a:pt x="41" y="49"/>
                          <a:pt x="41" y="50"/>
                          <a:pt x="41" y="50"/>
                        </a:cubicBezTo>
                        <a:close/>
                        <a:moveTo>
                          <a:pt x="40" y="50"/>
                        </a:moveTo>
                        <a:cubicBezTo>
                          <a:pt x="40" y="50"/>
                          <a:pt x="40" y="50"/>
                          <a:pt x="39" y="50"/>
                        </a:cubicBezTo>
                        <a:cubicBezTo>
                          <a:pt x="39" y="50"/>
                          <a:pt x="39" y="50"/>
                          <a:pt x="39" y="50"/>
                        </a:cubicBezTo>
                        <a:cubicBezTo>
                          <a:pt x="39" y="50"/>
                          <a:pt x="40" y="51"/>
                          <a:pt x="40" y="50"/>
                        </a:cubicBezTo>
                        <a:close/>
                        <a:moveTo>
                          <a:pt x="40" y="50"/>
                        </a:moveTo>
                        <a:cubicBezTo>
                          <a:pt x="40" y="50"/>
                          <a:pt x="40" y="50"/>
                          <a:pt x="40" y="50"/>
                        </a:cubicBezTo>
                        <a:cubicBezTo>
                          <a:pt x="40" y="50"/>
                          <a:pt x="40" y="50"/>
                          <a:pt x="40" y="50"/>
                        </a:cubicBezTo>
                        <a:cubicBezTo>
                          <a:pt x="40" y="50"/>
                          <a:pt x="40" y="50"/>
                          <a:pt x="40" y="50"/>
                        </a:cubicBezTo>
                        <a:cubicBezTo>
                          <a:pt x="40" y="50"/>
                          <a:pt x="40" y="50"/>
                          <a:pt x="40" y="50"/>
                        </a:cubicBezTo>
                        <a:cubicBezTo>
                          <a:pt x="40" y="50"/>
                          <a:pt x="39" y="50"/>
                          <a:pt x="40" y="50"/>
                        </a:cubicBezTo>
                        <a:cubicBezTo>
                          <a:pt x="40" y="50"/>
                          <a:pt x="40" y="50"/>
                          <a:pt x="40" y="50"/>
                        </a:cubicBezTo>
                        <a:cubicBezTo>
                          <a:pt x="40" y="50"/>
                          <a:pt x="40" y="50"/>
                          <a:pt x="40" y="50"/>
                        </a:cubicBezTo>
                        <a:cubicBezTo>
                          <a:pt x="40" y="50"/>
                          <a:pt x="40" y="50"/>
                          <a:pt x="40" y="50"/>
                        </a:cubicBezTo>
                        <a:close/>
                        <a:moveTo>
                          <a:pt x="41" y="49"/>
                        </a:move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lose/>
                        <a:moveTo>
                          <a:pt x="41" y="49"/>
                        </a:moveTo>
                        <a:cubicBezTo>
                          <a:pt x="40" y="49"/>
                          <a:pt x="41" y="49"/>
                          <a:pt x="41" y="49"/>
                        </a:cubicBezTo>
                        <a:cubicBezTo>
                          <a:pt x="40" y="49"/>
                          <a:pt x="41" y="49"/>
                          <a:pt x="40" y="49"/>
                        </a:cubicBezTo>
                        <a:cubicBezTo>
                          <a:pt x="40" y="49"/>
                          <a:pt x="40" y="49"/>
                          <a:pt x="40" y="49"/>
                        </a:cubicBezTo>
                        <a:cubicBezTo>
                          <a:pt x="40" y="49"/>
                          <a:pt x="40" y="49"/>
                          <a:pt x="41" y="49"/>
                        </a:cubicBezTo>
                        <a:cubicBezTo>
                          <a:pt x="41" y="49"/>
                          <a:pt x="41" y="49"/>
                          <a:pt x="40" y="50"/>
                        </a:cubicBezTo>
                        <a:cubicBezTo>
                          <a:pt x="41" y="50"/>
                          <a:pt x="41" y="49"/>
                          <a:pt x="41" y="49"/>
                        </a:cubicBezTo>
                        <a:close/>
                        <a:moveTo>
                          <a:pt x="41" y="49"/>
                        </a:move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9"/>
                          <a:pt x="41" y="49"/>
                          <a:pt x="41" y="50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lose/>
                        <a:moveTo>
                          <a:pt x="41" y="49"/>
                        </a:move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8"/>
                          <a:pt x="41" y="48"/>
                          <a:pt x="41" y="48"/>
                        </a:cubicBezTo>
                        <a:cubicBezTo>
                          <a:pt x="41" y="48"/>
                          <a:pt x="41" y="49"/>
                          <a:pt x="41" y="49"/>
                        </a:cubicBezTo>
                        <a:cubicBezTo>
                          <a:pt x="41" y="48"/>
                          <a:pt x="41" y="48"/>
                          <a:pt x="41" y="48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lose/>
                        <a:moveTo>
                          <a:pt x="41" y="49"/>
                        </a:moveTo>
                        <a:cubicBezTo>
                          <a:pt x="41" y="49"/>
                          <a:pt x="41" y="48"/>
                          <a:pt x="41" y="48"/>
                        </a:cubicBezTo>
                        <a:cubicBezTo>
                          <a:pt x="41" y="48"/>
                          <a:pt x="41" y="48"/>
                          <a:pt x="41" y="49"/>
                        </a:cubicBezTo>
                        <a:close/>
                        <a:moveTo>
                          <a:pt x="40" y="49"/>
                        </a:moveTo>
                        <a:cubicBezTo>
                          <a:pt x="40" y="49"/>
                          <a:pt x="40" y="49"/>
                          <a:pt x="40" y="49"/>
                        </a:cubicBezTo>
                        <a:cubicBezTo>
                          <a:pt x="40" y="49"/>
                          <a:pt x="40" y="49"/>
                          <a:pt x="40" y="50"/>
                        </a:cubicBezTo>
                        <a:cubicBezTo>
                          <a:pt x="40" y="50"/>
                          <a:pt x="40" y="50"/>
                          <a:pt x="40" y="50"/>
                        </a:cubicBezTo>
                        <a:cubicBezTo>
                          <a:pt x="40" y="49"/>
                          <a:pt x="40" y="49"/>
                          <a:pt x="40" y="49"/>
                        </a:cubicBezTo>
                        <a:close/>
                        <a:moveTo>
                          <a:pt x="39" y="52"/>
                        </a:moveTo>
                        <a:cubicBezTo>
                          <a:pt x="38" y="53"/>
                          <a:pt x="38" y="53"/>
                          <a:pt x="39" y="53"/>
                        </a:cubicBezTo>
                        <a:cubicBezTo>
                          <a:pt x="38" y="53"/>
                          <a:pt x="38" y="53"/>
                          <a:pt x="38" y="54"/>
                        </a:cubicBezTo>
                        <a:cubicBezTo>
                          <a:pt x="38" y="53"/>
                          <a:pt x="38" y="53"/>
                          <a:pt x="38" y="53"/>
                        </a:cubicBezTo>
                        <a:cubicBezTo>
                          <a:pt x="38" y="53"/>
                          <a:pt x="38" y="53"/>
                          <a:pt x="38" y="53"/>
                        </a:cubicBezTo>
                        <a:cubicBezTo>
                          <a:pt x="38" y="53"/>
                          <a:pt x="38" y="53"/>
                          <a:pt x="38" y="53"/>
                        </a:cubicBezTo>
                        <a:cubicBezTo>
                          <a:pt x="38" y="53"/>
                          <a:pt x="38" y="53"/>
                          <a:pt x="38" y="53"/>
                        </a:cubicBezTo>
                        <a:cubicBezTo>
                          <a:pt x="38" y="53"/>
                          <a:pt x="39" y="53"/>
                          <a:pt x="38" y="52"/>
                        </a:cubicBezTo>
                        <a:cubicBezTo>
                          <a:pt x="39" y="52"/>
                          <a:pt x="39" y="52"/>
                          <a:pt x="39" y="52"/>
                        </a:cubicBezTo>
                        <a:close/>
                        <a:moveTo>
                          <a:pt x="41" y="51"/>
                        </a:moveTo>
                        <a:cubicBezTo>
                          <a:pt x="41" y="51"/>
                          <a:pt x="41" y="51"/>
                          <a:pt x="41" y="51"/>
                        </a:cubicBezTo>
                        <a:cubicBezTo>
                          <a:pt x="42" y="51"/>
                          <a:pt x="41" y="51"/>
                          <a:pt x="41" y="51"/>
                        </a:cubicBezTo>
                        <a:close/>
                        <a:moveTo>
                          <a:pt x="40" y="46"/>
                        </a:moveTo>
                        <a:cubicBezTo>
                          <a:pt x="40" y="46"/>
                          <a:pt x="40" y="46"/>
                          <a:pt x="40" y="46"/>
                        </a:cubicBezTo>
                        <a:cubicBezTo>
                          <a:pt x="40" y="46"/>
                          <a:pt x="40" y="47"/>
                          <a:pt x="40" y="46"/>
                        </a:cubicBezTo>
                        <a:close/>
                        <a:moveTo>
                          <a:pt x="39" y="45"/>
                        </a:moveTo>
                        <a:cubicBezTo>
                          <a:pt x="39" y="45"/>
                          <a:pt x="39" y="45"/>
                          <a:pt x="38" y="46"/>
                        </a:cubicBezTo>
                        <a:cubicBezTo>
                          <a:pt x="38" y="46"/>
                          <a:pt x="39" y="46"/>
                          <a:pt x="38" y="46"/>
                        </a:cubicBezTo>
                        <a:cubicBezTo>
                          <a:pt x="38" y="46"/>
                          <a:pt x="38" y="46"/>
                          <a:pt x="38" y="46"/>
                        </a:cubicBezTo>
                        <a:cubicBezTo>
                          <a:pt x="38" y="46"/>
                          <a:pt x="38" y="46"/>
                          <a:pt x="38" y="46"/>
                        </a:cubicBezTo>
                        <a:cubicBezTo>
                          <a:pt x="38" y="45"/>
                          <a:pt x="38" y="45"/>
                          <a:pt x="38" y="45"/>
                        </a:cubicBezTo>
                        <a:cubicBezTo>
                          <a:pt x="39" y="45"/>
                          <a:pt x="39" y="45"/>
                          <a:pt x="39" y="45"/>
                        </a:cubicBezTo>
                        <a:close/>
                        <a:moveTo>
                          <a:pt x="39" y="46"/>
                        </a:moveTo>
                        <a:cubicBezTo>
                          <a:pt x="39" y="46"/>
                          <a:pt x="39" y="46"/>
                          <a:pt x="39" y="46"/>
                        </a:cubicBezTo>
                        <a:cubicBezTo>
                          <a:pt x="39" y="46"/>
                          <a:pt x="39" y="46"/>
                          <a:pt x="39" y="46"/>
                        </a:cubicBezTo>
                        <a:close/>
                        <a:moveTo>
                          <a:pt x="34" y="44"/>
                        </a:moveTo>
                        <a:cubicBezTo>
                          <a:pt x="34" y="44"/>
                          <a:pt x="34" y="44"/>
                          <a:pt x="34" y="44"/>
                        </a:cubicBezTo>
                        <a:cubicBezTo>
                          <a:pt x="34" y="44"/>
                          <a:pt x="34" y="44"/>
                          <a:pt x="34" y="44"/>
                        </a:cubicBezTo>
                        <a:cubicBezTo>
                          <a:pt x="34" y="44"/>
                          <a:pt x="34" y="44"/>
                          <a:pt x="34" y="45"/>
                        </a:cubicBezTo>
                        <a:cubicBezTo>
                          <a:pt x="34" y="45"/>
                          <a:pt x="34" y="45"/>
                          <a:pt x="34" y="45"/>
                        </a:cubicBezTo>
                        <a:cubicBezTo>
                          <a:pt x="34" y="44"/>
                          <a:pt x="34" y="44"/>
                          <a:pt x="34" y="44"/>
                        </a:cubicBezTo>
                        <a:cubicBezTo>
                          <a:pt x="34" y="44"/>
                          <a:pt x="34" y="44"/>
                          <a:pt x="34" y="44"/>
                        </a:cubicBezTo>
                        <a:close/>
                        <a:moveTo>
                          <a:pt x="37" y="45"/>
                        </a:moveTo>
                        <a:cubicBezTo>
                          <a:pt x="37" y="45"/>
                          <a:pt x="36" y="46"/>
                          <a:pt x="36" y="46"/>
                        </a:cubicBezTo>
                        <a:cubicBezTo>
                          <a:pt x="36" y="46"/>
                          <a:pt x="36" y="46"/>
                          <a:pt x="37" y="46"/>
                        </a:cubicBezTo>
                        <a:cubicBezTo>
                          <a:pt x="37" y="46"/>
                          <a:pt x="36" y="46"/>
                          <a:pt x="36" y="46"/>
                        </a:cubicBezTo>
                        <a:cubicBezTo>
                          <a:pt x="36" y="46"/>
                          <a:pt x="36" y="47"/>
                          <a:pt x="36" y="47"/>
                        </a:cubicBezTo>
                        <a:cubicBezTo>
                          <a:pt x="36" y="47"/>
                          <a:pt x="36" y="47"/>
                          <a:pt x="36" y="47"/>
                        </a:cubicBezTo>
                        <a:cubicBezTo>
                          <a:pt x="36" y="47"/>
                          <a:pt x="36" y="47"/>
                          <a:pt x="36" y="47"/>
                        </a:cubicBezTo>
                        <a:cubicBezTo>
                          <a:pt x="36" y="47"/>
                          <a:pt x="36" y="47"/>
                          <a:pt x="36" y="47"/>
                        </a:cubicBezTo>
                        <a:cubicBezTo>
                          <a:pt x="36" y="47"/>
                          <a:pt x="36" y="47"/>
                          <a:pt x="36" y="47"/>
                        </a:cubicBezTo>
                        <a:cubicBezTo>
                          <a:pt x="36" y="47"/>
                          <a:pt x="36" y="47"/>
                          <a:pt x="36" y="48"/>
                        </a:cubicBezTo>
                        <a:cubicBezTo>
                          <a:pt x="36" y="48"/>
                          <a:pt x="36" y="48"/>
                          <a:pt x="36" y="48"/>
                        </a:cubicBezTo>
                        <a:cubicBezTo>
                          <a:pt x="36" y="47"/>
                          <a:pt x="36" y="47"/>
                          <a:pt x="36" y="47"/>
                        </a:cubicBezTo>
                        <a:cubicBezTo>
                          <a:pt x="36" y="47"/>
                          <a:pt x="36" y="47"/>
                          <a:pt x="36" y="48"/>
                        </a:cubicBezTo>
                        <a:cubicBezTo>
                          <a:pt x="36" y="48"/>
                          <a:pt x="36" y="47"/>
                          <a:pt x="36" y="47"/>
                        </a:cubicBezTo>
                        <a:cubicBezTo>
                          <a:pt x="35" y="48"/>
                          <a:pt x="35" y="48"/>
                          <a:pt x="35" y="48"/>
                        </a:cubicBezTo>
                        <a:cubicBezTo>
                          <a:pt x="35" y="48"/>
                          <a:pt x="35" y="48"/>
                          <a:pt x="36" y="48"/>
                        </a:cubicBezTo>
                        <a:cubicBezTo>
                          <a:pt x="36" y="48"/>
                          <a:pt x="36" y="48"/>
                          <a:pt x="36" y="48"/>
                        </a:cubicBezTo>
                        <a:cubicBezTo>
                          <a:pt x="35" y="48"/>
                          <a:pt x="35" y="48"/>
                          <a:pt x="35" y="48"/>
                        </a:cubicBezTo>
                        <a:cubicBezTo>
                          <a:pt x="35" y="47"/>
                          <a:pt x="36" y="47"/>
                          <a:pt x="35" y="47"/>
                        </a:cubicBezTo>
                        <a:cubicBezTo>
                          <a:pt x="35" y="47"/>
                          <a:pt x="35" y="47"/>
                          <a:pt x="35" y="48"/>
                        </a:cubicBezTo>
                        <a:cubicBezTo>
                          <a:pt x="35" y="48"/>
                          <a:pt x="35" y="48"/>
                          <a:pt x="35" y="48"/>
                        </a:cubicBezTo>
                        <a:cubicBezTo>
                          <a:pt x="35" y="48"/>
                          <a:pt x="35" y="48"/>
                          <a:pt x="35" y="48"/>
                        </a:cubicBezTo>
                        <a:cubicBezTo>
                          <a:pt x="35" y="49"/>
                          <a:pt x="35" y="48"/>
                          <a:pt x="35" y="49"/>
                        </a:cubicBezTo>
                        <a:cubicBezTo>
                          <a:pt x="35" y="48"/>
                          <a:pt x="35" y="48"/>
                          <a:pt x="35" y="48"/>
                        </a:cubicBezTo>
                        <a:cubicBezTo>
                          <a:pt x="35" y="48"/>
                          <a:pt x="35" y="48"/>
                          <a:pt x="34" y="48"/>
                        </a:cubicBezTo>
                        <a:cubicBezTo>
                          <a:pt x="34" y="48"/>
                          <a:pt x="35" y="48"/>
                          <a:pt x="35" y="48"/>
                        </a:cubicBezTo>
                        <a:cubicBezTo>
                          <a:pt x="35" y="47"/>
                          <a:pt x="35" y="48"/>
                          <a:pt x="35" y="47"/>
                        </a:cubicBezTo>
                        <a:cubicBezTo>
                          <a:pt x="34" y="48"/>
                          <a:pt x="34" y="48"/>
                          <a:pt x="34" y="48"/>
                        </a:cubicBezTo>
                        <a:cubicBezTo>
                          <a:pt x="34" y="48"/>
                          <a:pt x="34" y="48"/>
                          <a:pt x="34" y="48"/>
                        </a:cubicBezTo>
                        <a:cubicBezTo>
                          <a:pt x="34" y="48"/>
                          <a:pt x="34" y="48"/>
                          <a:pt x="34" y="48"/>
                        </a:cubicBezTo>
                        <a:cubicBezTo>
                          <a:pt x="34" y="48"/>
                          <a:pt x="34" y="47"/>
                          <a:pt x="34" y="48"/>
                        </a:cubicBezTo>
                        <a:cubicBezTo>
                          <a:pt x="34" y="47"/>
                          <a:pt x="34" y="48"/>
                          <a:pt x="33" y="48"/>
                        </a:cubicBezTo>
                        <a:cubicBezTo>
                          <a:pt x="33" y="48"/>
                          <a:pt x="33" y="48"/>
                          <a:pt x="33" y="48"/>
                        </a:cubicBezTo>
                        <a:cubicBezTo>
                          <a:pt x="33" y="48"/>
                          <a:pt x="33" y="48"/>
                          <a:pt x="33" y="48"/>
                        </a:cubicBezTo>
                        <a:cubicBezTo>
                          <a:pt x="33" y="48"/>
                          <a:pt x="33" y="48"/>
                          <a:pt x="33" y="48"/>
                        </a:cubicBezTo>
                        <a:cubicBezTo>
                          <a:pt x="33" y="48"/>
                          <a:pt x="33" y="48"/>
                          <a:pt x="33" y="48"/>
                        </a:cubicBezTo>
                        <a:cubicBezTo>
                          <a:pt x="33" y="48"/>
                          <a:pt x="33" y="48"/>
                          <a:pt x="33" y="48"/>
                        </a:cubicBezTo>
                        <a:cubicBezTo>
                          <a:pt x="33" y="48"/>
                          <a:pt x="33" y="48"/>
                          <a:pt x="33" y="48"/>
                        </a:cubicBezTo>
                        <a:cubicBezTo>
                          <a:pt x="33" y="48"/>
                          <a:pt x="33" y="48"/>
                          <a:pt x="33" y="48"/>
                        </a:cubicBezTo>
                        <a:cubicBezTo>
                          <a:pt x="33" y="48"/>
                          <a:pt x="33" y="48"/>
                          <a:pt x="33" y="48"/>
                        </a:cubicBezTo>
                        <a:cubicBezTo>
                          <a:pt x="32" y="48"/>
                          <a:pt x="33" y="48"/>
                          <a:pt x="32" y="48"/>
                        </a:cubicBezTo>
                        <a:cubicBezTo>
                          <a:pt x="32" y="48"/>
                          <a:pt x="32" y="48"/>
                          <a:pt x="32" y="48"/>
                        </a:cubicBezTo>
                        <a:cubicBezTo>
                          <a:pt x="32" y="48"/>
                          <a:pt x="32" y="48"/>
                          <a:pt x="32" y="48"/>
                        </a:cubicBezTo>
                        <a:cubicBezTo>
                          <a:pt x="32" y="48"/>
                          <a:pt x="32" y="48"/>
                          <a:pt x="32" y="48"/>
                        </a:cubicBezTo>
                        <a:cubicBezTo>
                          <a:pt x="32" y="48"/>
                          <a:pt x="32" y="48"/>
                          <a:pt x="32" y="48"/>
                        </a:cubicBezTo>
                        <a:cubicBezTo>
                          <a:pt x="32" y="49"/>
                          <a:pt x="32" y="48"/>
                          <a:pt x="32" y="48"/>
                        </a:cubicBezTo>
                        <a:cubicBezTo>
                          <a:pt x="32" y="49"/>
                          <a:pt x="32" y="49"/>
                          <a:pt x="32" y="49"/>
                        </a:cubicBezTo>
                        <a:cubicBezTo>
                          <a:pt x="32" y="49"/>
                          <a:pt x="32" y="49"/>
                          <a:pt x="32" y="48"/>
                        </a:cubicBezTo>
                        <a:cubicBezTo>
                          <a:pt x="32" y="49"/>
                          <a:pt x="32" y="49"/>
                          <a:pt x="32" y="49"/>
                        </a:cubicBezTo>
                        <a:cubicBezTo>
                          <a:pt x="32" y="49"/>
                          <a:pt x="32" y="49"/>
                          <a:pt x="32" y="48"/>
                        </a:cubicBezTo>
                        <a:cubicBezTo>
                          <a:pt x="32" y="48"/>
                          <a:pt x="32" y="47"/>
                          <a:pt x="33" y="48"/>
                        </a:cubicBezTo>
                        <a:cubicBezTo>
                          <a:pt x="33" y="47"/>
                          <a:pt x="33" y="47"/>
                          <a:pt x="33" y="47"/>
                        </a:cubicBezTo>
                        <a:cubicBezTo>
                          <a:pt x="33" y="47"/>
                          <a:pt x="33" y="47"/>
                          <a:pt x="33" y="47"/>
                        </a:cubicBezTo>
                        <a:cubicBezTo>
                          <a:pt x="33" y="47"/>
                          <a:pt x="33" y="47"/>
                          <a:pt x="33" y="48"/>
                        </a:cubicBezTo>
                        <a:cubicBezTo>
                          <a:pt x="33" y="48"/>
                          <a:pt x="33" y="47"/>
                          <a:pt x="34" y="47"/>
                        </a:cubicBezTo>
                        <a:cubicBezTo>
                          <a:pt x="33" y="47"/>
                          <a:pt x="33" y="47"/>
                          <a:pt x="33" y="48"/>
                        </a:cubicBezTo>
                        <a:cubicBezTo>
                          <a:pt x="33" y="48"/>
                          <a:pt x="33" y="47"/>
                          <a:pt x="34" y="47"/>
                        </a:cubicBez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7"/>
                          <a:pt x="34" y="47"/>
                          <a:pt x="33" y="47"/>
                        </a:cubicBez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6"/>
                          <a:pt x="34" y="47"/>
                          <a:pt x="34" y="47"/>
                        </a:cubicBezTo>
                        <a:cubicBezTo>
                          <a:pt x="34" y="46"/>
                          <a:pt x="34" y="46"/>
                          <a:pt x="34" y="46"/>
                        </a:cubicBezTo>
                        <a:cubicBezTo>
                          <a:pt x="34" y="46"/>
                          <a:pt x="34" y="47"/>
                          <a:pt x="34" y="47"/>
                        </a:cubicBez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7"/>
                          <a:pt x="35" y="47"/>
                          <a:pt x="34" y="47"/>
                        </a:cubicBezTo>
                        <a:cubicBezTo>
                          <a:pt x="35" y="47"/>
                          <a:pt x="35" y="46"/>
                          <a:pt x="35" y="46"/>
                        </a:cubicBezTo>
                        <a:cubicBezTo>
                          <a:pt x="35" y="46"/>
                          <a:pt x="35" y="46"/>
                          <a:pt x="35" y="46"/>
                        </a:cubicBezTo>
                        <a:cubicBezTo>
                          <a:pt x="35" y="46"/>
                          <a:pt x="35" y="46"/>
                          <a:pt x="35" y="47"/>
                        </a:cubicBezTo>
                        <a:cubicBezTo>
                          <a:pt x="35" y="47"/>
                          <a:pt x="35" y="46"/>
                          <a:pt x="35" y="46"/>
                        </a:cubicBezTo>
                        <a:cubicBezTo>
                          <a:pt x="35" y="46"/>
                          <a:pt x="35" y="46"/>
                          <a:pt x="35" y="46"/>
                        </a:cubicBezTo>
                        <a:cubicBezTo>
                          <a:pt x="35" y="46"/>
                          <a:pt x="35" y="46"/>
                          <a:pt x="35" y="46"/>
                        </a:cubicBezTo>
                        <a:cubicBezTo>
                          <a:pt x="35" y="46"/>
                          <a:pt x="35" y="46"/>
                          <a:pt x="36" y="46"/>
                        </a:cubicBezTo>
                        <a:cubicBezTo>
                          <a:pt x="36" y="46"/>
                          <a:pt x="36" y="46"/>
                          <a:pt x="36" y="46"/>
                        </a:cubicBezTo>
                        <a:cubicBezTo>
                          <a:pt x="36" y="46"/>
                          <a:pt x="36" y="46"/>
                          <a:pt x="36" y="46"/>
                        </a:cubicBezTo>
                        <a:cubicBezTo>
                          <a:pt x="36" y="46"/>
                          <a:pt x="36" y="46"/>
                          <a:pt x="36" y="46"/>
                        </a:cubicBezTo>
                        <a:cubicBezTo>
                          <a:pt x="36" y="46"/>
                          <a:pt x="36" y="45"/>
                          <a:pt x="37" y="45"/>
                        </a:cubicBezTo>
                        <a:close/>
                        <a:moveTo>
                          <a:pt x="34" y="47"/>
                        </a:move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7"/>
                          <a:pt x="34" y="47"/>
                          <a:pt x="34" y="47"/>
                        </a:cubicBezTo>
                        <a:close/>
                        <a:moveTo>
                          <a:pt x="34" y="47"/>
                        </a:move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7"/>
                          <a:pt x="34" y="47"/>
                          <a:pt x="34" y="48"/>
                        </a:cubicBezTo>
                        <a:cubicBezTo>
                          <a:pt x="34" y="48"/>
                          <a:pt x="34" y="47"/>
                          <a:pt x="34" y="47"/>
                        </a:cubicBezTo>
                        <a:close/>
                        <a:moveTo>
                          <a:pt x="36" y="46"/>
                        </a:moveTo>
                        <a:cubicBezTo>
                          <a:pt x="36" y="47"/>
                          <a:pt x="35" y="47"/>
                          <a:pt x="36" y="47"/>
                        </a:cubicBezTo>
                        <a:cubicBezTo>
                          <a:pt x="36" y="47"/>
                          <a:pt x="36" y="47"/>
                          <a:pt x="36" y="46"/>
                        </a:cubicBezTo>
                        <a:close/>
                        <a:moveTo>
                          <a:pt x="36" y="47"/>
                        </a:moveTo>
                        <a:cubicBezTo>
                          <a:pt x="36" y="47"/>
                          <a:pt x="36" y="47"/>
                          <a:pt x="36" y="46"/>
                        </a:cubicBezTo>
                        <a:cubicBezTo>
                          <a:pt x="36" y="47"/>
                          <a:pt x="36" y="47"/>
                          <a:pt x="36" y="47"/>
                        </a:cubicBezTo>
                        <a:close/>
                        <a:moveTo>
                          <a:pt x="40" y="47"/>
                        </a:moveTo>
                        <a:cubicBezTo>
                          <a:pt x="40" y="47"/>
                          <a:pt x="40" y="47"/>
                          <a:pt x="40" y="48"/>
                        </a:cubicBezTo>
                        <a:cubicBezTo>
                          <a:pt x="40" y="47"/>
                          <a:pt x="40" y="47"/>
                          <a:pt x="40" y="47"/>
                        </a:cubicBezTo>
                        <a:close/>
                        <a:moveTo>
                          <a:pt x="33" y="44"/>
                        </a:moveTo>
                        <a:cubicBezTo>
                          <a:pt x="33" y="44"/>
                          <a:pt x="33" y="44"/>
                          <a:pt x="33" y="44"/>
                        </a:cubicBezTo>
                        <a:cubicBezTo>
                          <a:pt x="32" y="44"/>
                          <a:pt x="32" y="44"/>
                          <a:pt x="32" y="44"/>
                        </a:cubicBezTo>
                        <a:cubicBezTo>
                          <a:pt x="32" y="44"/>
                          <a:pt x="32" y="44"/>
                          <a:pt x="32" y="44"/>
                        </a:cubicBezTo>
                        <a:cubicBezTo>
                          <a:pt x="32" y="44"/>
                          <a:pt x="33" y="44"/>
                          <a:pt x="33" y="44"/>
                        </a:cubicBezTo>
                        <a:close/>
                        <a:moveTo>
                          <a:pt x="37" y="50"/>
                        </a:moveTo>
                        <a:cubicBezTo>
                          <a:pt x="37" y="50"/>
                          <a:pt x="37" y="50"/>
                          <a:pt x="38" y="49"/>
                        </a:cubicBezTo>
                        <a:cubicBezTo>
                          <a:pt x="38" y="49"/>
                          <a:pt x="38" y="49"/>
                          <a:pt x="38" y="49"/>
                        </a:cubicBezTo>
                        <a:cubicBezTo>
                          <a:pt x="38" y="49"/>
                          <a:pt x="38" y="49"/>
                          <a:pt x="38" y="50"/>
                        </a:cubicBezTo>
                        <a:cubicBezTo>
                          <a:pt x="37" y="50"/>
                          <a:pt x="37" y="50"/>
                          <a:pt x="37" y="50"/>
                        </a:cubicBezTo>
                        <a:cubicBezTo>
                          <a:pt x="37" y="50"/>
                          <a:pt x="37" y="50"/>
                          <a:pt x="37" y="50"/>
                        </a:cubicBezTo>
                        <a:cubicBezTo>
                          <a:pt x="37" y="50"/>
                          <a:pt x="37" y="50"/>
                          <a:pt x="37" y="50"/>
                        </a:cubicBezTo>
                        <a:cubicBezTo>
                          <a:pt x="37" y="50"/>
                          <a:pt x="37" y="50"/>
                          <a:pt x="37" y="50"/>
                        </a:cubicBezTo>
                        <a:cubicBezTo>
                          <a:pt x="37" y="50"/>
                          <a:pt x="37" y="50"/>
                          <a:pt x="37" y="50"/>
                        </a:cubicBezTo>
                        <a:cubicBezTo>
                          <a:pt x="37" y="50"/>
                          <a:pt x="37" y="51"/>
                          <a:pt x="37" y="50"/>
                        </a:cubicBezTo>
                        <a:cubicBezTo>
                          <a:pt x="37" y="50"/>
                          <a:pt x="37" y="50"/>
                          <a:pt x="37" y="50"/>
                        </a:cubicBezTo>
                        <a:close/>
                        <a:moveTo>
                          <a:pt x="38" y="51"/>
                        </a:moveTo>
                        <a:cubicBezTo>
                          <a:pt x="38" y="51"/>
                          <a:pt x="38" y="51"/>
                          <a:pt x="38" y="51"/>
                        </a:cubicBezTo>
                        <a:cubicBezTo>
                          <a:pt x="38" y="51"/>
                          <a:pt x="38" y="51"/>
                          <a:pt x="38" y="51"/>
                        </a:cubicBezTo>
                        <a:cubicBezTo>
                          <a:pt x="38" y="51"/>
                          <a:pt x="39" y="50"/>
                          <a:pt x="39" y="50"/>
                        </a:cubicBezTo>
                        <a:cubicBezTo>
                          <a:pt x="39" y="50"/>
                          <a:pt x="38" y="51"/>
                          <a:pt x="38" y="51"/>
                        </a:cubicBezTo>
                        <a:close/>
                        <a:moveTo>
                          <a:pt x="26" y="74"/>
                        </a:moveTo>
                        <a:cubicBezTo>
                          <a:pt x="26" y="74"/>
                          <a:pt x="26" y="74"/>
                          <a:pt x="25" y="75"/>
                        </a:cubicBezTo>
                        <a:cubicBezTo>
                          <a:pt x="25" y="75"/>
                          <a:pt x="25" y="74"/>
                          <a:pt x="25" y="74"/>
                        </a:cubicBezTo>
                        <a:cubicBezTo>
                          <a:pt x="25" y="75"/>
                          <a:pt x="25" y="75"/>
                          <a:pt x="25" y="75"/>
                        </a:cubicBezTo>
                        <a:cubicBezTo>
                          <a:pt x="25" y="75"/>
                          <a:pt x="25" y="75"/>
                          <a:pt x="25" y="75"/>
                        </a:cubicBezTo>
                        <a:cubicBezTo>
                          <a:pt x="25" y="75"/>
                          <a:pt x="25" y="76"/>
                          <a:pt x="25" y="76"/>
                        </a:cubicBezTo>
                        <a:cubicBezTo>
                          <a:pt x="25" y="76"/>
                          <a:pt x="25" y="75"/>
                          <a:pt x="25" y="75"/>
                        </a:cubicBezTo>
                        <a:cubicBezTo>
                          <a:pt x="25" y="75"/>
                          <a:pt x="25" y="75"/>
                          <a:pt x="25" y="75"/>
                        </a:cubicBezTo>
                        <a:cubicBezTo>
                          <a:pt x="24" y="76"/>
                          <a:pt x="24" y="77"/>
                          <a:pt x="24" y="77"/>
                        </a:cubicBezTo>
                        <a:cubicBezTo>
                          <a:pt x="24" y="77"/>
                          <a:pt x="24" y="76"/>
                          <a:pt x="24" y="76"/>
                        </a:cubicBezTo>
                        <a:cubicBezTo>
                          <a:pt x="24" y="76"/>
                          <a:pt x="24" y="75"/>
                          <a:pt x="24" y="75"/>
                        </a:cubicBezTo>
                        <a:cubicBezTo>
                          <a:pt x="24" y="75"/>
                          <a:pt x="24" y="75"/>
                          <a:pt x="24" y="75"/>
                        </a:cubicBezTo>
                        <a:cubicBezTo>
                          <a:pt x="24" y="75"/>
                          <a:pt x="23" y="76"/>
                          <a:pt x="24" y="76"/>
                        </a:cubicBezTo>
                        <a:cubicBezTo>
                          <a:pt x="24" y="76"/>
                          <a:pt x="24" y="76"/>
                          <a:pt x="24" y="76"/>
                        </a:cubicBezTo>
                        <a:cubicBezTo>
                          <a:pt x="24" y="76"/>
                          <a:pt x="24" y="76"/>
                          <a:pt x="24" y="76"/>
                        </a:cubicBezTo>
                        <a:cubicBezTo>
                          <a:pt x="24" y="76"/>
                          <a:pt x="24" y="76"/>
                          <a:pt x="24" y="75"/>
                        </a:cubicBezTo>
                        <a:cubicBezTo>
                          <a:pt x="24" y="75"/>
                          <a:pt x="24" y="75"/>
                          <a:pt x="24" y="75"/>
                        </a:cubicBezTo>
                        <a:cubicBezTo>
                          <a:pt x="24" y="76"/>
                          <a:pt x="24" y="76"/>
                          <a:pt x="24" y="76"/>
                        </a:cubicBezTo>
                        <a:cubicBezTo>
                          <a:pt x="24" y="76"/>
                          <a:pt x="24" y="76"/>
                          <a:pt x="24" y="77"/>
                        </a:cubicBezTo>
                        <a:cubicBezTo>
                          <a:pt x="23" y="77"/>
                          <a:pt x="23" y="77"/>
                          <a:pt x="23" y="77"/>
                        </a:cubicBezTo>
                        <a:cubicBezTo>
                          <a:pt x="24" y="77"/>
                          <a:pt x="24" y="76"/>
                          <a:pt x="24" y="77"/>
                        </a:cubicBezTo>
                        <a:cubicBezTo>
                          <a:pt x="24" y="76"/>
                          <a:pt x="24" y="77"/>
                          <a:pt x="23" y="76"/>
                        </a:cubicBezTo>
                        <a:cubicBezTo>
                          <a:pt x="23" y="76"/>
                          <a:pt x="23" y="77"/>
                          <a:pt x="23" y="77"/>
                        </a:cubicBezTo>
                        <a:cubicBezTo>
                          <a:pt x="23" y="77"/>
                          <a:pt x="23" y="77"/>
                          <a:pt x="23" y="77"/>
                        </a:cubicBezTo>
                        <a:cubicBezTo>
                          <a:pt x="23" y="77"/>
                          <a:pt x="23" y="77"/>
                          <a:pt x="23" y="77"/>
                        </a:cubicBezTo>
                        <a:cubicBezTo>
                          <a:pt x="23" y="77"/>
                          <a:pt x="23" y="76"/>
                          <a:pt x="23" y="76"/>
                        </a:cubicBezTo>
                        <a:cubicBezTo>
                          <a:pt x="24" y="76"/>
                          <a:pt x="24" y="75"/>
                          <a:pt x="24" y="75"/>
                        </a:cubicBezTo>
                        <a:cubicBezTo>
                          <a:pt x="24" y="75"/>
                          <a:pt x="24" y="75"/>
                          <a:pt x="24" y="75"/>
                        </a:cubicBezTo>
                        <a:cubicBezTo>
                          <a:pt x="24" y="74"/>
                          <a:pt x="24" y="74"/>
                          <a:pt x="24" y="74"/>
                        </a:cubicBezTo>
                        <a:cubicBezTo>
                          <a:pt x="24" y="74"/>
                          <a:pt x="24" y="75"/>
                          <a:pt x="24" y="75"/>
                        </a:cubicBezTo>
                        <a:cubicBezTo>
                          <a:pt x="24" y="75"/>
                          <a:pt x="24" y="75"/>
                          <a:pt x="24" y="75"/>
                        </a:cubicBezTo>
                        <a:cubicBezTo>
                          <a:pt x="24" y="75"/>
                          <a:pt x="25" y="75"/>
                          <a:pt x="24" y="75"/>
                        </a:cubicBezTo>
                        <a:cubicBezTo>
                          <a:pt x="25" y="75"/>
                          <a:pt x="25" y="75"/>
                          <a:pt x="25" y="75"/>
                        </a:cubicBezTo>
                        <a:cubicBezTo>
                          <a:pt x="25" y="75"/>
                          <a:pt x="25" y="75"/>
                          <a:pt x="25" y="75"/>
                        </a:cubicBezTo>
                        <a:cubicBezTo>
                          <a:pt x="25" y="75"/>
                          <a:pt x="25" y="75"/>
                          <a:pt x="24" y="75"/>
                        </a:cubicBezTo>
                        <a:cubicBezTo>
                          <a:pt x="24" y="75"/>
                          <a:pt x="25" y="75"/>
                          <a:pt x="25" y="74"/>
                        </a:cubicBezTo>
                        <a:cubicBezTo>
                          <a:pt x="25" y="74"/>
                          <a:pt x="25" y="74"/>
                          <a:pt x="24" y="74"/>
                        </a:cubicBezTo>
                        <a:cubicBezTo>
                          <a:pt x="24" y="75"/>
                          <a:pt x="24" y="75"/>
                          <a:pt x="24" y="75"/>
                        </a:cubicBezTo>
                        <a:cubicBezTo>
                          <a:pt x="24" y="75"/>
                          <a:pt x="24" y="75"/>
                          <a:pt x="24" y="75"/>
                        </a:cubicBezTo>
                        <a:cubicBezTo>
                          <a:pt x="24" y="74"/>
                          <a:pt x="25" y="74"/>
                          <a:pt x="25" y="74"/>
                        </a:cubicBezTo>
                        <a:cubicBezTo>
                          <a:pt x="24" y="74"/>
                          <a:pt x="24" y="74"/>
                          <a:pt x="24" y="74"/>
                        </a:cubicBezTo>
                        <a:cubicBezTo>
                          <a:pt x="24" y="74"/>
                          <a:pt x="24" y="74"/>
                          <a:pt x="24" y="74"/>
                        </a:cubicBezTo>
                        <a:cubicBezTo>
                          <a:pt x="24" y="74"/>
                          <a:pt x="24" y="74"/>
                          <a:pt x="24" y="74"/>
                        </a:cubicBezTo>
                        <a:cubicBezTo>
                          <a:pt x="24" y="74"/>
                          <a:pt x="24" y="74"/>
                          <a:pt x="24" y="74"/>
                        </a:cubicBezTo>
                        <a:cubicBezTo>
                          <a:pt x="24" y="74"/>
                          <a:pt x="24" y="75"/>
                          <a:pt x="24" y="74"/>
                        </a:cubicBezTo>
                        <a:cubicBezTo>
                          <a:pt x="24" y="74"/>
                          <a:pt x="23" y="75"/>
                          <a:pt x="23" y="75"/>
                        </a:cubicBezTo>
                        <a:cubicBezTo>
                          <a:pt x="24" y="75"/>
                          <a:pt x="23" y="75"/>
                          <a:pt x="23" y="75"/>
                        </a:cubicBezTo>
                        <a:cubicBezTo>
                          <a:pt x="23" y="75"/>
                          <a:pt x="23" y="75"/>
                          <a:pt x="23" y="75"/>
                        </a:cubicBezTo>
                        <a:cubicBezTo>
                          <a:pt x="23" y="74"/>
                          <a:pt x="24" y="74"/>
                          <a:pt x="24" y="74"/>
                        </a:cubicBezTo>
                        <a:cubicBezTo>
                          <a:pt x="24" y="73"/>
                          <a:pt x="24" y="73"/>
                          <a:pt x="24" y="73"/>
                        </a:cubicBezTo>
                        <a:cubicBezTo>
                          <a:pt x="24" y="73"/>
                          <a:pt x="24" y="73"/>
                          <a:pt x="24" y="73"/>
                        </a:cubicBezTo>
                        <a:cubicBezTo>
                          <a:pt x="24" y="73"/>
                          <a:pt x="24" y="73"/>
                          <a:pt x="24" y="73"/>
                        </a:cubicBezTo>
                        <a:cubicBezTo>
                          <a:pt x="25" y="73"/>
                          <a:pt x="24" y="73"/>
                          <a:pt x="24" y="74"/>
                        </a:cubicBezTo>
                        <a:cubicBezTo>
                          <a:pt x="24" y="74"/>
                          <a:pt x="24" y="74"/>
                          <a:pt x="25" y="74"/>
                        </a:cubicBezTo>
                        <a:cubicBezTo>
                          <a:pt x="25" y="73"/>
                          <a:pt x="24" y="73"/>
                          <a:pt x="25" y="73"/>
                        </a:cubicBezTo>
                        <a:cubicBezTo>
                          <a:pt x="25" y="73"/>
                          <a:pt x="25" y="73"/>
                          <a:pt x="25" y="73"/>
                        </a:cubicBezTo>
                        <a:cubicBezTo>
                          <a:pt x="25" y="73"/>
                          <a:pt x="25" y="73"/>
                          <a:pt x="25" y="73"/>
                        </a:cubicBezTo>
                        <a:cubicBezTo>
                          <a:pt x="25" y="73"/>
                          <a:pt x="25" y="73"/>
                          <a:pt x="25" y="73"/>
                        </a:cubicBezTo>
                        <a:cubicBezTo>
                          <a:pt x="25" y="73"/>
                          <a:pt x="25" y="73"/>
                          <a:pt x="25" y="73"/>
                        </a:cubicBezTo>
                        <a:cubicBezTo>
                          <a:pt x="25" y="73"/>
                          <a:pt x="25" y="73"/>
                          <a:pt x="25" y="72"/>
                        </a:cubicBezTo>
                        <a:cubicBezTo>
                          <a:pt x="25" y="73"/>
                          <a:pt x="25" y="72"/>
                          <a:pt x="25" y="73"/>
                        </a:cubicBezTo>
                        <a:cubicBezTo>
                          <a:pt x="25" y="73"/>
                          <a:pt x="25" y="73"/>
                          <a:pt x="25" y="73"/>
                        </a:cubicBezTo>
                        <a:cubicBezTo>
                          <a:pt x="25" y="73"/>
                          <a:pt x="25" y="73"/>
                          <a:pt x="25" y="73"/>
                        </a:cubicBezTo>
                        <a:cubicBezTo>
                          <a:pt x="25" y="73"/>
                          <a:pt x="25" y="73"/>
                          <a:pt x="25" y="73"/>
                        </a:cubicBezTo>
                        <a:cubicBezTo>
                          <a:pt x="25" y="73"/>
                          <a:pt x="25" y="73"/>
                          <a:pt x="25" y="73"/>
                        </a:cubicBezTo>
                        <a:cubicBezTo>
                          <a:pt x="25" y="73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3"/>
                        </a:cubicBezTo>
                        <a:cubicBezTo>
                          <a:pt x="25" y="73"/>
                          <a:pt x="25" y="73"/>
                          <a:pt x="25" y="74"/>
                        </a:cubicBezTo>
                        <a:cubicBezTo>
                          <a:pt x="25" y="73"/>
                          <a:pt x="25" y="74"/>
                          <a:pt x="25" y="74"/>
                        </a:cubicBezTo>
                        <a:cubicBezTo>
                          <a:pt x="25" y="73"/>
                          <a:pt x="26" y="73"/>
                          <a:pt x="26" y="72"/>
                        </a:cubicBezTo>
                        <a:cubicBezTo>
                          <a:pt x="26" y="73"/>
                          <a:pt x="26" y="72"/>
                          <a:pt x="26" y="72"/>
                        </a:cubicBezTo>
                        <a:cubicBezTo>
                          <a:pt x="26" y="72"/>
                          <a:pt x="26" y="72"/>
                          <a:pt x="26" y="72"/>
                        </a:cubicBezTo>
                        <a:cubicBezTo>
                          <a:pt x="26" y="72"/>
                          <a:pt x="26" y="72"/>
                          <a:pt x="27" y="72"/>
                        </a:cubicBezTo>
                        <a:cubicBezTo>
                          <a:pt x="27" y="72"/>
                          <a:pt x="27" y="72"/>
                          <a:pt x="27" y="72"/>
                        </a:cubicBezTo>
                        <a:cubicBezTo>
                          <a:pt x="27" y="72"/>
                          <a:pt x="27" y="72"/>
                          <a:pt x="27" y="71"/>
                        </a:cubicBezTo>
                        <a:cubicBezTo>
                          <a:pt x="27" y="71"/>
                          <a:pt x="27" y="71"/>
                          <a:pt x="27" y="71"/>
                        </a:cubicBezTo>
                        <a:cubicBezTo>
                          <a:pt x="27" y="71"/>
                          <a:pt x="27" y="72"/>
                          <a:pt x="27" y="71"/>
                        </a:cubicBezTo>
                        <a:cubicBezTo>
                          <a:pt x="27" y="71"/>
                          <a:pt x="27" y="71"/>
                          <a:pt x="27" y="71"/>
                        </a:cubicBezTo>
                        <a:cubicBezTo>
                          <a:pt x="27" y="71"/>
                          <a:pt x="27" y="71"/>
                          <a:pt x="27" y="71"/>
                        </a:cubicBezTo>
                        <a:cubicBezTo>
                          <a:pt x="27" y="71"/>
                          <a:pt x="27" y="71"/>
                          <a:pt x="27" y="71"/>
                        </a:cubicBezTo>
                        <a:cubicBezTo>
                          <a:pt x="27" y="71"/>
                          <a:pt x="27" y="71"/>
                          <a:pt x="27" y="71"/>
                        </a:cubicBezTo>
                        <a:cubicBezTo>
                          <a:pt x="27" y="71"/>
                          <a:pt x="27" y="71"/>
                          <a:pt x="27" y="71"/>
                        </a:cubicBezTo>
                        <a:cubicBezTo>
                          <a:pt x="27" y="71"/>
                          <a:pt x="27" y="70"/>
                          <a:pt x="28" y="70"/>
                        </a:cubicBezTo>
                        <a:cubicBezTo>
                          <a:pt x="28" y="70"/>
                          <a:pt x="28" y="70"/>
                          <a:pt x="28" y="70"/>
                        </a:cubicBezTo>
                        <a:cubicBezTo>
                          <a:pt x="28" y="70"/>
                          <a:pt x="28" y="70"/>
                          <a:pt x="28" y="70"/>
                        </a:cubicBezTo>
                        <a:cubicBezTo>
                          <a:pt x="28" y="70"/>
                          <a:pt x="27" y="70"/>
                          <a:pt x="27" y="70"/>
                        </a:cubicBezTo>
                        <a:cubicBezTo>
                          <a:pt x="27" y="70"/>
                          <a:pt x="27" y="70"/>
                          <a:pt x="27" y="70"/>
                        </a:cubicBezTo>
                        <a:cubicBezTo>
                          <a:pt x="27" y="70"/>
                          <a:pt x="27" y="71"/>
                          <a:pt x="27" y="71"/>
                        </a:cubicBezTo>
                        <a:cubicBezTo>
                          <a:pt x="28" y="70"/>
                          <a:pt x="28" y="70"/>
                          <a:pt x="28" y="69"/>
                        </a:cubicBezTo>
                        <a:cubicBezTo>
                          <a:pt x="28" y="69"/>
                          <a:pt x="28" y="70"/>
                          <a:pt x="28" y="70"/>
                        </a:cubicBezTo>
                        <a:cubicBezTo>
                          <a:pt x="28" y="70"/>
                          <a:pt x="28" y="70"/>
                          <a:pt x="28" y="70"/>
                        </a:cubicBezTo>
                        <a:cubicBezTo>
                          <a:pt x="28" y="70"/>
                          <a:pt x="28" y="70"/>
                          <a:pt x="28" y="70"/>
                        </a:cubicBezTo>
                        <a:cubicBezTo>
                          <a:pt x="27" y="70"/>
                          <a:pt x="27" y="70"/>
                          <a:pt x="27" y="70"/>
                        </a:cubicBezTo>
                        <a:cubicBezTo>
                          <a:pt x="27" y="70"/>
                          <a:pt x="28" y="69"/>
                          <a:pt x="28" y="69"/>
                        </a:cubicBezTo>
                        <a:cubicBezTo>
                          <a:pt x="28" y="69"/>
                          <a:pt x="28" y="69"/>
                          <a:pt x="28" y="69"/>
                        </a:cubicBezTo>
                        <a:cubicBezTo>
                          <a:pt x="27" y="69"/>
                          <a:pt x="28" y="69"/>
                          <a:pt x="28" y="69"/>
                        </a:cubicBezTo>
                        <a:cubicBezTo>
                          <a:pt x="28" y="69"/>
                          <a:pt x="28" y="69"/>
                          <a:pt x="28" y="69"/>
                        </a:cubicBezTo>
                        <a:cubicBezTo>
                          <a:pt x="28" y="69"/>
                          <a:pt x="28" y="69"/>
                          <a:pt x="28" y="69"/>
                        </a:cubicBezTo>
                        <a:cubicBezTo>
                          <a:pt x="28" y="69"/>
                          <a:pt x="28" y="68"/>
                          <a:pt x="28" y="68"/>
                        </a:cubicBezTo>
                        <a:cubicBezTo>
                          <a:pt x="28" y="68"/>
                          <a:pt x="28" y="68"/>
                          <a:pt x="28" y="68"/>
                        </a:cubicBezTo>
                        <a:cubicBezTo>
                          <a:pt x="29" y="68"/>
                          <a:pt x="29" y="68"/>
                          <a:pt x="29" y="68"/>
                        </a:cubicBezTo>
                        <a:cubicBezTo>
                          <a:pt x="29" y="68"/>
                          <a:pt x="29" y="68"/>
                          <a:pt x="29" y="68"/>
                        </a:cubicBezTo>
                        <a:cubicBezTo>
                          <a:pt x="29" y="68"/>
                          <a:pt x="29" y="68"/>
                          <a:pt x="29" y="68"/>
                        </a:cubicBezTo>
                        <a:cubicBezTo>
                          <a:pt x="29" y="67"/>
                          <a:pt x="29" y="66"/>
                          <a:pt x="30" y="66"/>
                        </a:cubicBezTo>
                        <a:cubicBezTo>
                          <a:pt x="30" y="66"/>
                          <a:pt x="30" y="66"/>
                          <a:pt x="29" y="66"/>
                        </a:cubicBezTo>
                        <a:cubicBezTo>
                          <a:pt x="30" y="66"/>
                          <a:pt x="30" y="66"/>
                          <a:pt x="30" y="66"/>
                        </a:cubicBezTo>
                        <a:cubicBezTo>
                          <a:pt x="30" y="66"/>
                          <a:pt x="30" y="66"/>
                          <a:pt x="30" y="66"/>
                        </a:cubicBezTo>
                        <a:cubicBezTo>
                          <a:pt x="30" y="66"/>
                          <a:pt x="30" y="66"/>
                          <a:pt x="30" y="66"/>
                        </a:cubicBezTo>
                        <a:cubicBezTo>
                          <a:pt x="30" y="66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6"/>
                          <a:pt x="30" y="67"/>
                          <a:pt x="30" y="67"/>
                        </a:cubicBezTo>
                        <a:cubicBezTo>
                          <a:pt x="29" y="67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29" y="67"/>
                          <a:pt x="29" y="68"/>
                          <a:pt x="29" y="68"/>
                        </a:cubicBezTo>
                        <a:cubicBezTo>
                          <a:pt x="29" y="68"/>
                          <a:pt x="29" y="68"/>
                          <a:pt x="29" y="68"/>
                        </a:cubicBezTo>
                        <a:cubicBezTo>
                          <a:pt x="29" y="68"/>
                          <a:pt x="29" y="69"/>
                          <a:pt x="29" y="69"/>
                        </a:cubicBezTo>
                        <a:cubicBezTo>
                          <a:pt x="29" y="69"/>
                          <a:pt x="29" y="68"/>
                          <a:pt x="29" y="69"/>
                        </a:cubicBezTo>
                        <a:cubicBezTo>
                          <a:pt x="29" y="68"/>
                          <a:pt x="29" y="68"/>
                          <a:pt x="29" y="68"/>
                        </a:cubicBezTo>
                        <a:cubicBezTo>
                          <a:pt x="29" y="68"/>
                          <a:pt x="29" y="68"/>
                          <a:pt x="29" y="68"/>
                        </a:cubicBezTo>
                        <a:cubicBezTo>
                          <a:pt x="30" y="68"/>
                          <a:pt x="29" y="68"/>
                          <a:pt x="29" y="68"/>
                        </a:cubicBezTo>
                        <a:cubicBezTo>
                          <a:pt x="30" y="68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7"/>
                          <a:pt x="30" y="66"/>
                          <a:pt x="31" y="65"/>
                        </a:cubicBezTo>
                        <a:cubicBezTo>
                          <a:pt x="30" y="65"/>
                          <a:pt x="30" y="66"/>
                          <a:pt x="30" y="66"/>
                        </a:cubicBezTo>
                        <a:cubicBezTo>
                          <a:pt x="30" y="65"/>
                          <a:pt x="30" y="66"/>
                          <a:pt x="30" y="65"/>
                        </a:cubicBezTo>
                        <a:cubicBezTo>
                          <a:pt x="30" y="65"/>
                          <a:pt x="30" y="66"/>
                          <a:pt x="30" y="65"/>
                        </a:cubicBezTo>
                        <a:cubicBezTo>
                          <a:pt x="30" y="65"/>
                          <a:pt x="30" y="66"/>
                          <a:pt x="30" y="66"/>
                        </a:cubicBezTo>
                        <a:cubicBezTo>
                          <a:pt x="30" y="65"/>
                          <a:pt x="30" y="65"/>
                          <a:pt x="30" y="65"/>
                        </a:cubicBezTo>
                        <a:cubicBezTo>
                          <a:pt x="30" y="65"/>
                          <a:pt x="30" y="65"/>
                          <a:pt x="30" y="65"/>
                        </a:cubicBezTo>
                        <a:cubicBezTo>
                          <a:pt x="30" y="65"/>
                          <a:pt x="30" y="65"/>
                          <a:pt x="30" y="66"/>
                        </a:cubicBezTo>
                        <a:cubicBezTo>
                          <a:pt x="30" y="65"/>
                          <a:pt x="29" y="66"/>
                          <a:pt x="29" y="66"/>
                        </a:cubicBezTo>
                        <a:cubicBezTo>
                          <a:pt x="29" y="66"/>
                          <a:pt x="30" y="65"/>
                          <a:pt x="29" y="65"/>
                        </a:cubicBezTo>
                        <a:cubicBezTo>
                          <a:pt x="29" y="65"/>
                          <a:pt x="29" y="66"/>
                          <a:pt x="29" y="66"/>
                        </a:cubicBezTo>
                        <a:cubicBezTo>
                          <a:pt x="29" y="66"/>
                          <a:pt x="29" y="66"/>
                          <a:pt x="29" y="66"/>
                        </a:cubicBezTo>
                        <a:cubicBezTo>
                          <a:pt x="29" y="66"/>
                          <a:pt x="29" y="66"/>
                          <a:pt x="29" y="66"/>
                        </a:cubicBezTo>
                        <a:cubicBezTo>
                          <a:pt x="29" y="66"/>
                          <a:pt x="29" y="66"/>
                          <a:pt x="29" y="66"/>
                        </a:cubicBezTo>
                        <a:cubicBezTo>
                          <a:pt x="29" y="66"/>
                          <a:pt x="29" y="66"/>
                          <a:pt x="29" y="66"/>
                        </a:cubicBezTo>
                        <a:cubicBezTo>
                          <a:pt x="29" y="66"/>
                          <a:pt x="29" y="66"/>
                          <a:pt x="29" y="66"/>
                        </a:cubicBezTo>
                        <a:cubicBezTo>
                          <a:pt x="29" y="66"/>
                          <a:pt x="29" y="67"/>
                          <a:pt x="29" y="67"/>
                        </a:cubicBezTo>
                        <a:cubicBezTo>
                          <a:pt x="29" y="67"/>
                          <a:pt x="29" y="67"/>
                          <a:pt x="29" y="67"/>
                        </a:cubicBezTo>
                        <a:cubicBezTo>
                          <a:pt x="29" y="67"/>
                          <a:pt x="29" y="67"/>
                          <a:pt x="29" y="67"/>
                        </a:cubicBezTo>
                        <a:cubicBezTo>
                          <a:pt x="29" y="67"/>
                          <a:pt x="29" y="67"/>
                          <a:pt x="29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8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8"/>
                        </a:cubicBezTo>
                        <a:cubicBezTo>
                          <a:pt x="28" y="68"/>
                          <a:pt x="28" y="67"/>
                          <a:pt x="28" y="67"/>
                        </a:cubicBezTo>
                        <a:cubicBezTo>
                          <a:pt x="27" y="68"/>
                          <a:pt x="28" y="68"/>
                          <a:pt x="27" y="68"/>
                        </a:cubicBezTo>
                        <a:cubicBezTo>
                          <a:pt x="27" y="68"/>
                          <a:pt x="27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7" y="67"/>
                        </a:cubicBezTo>
                        <a:cubicBezTo>
                          <a:pt x="27" y="67"/>
                          <a:pt x="27" y="67"/>
                          <a:pt x="27" y="67"/>
                        </a:cubicBezTo>
                        <a:cubicBezTo>
                          <a:pt x="27" y="68"/>
                          <a:pt x="27" y="67"/>
                          <a:pt x="27" y="67"/>
                        </a:cubicBezTo>
                        <a:cubicBezTo>
                          <a:pt x="27" y="68"/>
                          <a:pt x="27" y="68"/>
                          <a:pt x="27" y="68"/>
                        </a:cubicBezTo>
                        <a:cubicBezTo>
                          <a:pt x="27" y="68"/>
                          <a:pt x="27" y="68"/>
                          <a:pt x="27" y="68"/>
                        </a:cubicBezTo>
                        <a:cubicBezTo>
                          <a:pt x="27" y="68"/>
                          <a:pt x="27" y="68"/>
                          <a:pt x="27" y="68"/>
                        </a:cubicBezTo>
                        <a:cubicBezTo>
                          <a:pt x="28" y="68"/>
                          <a:pt x="27" y="68"/>
                          <a:pt x="27" y="68"/>
                        </a:cubicBezTo>
                        <a:cubicBezTo>
                          <a:pt x="27" y="68"/>
                          <a:pt x="27" y="68"/>
                          <a:pt x="27" y="68"/>
                        </a:cubicBezTo>
                        <a:cubicBezTo>
                          <a:pt x="27" y="68"/>
                          <a:pt x="27" y="68"/>
                          <a:pt x="27" y="69"/>
                        </a:cubicBezTo>
                        <a:cubicBezTo>
                          <a:pt x="27" y="69"/>
                          <a:pt x="26" y="69"/>
                          <a:pt x="26" y="70"/>
                        </a:cubicBezTo>
                        <a:cubicBezTo>
                          <a:pt x="26" y="70"/>
                          <a:pt x="26" y="70"/>
                          <a:pt x="26" y="70"/>
                        </a:cubicBezTo>
                        <a:cubicBezTo>
                          <a:pt x="26" y="70"/>
                          <a:pt x="26" y="70"/>
                          <a:pt x="26" y="70"/>
                        </a:cubicBezTo>
                        <a:cubicBezTo>
                          <a:pt x="26" y="70"/>
                          <a:pt x="26" y="70"/>
                          <a:pt x="26" y="70"/>
                        </a:cubicBezTo>
                        <a:cubicBezTo>
                          <a:pt x="26" y="70"/>
                          <a:pt x="26" y="70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8"/>
                        </a:cubicBezTo>
                        <a:cubicBezTo>
                          <a:pt x="27" y="68"/>
                          <a:pt x="26" y="69"/>
                          <a:pt x="26" y="69"/>
                        </a:cubicBezTo>
                        <a:cubicBezTo>
                          <a:pt x="27" y="69"/>
                          <a:pt x="27" y="68"/>
                          <a:pt x="26" y="68"/>
                        </a:cubicBezTo>
                        <a:cubicBezTo>
                          <a:pt x="27" y="68"/>
                          <a:pt x="27" y="68"/>
                          <a:pt x="27" y="68"/>
                        </a:cubicBezTo>
                        <a:cubicBezTo>
                          <a:pt x="27" y="68"/>
                          <a:pt x="27" y="68"/>
                          <a:pt x="26" y="68"/>
                        </a:cubicBezTo>
                        <a:cubicBezTo>
                          <a:pt x="26" y="68"/>
                          <a:pt x="26" y="68"/>
                          <a:pt x="26" y="68"/>
                        </a:cubicBezTo>
                        <a:cubicBezTo>
                          <a:pt x="26" y="68"/>
                          <a:pt x="26" y="68"/>
                          <a:pt x="26" y="68"/>
                        </a:cubicBezTo>
                        <a:cubicBezTo>
                          <a:pt x="26" y="68"/>
                          <a:pt x="26" y="68"/>
                          <a:pt x="26" y="68"/>
                        </a:cubicBezTo>
                        <a:cubicBezTo>
                          <a:pt x="26" y="68"/>
                          <a:pt x="26" y="68"/>
                          <a:pt x="26" y="68"/>
                        </a:cubicBezTo>
                        <a:cubicBezTo>
                          <a:pt x="26" y="68"/>
                          <a:pt x="26" y="68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5" y="69"/>
                          <a:pt x="26" y="69"/>
                        </a:cubicBezTo>
                        <a:cubicBezTo>
                          <a:pt x="26" y="69"/>
                          <a:pt x="25" y="69"/>
                          <a:pt x="25" y="69"/>
                        </a:cubicBezTo>
                        <a:cubicBezTo>
                          <a:pt x="25" y="69"/>
                          <a:pt x="25" y="69"/>
                          <a:pt x="25" y="69"/>
                        </a:cubicBezTo>
                        <a:cubicBezTo>
                          <a:pt x="25" y="69"/>
                          <a:pt x="25" y="69"/>
                          <a:pt x="25" y="69"/>
                        </a:cubicBezTo>
                        <a:cubicBezTo>
                          <a:pt x="25" y="69"/>
                          <a:pt x="25" y="69"/>
                          <a:pt x="25" y="69"/>
                        </a:cubicBezTo>
                        <a:cubicBezTo>
                          <a:pt x="25" y="69"/>
                          <a:pt x="25" y="68"/>
                          <a:pt x="26" y="68"/>
                        </a:cubicBezTo>
                        <a:cubicBezTo>
                          <a:pt x="26" y="68"/>
                          <a:pt x="26" y="68"/>
                          <a:pt x="25" y="68"/>
                        </a:cubicBezTo>
                        <a:cubicBezTo>
                          <a:pt x="26" y="67"/>
                          <a:pt x="26" y="67"/>
                          <a:pt x="26" y="67"/>
                        </a:cubicBezTo>
                        <a:cubicBezTo>
                          <a:pt x="26" y="67"/>
                          <a:pt x="26" y="67"/>
                          <a:pt x="26" y="67"/>
                        </a:cubicBezTo>
                        <a:cubicBezTo>
                          <a:pt x="26" y="67"/>
                          <a:pt x="26" y="67"/>
                          <a:pt x="26" y="67"/>
                        </a:cubicBezTo>
                        <a:cubicBezTo>
                          <a:pt x="26" y="67"/>
                          <a:pt x="26" y="67"/>
                          <a:pt x="26" y="67"/>
                        </a:cubicBezTo>
                        <a:cubicBezTo>
                          <a:pt x="26" y="67"/>
                          <a:pt x="26" y="67"/>
                          <a:pt x="26" y="67"/>
                        </a:cubicBezTo>
                        <a:cubicBezTo>
                          <a:pt x="26" y="67"/>
                          <a:pt x="26" y="67"/>
                          <a:pt x="26" y="67"/>
                        </a:cubicBezTo>
                        <a:cubicBezTo>
                          <a:pt x="27" y="67"/>
                          <a:pt x="26" y="67"/>
                          <a:pt x="27" y="67"/>
                        </a:cubicBezTo>
                        <a:cubicBezTo>
                          <a:pt x="27" y="66"/>
                          <a:pt x="27" y="66"/>
                          <a:pt x="27" y="66"/>
                        </a:cubicBezTo>
                        <a:cubicBezTo>
                          <a:pt x="27" y="66"/>
                          <a:pt x="27" y="66"/>
                          <a:pt x="27" y="66"/>
                        </a:cubicBezTo>
                        <a:cubicBezTo>
                          <a:pt x="27" y="66"/>
                          <a:pt x="27" y="66"/>
                          <a:pt x="27" y="66"/>
                        </a:cubicBezTo>
                        <a:cubicBezTo>
                          <a:pt x="27" y="66"/>
                          <a:pt x="27" y="66"/>
                          <a:pt x="27" y="66"/>
                        </a:cubicBezTo>
                        <a:cubicBezTo>
                          <a:pt x="27" y="66"/>
                          <a:pt x="27" y="65"/>
                          <a:pt x="27" y="65"/>
                        </a:cubicBezTo>
                        <a:cubicBezTo>
                          <a:pt x="27" y="65"/>
                          <a:pt x="27" y="65"/>
                          <a:pt x="27" y="66"/>
                        </a:cubicBezTo>
                        <a:cubicBezTo>
                          <a:pt x="27" y="66"/>
                          <a:pt x="27" y="66"/>
                          <a:pt x="27" y="66"/>
                        </a:cubicBezTo>
                        <a:cubicBezTo>
                          <a:pt x="27" y="65"/>
                          <a:pt x="27" y="65"/>
                          <a:pt x="27" y="65"/>
                        </a:cubicBezTo>
                        <a:cubicBezTo>
                          <a:pt x="28" y="65"/>
                          <a:pt x="27" y="65"/>
                          <a:pt x="28" y="65"/>
                        </a:cubicBezTo>
                        <a:cubicBezTo>
                          <a:pt x="27" y="66"/>
                          <a:pt x="27" y="66"/>
                          <a:pt x="27" y="66"/>
                        </a:cubicBezTo>
                        <a:cubicBezTo>
                          <a:pt x="27" y="66"/>
                          <a:pt x="27" y="67"/>
                          <a:pt x="27" y="67"/>
                        </a:cubicBezTo>
                        <a:cubicBezTo>
                          <a:pt x="27" y="67"/>
                          <a:pt x="27" y="66"/>
                          <a:pt x="27" y="66"/>
                        </a:cubicBezTo>
                        <a:cubicBezTo>
                          <a:pt x="27" y="67"/>
                          <a:pt x="27" y="67"/>
                          <a:pt x="27" y="67"/>
                        </a:cubicBezTo>
                        <a:cubicBezTo>
                          <a:pt x="27" y="67"/>
                          <a:pt x="27" y="67"/>
                          <a:pt x="27" y="67"/>
                        </a:cubicBezTo>
                        <a:cubicBezTo>
                          <a:pt x="27" y="67"/>
                          <a:pt x="27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6"/>
                          <a:pt x="28" y="66"/>
                        </a:cubicBezTo>
                        <a:cubicBezTo>
                          <a:pt x="28" y="66"/>
                          <a:pt x="28" y="66"/>
                          <a:pt x="28" y="66"/>
                        </a:cubicBezTo>
                        <a:cubicBezTo>
                          <a:pt x="28" y="66"/>
                          <a:pt x="28" y="66"/>
                          <a:pt x="28" y="66"/>
                        </a:cubicBezTo>
                        <a:cubicBezTo>
                          <a:pt x="28" y="66"/>
                          <a:pt x="28" y="66"/>
                          <a:pt x="28" y="66"/>
                        </a:cubicBezTo>
                        <a:cubicBezTo>
                          <a:pt x="28" y="66"/>
                          <a:pt x="28" y="66"/>
                          <a:pt x="28" y="66"/>
                        </a:cubicBezTo>
                        <a:cubicBezTo>
                          <a:pt x="28" y="66"/>
                          <a:pt x="28" y="66"/>
                          <a:pt x="28" y="66"/>
                        </a:cubicBezTo>
                        <a:cubicBezTo>
                          <a:pt x="27" y="66"/>
                          <a:pt x="28" y="66"/>
                          <a:pt x="28" y="66"/>
                        </a:cubicBezTo>
                        <a:cubicBezTo>
                          <a:pt x="28" y="66"/>
                          <a:pt x="28" y="66"/>
                          <a:pt x="28" y="65"/>
                        </a:cubicBezTo>
                        <a:cubicBezTo>
                          <a:pt x="28" y="65"/>
                          <a:pt x="28" y="66"/>
                          <a:pt x="28" y="66"/>
                        </a:cubicBezTo>
                        <a:cubicBezTo>
                          <a:pt x="28" y="66"/>
                          <a:pt x="28" y="65"/>
                          <a:pt x="28" y="65"/>
                        </a:cubicBezTo>
                        <a:cubicBezTo>
                          <a:pt x="28" y="65"/>
                          <a:pt x="28" y="65"/>
                          <a:pt x="28" y="65"/>
                        </a:cubicBezTo>
                        <a:cubicBezTo>
                          <a:pt x="28" y="65"/>
                          <a:pt x="28" y="65"/>
                          <a:pt x="28" y="64"/>
                        </a:cubicBezTo>
                        <a:cubicBezTo>
                          <a:pt x="28" y="64"/>
                          <a:pt x="29" y="64"/>
                          <a:pt x="29" y="63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8" y="64"/>
                          <a:pt x="29" y="65"/>
                          <a:pt x="28" y="65"/>
                        </a:cubicBezTo>
                        <a:cubicBezTo>
                          <a:pt x="28" y="65"/>
                          <a:pt x="28" y="65"/>
                          <a:pt x="28" y="66"/>
                        </a:cubicBezTo>
                        <a:cubicBezTo>
                          <a:pt x="28" y="66"/>
                          <a:pt x="28" y="65"/>
                          <a:pt x="28" y="66"/>
                        </a:cubicBezTo>
                        <a:cubicBezTo>
                          <a:pt x="28" y="65"/>
                          <a:pt x="28" y="65"/>
                          <a:pt x="28" y="65"/>
                        </a:cubicBezTo>
                        <a:cubicBezTo>
                          <a:pt x="28" y="65"/>
                          <a:pt x="28" y="65"/>
                          <a:pt x="28" y="65"/>
                        </a:cubicBezTo>
                        <a:cubicBezTo>
                          <a:pt x="29" y="65"/>
                          <a:pt x="29" y="65"/>
                          <a:pt x="28" y="65"/>
                        </a:cubicBezTo>
                        <a:cubicBezTo>
                          <a:pt x="29" y="65"/>
                          <a:pt x="29" y="65"/>
                          <a:pt x="29" y="65"/>
                        </a:cubicBezTo>
                        <a:cubicBezTo>
                          <a:pt x="29" y="65"/>
                          <a:pt x="29" y="65"/>
                          <a:pt x="29" y="65"/>
                        </a:cubicBezTo>
                        <a:cubicBezTo>
                          <a:pt x="29" y="64"/>
                          <a:pt x="29" y="65"/>
                          <a:pt x="29" y="65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30" y="64"/>
                        </a:cubicBezTo>
                        <a:cubicBezTo>
                          <a:pt x="30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30" y="64"/>
                          <a:pt x="30" y="64"/>
                          <a:pt x="29" y="64"/>
                        </a:cubicBezTo>
                        <a:cubicBezTo>
                          <a:pt x="30" y="64"/>
                          <a:pt x="30" y="64"/>
                          <a:pt x="30" y="63"/>
                        </a:cubicBezTo>
                        <a:cubicBezTo>
                          <a:pt x="30" y="64"/>
                          <a:pt x="29" y="64"/>
                          <a:pt x="29" y="65"/>
                        </a:cubicBezTo>
                        <a:cubicBezTo>
                          <a:pt x="29" y="65"/>
                          <a:pt x="29" y="65"/>
                          <a:pt x="29" y="65"/>
                        </a:cubicBezTo>
                        <a:cubicBezTo>
                          <a:pt x="29" y="65"/>
                          <a:pt x="29" y="65"/>
                          <a:pt x="29" y="65"/>
                        </a:cubicBezTo>
                        <a:cubicBezTo>
                          <a:pt x="29" y="65"/>
                          <a:pt x="29" y="65"/>
                          <a:pt x="29" y="65"/>
                        </a:cubicBezTo>
                        <a:cubicBezTo>
                          <a:pt x="29" y="65"/>
                          <a:pt x="29" y="65"/>
                          <a:pt x="29" y="66"/>
                        </a:cubicBezTo>
                        <a:cubicBezTo>
                          <a:pt x="29" y="65"/>
                          <a:pt x="30" y="65"/>
                          <a:pt x="30" y="64"/>
                        </a:cubicBezTo>
                        <a:cubicBezTo>
                          <a:pt x="30" y="64"/>
                          <a:pt x="30" y="64"/>
                          <a:pt x="30" y="64"/>
                        </a:cubicBezTo>
                        <a:cubicBezTo>
                          <a:pt x="30" y="64"/>
                          <a:pt x="30" y="64"/>
                          <a:pt x="30" y="64"/>
                        </a:cubicBezTo>
                        <a:cubicBezTo>
                          <a:pt x="30" y="64"/>
                          <a:pt x="30" y="64"/>
                          <a:pt x="30" y="64"/>
                        </a:cubicBezTo>
                        <a:cubicBezTo>
                          <a:pt x="30" y="64"/>
                          <a:pt x="30" y="64"/>
                          <a:pt x="30" y="64"/>
                        </a:cubicBezTo>
                        <a:cubicBezTo>
                          <a:pt x="30" y="64"/>
                          <a:pt x="30" y="64"/>
                          <a:pt x="30" y="63"/>
                        </a:cubicBezTo>
                        <a:cubicBezTo>
                          <a:pt x="31" y="64"/>
                          <a:pt x="31" y="64"/>
                          <a:pt x="31" y="64"/>
                        </a:cubicBezTo>
                        <a:cubicBezTo>
                          <a:pt x="31" y="63"/>
                          <a:pt x="31" y="63"/>
                          <a:pt x="31" y="63"/>
                        </a:cubicBezTo>
                        <a:cubicBezTo>
                          <a:pt x="31" y="63"/>
                          <a:pt x="31" y="63"/>
                          <a:pt x="31" y="63"/>
                        </a:cubicBezTo>
                        <a:cubicBezTo>
                          <a:pt x="31" y="63"/>
                          <a:pt x="31" y="63"/>
                          <a:pt x="31" y="63"/>
                        </a:cubicBezTo>
                        <a:cubicBezTo>
                          <a:pt x="31" y="63"/>
                          <a:pt x="31" y="63"/>
                          <a:pt x="31" y="63"/>
                        </a:cubicBezTo>
                        <a:cubicBezTo>
                          <a:pt x="31" y="63"/>
                          <a:pt x="31" y="63"/>
                          <a:pt x="31" y="63"/>
                        </a:cubicBezTo>
                        <a:cubicBezTo>
                          <a:pt x="31" y="63"/>
                          <a:pt x="31" y="63"/>
                          <a:pt x="31" y="63"/>
                        </a:cubicBezTo>
                        <a:cubicBezTo>
                          <a:pt x="31" y="62"/>
                          <a:pt x="31" y="62"/>
                          <a:pt x="31" y="62"/>
                        </a:cubicBezTo>
                        <a:cubicBezTo>
                          <a:pt x="32" y="62"/>
                          <a:pt x="32" y="62"/>
                          <a:pt x="32" y="62"/>
                        </a:cubicBezTo>
                        <a:cubicBezTo>
                          <a:pt x="32" y="62"/>
                          <a:pt x="31" y="62"/>
                          <a:pt x="31" y="62"/>
                        </a:cubicBezTo>
                        <a:cubicBezTo>
                          <a:pt x="31" y="63"/>
                          <a:pt x="31" y="62"/>
                          <a:pt x="32" y="62"/>
                        </a:cubicBezTo>
                        <a:cubicBezTo>
                          <a:pt x="31" y="63"/>
                          <a:pt x="31" y="63"/>
                          <a:pt x="31" y="63"/>
                        </a:cubicBezTo>
                        <a:cubicBezTo>
                          <a:pt x="31" y="63"/>
                          <a:pt x="31" y="63"/>
                          <a:pt x="32" y="63"/>
                        </a:cubicBezTo>
                        <a:cubicBezTo>
                          <a:pt x="32" y="63"/>
                          <a:pt x="31" y="63"/>
                          <a:pt x="31" y="63"/>
                        </a:cubicBezTo>
                        <a:cubicBezTo>
                          <a:pt x="31" y="64"/>
                          <a:pt x="32" y="63"/>
                          <a:pt x="31" y="64"/>
                        </a:cubicBezTo>
                        <a:cubicBezTo>
                          <a:pt x="31" y="64"/>
                          <a:pt x="31" y="64"/>
                          <a:pt x="31" y="64"/>
                        </a:cubicBezTo>
                        <a:cubicBezTo>
                          <a:pt x="31" y="64"/>
                          <a:pt x="31" y="64"/>
                          <a:pt x="31" y="64"/>
                        </a:cubicBezTo>
                        <a:cubicBezTo>
                          <a:pt x="31" y="64"/>
                          <a:pt x="32" y="64"/>
                          <a:pt x="32" y="64"/>
                        </a:cubicBezTo>
                        <a:cubicBezTo>
                          <a:pt x="32" y="64"/>
                          <a:pt x="32" y="64"/>
                          <a:pt x="32" y="64"/>
                        </a:cubicBezTo>
                        <a:cubicBezTo>
                          <a:pt x="32" y="64"/>
                          <a:pt x="32" y="64"/>
                          <a:pt x="32" y="64"/>
                        </a:cubicBezTo>
                        <a:cubicBezTo>
                          <a:pt x="32" y="64"/>
                          <a:pt x="31" y="64"/>
                          <a:pt x="31" y="64"/>
                        </a:cubicBezTo>
                        <a:cubicBezTo>
                          <a:pt x="31" y="64"/>
                          <a:pt x="32" y="63"/>
                          <a:pt x="32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32" y="63"/>
                          <a:pt x="32" y="63"/>
                          <a:pt x="33" y="63"/>
                        </a:cubicBezTo>
                        <a:cubicBezTo>
                          <a:pt x="33" y="63"/>
                          <a:pt x="33" y="63"/>
                          <a:pt x="32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32" y="63"/>
                          <a:pt x="33" y="63"/>
                          <a:pt x="33" y="63"/>
                        </a:cubicBezTo>
                        <a:cubicBezTo>
                          <a:pt x="33" y="63"/>
                          <a:pt x="33" y="63"/>
                          <a:pt x="32" y="63"/>
                        </a:cubicBezTo>
                        <a:cubicBezTo>
                          <a:pt x="32" y="63"/>
                          <a:pt x="32" y="62"/>
                          <a:pt x="33" y="62"/>
                        </a:cubicBezTo>
                        <a:cubicBezTo>
                          <a:pt x="33" y="63"/>
                          <a:pt x="33" y="62"/>
                          <a:pt x="33" y="63"/>
                        </a:cubicBezTo>
                        <a:cubicBezTo>
                          <a:pt x="33" y="63"/>
                          <a:pt x="33" y="63"/>
                          <a:pt x="33" y="62"/>
                        </a:cubicBezTo>
                        <a:cubicBezTo>
                          <a:pt x="33" y="62"/>
                          <a:pt x="33" y="62"/>
                          <a:pt x="33" y="63"/>
                        </a:cubicBezTo>
                        <a:cubicBezTo>
                          <a:pt x="33" y="62"/>
                          <a:pt x="33" y="62"/>
                          <a:pt x="33" y="62"/>
                        </a:cubicBezTo>
                        <a:cubicBezTo>
                          <a:pt x="33" y="62"/>
                          <a:pt x="33" y="62"/>
                          <a:pt x="33" y="62"/>
                        </a:cubicBezTo>
                        <a:cubicBezTo>
                          <a:pt x="33" y="62"/>
                          <a:pt x="33" y="62"/>
                          <a:pt x="33" y="62"/>
                        </a:cubicBezTo>
                        <a:cubicBezTo>
                          <a:pt x="33" y="62"/>
                          <a:pt x="33" y="62"/>
                          <a:pt x="33" y="62"/>
                        </a:cubicBezTo>
                        <a:cubicBezTo>
                          <a:pt x="33" y="62"/>
                          <a:pt x="33" y="62"/>
                          <a:pt x="33" y="62"/>
                        </a:cubicBezTo>
                        <a:cubicBezTo>
                          <a:pt x="33" y="62"/>
                          <a:pt x="33" y="62"/>
                          <a:pt x="33" y="62"/>
                        </a:cubicBezTo>
                        <a:cubicBezTo>
                          <a:pt x="33" y="62"/>
                          <a:pt x="33" y="61"/>
                          <a:pt x="33" y="62"/>
                        </a:cubicBezTo>
                        <a:cubicBezTo>
                          <a:pt x="33" y="61"/>
                          <a:pt x="33" y="61"/>
                          <a:pt x="33" y="61"/>
                        </a:cubicBezTo>
                        <a:cubicBezTo>
                          <a:pt x="34" y="61"/>
                          <a:pt x="33" y="61"/>
                          <a:pt x="33" y="62"/>
                        </a:cubicBezTo>
                        <a:cubicBezTo>
                          <a:pt x="34" y="61"/>
                          <a:pt x="34" y="61"/>
                          <a:pt x="34" y="61"/>
                        </a:cubicBezTo>
                        <a:cubicBezTo>
                          <a:pt x="34" y="61"/>
                          <a:pt x="34" y="61"/>
                          <a:pt x="34" y="61"/>
                        </a:cubicBezTo>
                        <a:cubicBezTo>
                          <a:pt x="33" y="61"/>
                          <a:pt x="34" y="61"/>
                          <a:pt x="33" y="61"/>
                        </a:cubicBezTo>
                        <a:cubicBezTo>
                          <a:pt x="33" y="61"/>
                          <a:pt x="33" y="61"/>
                          <a:pt x="33" y="61"/>
                        </a:cubicBezTo>
                        <a:cubicBezTo>
                          <a:pt x="33" y="61"/>
                          <a:pt x="34" y="61"/>
                          <a:pt x="34" y="61"/>
                        </a:cubicBezTo>
                        <a:cubicBezTo>
                          <a:pt x="34" y="61"/>
                          <a:pt x="34" y="61"/>
                          <a:pt x="34" y="61"/>
                        </a:cubicBezTo>
                        <a:cubicBezTo>
                          <a:pt x="34" y="61"/>
                          <a:pt x="33" y="61"/>
                          <a:pt x="33" y="61"/>
                        </a:cubicBezTo>
                        <a:cubicBezTo>
                          <a:pt x="33" y="60"/>
                          <a:pt x="33" y="60"/>
                          <a:pt x="34" y="60"/>
                        </a:cubicBezTo>
                        <a:cubicBezTo>
                          <a:pt x="34" y="60"/>
                          <a:pt x="34" y="60"/>
                          <a:pt x="34" y="61"/>
                        </a:cubicBezTo>
                        <a:cubicBezTo>
                          <a:pt x="34" y="60"/>
                          <a:pt x="34" y="60"/>
                          <a:pt x="34" y="60"/>
                        </a:cubicBezTo>
                        <a:cubicBezTo>
                          <a:pt x="34" y="59"/>
                          <a:pt x="34" y="59"/>
                          <a:pt x="34" y="59"/>
                        </a:cubicBezTo>
                        <a:cubicBezTo>
                          <a:pt x="34" y="59"/>
                          <a:pt x="34" y="59"/>
                          <a:pt x="35" y="59"/>
                        </a:cubicBezTo>
                        <a:cubicBezTo>
                          <a:pt x="35" y="59"/>
                          <a:pt x="34" y="59"/>
                          <a:pt x="34" y="59"/>
                        </a:cubicBezTo>
                        <a:cubicBezTo>
                          <a:pt x="34" y="59"/>
                          <a:pt x="34" y="59"/>
                          <a:pt x="34" y="60"/>
                        </a:cubicBezTo>
                        <a:cubicBezTo>
                          <a:pt x="34" y="59"/>
                          <a:pt x="34" y="59"/>
                          <a:pt x="34" y="59"/>
                        </a:cubicBezTo>
                        <a:cubicBezTo>
                          <a:pt x="34" y="60"/>
                          <a:pt x="34" y="60"/>
                          <a:pt x="34" y="60"/>
                        </a:cubicBezTo>
                        <a:cubicBezTo>
                          <a:pt x="34" y="60"/>
                          <a:pt x="34" y="61"/>
                          <a:pt x="34" y="60"/>
                        </a:cubicBezTo>
                        <a:cubicBezTo>
                          <a:pt x="34" y="61"/>
                          <a:pt x="34" y="61"/>
                          <a:pt x="34" y="61"/>
                        </a:cubicBezTo>
                        <a:cubicBezTo>
                          <a:pt x="34" y="61"/>
                          <a:pt x="34" y="61"/>
                          <a:pt x="34" y="61"/>
                        </a:cubicBezTo>
                        <a:cubicBezTo>
                          <a:pt x="34" y="61"/>
                          <a:pt x="34" y="60"/>
                          <a:pt x="34" y="60"/>
                        </a:cubicBezTo>
                        <a:cubicBezTo>
                          <a:pt x="34" y="61"/>
                          <a:pt x="34" y="61"/>
                          <a:pt x="34" y="61"/>
                        </a:cubicBezTo>
                        <a:cubicBezTo>
                          <a:pt x="34" y="61"/>
                          <a:pt x="34" y="60"/>
                          <a:pt x="35" y="60"/>
                        </a:cubicBezTo>
                        <a:cubicBezTo>
                          <a:pt x="35" y="60"/>
                          <a:pt x="35" y="60"/>
                          <a:pt x="35" y="60"/>
                        </a:cubicBezTo>
                        <a:cubicBezTo>
                          <a:pt x="34" y="60"/>
                          <a:pt x="35" y="60"/>
                          <a:pt x="35" y="60"/>
                        </a:cubicBezTo>
                        <a:cubicBezTo>
                          <a:pt x="35" y="60"/>
                          <a:pt x="35" y="59"/>
                          <a:pt x="35" y="59"/>
                        </a:cubicBezTo>
                        <a:cubicBezTo>
                          <a:pt x="35" y="59"/>
                          <a:pt x="35" y="60"/>
                          <a:pt x="35" y="59"/>
                        </a:cubicBezTo>
                        <a:cubicBezTo>
                          <a:pt x="35" y="59"/>
                          <a:pt x="35" y="59"/>
                          <a:pt x="35" y="60"/>
                        </a:cubicBezTo>
                        <a:cubicBezTo>
                          <a:pt x="35" y="60"/>
                          <a:pt x="35" y="59"/>
                          <a:pt x="35" y="59"/>
                        </a:cubicBezTo>
                        <a:cubicBezTo>
                          <a:pt x="35" y="59"/>
                          <a:pt x="35" y="59"/>
                          <a:pt x="35" y="59"/>
                        </a:cubicBezTo>
                        <a:cubicBezTo>
                          <a:pt x="35" y="59"/>
                          <a:pt x="35" y="58"/>
                          <a:pt x="35" y="58"/>
                        </a:cubicBezTo>
                        <a:cubicBezTo>
                          <a:pt x="35" y="58"/>
                          <a:pt x="35" y="58"/>
                          <a:pt x="36" y="58"/>
                        </a:cubicBezTo>
                        <a:cubicBezTo>
                          <a:pt x="36" y="58"/>
                          <a:pt x="35" y="58"/>
                          <a:pt x="36" y="58"/>
                        </a:cubicBezTo>
                        <a:cubicBezTo>
                          <a:pt x="36" y="58"/>
                          <a:pt x="36" y="58"/>
                          <a:pt x="36" y="58"/>
                        </a:cubicBezTo>
                        <a:cubicBezTo>
                          <a:pt x="36" y="58"/>
                          <a:pt x="35" y="58"/>
                          <a:pt x="35" y="58"/>
                        </a:cubicBezTo>
                        <a:cubicBezTo>
                          <a:pt x="35" y="58"/>
                          <a:pt x="35" y="58"/>
                          <a:pt x="35" y="58"/>
                        </a:cubicBezTo>
                        <a:cubicBezTo>
                          <a:pt x="35" y="58"/>
                          <a:pt x="35" y="58"/>
                          <a:pt x="35" y="58"/>
                        </a:cubicBezTo>
                        <a:cubicBezTo>
                          <a:pt x="35" y="58"/>
                          <a:pt x="35" y="58"/>
                          <a:pt x="35" y="57"/>
                        </a:cubicBezTo>
                        <a:cubicBezTo>
                          <a:pt x="35" y="57"/>
                          <a:pt x="35" y="57"/>
                          <a:pt x="35" y="57"/>
                        </a:cubicBezTo>
                        <a:cubicBezTo>
                          <a:pt x="35" y="57"/>
                          <a:pt x="35" y="57"/>
                          <a:pt x="35" y="58"/>
                        </a:cubicBezTo>
                        <a:cubicBezTo>
                          <a:pt x="35" y="58"/>
                          <a:pt x="35" y="58"/>
                          <a:pt x="35" y="58"/>
                        </a:cubicBezTo>
                        <a:cubicBezTo>
                          <a:pt x="35" y="58"/>
                          <a:pt x="35" y="57"/>
                          <a:pt x="35" y="57"/>
                        </a:cubicBezTo>
                        <a:cubicBezTo>
                          <a:pt x="35" y="57"/>
                          <a:pt x="35" y="57"/>
                          <a:pt x="35" y="57"/>
                        </a:cubicBezTo>
                        <a:cubicBezTo>
                          <a:pt x="35" y="57"/>
                          <a:pt x="35" y="57"/>
                          <a:pt x="35" y="58"/>
                        </a:cubicBezTo>
                        <a:cubicBezTo>
                          <a:pt x="35" y="58"/>
                          <a:pt x="35" y="58"/>
                          <a:pt x="35" y="58"/>
                        </a:cubicBezTo>
                        <a:cubicBezTo>
                          <a:pt x="36" y="58"/>
                          <a:pt x="36" y="57"/>
                          <a:pt x="36" y="57"/>
                        </a:cubicBezTo>
                        <a:cubicBezTo>
                          <a:pt x="36" y="58"/>
                          <a:pt x="36" y="58"/>
                          <a:pt x="36" y="58"/>
                        </a:cubicBezTo>
                        <a:cubicBezTo>
                          <a:pt x="36" y="58"/>
                          <a:pt x="36" y="57"/>
                          <a:pt x="36" y="57"/>
                        </a:cubicBezTo>
                        <a:cubicBezTo>
                          <a:pt x="36" y="57"/>
                          <a:pt x="36" y="57"/>
                          <a:pt x="36" y="57"/>
                        </a:cubicBezTo>
                        <a:cubicBezTo>
                          <a:pt x="36" y="57"/>
                          <a:pt x="36" y="57"/>
                          <a:pt x="36" y="57"/>
                        </a:cubicBezTo>
                        <a:cubicBezTo>
                          <a:pt x="36" y="57"/>
                          <a:pt x="36" y="57"/>
                          <a:pt x="36" y="57"/>
                        </a:cubicBezTo>
                        <a:cubicBezTo>
                          <a:pt x="36" y="57"/>
                          <a:pt x="37" y="56"/>
                          <a:pt x="37" y="56"/>
                        </a:cubicBezTo>
                        <a:cubicBezTo>
                          <a:pt x="37" y="56"/>
                          <a:pt x="37" y="56"/>
                          <a:pt x="37" y="56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8"/>
                          <a:pt x="36" y="58"/>
                          <a:pt x="36" y="59"/>
                        </a:cubicBezTo>
                        <a:cubicBezTo>
                          <a:pt x="36" y="59"/>
                          <a:pt x="36" y="59"/>
                          <a:pt x="36" y="59"/>
                        </a:cubicBezTo>
                        <a:cubicBezTo>
                          <a:pt x="36" y="59"/>
                          <a:pt x="36" y="59"/>
                          <a:pt x="36" y="59"/>
                        </a:cubicBezTo>
                        <a:cubicBezTo>
                          <a:pt x="36" y="59"/>
                          <a:pt x="36" y="59"/>
                          <a:pt x="36" y="59"/>
                        </a:cubicBezTo>
                        <a:cubicBezTo>
                          <a:pt x="36" y="59"/>
                          <a:pt x="36" y="59"/>
                          <a:pt x="36" y="59"/>
                        </a:cubicBezTo>
                        <a:cubicBezTo>
                          <a:pt x="36" y="59"/>
                          <a:pt x="36" y="59"/>
                          <a:pt x="36" y="59"/>
                        </a:cubicBezTo>
                        <a:cubicBezTo>
                          <a:pt x="36" y="59"/>
                          <a:pt x="36" y="59"/>
                          <a:pt x="36" y="59"/>
                        </a:cubicBezTo>
                        <a:cubicBezTo>
                          <a:pt x="35" y="59"/>
                          <a:pt x="35" y="60"/>
                          <a:pt x="35" y="60"/>
                        </a:cubicBezTo>
                        <a:cubicBezTo>
                          <a:pt x="35" y="60"/>
                          <a:pt x="35" y="60"/>
                          <a:pt x="36" y="59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59"/>
                          <a:pt x="36" y="59"/>
                          <a:pt x="36" y="59"/>
                        </a:cubicBezTo>
                        <a:cubicBezTo>
                          <a:pt x="36" y="59"/>
                          <a:pt x="36" y="59"/>
                          <a:pt x="37" y="59"/>
                        </a:cubicBezTo>
                        <a:cubicBezTo>
                          <a:pt x="37" y="59"/>
                          <a:pt x="37" y="59"/>
                          <a:pt x="37" y="59"/>
                        </a:cubicBezTo>
                        <a:cubicBezTo>
                          <a:pt x="37" y="59"/>
                          <a:pt x="36" y="59"/>
                          <a:pt x="37" y="59"/>
                        </a:cubicBezTo>
                        <a:cubicBezTo>
                          <a:pt x="36" y="59"/>
                          <a:pt x="37" y="59"/>
                          <a:pt x="36" y="59"/>
                        </a:cubicBezTo>
                        <a:cubicBezTo>
                          <a:pt x="36" y="58"/>
                          <a:pt x="37" y="58"/>
                          <a:pt x="37" y="58"/>
                        </a:cubicBezTo>
                        <a:cubicBezTo>
                          <a:pt x="37" y="58"/>
                          <a:pt x="37" y="58"/>
                          <a:pt x="37" y="58"/>
                        </a:cubicBezTo>
                        <a:cubicBezTo>
                          <a:pt x="37" y="58"/>
                          <a:pt x="37" y="58"/>
                          <a:pt x="37" y="58"/>
                        </a:cubicBezTo>
                        <a:cubicBezTo>
                          <a:pt x="37" y="58"/>
                          <a:pt x="37" y="58"/>
                          <a:pt x="37" y="58"/>
                        </a:cubicBezTo>
                        <a:cubicBezTo>
                          <a:pt x="37" y="58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8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8"/>
                          <a:pt x="37" y="58"/>
                          <a:pt x="37" y="58"/>
                        </a:cubicBezTo>
                        <a:cubicBezTo>
                          <a:pt x="37" y="58"/>
                          <a:pt x="37" y="58"/>
                          <a:pt x="37" y="58"/>
                        </a:cubicBezTo>
                        <a:cubicBezTo>
                          <a:pt x="37" y="58"/>
                          <a:pt x="37" y="58"/>
                          <a:pt x="37" y="58"/>
                        </a:cubicBezTo>
                        <a:cubicBezTo>
                          <a:pt x="37" y="57"/>
                          <a:pt x="38" y="57"/>
                          <a:pt x="38" y="57"/>
                        </a:cubicBezTo>
                        <a:cubicBezTo>
                          <a:pt x="38" y="57"/>
                          <a:pt x="38" y="57"/>
                          <a:pt x="38" y="57"/>
                        </a:cubicBezTo>
                        <a:cubicBezTo>
                          <a:pt x="38" y="57"/>
                          <a:pt x="38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6"/>
                          <a:pt x="38" y="56"/>
                          <a:pt x="38" y="56"/>
                        </a:cubicBezTo>
                        <a:cubicBezTo>
                          <a:pt x="38" y="55"/>
                          <a:pt x="38" y="56"/>
                          <a:pt x="38" y="56"/>
                        </a:cubicBezTo>
                        <a:cubicBezTo>
                          <a:pt x="38" y="56"/>
                          <a:pt x="38" y="55"/>
                          <a:pt x="38" y="56"/>
                        </a:cubicBezTo>
                        <a:cubicBezTo>
                          <a:pt x="38" y="56"/>
                          <a:pt x="38" y="55"/>
                          <a:pt x="38" y="55"/>
                        </a:cubicBezTo>
                        <a:cubicBezTo>
                          <a:pt x="38" y="55"/>
                          <a:pt x="38" y="55"/>
                          <a:pt x="38" y="55"/>
                        </a:cubicBezTo>
                        <a:cubicBezTo>
                          <a:pt x="38" y="55"/>
                          <a:pt x="38" y="55"/>
                          <a:pt x="38" y="55"/>
                        </a:cubicBezTo>
                        <a:cubicBezTo>
                          <a:pt x="38" y="55"/>
                          <a:pt x="38" y="55"/>
                          <a:pt x="38" y="55"/>
                        </a:cubicBezTo>
                        <a:cubicBezTo>
                          <a:pt x="38" y="55"/>
                          <a:pt x="38" y="55"/>
                          <a:pt x="38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6"/>
                          <a:pt x="39" y="56"/>
                          <a:pt x="39" y="56"/>
                        </a:cubicBezTo>
                        <a:cubicBezTo>
                          <a:pt x="39" y="56"/>
                          <a:pt x="39" y="55"/>
                          <a:pt x="39" y="55"/>
                        </a:cubicBezTo>
                        <a:cubicBezTo>
                          <a:pt x="39" y="56"/>
                          <a:pt x="39" y="55"/>
                          <a:pt x="39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6"/>
                          <a:pt x="39" y="55"/>
                          <a:pt x="39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5"/>
                          <a:pt x="40" y="55"/>
                          <a:pt x="40" y="55"/>
                        </a:cubicBezTo>
                        <a:cubicBezTo>
                          <a:pt x="40" y="55"/>
                          <a:pt x="40" y="55"/>
                          <a:pt x="40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4"/>
                          <a:pt x="40" y="54"/>
                          <a:pt x="40" y="54"/>
                        </a:cubicBezTo>
                        <a:cubicBezTo>
                          <a:pt x="40" y="55"/>
                          <a:pt x="40" y="55"/>
                          <a:pt x="40" y="55"/>
                        </a:cubicBezTo>
                        <a:cubicBezTo>
                          <a:pt x="40" y="55"/>
                          <a:pt x="40" y="55"/>
                          <a:pt x="40" y="55"/>
                        </a:cubicBezTo>
                        <a:cubicBezTo>
                          <a:pt x="40" y="54"/>
                          <a:pt x="40" y="54"/>
                          <a:pt x="40" y="54"/>
                        </a:cubicBezTo>
                        <a:cubicBezTo>
                          <a:pt x="40" y="54"/>
                          <a:pt x="40" y="54"/>
                          <a:pt x="40" y="54"/>
                        </a:cubicBezTo>
                        <a:cubicBezTo>
                          <a:pt x="40" y="54"/>
                          <a:pt x="40" y="54"/>
                          <a:pt x="40" y="54"/>
                        </a:cubicBezTo>
                        <a:cubicBezTo>
                          <a:pt x="40" y="54"/>
                          <a:pt x="40" y="54"/>
                          <a:pt x="41" y="54"/>
                        </a:cubicBezTo>
                        <a:cubicBezTo>
                          <a:pt x="41" y="54"/>
                          <a:pt x="41" y="54"/>
                          <a:pt x="41" y="54"/>
                        </a:cubicBezTo>
                        <a:cubicBezTo>
                          <a:pt x="41" y="54"/>
                          <a:pt x="41" y="54"/>
                          <a:pt x="41" y="54"/>
                        </a:cubicBezTo>
                        <a:cubicBezTo>
                          <a:pt x="40" y="54"/>
                          <a:pt x="41" y="54"/>
                          <a:pt x="41" y="54"/>
                        </a:cubicBezTo>
                        <a:cubicBezTo>
                          <a:pt x="41" y="53"/>
                          <a:pt x="41" y="53"/>
                          <a:pt x="41" y="53"/>
                        </a:cubicBezTo>
                        <a:cubicBezTo>
                          <a:pt x="42" y="53"/>
                          <a:pt x="41" y="53"/>
                          <a:pt x="41" y="54"/>
                        </a:cubicBezTo>
                        <a:cubicBezTo>
                          <a:pt x="41" y="54"/>
                          <a:pt x="41" y="54"/>
                          <a:pt x="41" y="54"/>
                        </a:cubicBezTo>
                        <a:cubicBezTo>
                          <a:pt x="41" y="54"/>
                          <a:pt x="41" y="54"/>
                          <a:pt x="41" y="54"/>
                        </a:cubicBezTo>
                        <a:cubicBezTo>
                          <a:pt x="41" y="54"/>
                          <a:pt x="41" y="54"/>
                          <a:pt x="41" y="54"/>
                        </a:cubicBezTo>
                        <a:cubicBezTo>
                          <a:pt x="41" y="54"/>
                          <a:pt x="41" y="54"/>
                          <a:pt x="41" y="54"/>
                        </a:cubicBezTo>
                        <a:cubicBezTo>
                          <a:pt x="41" y="54"/>
                          <a:pt x="41" y="54"/>
                          <a:pt x="41" y="54"/>
                        </a:cubicBezTo>
                        <a:cubicBezTo>
                          <a:pt x="41" y="54"/>
                          <a:pt x="41" y="54"/>
                          <a:pt x="41" y="54"/>
                        </a:cubicBezTo>
                        <a:cubicBezTo>
                          <a:pt x="41" y="54"/>
                          <a:pt x="41" y="55"/>
                          <a:pt x="41" y="55"/>
                        </a:cubicBezTo>
                        <a:cubicBezTo>
                          <a:pt x="41" y="55"/>
                          <a:pt x="41" y="54"/>
                          <a:pt x="41" y="54"/>
                        </a:cubicBezTo>
                        <a:cubicBezTo>
                          <a:pt x="41" y="55"/>
                          <a:pt x="41" y="55"/>
                          <a:pt x="40" y="56"/>
                        </a:cubicBezTo>
                        <a:cubicBezTo>
                          <a:pt x="40" y="56"/>
                          <a:pt x="40" y="56"/>
                          <a:pt x="40" y="56"/>
                        </a:cubicBezTo>
                        <a:cubicBezTo>
                          <a:pt x="40" y="56"/>
                          <a:pt x="40" y="56"/>
                          <a:pt x="40" y="56"/>
                        </a:cubicBezTo>
                        <a:cubicBezTo>
                          <a:pt x="40" y="56"/>
                          <a:pt x="40" y="56"/>
                          <a:pt x="40" y="56"/>
                        </a:cubicBezTo>
                        <a:cubicBezTo>
                          <a:pt x="40" y="56"/>
                          <a:pt x="40" y="56"/>
                          <a:pt x="40" y="57"/>
                        </a:cubicBezTo>
                        <a:cubicBezTo>
                          <a:pt x="40" y="57"/>
                          <a:pt x="40" y="57"/>
                          <a:pt x="40" y="57"/>
                        </a:cubicBezTo>
                        <a:cubicBezTo>
                          <a:pt x="40" y="57"/>
                          <a:pt x="40" y="57"/>
                          <a:pt x="40" y="57"/>
                        </a:cubicBezTo>
                        <a:cubicBezTo>
                          <a:pt x="40" y="58"/>
                          <a:pt x="40" y="58"/>
                          <a:pt x="40" y="58"/>
                        </a:cubicBezTo>
                        <a:cubicBezTo>
                          <a:pt x="39" y="58"/>
                          <a:pt x="39" y="59"/>
                          <a:pt x="39" y="59"/>
                        </a:cubicBezTo>
                        <a:cubicBezTo>
                          <a:pt x="39" y="59"/>
                          <a:pt x="39" y="59"/>
                          <a:pt x="39" y="58"/>
                        </a:cubicBezTo>
                        <a:cubicBezTo>
                          <a:pt x="39" y="58"/>
                          <a:pt x="39" y="58"/>
                          <a:pt x="39" y="58"/>
                        </a:cubicBezTo>
                        <a:cubicBezTo>
                          <a:pt x="39" y="58"/>
                          <a:pt x="39" y="58"/>
                          <a:pt x="39" y="59"/>
                        </a:cubicBezTo>
                        <a:cubicBezTo>
                          <a:pt x="39" y="58"/>
                          <a:pt x="38" y="60"/>
                          <a:pt x="38" y="60"/>
                        </a:cubicBezTo>
                        <a:cubicBezTo>
                          <a:pt x="38" y="60"/>
                          <a:pt x="38" y="60"/>
                          <a:pt x="38" y="60"/>
                        </a:cubicBezTo>
                        <a:cubicBezTo>
                          <a:pt x="38" y="60"/>
                          <a:pt x="38" y="60"/>
                          <a:pt x="38" y="60"/>
                        </a:cubicBezTo>
                        <a:cubicBezTo>
                          <a:pt x="38" y="60"/>
                          <a:pt x="38" y="60"/>
                          <a:pt x="38" y="60"/>
                        </a:cubicBezTo>
                        <a:cubicBezTo>
                          <a:pt x="38" y="61"/>
                          <a:pt x="37" y="62"/>
                          <a:pt x="36" y="63"/>
                        </a:cubicBezTo>
                        <a:cubicBezTo>
                          <a:pt x="37" y="63"/>
                          <a:pt x="37" y="63"/>
                          <a:pt x="36" y="63"/>
                        </a:cubicBezTo>
                        <a:cubicBezTo>
                          <a:pt x="36" y="63"/>
                          <a:pt x="36" y="63"/>
                          <a:pt x="36" y="63"/>
                        </a:cubicBezTo>
                        <a:cubicBezTo>
                          <a:pt x="36" y="63"/>
                          <a:pt x="36" y="63"/>
                          <a:pt x="36" y="63"/>
                        </a:cubicBezTo>
                        <a:cubicBezTo>
                          <a:pt x="36" y="64"/>
                          <a:pt x="36" y="63"/>
                          <a:pt x="36" y="64"/>
                        </a:cubicBezTo>
                        <a:cubicBezTo>
                          <a:pt x="36" y="64"/>
                          <a:pt x="36" y="64"/>
                          <a:pt x="36" y="64"/>
                        </a:cubicBezTo>
                        <a:cubicBezTo>
                          <a:pt x="36" y="64"/>
                          <a:pt x="36" y="64"/>
                          <a:pt x="36" y="64"/>
                        </a:cubicBezTo>
                        <a:cubicBezTo>
                          <a:pt x="36" y="64"/>
                          <a:pt x="36" y="64"/>
                          <a:pt x="36" y="64"/>
                        </a:cubicBezTo>
                        <a:cubicBezTo>
                          <a:pt x="36" y="64"/>
                          <a:pt x="36" y="64"/>
                          <a:pt x="36" y="64"/>
                        </a:cubicBezTo>
                        <a:cubicBezTo>
                          <a:pt x="36" y="64"/>
                          <a:pt x="36" y="64"/>
                          <a:pt x="36" y="65"/>
                        </a:cubicBezTo>
                        <a:cubicBezTo>
                          <a:pt x="36" y="64"/>
                          <a:pt x="36" y="65"/>
                          <a:pt x="36" y="65"/>
                        </a:cubicBezTo>
                        <a:cubicBezTo>
                          <a:pt x="36" y="65"/>
                          <a:pt x="35" y="65"/>
                          <a:pt x="35" y="65"/>
                        </a:cubicBezTo>
                        <a:cubicBezTo>
                          <a:pt x="35" y="65"/>
                          <a:pt x="36" y="65"/>
                          <a:pt x="35" y="65"/>
                        </a:cubicBezTo>
                        <a:cubicBezTo>
                          <a:pt x="36" y="65"/>
                          <a:pt x="36" y="65"/>
                          <a:pt x="36" y="65"/>
                        </a:cubicBezTo>
                        <a:cubicBezTo>
                          <a:pt x="35" y="65"/>
                          <a:pt x="35" y="66"/>
                          <a:pt x="35" y="66"/>
                        </a:cubicBezTo>
                        <a:cubicBezTo>
                          <a:pt x="35" y="66"/>
                          <a:pt x="35" y="66"/>
                          <a:pt x="35" y="66"/>
                        </a:cubicBezTo>
                        <a:cubicBezTo>
                          <a:pt x="35" y="66"/>
                          <a:pt x="35" y="67"/>
                          <a:pt x="34" y="67"/>
                        </a:cubicBezTo>
                        <a:cubicBezTo>
                          <a:pt x="34" y="67"/>
                          <a:pt x="35" y="67"/>
                          <a:pt x="35" y="67"/>
                        </a:cubicBezTo>
                        <a:cubicBezTo>
                          <a:pt x="34" y="67"/>
                          <a:pt x="34" y="67"/>
                          <a:pt x="34" y="68"/>
                        </a:cubicBezTo>
                        <a:cubicBezTo>
                          <a:pt x="34" y="67"/>
                          <a:pt x="34" y="67"/>
                          <a:pt x="34" y="67"/>
                        </a:cubicBezTo>
                        <a:cubicBezTo>
                          <a:pt x="34" y="67"/>
                          <a:pt x="34" y="68"/>
                          <a:pt x="34" y="68"/>
                        </a:cubicBezTo>
                        <a:cubicBezTo>
                          <a:pt x="34" y="68"/>
                          <a:pt x="34" y="67"/>
                          <a:pt x="34" y="67"/>
                        </a:cubicBezTo>
                        <a:cubicBezTo>
                          <a:pt x="34" y="67"/>
                          <a:pt x="34" y="67"/>
                          <a:pt x="34" y="67"/>
                        </a:cubicBezTo>
                        <a:cubicBezTo>
                          <a:pt x="34" y="67"/>
                          <a:pt x="34" y="67"/>
                          <a:pt x="34" y="67"/>
                        </a:cubicBezTo>
                        <a:cubicBezTo>
                          <a:pt x="34" y="66"/>
                          <a:pt x="35" y="66"/>
                          <a:pt x="35" y="65"/>
                        </a:cubicBezTo>
                        <a:cubicBezTo>
                          <a:pt x="35" y="65"/>
                          <a:pt x="35" y="65"/>
                          <a:pt x="35" y="65"/>
                        </a:cubicBezTo>
                        <a:cubicBezTo>
                          <a:pt x="35" y="65"/>
                          <a:pt x="36" y="63"/>
                          <a:pt x="36" y="63"/>
                        </a:cubicBezTo>
                        <a:cubicBezTo>
                          <a:pt x="36" y="63"/>
                          <a:pt x="36" y="63"/>
                          <a:pt x="36" y="63"/>
                        </a:cubicBezTo>
                        <a:cubicBezTo>
                          <a:pt x="37" y="62"/>
                          <a:pt x="36" y="62"/>
                          <a:pt x="36" y="62"/>
                        </a:cubicBezTo>
                        <a:cubicBezTo>
                          <a:pt x="37" y="62"/>
                          <a:pt x="37" y="62"/>
                          <a:pt x="37" y="61"/>
                        </a:cubicBezTo>
                        <a:cubicBezTo>
                          <a:pt x="37" y="61"/>
                          <a:pt x="37" y="61"/>
                          <a:pt x="37" y="61"/>
                        </a:cubicBezTo>
                        <a:cubicBezTo>
                          <a:pt x="37" y="61"/>
                          <a:pt x="37" y="61"/>
                          <a:pt x="37" y="61"/>
                        </a:cubicBezTo>
                        <a:cubicBezTo>
                          <a:pt x="37" y="61"/>
                          <a:pt x="37" y="61"/>
                          <a:pt x="37" y="61"/>
                        </a:cubicBezTo>
                        <a:cubicBezTo>
                          <a:pt x="37" y="61"/>
                          <a:pt x="37" y="61"/>
                          <a:pt x="37" y="61"/>
                        </a:cubicBezTo>
                        <a:cubicBezTo>
                          <a:pt x="37" y="61"/>
                          <a:pt x="37" y="61"/>
                          <a:pt x="37" y="60"/>
                        </a:cubicBezTo>
                        <a:cubicBezTo>
                          <a:pt x="37" y="61"/>
                          <a:pt x="37" y="61"/>
                          <a:pt x="37" y="61"/>
                        </a:cubicBezTo>
                        <a:cubicBezTo>
                          <a:pt x="36" y="62"/>
                          <a:pt x="37" y="61"/>
                          <a:pt x="37" y="62"/>
                        </a:cubicBezTo>
                        <a:cubicBezTo>
                          <a:pt x="37" y="61"/>
                          <a:pt x="37" y="61"/>
                          <a:pt x="36" y="62"/>
                        </a:cubicBezTo>
                        <a:cubicBezTo>
                          <a:pt x="36" y="62"/>
                          <a:pt x="36" y="62"/>
                          <a:pt x="36" y="62"/>
                        </a:cubicBezTo>
                        <a:cubicBezTo>
                          <a:pt x="36" y="62"/>
                          <a:pt x="36" y="62"/>
                          <a:pt x="36" y="62"/>
                        </a:cubicBezTo>
                        <a:cubicBezTo>
                          <a:pt x="36" y="63"/>
                          <a:pt x="36" y="63"/>
                          <a:pt x="36" y="62"/>
                        </a:cubicBezTo>
                        <a:cubicBezTo>
                          <a:pt x="36" y="62"/>
                          <a:pt x="35" y="63"/>
                          <a:pt x="35" y="63"/>
                        </a:cubicBezTo>
                        <a:cubicBezTo>
                          <a:pt x="35" y="62"/>
                          <a:pt x="35" y="62"/>
                          <a:pt x="36" y="62"/>
                        </a:cubicBezTo>
                        <a:cubicBezTo>
                          <a:pt x="36" y="62"/>
                          <a:pt x="36" y="62"/>
                          <a:pt x="36" y="62"/>
                        </a:cubicBezTo>
                        <a:cubicBezTo>
                          <a:pt x="36" y="62"/>
                          <a:pt x="36" y="62"/>
                          <a:pt x="36" y="62"/>
                        </a:cubicBezTo>
                        <a:cubicBezTo>
                          <a:pt x="36" y="61"/>
                          <a:pt x="36" y="61"/>
                          <a:pt x="37" y="61"/>
                        </a:cubicBezTo>
                        <a:cubicBezTo>
                          <a:pt x="36" y="61"/>
                          <a:pt x="36" y="61"/>
                          <a:pt x="36" y="61"/>
                        </a:cubicBezTo>
                        <a:cubicBezTo>
                          <a:pt x="36" y="61"/>
                          <a:pt x="36" y="61"/>
                          <a:pt x="36" y="61"/>
                        </a:cubicBezTo>
                        <a:cubicBezTo>
                          <a:pt x="36" y="61"/>
                          <a:pt x="36" y="62"/>
                          <a:pt x="36" y="62"/>
                        </a:cubicBezTo>
                        <a:cubicBezTo>
                          <a:pt x="35" y="62"/>
                          <a:pt x="36" y="62"/>
                          <a:pt x="36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5" y="62"/>
                          <a:pt x="34" y="63"/>
                          <a:pt x="34" y="63"/>
                        </a:cubicBezTo>
                        <a:cubicBezTo>
                          <a:pt x="34" y="63"/>
                          <a:pt x="35" y="63"/>
                          <a:pt x="35" y="63"/>
                        </a:cubicBezTo>
                        <a:cubicBezTo>
                          <a:pt x="35" y="63"/>
                          <a:pt x="34" y="63"/>
                          <a:pt x="34" y="63"/>
                        </a:cubicBezTo>
                        <a:cubicBezTo>
                          <a:pt x="34" y="63"/>
                          <a:pt x="34" y="63"/>
                          <a:pt x="34" y="63"/>
                        </a:cubicBezTo>
                        <a:cubicBezTo>
                          <a:pt x="34" y="63"/>
                          <a:pt x="34" y="64"/>
                          <a:pt x="34" y="64"/>
                        </a:cubicBezTo>
                        <a:cubicBezTo>
                          <a:pt x="34" y="64"/>
                          <a:pt x="33" y="65"/>
                          <a:pt x="33" y="65"/>
                        </a:cubicBezTo>
                        <a:cubicBezTo>
                          <a:pt x="33" y="65"/>
                          <a:pt x="33" y="65"/>
                          <a:pt x="33" y="65"/>
                        </a:cubicBezTo>
                        <a:cubicBezTo>
                          <a:pt x="33" y="65"/>
                          <a:pt x="34" y="65"/>
                          <a:pt x="34" y="64"/>
                        </a:cubicBezTo>
                        <a:cubicBezTo>
                          <a:pt x="34" y="64"/>
                          <a:pt x="34" y="64"/>
                          <a:pt x="34" y="64"/>
                        </a:cubicBezTo>
                        <a:cubicBezTo>
                          <a:pt x="34" y="64"/>
                          <a:pt x="34" y="64"/>
                          <a:pt x="34" y="64"/>
                        </a:cubicBezTo>
                        <a:cubicBezTo>
                          <a:pt x="34" y="64"/>
                          <a:pt x="34" y="64"/>
                          <a:pt x="34" y="65"/>
                        </a:cubicBezTo>
                        <a:cubicBezTo>
                          <a:pt x="34" y="65"/>
                          <a:pt x="34" y="65"/>
                          <a:pt x="34" y="65"/>
                        </a:cubicBezTo>
                        <a:cubicBezTo>
                          <a:pt x="34" y="65"/>
                          <a:pt x="34" y="64"/>
                          <a:pt x="34" y="64"/>
                        </a:cubicBezTo>
                        <a:cubicBezTo>
                          <a:pt x="34" y="64"/>
                          <a:pt x="34" y="64"/>
                          <a:pt x="34" y="65"/>
                        </a:cubicBezTo>
                        <a:cubicBezTo>
                          <a:pt x="34" y="65"/>
                          <a:pt x="34" y="65"/>
                          <a:pt x="34" y="65"/>
                        </a:cubicBezTo>
                        <a:cubicBezTo>
                          <a:pt x="34" y="65"/>
                          <a:pt x="34" y="65"/>
                          <a:pt x="33" y="65"/>
                        </a:cubicBezTo>
                        <a:cubicBezTo>
                          <a:pt x="34" y="65"/>
                          <a:pt x="34" y="65"/>
                          <a:pt x="34" y="65"/>
                        </a:cubicBezTo>
                        <a:cubicBezTo>
                          <a:pt x="34" y="65"/>
                          <a:pt x="34" y="65"/>
                          <a:pt x="34" y="65"/>
                        </a:cubicBezTo>
                        <a:cubicBezTo>
                          <a:pt x="34" y="65"/>
                          <a:pt x="34" y="65"/>
                          <a:pt x="33" y="66"/>
                        </a:cubicBezTo>
                        <a:cubicBezTo>
                          <a:pt x="33" y="66"/>
                          <a:pt x="34" y="66"/>
                          <a:pt x="34" y="66"/>
                        </a:cubicBezTo>
                        <a:cubicBezTo>
                          <a:pt x="34" y="66"/>
                          <a:pt x="33" y="66"/>
                          <a:pt x="33" y="66"/>
                        </a:cubicBezTo>
                        <a:cubicBezTo>
                          <a:pt x="33" y="66"/>
                          <a:pt x="33" y="66"/>
                          <a:pt x="33" y="67"/>
                        </a:cubicBezTo>
                        <a:cubicBezTo>
                          <a:pt x="33" y="67"/>
                          <a:pt x="33" y="67"/>
                          <a:pt x="33" y="66"/>
                        </a:cubicBezTo>
                        <a:cubicBezTo>
                          <a:pt x="34" y="67"/>
                          <a:pt x="33" y="67"/>
                          <a:pt x="33" y="67"/>
                        </a:cubicBezTo>
                        <a:cubicBezTo>
                          <a:pt x="33" y="67"/>
                          <a:pt x="33" y="67"/>
                          <a:pt x="33" y="67"/>
                        </a:cubicBezTo>
                        <a:cubicBezTo>
                          <a:pt x="33" y="67"/>
                          <a:pt x="33" y="67"/>
                          <a:pt x="33" y="67"/>
                        </a:cubicBezTo>
                        <a:cubicBezTo>
                          <a:pt x="33" y="67"/>
                          <a:pt x="33" y="67"/>
                          <a:pt x="33" y="67"/>
                        </a:cubicBezTo>
                        <a:cubicBezTo>
                          <a:pt x="33" y="67"/>
                          <a:pt x="33" y="67"/>
                          <a:pt x="33" y="67"/>
                        </a:cubicBezTo>
                        <a:cubicBezTo>
                          <a:pt x="33" y="67"/>
                          <a:pt x="33" y="67"/>
                          <a:pt x="33" y="67"/>
                        </a:cubicBezTo>
                        <a:cubicBezTo>
                          <a:pt x="33" y="67"/>
                          <a:pt x="33" y="67"/>
                          <a:pt x="33" y="68"/>
                        </a:cubicBezTo>
                        <a:cubicBezTo>
                          <a:pt x="33" y="67"/>
                          <a:pt x="33" y="67"/>
                          <a:pt x="33" y="67"/>
                        </a:cubicBezTo>
                        <a:cubicBezTo>
                          <a:pt x="33" y="68"/>
                          <a:pt x="33" y="68"/>
                          <a:pt x="33" y="68"/>
                        </a:cubicBezTo>
                        <a:cubicBezTo>
                          <a:pt x="33" y="68"/>
                          <a:pt x="33" y="68"/>
                          <a:pt x="33" y="68"/>
                        </a:cubicBezTo>
                        <a:cubicBezTo>
                          <a:pt x="33" y="68"/>
                          <a:pt x="33" y="68"/>
                          <a:pt x="33" y="68"/>
                        </a:cubicBezTo>
                        <a:cubicBezTo>
                          <a:pt x="33" y="68"/>
                          <a:pt x="33" y="68"/>
                          <a:pt x="33" y="68"/>
                        </a:cubicBezTo>
                        <a:cubicBezTo>
                          <a:pt x="33" y="68"/>
                          <a:pt x="33" y="68"/>
                          <a:pt x="33" y="68"/>
                        </a:cubicBezTo>
                        <a:cubicBezTo>
                          <a:pt x="33" y="68"/>
                          <a:pt x="33" y="69"/>
                          <a:pt x="33" y="69"/>
                        </a:cubicBezTo>
                        <a:cubicBezTo>
                          <a:pt x="32" y="70"/>
                          <a:pt x="32" y="70"/>
                          <a:pt x="32" y="71"/>
                        </a:cubicBezTo>
                        <a:cubicBezTo>
                          <a:pt x="32" y="70"/>
                          <a:pt x="32" y="71"/>
                          <a:pt x="31" y="71"/>
                        </a:cubicBezTo>
                        <a:cubicBezTo>
                          <a:pt x="31" y="71"/>
                          <a:pt x="31" y="71"/>
                          <a:pt x="31" y="70"/>
                        </a:cubicBezTo>
                        <a:cubicBezTo>
                          <a:pt x="31" y="70"/>
                          <a:pt x="31" y="70"/>
                          <a:pt x="32" y="71"/>
                        </a:cubicBezTo>
                        <a:cubicBezTo>
                          <a:pt x="32" y="70"/>
                          <a:pt x="32" y="70"/>
                          <a:pt x="31" y="70"/>
                        </a:cubicBezTo>
                        <a:cubicBezTo>
                          <a:pt x="32" y="70"/>
                          <a:pt x="32" y="70"/>
                          <a:pt x="32" y="70"/>
                        </a:cubicBezTo>
                        <a:cubicBezTo>
                          <a:pt x="32" y="70"/>
                          <a:pt x="32" y="70"/>
                          <a:pt x="32" y="70"/>
                        </a:cubicBezTo>
                        <a:cubicBezTo>
                          <a:pt x="32" y="70"/>
                          <a:pt x="32" y="69"/>
                          <a:pt x="32" y="69"/>
                        </a:cubicBezTo>
                        <a:cubicBezTo>
                          <a:pt x="32" y="69"/>
                          <a:pt x="32" y="70"/>
                          <a:pt x="31" y="70"/>
                        </a:cubicBezTo>
                        <a:cubicBezTo>
                          <a:pt x="31" y="70"/>
                          <a:pt x="32" y="70"/>
                          <a:pt x="32" y="70"/>
                        </a:cubicBezTo>
                        <a:cubicBezTo>
                          <a:pt x="32" y="70"/>
                          <a:pt x="32" y="70"/>
                          <a:pt x="32" y="69"/>
                        </a:cubicBezTo>
                        <a:cubicBezTo>
                          <a:pt x="32" y="70"/>
                          <a:pt x="32" y="70"/>
                          <a:pt x="32" y="70"/>
                        </a:cubicBezTo>
                        <a:cubicBezTo>
                          <a:pt x="32" y="70"/>
                          <a:pt x="32" y="70"/>
                          <a:pt x="32" y="70"/>
                        </a:cubicBezTo>
                        <a:cubicBezTo>
                          <a:pt x="32" y="70"/>
                          <a:pt x="32" y="70"/>
                          <a:pt x="32" y="70"/>
                        </a:cubicBezTo>
                        <a:cubicBezTo>
                          <a:pt x="31" y="70"/>
                          <a:pt x="32" y="70"/>
                          <a:pt x="31" y="70"/>
                        </a:cubicBezTo>
                        <a:cubicBezTo>
                          <a:pt x="31" y="70"/>
                          <a:pt x="31" y="70"/>
                          <a:pt x="31" y="70"/>
                        </a:cubicBezTo>
                        <a:cubicBezTo>
                          <a:pt x="31" y="71"/>
                          <a:pt x="31" y="71"/>
                          <a:pt x="31" y="71"/>
                        </a:cubicBezTo>
                        <a:cubicBezTo>
                          <a:pt x="31" y="71"/>
                          <a:pt x="31" y="71"/>
                          <a:pt x="31" y="71"/>
                        </a:cubicBezTo>
                        <a:cubicBezTo>
                          <a:pt x="31" y="71"/>
                          <a:pt x="30" y="72"/>
                          <a:pt x="31" y="72"/>
                        </a:cubicBezTo>
                        <a:cubicBezTo>
                          <a:pt x="31" y="72"/>
                          <a:pt x="30" y="72"/>
                          <a:pt x="30" y="72"/>
                        </a:cubicBezTo>
                        <a:cubicBezTo>
                          <a:pt x="30" y="72"/>
                          <a:pt x="30" y="72"/>
                          <a:pt x="31" y="71"/>
                        </a:cubicBezTo>
                        <a:cubicBezTo>
                          <a:pt x="31" y="72"/>
                          <a:pt x="31" y="72"/>
                          <a:pt x="31" y="72"/>
                        </a:cubicBezTo>
                        <a:cubicBezTo>
                          <a:pt x="30" y="72"/>
                          <a:pt x="31" y="72"/>
                          <a:pt x="31" y="72"/>
                        </a:cubicBezTo>
                        <a:cubicBezTo>
                          <a:pt x="30" y="72"/>
                          <a:pt x="30" y="73"/>
                          <a:pt x="30" y="73"/>
                        </a:cubicBezTo>
                        <a:cubicBezTo>
                          <a:pt x="30" y="73"/>
                          <a:pt x="30" y="73"/>
                          <a:pt x="30" y="73"/>
                        </a:cubicBezTo>
                        <a:cubicBezTo>
                          <a:pt x="30" y="73"/>
                          <a:pt x="30" y="73"/>
                          <a:pt x="30" y="73"/>
                        </a:cubicBezTo>
                        <a:cubicBezTo>
                          <a:pt x="30" y="73"/>
                          <a:pt x="30" y="73"/>
                          <a:pt x="30" y="73"/>
                        </a:cubicBezTo>
                        <a:cubicBezTo>
                          <a:pt x="31" y="73"/>
                          <a:pt x="30" y="73"/>
                          <a:pt x="31" y="73"/>
                        </a:cubicBezTo>
                        <a:cubicBezTo>
                          <a:pt x="31" y="73"/>
                          <a:pt x="31" y="73"/>
                          <a:pt x="30" y="73"/>
                        </a:cubicBezTo>
                        <a:cubicBezTo>
                          <a:pt x="30" y="74"/>
                          <a:pt x="30" y="74"/>
                          <a:pt x="30" y="74"/>
                        </a:cubicBezTo>
                        <a:cubicBezTo>
                          <a:pt x="30" y="74"/>
                          <a:pt x="30" y="75"/>
                          <a:pt x="30" y="75"/>
                        </a:cubicBezTo>
                        <a:cubicBezTo>
                          <a:pt x="29" y="75"/>
                          <a:pt x="30" y="75"/>
                          <a:pt x="30" y="75"/>
                        </a:cubicBezTo>
                        <a:cubicBezTo>
                          <a:pt x="29" y="75"/>
                          <a:pt x="29" y="75"/>
                          <a:pt x="30" y="75"/>
                        </a:cubicBezTo>
                        <a:cubicBezTo>
                          <a:pt x="30" y="75"/>
                          <a:pt x="29" y="75"/>
                          <a:pt x="29" y="75"/>
                        </a:cubicBezTo>
                        <a:cubicBezTo>
                          <a:pt x="30" y="75"/>
                          <a:pt x="29" y="76"/>
                          <a:pt x="29" y="76"/>
                        </a:cubicBezTo>
                        <a:cubicBezTo>
                          <a:pt x="29" y="75"/>
                          <a:pt x="29" y="76"/>
                          <a:pt x="29" y="76"/>
                        </a:cubicBezTo>
                        <a:cubicBezTo>
                          <a:pt x="29" y="76"/>
                          <a:pt x="29" y="76"/>
                          <a:pt x="29" y="76"/>
                        </a:cubicBezTo>
                        <a:cubicBezTo>
                          <a:pt x="29" y="76"/>
                          <a:pt x="30" y="76"/>
                          <a:pt x="29" y="76"/>
                        </a:cubicBezTo>
                        <a:cubicBezTo>
                          <a:pt x="30" y="75"/>
                          <a:pt x="30" y="75"/>
                          <a:pt x="30" y="74"/>
                        </a:cubicBezTo>
                        <a:cubicBezTo>
                          <a:pt x="30" y="74"/>
                          <a:pt x="30" y="74"/>
                          <a:pt x="30" y="74"/>
                        </a:cubicBezTo>
                        <a:cubicBezTo>
                          <a:pt x="30" y="74"/>
                          <a:pt x="30" y="74"/>
                          <a:pt x="30" y="74"/>
                        </a:cubicBezTo>
                        <a:cubicBezTo>
                          <a:pt x="30" y="74"/>
                          <a:pt x="30" y="74"/>
                          <a:pt x="30" y="74"/>
                        </a:cubicBezTo>
                        <a:cubicBezTo>
                          <a:pt x="30" y="74"/>
                          <a:pt x="31" y="74"/>
                          <a:pt x="31" y="73"/>
                        </a:cubicBezTo>
                        <a:cubicBezTo>
                          <a:pt x="31" y="73"/>
                          <a:pt x="31" y="73"/>
                          <a:pt x="31" y="73"/>
                        </a:cubicBezTo>
                        <a:cubicBezTo>
                          <a:pt x="32" y="71"/>
                          <a:pt x="32" y="70"/>
                          <a:pt x="33" y="68"/>
                        </a:cubicBezTo>
                        <a:cubicBezTo>
                          <a:pt x="34" y="68"/>
                          <a:pt x="33" y="68"/>
                          <a:pt x="33" y="68"/>
                        </a:cubicBezTo>
                        <a:cubicBezTo>
                          <a:pt x="34" y="68"/>
                          <a:pt x="34" y="68"/>
                          <a:pt x="34" y="68"/>
                        </a:cubicBezTo>
                        <a:cubicBezTo>
                          <a:pt x="34" y="68"/>
                          <a:pt x="34" y="68"/>
                          <a:pt x="34" y="68"/>
                        </a:cubicBezTo>
                        <a:cubicBezTo>
                          <a:pt x="34" y="68"/>
                          <a:pt x="34" y="69"/>
                          <a:pt x="34" y="69"/>
                        </a:cubicBezTo>
                        <a:cubicBezTo>
                          <a:pt x="33" y="69"/>
                          <a:pt x="33" y="69"/>
                          <a:pt x="33" y="69"/>
                        </a:cubicBezTo>
                        <a:cubicBezTo>
                          <a:pt x="33" y="69"/>
                          <a:pt x="33" y="69"/>
                          <a:pt x="33" y="69"/>
                        </a:cubicBezTo>
                        <a:cubicBezTo>
                          <a:pt x="33" y="69"/>
                          <a:pt x="33" y="69"/>
                          <a:pt x="33" y="69"/>
                        </a:cubicBezTo>
                        <a:cubicBezTo>
                          <a:pt x="33" y="70"/>
                          <a:pt x="33" y="70"/>
                          <a:pt x="33" y="70"/>
                        </a:cubicBezTo>
                        <a:cubicBezTo>
                          <a:pt x="33" y="70"/>
                          <a:pt x="33" y="69"/>
                          <a:pt x="33" y="69"/>
                        </a:cubicBezTo>
                        <a:cubicBezTo>
                          <a:pt x="33" y="70"/>
                          <a:pt x="33" y="70"/>
                          <a:pt x="33" y="70"/>
                        </a:cubicBezTo>
                        <a:cubicBezTo>
                          <a:pt x="33" y="70"/>
                          <a:pt x="33" y="70"/>
                          <a:pt x="33" y="70"/>
                        </a:cubicBezTo>
                        <a:cubicBezTo>
                          <a:pt x="33" y="70"/>
                          <a:pt x="33" y="70"/>
                          <a:pt x="33" y="70"/>
                        </a:cubicBezTo>
                        <a:cubicBezTo>
                          <a:pt x="33" y="70"/>
                          <a:pt x="33" y="70"/>
                          <a:pt x="33" y="70"/>
                        </a:cubicBezTo>
                        <a:cubicBezTo>
                          <a:pt x="33" y="71"/>
                          <a:pt x="33" y="70"/>
                          <a:pt x="33" y="70"/>
                        </a:cubicBezTo>
                        <a:cubicBezTo>
                          <a:pt x="32" y="71"/>
                          <a:pt x="32" y="71"/>
                          <a:pt x="32" y="71"/>
                        </a:cubicBezTo>
                        <a:cubicBezTo>
                          <a:pt x="32" y="71"/>
                          <a:pt x="32" y="71"/>
                          <a:pt x="32" y="71"/>
                        </a:cubicBezTo>
                        <a:cubicBezTo>
                          <a:pt x="32" y="71"/>
                          <a:pt x="32" y="71"/>
                          <a:pt x="32" y="71"/>
                        </a:cubicBezTo>
                        <a:cubicBezTo>
                          <a:pt x="32" y="71"/>
                          <a:pt x="32" y="71"/>
                          <a:pt x="32" y="71"/>
                        </a:cubicBezTo>
                        <a:cubicBezTo>
                          <a:pt x="32" y="72"/>
                          <a:pt x="32" y="72"/>
                          <a:pt x="32" y="72"/>
                        </a:cubicBezTo>
                        <a:cubicBezTo>
                          <a:pt x="32" y="72"/>
                          <a:pt x="31" y="72"/>
                          <a:pt x="32" y="72"/>
                        </a:cubicBezTo>
                        <a:cubicBezTo>
                          <a:pt x="31" y="73"/>
                          <a:pt x="30" y="75"/>
                          <a:pt x="30" y="76"/>
                        </a:cubicBezTo>
                        <a:cubicBezTo>
                          <a:pt x="30" y="76"/>
                          <a:pt x="30" y="76"/>
                          <a:pt x="30" y="76"/>
                        </a:cubicBezTo>
                        <a:cubicBezTo>
                          <a:pt x="29" y="76"/>
                          <a:pt x="29" y="77"/>
                          <a:pt x="29" y="77"/>
                        </a:cubicBezTo>
                        <a:cubicBezTo>
                          <a:pt x="29" y="77"/>
                          <a:pt x="29" y="77"/>
                          <a:pt x="29" y="77"/>
                        </a:cubicBezTo>
                        <a:cubicBezTo>
                          <a:pt x="29" y="77"/>
                          <a:pt x="29" y="77"/>
                          <a:pt x="29" y="77"/>
                        </a:cubicBezTo>
                        <a:cubicBezTo>
                          <a:pt x="29" y="77"/>
                          <a:pt x="29" y="77"/>
                          <a:pt x="29" y="77"/>
                        </a:cubicBezTo>
                        <a:cubicBezTo>
                          <a:pt x="29" y="77"/>
                          <a:pt x="29" y="77"/>
                          <a:pt x="29" y="76"/>
                        </a:cubicBezTo>
                        <a:cubicBezTo>
                          <a:pt x="29" y="76"/>
                          <a:pt x="29" y="76"/>
                          <a:pt x="29" y="76"/>
                        </a:cubicBezTo>
                        <a:cubicBezTo>
                          <a:pt x="29" y="76"/>
                          <a:pt x="29" y="76"/>
                          <a:pt x="29" y="76"/>
                        </a:cubicBezTo>
                        <a:cubicBezTo>
                          <a:pt x="29" y="76"/>
                          <a:pt x="29" y="76"/>
                          <a:pt x="29" y="76"/>
                        </a:cubicBezTo>
                        <a:cubicBezTo>
                          <a:pt x="29" y="76"/>
                          <a:pt x="29" y="76"/>
                          <a:pt x="29" y="76"/>
                        </a:cubicBezTo>
                        <a:cubicBezTo>
                          <a:pt x="29" y="76"/>
                          <a:pt x="29" y="76"/>
                          <a:pt x="29" y="76"/>
                        </a:cubicBezTo>
                        <a:cubicBezTo>
                          <a:pt x="29" y="76"/>
                          <a:pt x="29" y="76"/>
                          <a:pt x="29" y="76"/>
                        </a:cubicBezTo>
                        <a:cubicBezTo>
                          <a:pt x="29" y="76"/>
                          <a:pt x="29" y="76"/>
                          <a:pt x="29" y="77"/>
                        </a:cubicBezTo>
                        <a:cubicBezTo>
                          <a:pt x="29" y="77"/>
                          <a:pt x="29" y="77"/>
                          <a:pt x="29" y="77"/>
                        </a:cubicBezTo>
                        <a:cubicBezTo>
                          <a:pt x="28" y="77"/>
                          <a:pt x="29" y="77"/>
                          <a:pt x="28" y="77"/>
                        </a:cubicBezTo>
                        <a:cubicBezTo>
                          <a:pt x="28" y="77"/>
                          <a:pt x="28" y="77"/>
                          <a:pt x="28" y="77"/>
                        </a:cubicBezTo>
                        <a:cubicBezTo>
                          <a:pt x="28" y="77"/>
                          <a:pt x="28" y="77"/>
                          <a:pt x="28" y="77"/>
                        </a:cubicBezTo>
                        <a:cubicBezTo>
                          <a:pt x="28" y="77"/>
                          <a:pt x="28" y="77"/>
                          <a:pt x="28" y="77"/>
                        </a:cubicBezTo>
                        <a:cubicBezTo>
                          <a:pt x="28" y="78"/>
                          <a:pt x="28" y="78"/>
                          <a:pt x="28" y="78"/>
                        </a:cubicBezTo>
                        <a:cubicBezTo>
                          <a:pt x="28" y="78"/>
                          <a:pt x="27" y="78"/>
                          <a:pt x="27" y="78"/>
                        </a:cubicBezTo>
                        <a:cubicBezTo>
                          <a:pt x="27" y="78"/>
                          <a:pt x="27" y="78"/>
                          <a:pt x="28" y="78"/>
                        </a:cubicBezTo>
                        <a:cubicBezTo>
                          <a:pt x="28" y="78"/>
                          <a:pt x="27" y="78"/>
                          <a:pt x="28" y="78"/>
                        </a:cubicBezTo>
                        <a:cubicBezTo>
                          <a:pt x="27" y="78"/>
                          <a:pt x="27" y="78"/>
                          <a:pt x="27" y="78"/>
                        </a:cubicBezTo>
                        <a:cubicBezTo>
                          <a:pt x="27" y="78"/>
                          <a:pt x="27" y="78"/>
                          <a:pt x="27" y="78"/>
                        </a:cubicBezTo>
                        <a:cubicBezTo>
                          <a:pt x="27" y="78"/>
                          <a:pt x="27" y="78"/>
                          <a:pt x="27" y="78"/>
                        </a:cubicBezTo>
                        <a:cubicBezTo>
                          <a:pt x="27" y="78"/>
                          <a:pt x="27" y="78"/>
                          <a:pt x="27" y="78"/>
                        </a:cubicBezTo>
                        <a:cubicBezTo>
                          <a:pt x="27" y="78"/>
                          <a:pt x="27" y="78"/>
                          <a:pt x="27" y="78"/>
                        </a:cubicBezTo>
                        <a:cubicBezTo>
                          <a:pt x="27" y="78"/>
                          <a:pt x="27" y="78"/>
                          <a:pt x="27" y="77"/>
                        </a:cubicBezTo>
                        <a:cubicBezTo>
                          <a:pt x="27" y="77"/>
                          <a:pt x="27" y="78"/>
                          <a:pt x="27" y="77"/>
                        </a:cubicBezTo>
                        <a:cubicBezTo>
                          <a:pt x="27" y="77"/>
                          <a:pt x="28" y="77"/>
                          <a:pt x="28" y="77"/>
                        </a:cubicBezTo>
                        <a:cubicBezTo>
                          <a:pt x="27" y="77"/>
                          <a:pt x="28" y="77"/>
                          <a:pt x="28" y="77"/>
                        </a:cubicBezTo>
                        <a:cubicBezTo>
                          <a:pt x="28" y="77"/>
                          <a:pt x="28" y="77"/>
                          <a:pt x="28" y="77"/>
                        </a:cubicBezTo>
                        <a:cubicBezTo>
                          <a:pt x="28" y="77"/>
                          <a:pt x="28" y="77"/>
                          <a:pt x="28" y="76"/>
                        </a:cubicBezTo>
                        <a:cubicBezTo>
                          <a:pt x="28" y="76"/>
                          <a:pt x="28" y="76"/>
                          <a:pt x="28" y="76"/>
                        </a:cubicBezTo>
                        <a:cubicBezTo>
                          <a:pt x="28" y="76"/>
                          <a:pt x="28" y="76"/>
                          <a:pt x="28" y="76"/>
                        </a:cubicBezTo>
                        <a:cubicBezTo>
                          <a:pt x="28" y="76"/>
                          <a:pt x="28" y="76"/>
                          <a:pt x="28" y="76"/>
                        </a:cubicBezTo>
                        <a:cubicBezTo>
                          <a:pt x="28" y="76"/>
                          <a:pt x="28" y="76"/>
                          <a:pt x="28" y="76"/>
                        </a:cubicBezTo>
                        <a:cubicBezTo>
                          <a:pt x="28" y="76"/>
                          <a:pt x="28" y="76"/>
                          <a:pt x="28" y="76"/>
                        </a:cubicBezTo>
                        <a:cubicBezTo>
                          <a:pt x="28" y="75"/>
                          <a:pt x="29" y="75"/>
                          <a:pt x="29" y="75"/>
                        </a:cubicBezTo>
                        <a:cubicBezTo>
                          <a:pt x="29" y="75"/>
                          <a:pt x="29" y="75"/>
                          <a:pt x="29" y="75"/>
                        </a:cubicBezTo>
                        <a:cubicBezTo>
                          <a:pt x="28" y="75"/>
                          <a:pt x="29" y="74"/>
                          <a:pt x="29" y="74"/>
                        </a:cubicBezTo>
                        <a:cubicBezTo>
                          <a:pt x="29" y="74"/>
                          <a:pt x="29" y="74"/>
                          <a:pt x="29" y="74"/>
                        </a:cubicBezTo>
                        <a:cubicBezTo>
                          <a:pt x="29" y="74"/>
                          <a:pt x="29" y="74"/>
                          <a:pt x="29" y="74"/>
                        </a:cubicBezTo>
                        <a:cubicBezTo>
                          <a:pt x="29" y="74"/>
                          <a:pt x="29" y="74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7" y="75"/>
                          <a:pt x="28" y="75"/>
                        </a:cubicBezTo>
                        <a:cubicBezTo>
                          <a:pt x="28" y="76"/>
                          <a:pt x="27" y="76"/>
                          <a:pt x="27" y="76"/>
                        </a:cubicBezTo>
                        <a:cubicBezTo>
                          <a:pt x="27" y="76"/>
                          <a:pt x="27" y="76"/>
                          <a:pt x="27" y="76"/>
                        </a:cubicBezTo>
                        <a:cubicBezTo>
                          <a:pt x="27" y="76"/>
                          <a:pt x="28" y="76"/>
                          <a:pt x="28" y="75"/>
                        </a:cubicBezTo>
                        <a:cubicBezTo>
                          <a:pt x="28" y="76"/>
                          <a:pt x="27" y="76"/>
                          <a:pt x="27" y="76"/>
                        </a:cubicBezTo>
                        <a:cubicBezTo>
                          <a:pt x="27" y="75"/>
                          <a:pt x="27" y="75"/>
                          <a:pt x="27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7" y="75"/>
                          <a:pt x="28" y="75"/>
                          <a:pt x="27" y="75"/>
                        </a:cubicBezTo>
                        <a:cubicBezTo>
                          <a:pt x="27" y="75"/>
                          <a:pt x="27" y="75"/>
                          <a:pt x="27" y="75"/>
                        </a:cubicBezTo>
                        <a:cubicBezTo>
                          <a:pt x="27" y="75"/>
                          <a:pt x="27" y="75"/>
                          <a:pt x="27" y="75"/>
                        </a:cubicBezTo>
                        <a:cubicBezTo>
                          <a:pt x="27" y="75"/>
                          <a:pt x="27" y="75"/>
                          <a:pt x="26" y="76"/>
                        </a:cubicBezTo>
                        <a:cubicBezTo>
                          <a:pt x="26" y="75"/>
                          <a:pt x="26" y="75"/>
                          <a:pt x="27" y="75"/>
                        </a:cubicBezTo>
                        <a:cubicBezTo>
                          <a:pt x="26" y="75"/>
                          <a:pt x="26" y="76"/>
                          <a:pt x="26" y="76"/>
                        </a:cubicBezTo>
                        <a:cubicBezTo>
                          <a:pt x="26" y="75"/>
                          <a:pt x="26" y="75"/>
                          <a:pt x="26" y="75"/>
                        </a:cubicBezTo>
                        <a:cubicBezTo>
                          <a:pt x="26" y="75"/>
                          <a:pt x="27" y="75"/>
                          <a:pt x="27" y="75"/>
                        </a:cubicBezTo>
                        <a:cubicBezTo>
                          <a:pt x="27" y="75"/>
                          <a:pt x="27" y="75"/>
                          <a:pt x="27" y="75"/>
                        </a:cubicBezTo>
                        <a:cubicBezTo>
                          <a:pt x="27" y="75"/>
                          <a:pt x="27" y="75"/>
                          <a:pt x="27" y="75"/>
                        </a:cubicBezTo>
                        <a:cubicBezTo>
                          <a:pt x="27" y="75"/>
                          <a:pt x="27" y="75"/>
                          <a:pt x="27" y="75"/>
                        </a:cubicBezTo>
                        <a:cubicBezTo>
                          <a:pt x="27" y="75"/>
                          <a:pt x="27" y="75"/>
                          <a:pt x="27" y="75"/>
                        </a:cubicBezTo>
                        <a:cubicBezTo>
                          <a:pt x="27" y="75"/>
                          <a:pt x="27" y="75"/>
                          <a:pt x="27" y="74"/>
                        </a:cubicBezTo>
                        <a:cubicBezTo>
                          <a:pt x="27" y="74"/>
                          <a:pt x="27" y="74"/>
                          <a:pt x="27" y="74"/>
                        </a:cubicBezTo>
                        <a:cubicBezTo>
                          <a:pt x="27" y="74"/>
                          <a:pt x="27" y="74"/>
                          <a:pt x="28" y="74"/>
                        </a:cubicBezTo>
                        <a:cubicBezTo>
                          <a:pt x="27" y="74"/>
                          <a:pt x="27" y="74"/>
                          <a:pt x="27" y="74"/>
                        </a:cubicBezTo>
                        <a:cubicBezTo>
                          <a:pt x="27" y="73"/>
                          <a:pt x="28" y="73"/>
                          <a:pt x="28" y="73"/>
                        </a:cubicBezTo>
                        <a:cubicBezTo>
                          <a:pt x="28" y="73"/>
                          <a:pt x="28" y="73"/>
                          <a:pt x="28" y="73"/>
                        </a:cubicBezTo>
                        <a:cubicBezTo>
                          <a:pt x="28" y="73"/>
                          <a:pt x="28" y="73"/>
                          <a:pt x="28" y="73"/>
                        </a:cubicBezTo>
                        <a:cubicBezTo>
                          <a:pt x="28" y="73"/>
                          <a:pt x="28" y="72"/>
                          <a:pt x="28" y="73"/>
                        </a:cubicBezTo>
                        <a:cubicBezTo>
                          <a:pt x="28" y="73"/>
                          <a:pt x="28" y="73"/>
                          <a:pt x="28" y="72"/>
                        </a:cubicBezTo>
                        <a:cubicBezTo>
                          <a:pt x="28" y="72"/>
                          <a:pt x="29" y="72"/>
                          <a:pt x="29" y="71"/>
                        </a:cubicBezTo>
                        <a:cubicBezTo>
                          <a:pt x="29" y="71"/>
                          <a:pt x="29" y="71"/>
                          <a:pt x="29" y="71"/>
                        </a:cubicBezTo>
                        <a:cubicBezTo>
                          <a:pt x="29" y="71"/>
                          <a:pt x="29" y="71"/>
                          <a:pt x="29" y="71"/>
                        </a:cubicBezTo>
                        <a:cubicBezTo>
                          <a:pt x="29" y="71"/>
                          <a:pt x="29" y="71"/>
                          <a:pt x="29" y="71"/>
                        </a:cubicBezTo>
                        <a:cubicBezTo>
                          <a:pt x="29" y="71"/>
                          <a:pt x="29" y="71"/>
                          <a:pt x="29" y="71"/>
                        </a:cubicBezTo>
                        <a:cubicBezTo>
                          <a:pt x="29" y="71"/>
                          <a:pt x="29" y="71"/>
                          <a:pt x="29" y="71"/>
                        </a:cubicBezTo>
                        <a:cubicBezTo>
                          <a:pt x="29" y="71"/>
                          <a:pt x="28" y="71"/>
                          <a:pt x="28" y="71"/>
                        </a:cubicBezTo>
                        <a:cubicBezTo>
                          <a:pt x="29" y="71"/>
                          <a:pt x="28" y="72"/>
                          <a:pt x="28" y="72"/>
                        </a:cubicBezTo>
                        <a:cubicBezTo>
                          <a:pt x="28" y="72"/>
                          <a:pt x="28" y="72"/>
                          <a:pt x="28" y="72"/>
                        </a:cubicBezTo>
                        <a:cubicBezTo>
                          <a:pt x="28" y="72"/>
                          <a:pt x="28" y="72"/>
                          <a:pt x="28" y="71"/>
                        </a:cubicBezTo>
                        <a:cubicBezTo>
                          <a:pt x="28" y="72"/>
                          <a:pt x="27" y="72"/>
                          <a:pt x="27" y="73"/>
                        </a:cubicBezTo>
                        <a:cubicBezTo>
                          <a:pt x="27" y="73"/>
                          <a:pt x="27" y="73"/>
                          <a:pt x="27" y="73"/>
                        </a:cubicBezTo>
                        <a:cubicBezTo>
                          <a:pt x="27" y="73"/>
                          <a:pt x="27" y="73"/>
                          <a:pt x="27" y="73"/>
                        </a:cubicBezTo>
                        <a:cubicBezTo>
                          <a:pt x="27" y="73"/>
                          <a:pt x="27" y="73"/>
                          <a:pt x="27" y="73"/>
                        </a:cubicBezTo>
                        <a:cubicBezTo>
                          <a:pt x="27" y="73"/>
                          <a:pt x="27" y="73"/>
                          <a:pt x="27" y="74"/>
                        </a:cubicBezTo>
                        <a:cubicBezTo>
                          <a:pt x="27" y="74"/>
                          <a:pt x="27" y="73"/>
                          <a:pt x="27" y="73"/>
                        </a:cubicBezTo>
                        <a:cubicBezTo>
                          <a:pt x="27" y="74"/>
                          <a:pt x="27" y="74"/>
                          <a:pt x="27" y="74"/>
                        </a:cubicBezTo>
                        <a:cubicBezTo>
                          <a:pt x="27" y="74"/>
                          <a:pt x="27" y="74"/>
                          <a:pt x="26" y="74"/>
                        </a:cubicBezTo>
                        <a:cubicBezTo>
                          <a:pt x="26" y="74"/>
                          <a:pt x="26" y="74"/>
                          <a:pt x="26" y="74"/>
                        </a:cubicBezTo>
                        <a:cubicBezTo>
                          <a:pt x="26" y="73"/>
                          <a:pt x="27" y="73"/>
                          <a:pt x="27" y="73"/>
                        </a:cubicBezTo>
                        <a:cubicBezTo>
                          <a:pt x="27" y="73"/>
                          <a:pt x="27" y="73"/>
                          <a:pt x="27" y="73"/>
                        </a:cubicBezTo>
                        <a:cubicBezTo>
                          <a:pt x="26" y="73"/>
                          <a:pt x="27" y="72"/>
                          <a:pt x="26" y="72"/>
                        </a:cubicBezTo>
                        <a:cubicBezTo>
                          <a:pt x="27" y="72"/>
                          <a:pt x="26" y="72"/>
                          <a:pt x="27" y="72"/>
                        </a:cubicBezTo>
                        <a:cubicBezTo>
                          <a:pt x="26" y="72"/>
                          <a:pt x="26" y="72"/>
                          <a:pt x="26" y="73"/>
                        </a:cubicBezTo>
                        <a:cubicBezTo>
                          <a:pt x="26" y="73"/>
                          <a:pt x="26" y="73"/>
                          <a:pt x="26" y="73"/>
                        </a:cubicBezTo>
                        <a:cubicBezTo>
                          <a:pt x="26" y="73"/>
                          <a:pt x="25" y="74"/>
                          <a:pt x="25" y="74"/>
                        </a:cubicBezTo>
                        <a:cubicBezTo>
                          <a:pt x="26" y="74"/>
                          <a:pt x="26" y="73"/>
                          <a:pt x="26" y="73"/>
                        </a:cubicBezTo>
                        <a:cubicBezTo>
                          <a:pt x="27" y="73"/>
                          <a:pt x="26" y="74"/>
                          <a:pt x="26" y="74"/>
                        </a:cubicBezTo>
                        <a:cubicBezTo>
                          <a:pt x="26" y="74"/>
                          <a:pt x="26" y="74"/>
                          <a:pt x="26" y="74"/>
                        </a:cubicBezTo>
                        <a:cubicBezTo>
                          <a:pt x="26" y="74"/>
                          <a:pt x="26" y="74"/>
                          <a:pt x="26" y="74"/>
                        </a:cubicBezTo>
                        <a:cubicBezTo>
                          <a:pt x="26" y="74"/>
                          <a:pt x="26" y="74"/>
                          <a:pt x="26" y="74"/>
                        </a:cubicBezTo>
                        <a:cubicBezTo>
                          <a:pt x="26" y="74"/>
                          <a:pt x="26" y="74"/>
                          <a:pt x="26" y="74"/>
                        </a:cubicBezTo>
                        <a:cubicBezTo>
                          <a:pt x="26" y="74"/>
                          <a:pt x="26" y="74"/>
                          <a:pt x="26" y="74"/>
                        </a:cubicBezTo>
                        <a:close/>
                        <a:moveTo>
                          <a:pt x="39" y="58"/>
                        </a:moveTo>
                        <a:cubicBezTo>
                          <a:pt x="39" y="58"/>
                          <a:pt x="39" y="58"/>
                          <a:pt x="39" y="58"/>
                        </a:cubicBezTo>
                        <a:cubicBezTo>
                          <a:pt x="39" y="58"/>
                          <a:pt x="39" y="58"/>
                          <a:pt x="39" y="58"/>
                        </a:cubicBezTo>
                        <a:cubicBezTo>
                          <a:pt x="39" y="58"/>
                          <a:pt x="39" y="58"/>
                          <a:pt x="39" y="58"/>
                        </a:cubicBezTo>
                        <a:close/>
                        <a:moveTo>
                          <a:pt x="36" y="64"/>
                        </a:moveTo>
                        <a:cubicBezTo>
                          <a:pt x="36" y="64"/>
                          <a:pt x="36" y="64"/>
                          <a:pt x="36" y="64"/>
                        </a:cubicBezTo>
                        <a:cubicBezTo>
                          <a:pt x="36" y="64"/>
                          <a:pt x="36" y="64"/>
                          <a:pt x="36" y="64"/>
                        </a:cubicBezTo>
                        <a:cubicBezTo>
                          <a:pt x="36" y="64"/>
                          <a:pt x="36" y="64"/>
                          <a:pt x="36" y="64"/>
                        </a:cubicBezTo>
                        <a:close/>
                        <a:moveTo>
                          <a:pt x="35" y="62"/>
                        </a:move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lose/>
                        <a:moveTo>
                          <a:pt x="37" y="60"/>
                        </a:moveTo>
                        <a:cubicBezTo>
                          <a:pt x="37" y="60"/>
                          <a:pt x="37" y="61"/>
                          <a:pt x="37" y="61"/>
                        </a:cubicBezTo>
                        <a:cubicBezTo>
                          <a:pt x="36" y="60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6" y="60"/>
                          <a:pt x="37" y="61"/>
                          <a:pt x="36" y="61"/>
                        </a:cubicBezTo>
                        <a:cubicBezTo>
                          <a:pt x="37" y="61"/>
                          <a:pt x="37" y="60"/>
                          <a:pt x="37" y="60"/>
                        </a:cubicBezTo>
                        <a:close/>
                        <a:moveTo>
                          <a:pt x="37" y="61"/>
                        </a:moveTo>
                        <a:cubicBezTo>
                          <a:pt x="37" y="61"/>
                          <a:pt x="37" y="61"/>
                          <a:pt x="37" y="61"/>
                        </a:cubicBezTo>
                        <a:cubicBezTo>
                          <a:pt x="37" y="61"/>
                          <a:pt x="37" y="61"/>
                          <a:pt x="37" y="61"/>
                        </a:cubicBezTo>
                        <a:close/>
                        <a:moveTo>
                          <a:pt x="37" y="60"/>
                        </a:move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61"/>
                          <a:pt x="37" y="60"/>
                        </a:cubicBezTo>
                        <a:close/>
                        <a:moveTo>
                          <a:pt x="37" y="60"/>
                        </a:moveTo>
                        <a:cubicBezTo>
                          <a:pt x="38" y="60"/>
                          <a:pt x="38" y="60"/>
                          <a:pt x="38" y="60"/>
                        </a:cubicBezTo>
                        <a:cubicBezTo>
                          <a:pt x="38" y="60"/>
                          <a:pt x="38" y="60"/>
                          <a:pt x="38" y="60"/>
                        </a:cubicBezTo>
                        <a:cubicBezTo>
                          <a:pt x="38" y="60"/>
                          <a:pt x="38" y="60"/>
                          <a:pt x="38" y="60"/>
                        </a:cubicBezTo>
                        <a:cubicBezTo>
                          <a:pt x="38" y="60"/>
                          <a:pt x="37" y="60"/>
                          <a:pt x="37" y="60"/>
                        </a:cubicBezTo>
                        <a:close/>
                        <a:moveTo>
                          <a:pt x="39" y="56"/>
                        </a:moveTo>
                        <a:cubicBezTo>
                          <a:pt x="39" y="56"/>
                          <a:pt x="39" y="57"/>
                          <a:pt x="39" y="57"/>
                        </a:cubicBezTo>
                        <a:cubicBezTo>
                          <a:pt x="39" y="57"/>
                          <a:pt x="39" y="57"/>
                          <a:pt x="39" y="57"/>
                        </a:cubicBezTo>
                        <a:cubicBezTo>
                          <a:pt x="39" y="56"/>
                          <a:pt x="39" y="56"/>
                          <a:pt x="39" y="56"/>
                        </a:cubicBezTo>
                        <a:close/>
                        <a:moveTo>
                          <a:pt x="39" y="57"/>
                        </a:moveTo>
                        <a:cubicBezTo>
                          <a:pt x="39" y="57"/>
                          <a:pt x="39" y="57"/>
                          <a:pt x="39" y="57"/>
                        </a:cubicBezTo>
                        <a:cubicBezTo>
                          <a:pt x="39" y="57"/>
                          <a:pt x="39" y="57"/>
                          <a:pt x="39" y="57"/>
                        </a:cubicBezTo>
                        <a:close/>
                        <a:moveTo>
                          <a:pt x="38" y="59"/>
                        </a:moveTo>
                        <a:cubicBezTo>
                          <a:pt x="38" y="60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8" y="60"/>
                          <a:pt x="38" y="60"/>
                        </a:cubicBezTo>
                        <a:cubicBezTo>
                          <a:pt x="38" y="60"/>
                          <a:pt x="38" y="60"/>
                          <a:pt x="38" y="60"/>
                        </a:cubicBezTo>
                        <a:cubicBezTo>
                          <a:pt x="38" y="60"/>
                          <a:pt x="38" y="59"/>
                          <a:pt x="38" y="59"/>
                        </a:cubicBezTo>
                        <a:cubicBezTo>
                          <a:pt x="38" y="59"/>
                          <a:pt x="38" y="60"/>
                          <a:pt x="38" y="60"/>
                        </a:cubicBezTo>
                        <a:cubicBezTo>
                          <a:pt x="38" y="59"/>
                          <a:pt x="39" y="58"/>
                          <a:pt x="39" y="58"/>
                        </a:cubicBezTo>
                        <a:cubicBezTo>
                          <a:pt x="38" y="58"/>
                          <a:pt x="38" y="59"/>
                          <a:pt x="38" y="59"/>
                        </a:cubicBezTo>
                        <a:cubicBezTo>
                          <a:pt x="38" y="59"/>
                          <a:pt x="38" y="59"/>
                          <a:pt x="38" y="59"/>
                        </a:cubicBezTo>
                        <a:close/>
                        <a:moveTo>
                          <a:pt x="39" y="56"/>
                        </a:moveTo>
                        <a:cubicBezTo>
                          <a:pt x="39" y="56"/>
                          <a:pt x="39" y="56"/>
                          <a:pt x="39" y="56"/>
                        </a:cubicBezTo>
                        <a:cubicBezTo>
                          <a:pt x="39" y="56"/>
                          <a:pt x="40" y="55"/>
                          <a:pt x="39" y="55"/>
                        </a:cubicBezTo>
                        <a:cubicBezTo>
                          <a:pt x="39" y="55"/>
                          <a:pt x="39" y="55"/>
                          <a:pt x="39" y="56"/>
                        </a:cubicBezTo>
                        <a:close/>
                        <a:moveTo>
                          <a:pt x="39" y="56"/>
                        </a:moveTo>
                        <a:cubicBezTo>
                          <a:pt x="39" y="56"/>
                          <a:pt x="39" y="56"/>
                          <a:pt x="39" y="56"/>
                        </a:cubicBezTo>
                        <a:cubicBezTo>
                          <a:pt x="39" y="56"/>
                          <a:pt x="39" y="56"/>
                          <a:pt x="39" y="56"/>
                        </a:cubicBezTo>
                        <a:cubicBezTo>
                          <a:pt x="39" y="56"/>
                          <a:pt x="39" y="56"/>
                          <a:pt x="39" y="56"/>
                        </a:cubicBezTo>
                        <a:close/>
                        <a:moveTo>
                          <a:pt x="39" y="56"/>
                        </a:moveTo>
                        <a:cubicBezTo>
                          <a:pt x="39" y="56"/>
                          <a:pt x="39" y="56"/>
                          <a:pt x="39" y="56"/>
                        </a:cubicBezTo>
                        <a:cubicBezTo>
                          <a:pt x="39" y="56"/>
                          <a:pt x="39" y="56"/>
                          <a:pt x="39" y="56"/>
                        </a:cubicBezTo>
                        <a:close/>
                        <a:moveTo>
                          <a:pt x="37" y="58"/>
                        </a:moveTo>
                        <a:cubicBezTo>
                          <a:pt x="38" y="58"/>
                          <a:pt x="38" y="58"/>
                          <a:pt x="38" y="58"/>
                        </a:cubicBezTo>
                        <a:cubicBezTo>
                          <a:pt x="38" y="58"/>
                          <a:pt x="38" y="58"/>
                          <a:pt x="37" y="58"/>
                        </a:cubicBezTo>
                        <a:close/>
                        <a:moveTo>
                          <a:pt x="38" y="56"/>
                        </a:moveTo>
                        <a:cubicBezTo>
                          <a:pt x="38" y="56"/>
                          <a:pt x="38" y="56"/>
                          <a:pt x="39" y="56"/>
                        </a:cubicBezTo>
                        <a:cubicBezTo>
                          <a:pt x="38" y="56"/>
                          <a:pt x="38" y="56"/>
                          <a:pt x="38" y="56"/>
                        </a:cubicBezTo>
                        <a:close/>
                        <a:moveTo>
                          <a:pt x="38" y="56"/>
                        </a:moveTo>
                        <a:cubicBezTo>
                          <a:pt x="38" y="56"/>
                          <a:pt x="38" y="56"/>
                          <a:pt x="38" y="56"/>
                        </a:cubicBezTo>
                        <a:cubicBezTo>
                          <a:pt x="38" y="56"/>
                          <a:pt x="38" y="56"/>
                          <a:pt x="38" y="56"/>
                        </a:cubicBezTo>
                        <a:cubicBezTo>
                          <a:pt x="38" y="56"/>
                          <a:pt x="38" y="56"/>
                          <a:pt x="38" y="56"/>
                        </a:cubicBezTo>
                        <a:cubicBezTo>
                          <a:pt x="38" y="56"/>
                          <a:pt x="38" y="56"/>
                          <a:pt x="38" y="56"/>
                        </a:cubicBezTo>
                        <a:cubicBezTo>
                          <a:pt x="38" y="56"/>
                          <a:pt x="38" y="56"/>
                          <a:pt x="38" y="56"/>
                        </a:cubicBezTo>
                        <a:cubicBezTo>
                          <a:pt x="38" y="56"/>
                          <a:pt x="38" y="56"/>
                          <a:pt x="38" y="56"/>
                        </a:cubicBezTo>
                        <a:close/>
                        <a:moveTo>
                          <a:pt x="38" y="57"/>
                        </a:moveTo>
                        <a:cubicBezTo>
                          <a:pt x="38" y="57"/>
                          <a:pt x="38" y="56"/>
                          <a:pt x="38" y="56"/>
                        </a:cubicBezTo>
                        <a:cubicBezTo>
                          <a:pt x="38" y="56"/>
                          <a:pt x="38" y="56"/>
                          <a:pt x="38" y="56"/>
                        </a:cubicBezTo>
                        <a:cubicBezTo>
                          <a:pt x="38" y="56"/>
                          <a:pt x="37" y="56"/>
                          <a:pt x="37" y="57"/>
                        </a:cubicBezTo>
                        <a:cubicBezTo>
                          <a:pt x="38" y="57"/>
                          <a:pt x="37" y="57"/>
                          <a:pt x="37" y="57"/>
                        </a:cubicBezTo>
                        <a:cubicBezTo>
                          <a:pt x="38" y="57"/>
                          <a:pt x="38" y="57"/>
                          <a:pt x="38" y="57"/>
                        </a:cubicBezTo>
                        <a:cubicBezTo>
                          <a:pt x="38" y="57"/>
                          <a:pt x="38" y="57"/>
                          <a:pt x="38" y="57"/>
                        </a:cubicBezTo>
                        <a:close/>
                        <a:moveTo>
                          <a:pt x="38" y="56"/>
                        </a:moveTo>
                        <a:cubicBezTo>
                          <a:pt x="38" y="56"/>
                          <a:pt x="38" y="56"/>
                          <a:pt x="38" y="57"/>
                        </a:cubicBezTo>
                        <a:cubicBezTo>
                          <a:pt x="38" y="56"/>
                          <a:pt x="38" y="56"/>
                          <a:pt x="38" y="56"/>
                        </a:cubicBezTo>
                        <a:cubicBezTo>
                          <a:pt x="38" y="57"/>
                          <a:pt x="38" y="57"/>
                          <a:pt x="38" y="57"/>
                        </a:cubicBezTo>
                        <a:cubicBezTo>
                          <a:pt x="38" y="57"/>
                          <a:pt x="38" y="56"/>
                          <a:pt x="38" y="56"/>
                        </a:cubicBezTo>
                        <a:close/>
                        <a:moveTo>
                          <a:pt x="36" y="60"/>
                        </a:moveTo>
                        <a:cubicBezTo>
                          <a:pt x="35" y="60"/>
                          <a:pt x="35" y="61"/>
                          <a:pt x="35" y="61"/>
                        </a:cubicBezTo>
                        <a:cubicBezTo>
                          <a:pt x="35" y="61"/>
                          <a:pt x="36" y="61"/>
                          <a:pt x="36" y="61"/>
                        </a:cubicBezTo>
                        <a:cubicBezTo>
                          <a:pt x="36" y="61"/>
                          <a:pt x="36" y="61"/>
                          <a:pt x="36" y="61"/>
                        </a:cubicBezTo>
                        <a:cubicBezTo>
                          <a:pt x="36" y="61"/>
                          <a:pt x="36" y="61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60"/>
                          <a:pt x="36" y="61"/>
                          <a:pt x="36" y="61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59"/>
                          <a:pt x="37" y="59"/>
                        </a:cubicBezTo>
                        <a:cubicBezTo>
                          <a:pt x="37" y="59"/>
                          <a:pt x="37" y="59"/>
                          <a:pt x="37" y="59"/>
                        </a:cubicBezTo>
                        <a:cubicBezTo>
                          <a:pt x="37" y="59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59"/>
                          <a:pt x="37" y="59"/>
                        </a:cubicBezTo>
                        <a:cubicBezTo>
                          <a:pt x="37" y="59"/>
                          <a:pt x="37" y="60"/>
                          <a:pt x="37" y="60"/>
                        </a:cubicBezTo>
                        <a:cubicBezTo>
                          <a:pt x="37" y="59"/>
                          <a:pt x="37" y="59"/>
                          <a:pt x="38" y="59"/>
                        </a:cubicBezTo>
                        <a:cubicBezTo>
                          <a:pt x="37" y="59"/>
                          <a:pt x="37" y="59"/>
                          <a:pt x="37" y="59"/>
                        </a:cubicBezTo>
                        <a:cubicBezTo>
                          <a:pt x="37" y="59"/>
                          <a:pt x="37" y="59"/>
                          <a:pt x="37" y="59"/>
                        </a:cubicBezTo>
                        <a:cubicBezTo>
                          <a:pt x="37" y="59"/>
                          <a:pt x="37" y="59"/>
                          <a:pt x="37" y="59"/>
                        </a:cubicBezTo>
                        <a:cubicBezTo>
                          <a:pt x="37" y="59"/>
                          <a:pt x="37" y="59"/>
                          <a:pt x="37" y="59"/>
                        </a:cubicBezTo>
                        <a:cubicBezTo>
                          <a:pt x="37" y="59"/>
                          <a:pt x="37" y="59"/>
                          <a:pt x="37" y="59"/>
                        </a:cubicBezTo>
                        <a:cubicBezTo>
                          <a:pt x="37" y="59"/>
                          <a:pt x="37" y="59"/>
                          <a:pt x="36" y="59"/>
                        </a:cubicBezTo>
                        <a:cubicBezTo>
                          <a:pt x="37" y="60"/>
                          <a:pt x="36" y="60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lose/>
                        <a:moveTo>
                          <a:pt x="36" y="60"/>
                        </a:move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lose/>
                        <a:moveTo>
                          <a:pt x="26" y="67"/>
                        </a:moveTo>
                        <a:cubicBezTo>
                          <a:pt x="26" y="67"/>
                          <a:pt x="26" y="67"/>
                          <a:pt x="26" y="67"/>
                        </a:cubicBezTo>
                        <a:cubicBezTo>
                          <a:pt x="26" y="67"/>
                          <a:pt x="26" y="67"/>
                          <a:pt x="26" y="67"/>
                        </a:cubicBezTo>
                        <a:cubicBezTo>
                          <a:pt x="26" y="67"/>
                          <a:pt x="26" y="67"/>
                          <a:pt x="26" y="67"/>
                        </a:cubicBezTo>
                        <a:close/>
                        <a:moveTo>
                          <a:pt x="26" y="68"/>
                        </a:moveTo>
                        <a:cubicBezTo>
                          <a:pt x="26" y="68"/>
                          <a:pt x="26" y="68"/>
                          <a:pt x="26" y="69"/>
                        </a:cubicBezTo>
                        <a:cubicBezTo>
                          <a:pt x="26" y="69"/>
                          <a:pt x="26" y="68"/>
                          <a:pt x="26" y="68"/>
                        </a:cubicBezTo>
                        <a:close/>
                        <a:moveTo>
                          <a:pt x="27" y="67"/>
                        </a:moveTo>
                        <a:cubicBezTo>
                          <a:pt x="27" y="67"/>
                          <a:pt x="27" y="67"/>
                          <a:pt x="27" y="67"/>
                        </a:cubicBezTo>
                        <a:cubicBezTo>
                          <a:pt x="27" y="67"/>
                          <a:pt x="27" y="67"/>
                          <a:pt x="27" y="67"/>
                        </a:cubicBezTo>
                        <a:cubicBezTo>
                          <a:pt x="27" y="67"/>
                          <a:pt x="27" y="67"/>
                          <a:pt x="27" y="67"/>
                        </a:cubicBezTo>
                        <a:cubicBezTo>
                          <a:pt x="27" y="67"/>
                          <a:pt x="27" y="67"/>
                          <a:pt x="27" y="67"/>
                        </a:cubicBezTo>
                        <a:cubicBezTo>
                          <a:pt x="27" y="67"/>
                          <a:pt x="27" y="67"/>
                          <a:pt x="27" y="67"/>
                        </a:cubicBezTo>
                        <a:cubicBezTo>
                          <a:pt x="27" y="67"/>
                          <a:pt x="26" y="67"/>
                          <a:pt x="27" y="67"/>
                        </a:cubicBezTo>
                        <a:cubicBezTo>
                          <a:pt x="27" y="67"/>
                          <a:pt x="27" y="67"/>
                          <a:pt x="27" y="67"/>
                        </a:cubicBezTo>
                        <a:close/>
                        <a:moveTo>
                          <a:pt x="27" y="67"/>
                        </a:moveTo>
                        <a:cubicBezTo>
                          <a:pt x="27" y="67"/>
                          <a:pt x="27" y="68"/>
                          <a:pt x="27" y="68"/>
                        </a:cubicBezTo>
                        <a:cubicBezTo>
                          <a:pt x="27" y="67"/>
                          <a:pt x="27" y="67"/>
                          <a:pt x="27" y="67"/>
                        </a:cubicBezTo>
                        <a:close/>
                        <a:moveTo>
                          <a:pt x="28" y="66"/>
                        </a:moveTo>
                        <a:cubicBezTo>
                          <a:pt x="29" y="66"/>
                          <a:pt x="28" y="66"/>
                          <a:pt x="28" y="66"/>
                        </a:cubicBezTo>
                        <a:cubicBezTo>
                          <a:pt x="28" y="66"/>
                          <a:pt x="28" y="66"/>
                          <a:pt x="28" y="66"/>
                        </a:cubicBezTo>
                        <a:cubicBezTo>
                          <a:pt x="29" y="66"/>
                          <a:pt x="28" y="66"/>
                          <a:pt x="29" y="66"/>
                        </a:cubicBezTo>
                        <a:cubicBezTo>
                          <a:pt x="29" y="66"/>
                          <a:pt x="29" y="66"/>
                          <a:pt x="29" y="66"/>
                        </a:cubicBezTo>
                        <a:cubicBezTo>
                          <a:pt x="29" y="66"/>
                          <a:pt x="28" y="66"/>
                          <a:pt x="28" y="66"/>
                        </a:cubicBezTo>
                        <a:cubicBezTo>
                          <a:pt x="28" y="66"/>
                          <a:pt x="28" y="66"/>
                          <a:pt x="28" y="66"/>
                        </a:cubicBezTo>
                        <a:cubicBezTo>
                          <a:pt x="28" y="66"/>
                          <a:pt x="28" y="66"/>
                          <a:pt x="28" y="66"/>
                        </a:cubicBezTo>
                        <a:cubicBezTo>
                          <a:pt x="28" y="66"/>
                          <a:pt x="28" y="67"/>
                          <a:pt x="28" y="66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9" y="67"/>
                        </a:cubicBezTo>
                        <a:cubicBezTo>
                          <a:pt x="28" y="67"/>
                          <a:pt x="29" y="67"/>
                          <a:pt x="29" y="66"/>
                        </a:cubicBezTo>
                        <a:cubicBezTo>
                          <a:pt x="29" y="66"/>
                          <a:pt x="29" y="66"/>
                          <a:pt x="28" y="66"/>
                        </a:cubicBezTo>
                        <a:close/>
                        <a:moveTo>
                          <a:pt x="31" y="63"/>
                        </a:moveTo>
                        <a:cubicBezTo>
                          <a:pt x="31" y="64"/>
                          <a:pt x="31" y="64"/>
                          <a:pt x="31" y="64"/>
                        </a:cubicBezTo>
                        <a:cubicBezTo>
                          <a:pt x="31" y="64"/>
                          <a:pt x="31" y="64"/>
                          <a:pt x="31" y="63"/>
                        </a:cubicBezTo>
                        <a:cubicBezTo>
                          <a:pt x="31" y="63"/>
                          <a:pt x="31" y="63"/>
                          <a:pt x="31" y="63"/>
                        </a:cubicBezTo>
                        <a:close/>
                        <a:moveTo>
                          <a:pt x="30" y="65"/>
                        </a:moveTo>
                        <a:cubicBezTo>
                          <a:pt x="30" y="65"/>
                          <a:pt x="30" y="65"/>
                          <a:pt x="30" y="64"/>
                        </a:cubicBezTo>
                        <a:cubicBezTo>
                          <a:pt x="30" y="65"/>
                          <a:pt x="30" y="65"/>
                          <a:pt x="30" y="65"/>
                        </a:cubicBezTo>
                        <a:cubicBezTo>
                          <a:pt x="30" y="65"/>
                          <a:pt x="30" y="65"/>
                          <a:pt x="30" y="65"/>
                        </a:cubicBezTo>
                        <a:close/>
                        <a:moveTo>
                          <a:pt x="31" y="64"/>
                        </a:moveTo>
                        <a:cubicBezTo>
                          <a:pt x="31" y="64"/>
                          <a:pt x="31" y="64"/>
                          <a:pt x="31" y="65"/>
                        </a:cubicBezTo>
                        <a:cubicBezTo>
                          <a:pt x="31" y="65"/>
                          <a:pt x="31" y="64"/>
                          <a:pt x="31" y="64"/>
                        </a:cubicBezTo>
                        <a:cubicBezTo>
                          <a:pt x="31" y="64"/>
                          <a:pt x="31" y="64"/>
                          <a:pt x="31" y="64"/>
                        </a:cubicBezTo>
                        <a:cubicBezTo>
                          <a:pt x="31" y="64"/>
                          <a:pt x="31" y="64"/>
                          <a:pt x="30" y="64"/>
                        </a:cubicBezTo>
                        <a:cubicBezTo>
                          <a:pt x="31" y="64"/>
                          <a:pt x="31" y="64"/>
                          <a:pt x="30" y="64"/>
                        </a:cubicBezTo>
                        <a:cubicBezTo>
                          <a:pt x="31" y="64"/>
                          <a:pt x="31" y="64"/>
                          <a:pt x="31" y="64"/>
                        </a:cubicBezTo>
                        <a:cubicBezTo>
                          <a:pt x="30" y="64"/>
                          <a:pt x="31" y="64"/>
                          <a:pt x="31" y="64"/>
                        </a:cubicBezTo>
                        <a:cubicBezTo>
                          <a:pt x="30" y="64"/>
                          <a:pt x="30" y="64"/>
                          <a:pt x="30" y="64"/>
                        </a:cubicBezTo>
                        <a:cubicBezTo>
                          <a:pt x="31" y="65"/>
                          <a:pt x="31" y="64"/>
                          <a:pt x="31" y="64"/>
                        </a:cubicBezTo>
                        <a:close/>
                        <a:moveTo>
                          <a:pt x="31" y="65"/>
                        </a:moveTo>
                        <a:cubicBezTo>
                          <a:pt x="31" y="65"/>
                          <a:pt x="31" y="65"/>
                          <a:pt x="31" y="65"/>
                        </a:cubicBezTo>
                        <a:cubicBezTo>
                          <a:pt x="31" y="65"/>
                          <a:pt x="31" y="65"/>
                          <a:pt x="31" y="65"/>
                        </a:cubicBezTo>
                        <a:cubicBezTo>
                          <a:pt x="30" y="65"/>
                          <a:pt x="30" y="65"/>
                          <a:pt x="30" y="65"/>
                        </a:cubicBezTo>
                        <a:cubicBezTo>
                          <a:pt x="30" y="65"/>
                          <a:pt x="30" y="65"/>
                          <a:pt x="30" y="65"/>
                        </a:cubicBezTo>
                        <a:cubicBezTo>
                          <a:pt x="31" y="65"/>
                          <a:pt x="31" y="65"/>
                          <a:pt x="31" y="65"/>
                        </a:cubicBezTo>
                        <a:close/>
                        <a:moveTo>
                          <a:pt x="31" y="65"/>
                        </a:moveTo>
                        <a:cubicBezTo>
                          <a:pt x="31" y="64"/>
                          <a:pt x="31" y="64"/>
                          <a:pt x="31" y="64"/>
                        </a:cubicBezTo>
                        <a:cubicBezTo>
                          <a:pt x="31" y="64"/>
                          <a:pt x="31" y="64"/>
                          <a:pt x="31" y="64"/>
                        </a:cubicBezTo>
                        <a:cubicBezTo>
                          <a:pt x="31" y="64"/>
                          <a:pt x="31" y="64"/>
                          <a:pt x="31" y="65"/>
                        </a:cubicBezTo>
                        <a:close/>
                        <a:moveTo>
                          <a:pt x="27" y="73"/>
                        </a:moveTo>
                        <a:cubicBezTo>
                          <a:pt x="27" y="73"/>
                          <a:pt x="27" y="73"/>
                          <a:pt x="27" y="73"/>
                        </a:cubicBezTo>
                        <a:cubicBezTo>
                          <a:pt x="27" y="73"/>
                          <a:pt x="27" y="73"/>
                          <a:pt x="27" y="73"/>
                        </a:cubicBezTo>
                        <a:cubicBezTo>
                          <a:pt x="27" y="73"/>
                          <a:pt x="27" y="73"/>
                          <a:pt x="27" y="73"/>
                        </a:cubicBezTo>
                        <a:close/>
                        <a:moveTo>
                          <a:pt x="28" y="71"/>
                        </a:moveTo>
                        <a:cubicBezTo>
                          <a:pt x="28" y="71"/>
                          <a:pt x="28" y="71"/>
                          <a:pt x="28" y="71"/>
                        </a:cubicBezTo>
                        <a:cubicBezTo>
                          <a:pt x="28" y="71"/>
                          <a:pt x="28" y="71"/>
                          <a:pt x="28" y="71"/>
                        </a:cubicBezTo>
                        <a:close/>
                        <a:moveTo>
                          <a:pt x="28" y="70"/>
                        </a:moveTo>
                        <a:cubicBezTo>
                          <a:pt x="28" y="71"/>
                          <a:pt x="28" y="70"/>
                          <a:pt x="28" y="71"/>
                        </a:cubicBezTo>
                        <a:cubicBezTo>
                          <a:pt x="28" y="71"/>
                          <a:pt x="28" y="71"/>
                          <a:pt x="28" y="71"/>
                        </a:cubicBezTo>
                        <a:cubicBezTo>
                          <a:pt x="28" y="71"/>
                          <a:pt x="28" y="71"/>
                          <a:pt x="28" y="71"/>
                        </a:cubicBezTo>
                        <a:cubicBezTo>
                          <a:pt x="28" y="70"/>
                          <a:pt x="28" y="70"/>
                          <a:pt x="28" y="70"/>
                        </a:cubicBezTo>
                        <a:cubicBezTo>
                          <a:pt x="28" y="70"/>
                          <a:pt x="28" y="71"/>
                          <a:pt x="28" y="71"/>
                        </a:cubicBezTo>
                        <a:cubicBezTo>
                          <a:pt x="28" y="71"/>
                          <a:pt x="28" y="71"/>
                          <a:pt x="28" y="71"/>
                        </a:cubicBezTo>
                        <a:cubicBezTo>
                          <a:pt x="28" y="71"/>
                          <a:pt x="28" y="71"/>
                          <a:pt x="28" y="71"/>
                        </a:cubicBezTo>
                        <a:cubicBezTo>
                          <a:pt x="28" y="71"/>
                          <a:pt x="28" y="71"/>
                          <a:pt x="28" y="71"/>
                        </a:cubicBezTo>
                        <a:cubicBezTo>
                          <a:pt x="28" y="71"/>
                          <a:pt x="28" y="71"/>
                          <a:pt x="28" y="71"/>
                        </a:cubicBezTo>
                        <a:cubicBezTo>
                          <a:pt x="29" y="71"/>
                          <a:pt x="28" y="71"/>
                          <a:pt x="28" y="70"/>
                        </a:cubicBezTo>
                        <a:close/>
                        <a:moveTo>
                          <a:pt x="29" y="69"/>
                        </a:moveTo>
                        <a:cubicBezTo>
                          <a:pt x="29" y="69"/>
                          <a:pt x="29" y="70"/>
                          <a:pt x="28" y="70"/>
                        </a:cubicBezTo>
                        <a:cubicBezTo>
                          <a:pt x="28" y="70"/>
                          <a:pt x="28" y="70"/>
                          <a:pt x="28" y="70"/>
                        </a:cubicBezTo>
                        <a:cubicBezTo>
                          <a:pt x="28" y="70"/>
                          <a:pt x="28" y="70"/>
                          <a:pt x="29" y="70"/>
                        </a:cubicBezTo>
                        <a:cubicBezTo>
                          <a:pt x="29" y="70"/>
                          <a:pt x="29" y="70"/>
                          <a:pt x="29" y="70"/>
                        </a:cubicBezTo>
                        <a:cubicBezTo>
                          <a:pt x="29" y="70"/>
                          <a:pt x="29" y="69"/>
                          <a:pt x="29" y="69"/>
                        </a:cubicBezTo>
                        <a:close/>
                        <a:moveTo>
                          <a:pt x="30" y="67"/>
                        </a:move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7"/>
                          <a:pt x="30" y="67"/>
                          <a:pt x="30" y="67"/>
                        </a:cubicBez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7"/>
                          <a:pt x="31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lose/>
                        <a:moveTo>
                          <a:pt x="30" y="68"/>
                        </a:moveTo>
                        <a:cubicBezTo>
                          <a:pt x="30" y="68"/>
                          <a:pt x="30" y="68"/>
                          <a:pt x="30" y="67"/>
                        </a:cubicBezTo>
                        <a:cubicBezTo>
                          <a:pt x="30" y="68"/>
                          <a:pt x="30" y="68"/>
                          <a:pt x="30" y="68"/>
                        </a:cubicBezTo>
                        <a:close/>
                        <a:moveTo>
                          <a:pt x="30" y="68"/>
                        </a:moveTo>
                        <a:cubicBezTo>
                          <a:pt x="29" y="68"/>
                          <a:pt x="29" y="69"/>
                          <a:pt x="29" y="69"/>
                        </a:cubicBezTo>
                        <a:cubicBezTo>
                          <a:pt x="30" y="69"/>
                          <a:pt x="30" y="68"/>
                          <a:pt x="30" y="68"/>
                        </a:cubicBezTo>
                        <a:cubicBezTo>
                          <a:pt x="30" y="68"/>
                          <a:pt x="30" y="68"/>
                          <a:pt x="30" y="68"/>
                        </a:cubicBezTo>
                        <a:close/>
                        <a:moveTo>
                          <a:pt x="29" y="71"/>
                        </a:moveTo>
                        <a:cubicBezTo>
                          <a:pt x="29" y="71"/>
                          <a:pt x="29" y="71"/>
                          <a:pt x="29" y="70"/>
                        </a:cubicBezTo>
                        <a:cubicBezTo>
                          <a:pt x="29" y="70"/>
                          <a:pt x="29" y="71"/>
                          <a:pt x="29" y="71"/>
                        </a:cubicBezTo>
                        <a:cubicBezTo>
                          <a:pt x="29" y="70"/>
                          <a:pt x="29" y="70"/>
                          <a:pt x="29" y="70"/>
                        </a:cubicBezTo>
                        <a:cubicBezTo>
                          <a:pt x="29" y="70"/>
                          <a:pt x="29" y="70"/>
                          <a:pt x="29" y="70"/>
                        </a:cubicBezTo>
                        <a:cubicBezTo>
                          <a:pt x="29" y="70"/>
                          <a:pt x="29" y="70"/>
                          <a:pt x="29" y="70"/>
                        </a:cubicBezTo>
                        <a:cubicBezTo>
                          <a:pt x="29" y="70"/>
                          <a:pt x="29" y="70"/>
                          <a:pt x="29" y="70"/>
                        </a:cubicBezTo>
                        <a:cubicBezTo>
                          <a:pt x="29" y="70"/>
                          <a:pt x="29" y="70"/>
                          <a:pt x="29" y="70"/>
                        </a:cubicBezTo>
                        <a:cubicBezTo>
                          <a:pt x="29" y="70"/>
                          <a:pt x="28" y="70"/>
                          <a:pt x="29" y="71"/>
                        </a:cubicBezTo>
                        <a:cubicBezTo>
                          <a:pt x="29" y="71"/>
                          <a:pt x="29" y="71"/>
                          <a:pt x="29" y="71"/>
                        </a:cubicBezTo>
                        <a:close/>
                        <a:moveTo>
                          <a:pt x="29" y="69"/>
                        </a:moveTo>
                        <a:cubicBezTo>
                          <a:pt x="29" y="69"/>
                          <a:pt x="29" y="69"/>
                          <a:pt x="29" y="69"/>
                        </a:cubicBezTo>
                        <a:cubicBezTo>
                          <a:pt x="29" y="69"/>
                          <a:pt x="29" y="70"/>
                          <a:pt x="29" y="70"/>
                        </a:cubicBezTo>
                        <a:cubicBezTo>
                          <a:pt x="29" y="69"/>
                          <a:pt x="29" y="69"/>
                          <a:pt x="29" y="69"/>
                        </a:cubicBezTo>
                        <a:close/>
                        <a:moveTo>
                          <a:pt x="29" y="70"/>
                        </a:moveTo>
                        <a:cubicBezTo>
                          <a:pt x="29" y="70"/>
                          <a:pt x="29" y="70"/>
                          <a:pt x="29" y="70"/>
                        </a:cubicBezTo>
                        <a:cubicBezTo>
                          <a:pt x="29" y="70"/>
                          <a:pt x="29" y="70"/>
                          <a:pt x="29" y="70"/>
                        </a:cubicBezTo>
                        <a:close/>
                        <a:moveTo>
                          <a:pt x="30" y="69"/>
                        </a:moveTo>
                        <a:cubicBezTo>
                          <a:pt x="30" y="69"/>
                          <a:pt x="30" y="69"/>
                          <a:pt x="30" y="69"/>
                        </a:cubicBezTo>
                        <a:cubicBezTo>
                          <a:pt x="30" y="69"/>
                          <a:pt x="30" y="69"/>
                          <a:pt x="30" y="69"/>
                        </a:cubicBezTo>
                        <a:cubicBezTo>
                          <a:pt x="30" y="69"/>
                          <a:pt x="30" y="69"/>
                          <a:pt x="30" y="69"/>
                        </a:cubicBezTo>
                        <a:cubicBezTo>
                          <a:pt x="30" y="69"/>
                          <a:pt x="31" y="68"/>
                          <a:pt x="30" y="68"/>
                        </a:cubicBezTo>
                        <a:cubicBezTo>
                          <a:pt x="30" y="68"/>
                          <a:pt x="30" y="69"/>
                          <a:pt x="30" y="69"/>
                        </a:cubicBezTo>
                        <a:cubicBezTo>
                          <a:pt x="30" y="69"/>
                          <a:pt x="30" y="69"/>
                          <a:pt x="30" y="69"/>
                        </a:cubicBezTo>
                        <a:cubicBezTo>
                          <a:pt x="30" y="69"/>
                          <a:pt x="30" y="69"/>
                          <a:pt x="29" y="69"/>
                        </a:cubicBezTo>
                        <a:cubicBezTo>
                          <a:pt x="29" y="69"/>
                          <a:pt x="30" y="69"/>
                          <a:pt x="30" y="69"/>
                        </a:cubicBezTo>
                        <a:cubicBezTo>
                          <a:pt x="29" y="69"/>
                          <a:pt x="29" y="69"/>
                          <a:pt x="29" y="69"/>
                        </a:cubicBezTo>
                        <a:cubicBezTo>
                          <a:pt x="29" y="69"/>
                          <a:pt x="29" y="69"/>
                          <a:pt x="29" y="69"/>
                        </a:cubicBezTo>
                        <a:cubicBezTo>
                          <a:pt x="29" y="69"/>
                          <a:pt x="29" y="69"/>
                          <a:pt x="30" y="69"/>
                        </a:cubicBezTo>
                        <a:cubicBezTo>
                          <a:pt x="30" y="69"/>
                          <a:pt x="29" y="69"/>
                          <a:pt x="30" y="69"/>
                        </a:cubicBezTo>
                        <a:cubicBezTo>
                          <a:pt x="30" y="69"/>
                          <a:pt x="30" y="69"/>
                          <a:pt x="30" y="69"/>
                        </a:cubicBezTo>
                        <a:cubicBezTo>
                          <a:pt x="30" y="69"/>
                          <a:pt x="30" y="69"/>
                          <a:pt x="30" y="69"/>
                        </a:cubicBezTo>
                        <a:close/>
                        <a:moveTo>
                          <a:pt x="31" y="68"/>
                        </a:moveTo>
                        <a:cubicBezTo>
                          <a:pt x="30" y="68"/>
                          <a:pt x="30" y="68"/>
                          <a:pt x="30" y="68"/>
                        </a:cubicBezTo>
                        <a:cubicBezTo>
                          <a:pt x="30" y="68"/>
                          <a:pt x="31" y="68"/>
                          <a:pt x="31" y="68"/>
                        </a:cubicBezTo>
                        <a:cubicBezTo>
                          <a:pt x="31" y="68"/>
                          <a:pt x="31" y="68"/>
                          <a:pt x="31" y="67"/>
                        </a:cubicBez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8"/>
                          <a:pt x="31" y="68"/>
                          <a:pt x="31" y="68"/>
                        </a:cubicBezTo>
                        <a:close/>
                        <a:moveTo>
                          <a:pt x="31" y="66"/>
                        </a:moveTo>
                        <a:cubicBezTo>
                          <a:pt x="31" y="66"/>
                          <a:pt x="31" y="67"/>
                          <a:pt x="31" y="67"/>
                        </a:cubicBezTo>
                        <a:cubicBezTo>
                          <a:pt x="31" y="66"/>
                          <a:pt x="32" y="66"/>
                          <a:pt x="31" y="66"/>
                        </a:cubicBezTo>
                        <a:close/>
                        <a:moveTo>
                          <a:pt x="32" y="65"/>
                        </a:moveTo>
                        <a:cubicBezTo>
                          <a:pt x="32" y="65"/>
                          <a:pt x="32" y="66"/>
                          <a:pt x="32" y="66"/>
                        </a:cubicBezTo>
                        <a:cubicBezTo>
                          <a:pt x="32" y="65"/>
                          <a:pt x="32" y="65"/>
                          <a:pt x="32" y="65"/>
                        </a:cubicBezTo>
                        <a:cubicBezTo>
                          <a:pt x="32" y="65"/>
                          <a:pt x="32" y="65"/>
                          <a:pt x="32" y="65"/>
                        </a:cubicBezTo>
                        <a:close/>
                        <a:moveTo>
                          <a:pt x="32" y="65"/>
                        </a:moveTo>
                        <a:cubicBezTo>
                          <a:pt x="32" y="65"/>
                          <a:pt x="32" y="64"/>
                          <a:pt x="32" y="64"/>
                        </a:cubicBezTo>
                        <a:cubicBezTo>
                          <a:pt x="32" y="64"/>
                          <a:pt x="32" y="64"/>
                          <a:pt x="32" y="64"/>
                        </a:cubicBezTo>
                        <a:cubicBezTo>
                          <a:pt x="32" y="64"/>
                          <a:pt x="32" y="65"/>
                          <a:pt x="32" y="65"/>
                        </a:cubicBezTo>
                        <a:close/>
                        <a:moveTo>
                          <a:pt x="30" y="70"/>
                        </a:moveTo>
                        <a:cubicBezTo>
                          <a:pt x="30" y="70"/>
                          <a:pt x="30" y="70"/>
                          <a:pt x="30" y="69"/>
                        </a:cubicBezTo>
                        <a:cubicBezTo>
                          <a:pt x="30" y="69"/>
                          <a:pt x="30" y="70"/>
                          <a:pt x="30" y="69"/>
                        </a:cubicBezTo>
                        <a:cubicBezTo>
                          <a:pt x="30" y="70"/>
                          <a:pt x="29" y="70"/>
                          <a:pt x="29" y="70"/>
                        </a:cubicBezTo>
                        <a:cubicBezTo>
                          <a:pt x="30" y="70"/>
                          <a:pt x="30" y="69"/>
                          <a:pt x="30" y="70"/>
                        </a:cubicBezTo>
                        <a:close/>
                        <a:moveTo>
                          <a:pt x="31" y="68"/>
                        </a:moveTo>
                        <a:cubicBezTo>
                          <a:pt x="31" y="68"/>
                          <a:pt x="31" y="68"/>
                          <a:pt x="30" y="69"/>
                        </a:cubicBezTo>
                        <a:cubicBezTo>
                          <a:pt x="31" y="69"/>
                          <a:pt x="31" y="69"/>
                          <a:pt x="31" y="69"/>
                        </a:cubicBezTo>
                        <a:cubicBezTo>
                          <a:pt x="31" y="69"/>
                          <a:pt x="31" y="69"/>
                          <a:pt x="31" y="69"/>
                        </a:cubicBezTo>
                        <a:cubicBezTo>
                          <a:pt x="31" y="69"/>
                          <a:pt x="31" y="69"/>
                          <a:pt x="31" y="69"/>
                        </a:cubicBezTo>
                        <a:cubicBezTo>
                          <a:pt x="31" y="69"/>
                          <a:pt x="31" y="69"/>
                          <a:pt x="31" y="69"/>
                        </a:cubicBezTo>
                        <a:cubicBezTo>
                          <a:pt x="31" y="69"/>
                          <a:pt x="31" y="69"/>
                          <a:pt x="31" y="69"/>
                        </a:cubicBezTo>
                        <a:cubicBezTo>
                          <a:pt x="31" y="69"/>
                          <a:pt x="31" y="69"/>
                          <a:pt x="31" y="69"/>
                        </a:cubicBezTo>
                        <a:cubicBezTo>
                          <a:pt x="31" y="68"/>
                          <a:pt x="31" y="68"/>
                          <a:pt x="31" y="68"/>
                        </a:cubicBezTo>
                        <a:cubicBezTo>
                          <a:pt x="31" y="68"/>
                          <a:pt x="31" y="68"/>
                          <a:pt x="31" y="68"/>
                        </a:cubicBezTo>
                        <a:cubicBezTo>
                          <a:pt x="31" y="68"/>
                          <a:pt x="31" y="68"/>
                          <a:pt x="31" y="68"/>
                        </a:cubicBezTo>
                        <a:cubicBezTo>
                          <a:pt x="31" y="68"/>
                          <a:pt x="31" y="68"/>
                          <a:pt x="31" y="68"/>
                        </a:cubicBezTo>
                        <a:cubicBezTo>
                          <a:pt x="31" y="68"/>
                          <a:pt x="31" y="68"/>
                          <a:pt x="31" y="68"/>
                        </a:cubicBezTo>
                        <a:close/>
                        <a:moveTo>
                          <a:pt x="29" y="72"/>
                        </a:moveTo>
                        <a:cubicBezTo>
                          <a:pt x="29" y="72"/>
                          <a:pt x="29" y="72"/>
                          <a:pt x="29" y="72"/>
                        </a:cubicBezTo>
                        <a:cubicBezTo>
                          <a:pt x="29" y="72"/>
                          <a:pt x="29" y="72"/>
                          <a:pt x="29" y="72"/>
                        </a:cubicBezTo>
                        <a:cubicBezTo>
                          <a:pt x="29" y="72"/>
                          <a:pt x="29" y="72"/>
                          <a:pt x="29" y="72"/>
                        </a:cubicBezTo>
                        <a:close/>
                        <a:moveTo>
                          <a:pt x="30" y="72"/>
                        </a:moveTo>
                        <a:cubicBezTo>
                          <a:pt x="30" y="72"/>
                          <a:pt x="30" y="72"/>
                          <a:pt x="30" y="72"/>
                        </a:cubicBezTo>
                        <a:cubicBezTo>
                          <a:pt x="29" y="72"/>
                          <a:pt x="29" y="72"/>
                          <a:pt x="29" y="72"/>
                        </a:cubicBezTo>
                        <a:cubicBezTo>
                          <a:pt x="29" y="72"/>
                          <a:pt x="30" y="72"/>
                          <a:pt x="30" y="72"/>
                        </a:cubicBezTo>
                        <a:close/>
                        <a:moveTo>
                          <a:pt x="30" y="71"/>
                        </a:moveTo>
                        <a:cubicBezTo>
                          <a:pt x="30" y="71"/>
                          <a:pt x="30" y="71"/>
                          <a:pt x="30" y="71"/>
                        </a:cubicBezTo>
                        <a:cubicBezTo>
                          <a:pt x="30" y="71"/>
                          <a:pt x="30" y="71"/>
                          <a:pt x="30" y="71"/>
                        </a:cubicBezTo>
                        <a:cubicBezTo>
                          <a:pt x="30" y="71"/>
                          <a:pt x="30" y="71"/>
                          <a:pt x="30" y="71"/>
                        </a:cubicBezTo>
                        <a:close/>
                        <a:moveTo>
                          <a:pt x="29" y="71"/>
                        </a:moveTo>
                        <a:cubicBezTo>
                          <a:pt x="29" y="71"/>
                          <a:pt x="29" y="71"/>
                          <a:pt x="29" y="71"/>
                        </a:cubicBezTo>
                        <a:cubicBezTo>
                          <a:pt x="29" y="71"/>
                          <a:pt x="30" y="71"/>
                          <a:pt x="29" y="71"/>
                        </a:cubicBezTo>
                        <a:close/>
                        <a:moveTo>
                          <a:pt x="28" y="73"/>
                        </a:moveTo>
                        <a:cubicBezTo>
                          <a:pt x="28" y="73"/>
                          <a:pt x="28" y="73"/>
                          <a:pt x="28" y="73"/>
                        </a:cubicBezTo>
                        <a:cubicBezTo>
                          <a:pt x="28" y="73"/>
                          <a:pt x="28" y="73"/>
                          <a:pt x="28" y="73"/>
                        </a:cubicBezTo>
                        <a:cubicBezTo>
                          <a:pt x="28" y="73"/>
                          <a:pt x="28" y="73"/>
                          <a:pt x="28" y="73"/>
                        </a:cubicBezTo>
                        <a:close/>
                        <a:moveTo>
                          <a:pt x="29" y="72"/>
                        </a:moveTo>
                        <a:cubicBezTo>
                          <a:pt x="29" y="72"/>
                          <a:pt x="29" y="72"/>
                          <a:pt x="29" y="72"/>
                        </a:cubicBezTo>
                        <a:cubicBezTo>
                          <a:pt x="29" y="72"/>
                          <a:pt x="29" y="72"/>
                          <a:pt x="29" y="72"/>
                        </a:cubicBezTo>
                        <a:close/>
                        <a:moveTo>
                          <a:pt x="28" y="73"/>
                        </a:moveTo>
                        <a:cubicBezTo>
                          <a:pt x="29" y="73"/>
                          <a:pt x="29" y="73"/>
                          <a:pt x="29" y="72"/>
                        </a:cubicBezTo>
                        <a:cubicBezTo>
                          <a:pt x="28" y="73"/>
                          <a:pt x="28" y="73"/>
                          <a:pt x="28" y="73"/>
                        </a:cubicBezTo>
                        <a:close/>
                        <a:moveTo>
                          <a:pt x="29" y="71"/>
                        </a:moveTo>
                        <a:cubicBezTo>
                          <a:pt x="29" y="71"/>
                          <a:pt x="29" y="71"/>
                          <a:pt x="29" y="71"/>
                        </a:cubicBezTo>
                        <a:cubicBezTo>
                          <a:pt x="29" y="71"/>
                          <a:pt x="29" y="71"/>
                          <a:pt x="29" y="71"/>
                        </a:cubicBezTo>
                        <a:cubicBezTo>
                          <a:pt x="29" y="71"/>
                          <a:pt x="29" y="71"/>
                          <a:pt x="29" y="71"/>
                        </a:cubicBezTo>
                        <a:cubicBezTo>
                          <a:pt x="29" y="71"/>
                          <a:pt x="29" y="71"/>
                          <a:pt x="29" y="71"/>
                        </a:cubicBezTo>
                        <a:close/>
                        <a:moveTo>
                          <a:pt x="28" y="73"/>
                        </a:moveTo>
                        <a:cubicBezTo>
                          <a:pt x="28" y="73"/>
                          <a:pt x="28" y="73"/>
                          <a:pt x="28" y="73"/>
                        </a:cubicBezTo>
                        <a:cubicBezTo>
                          <a:pt x="28" y="73"/>
                          <a:pt x="28" y="73"/>
                          <a:pt x="28" y="74"/>
                        </a:cubicBezTo>
                        <a:cubicBezTo>
                          <a:pt x="28" y="74"/>
                          <a:pt x="28" y="74"/>
                          <a:pt x="28" y="73"/>
                        </a:cubicBezTo>
                        <a:close/>
                        <a:moveTo>
                          <a:pt x="28" y="75"/>
                        </a:moveTo>
                        <a:cubicBezTo>
                          <a:pt x="28" y="74"/>
                          <a:pt x="28" y="74"/>
                          <a:pt x="28" y="74"/>
                        </a:cubicBezTo>
                        <a:cubicBezTo>
                          <a:pt x="28" y="74"/>
                          <a:pt x="28" y="74"/>
                          <a:pt x="28" y="74"/>
                        </a:cubicBezTo>
                        <a:cubicBezTo>
                          <a:pt x="28" y="74"/>
                          <a:pt x="28" y="74"/>
                          <a:pt x="28" y="74"/>
                        </a:cubicBezTo>
                        <a:cubicBezTo>
                          <a:pt x="28" y="74"/>
                          <a:pt x="28" y="74"/>
                          <a:pt x="28" y="74"/>
                        </a:cubicBezTo>
                        <a:cubicBezTo>
                          <a:pt x="28" y="74"/>
                          <a:pt x="28" y="75"/>
                          <a:pt x="28" y="75"/>
                        </a:cubicBezTo>
                        <a:close/>
                        <a:moveTo>
                          <a:pt x="28" y="75"/>
                        </a:moveTo>
                        <a:cubicBezTo>
                          <a:pt x="27" y="75"/>
                          <a:pt x="27" y="75"/>
                          <a:pt x="27" y="76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lose/>
                        <a:moveTo>
                          <a:pt x="29" y="73"/>
                        </a:moveTo>
                        <a:cubicBezTo>
                          <a:pt x="29" y="73"/>
                          <a:pt x="29" y="73"/>
                          <a:pt x="29" y="72"/>
                        </a:cubicBezTo>
                        <a:cubicBezTo>
                          <a:pt x="29" y="73"/>
                          <a:pt x="29" y="73"/>
                          <a:pt x="29" y="73"/>
                        </a:cubicBezTo>
                        <a:cubicBezTo>
                          <a:pt x="29" y="73"/>
                          <a:pt x="29" y="73"/>
                          <a:pt x="28" y="73"/>
                        </a:cubicBezTo>
                        <a:cubicBezTo>
                          <a:pt x="28" y="73"/>
                          <a:pt x="28" y="73"/>
                          <a:pt x="28" y="73"/>
                        </a:cubicBezTo>
                        <a:cubicBezTo>
                          <a:pt x="29" y="73"/>
                          <a:pt x="29" y="73"/>
                          <a:pt x="29" y="73"/>
                        </a:cubicBezTo>
                        <a:close/>
                        <a:moveTo>
                          <a:pt x="29" y="74"/>
                        </a:moveTo>
                        <a:cubicBezTo>
                          <a:pt x="29" y="74"/>
                          <a:pt x="29" y="74"/>
                          <a:pt x="29" y="74"/>
                        </a:cubicBezTo>
                        <a:cubicBezTo>
                          <a:pt x="29" y="74"/>
                          <a:pt x="29" y="74"/>
                          <a:pt x="29" y="74"/>
                        </a:cubicBezTo>
                        <a:cubicBezTo>
                          <a:pt x="29" y="74"/>
                          <a:pt x="29" y="74"/>
                          <a:pt x="29" y="74"/>
                        </a:cubicBezTo>
                        <a:close/>
                        <a:moveTo>
                          <a:pt x="29" y="74"/>
                        </a:moveTo>
                        <a:cubicBezTo>
                          <a:pt x="29" y="74"/>
                          <a:pt x="29" y="74"/>
                          <a:pt x="29" y="74"/>
                        </a:cubicBezTo>
                        <a:cubicBezTo>
                          <a:pt x="29" y="74"/>
                          <a:pt x="29" y="74"/>
                          <a:pt x="29" y="74"/>
                        </a:cubicBezTo>
                        <a:close/>
                        <a:moveTo>
                          <a:pt x="29" y="74"/>
                        </a:moveTo>
                        <a:cubicBezTo>
                          <a:pt x="29" y="74"/>
                          <a:pt x="29" y="75"/>
                          <a:pt x="29" y="75"/>
                        </a:cubicBezTo>
                        <a:cubicBezTo>
                          <a:pt x="29" y="75"/>
                          <a:pt x="29" y="75"/>
                          <a:pt x="29" y="74"/>
                        </a:cubicBezTo>
                        <a:close/>
                        <a:moveTo>
                          <a:pt x="29" y="76"/>
                        </a:moveTo>
                        <a:cubicBezTo>
                          <a:pt x="28" y="76"/>
                          <a:pt x="28" y="76"/>
                          <a:pt x="28" y="76"/>
                        </a:cubicBezTo>
                        <a:cubicBezTo>
                          <a:pt x="28" y="76"/>
                          <a:pt x="28" y="77"/>
                          <a:pt x="28" y="77"/>
                        </a:cubicBezTo>
                        <a:cubicBezTo>
                          <a:pt x="28" y="76"/>
                          <a:pt x="29" y="76"/>
                          <a:pt x="29" y="76"/>
                        </a:cubicBezTo>
                        <a:close/>
                        <a:moveTo>
                          <a:pt x="28" y="76"/>
                        </a:moveTo>
                        <a:cubicBezTo>
                          <a:pt x="29" y="76"/>
                          <a:pt x="29" y="76"/>
                          <a:pt x="29" y="75"/>
                        </a:cubicBezTo>
                        <a:cubicBezTo>
                          <a:pt x="29" y="76"/>
                          <a:pt x="28" y="76"/>
                          <a:pt x="28" y="76"/>
                        </a:cubicBezTo>
                        <a:close/>
                        <a:moveTo>
                          <a:pt x="29" y="75"/>
                        </a:moveTo>
                        <a:cubicBezTo>
                          <a:pt x="29" y="75"/>
                          <a:pt x="29" y="75"/>
                          <a:pt x="29" y="75"/>
                        </a:cubicBezTo>
                        <a:cubicBezTo>
                          <a:pt x="29" y="75"/>
                          <a:pt x="29" y="75"/>
                          <a:pt x="29" y="76"/>
                        </a:cubicBezTo>
                        <a:cubicBezTo>
                          <a:pt x="29" y="76"/>
                          <a:pt x="29" y="76"/>
                          <a:pt x="29" y="76"/>
                        </a:cubicBezTo>
                        <a:cubicBezTo>
                          <a:pt x="29" y="76"/>
                          <a:pt x="29" y="76"/>
                          <a:pt x="29" y="75"/>
                        </a:cubicBezTo>
                        <a:cubicBezTo>
                          <a:pt x="29" y="76"/>
                          <a:pt x="29" y="76"/>
                          <a:pt x="29" y="76"/>
                        </a:cubicBezTo>
                        <a:cubicBezTo>
                          <a:pt x="29" y="75"/>
                          <a:pt x="29" y="75"/>
                          <a:pt x="29" y="75"/>
                        </a:cubicBezTo>
                        <a:close/>
                        <a:moveTo>
                          <a:pt x="30" y="73"/>
                        </a:moveTo>
                        <a:cubicBezTo>
                          <a:pt x="30" y="74"/>
                          <a:pt x="30" y="74"/>
                          <a:pt x="29" y="74"/>
                        </a:cubicBezTo>
                        <a:cubicBezTo>
                          <a:pt x="30" y="74"/>
                          <a:pt x="30" y="74"/>
                          <a:pt x="30" y="74"/>
                        </a:cubicBezTo>
                        <a:cubicBezTo>
                          <a:pt x="30" y="74"/>
                          <a:pt x="30" y="74"/>
                          <a:pt x="30" y="73"/>
                        </a:cubicBezTo>
                        <a:close/>
                        <a:moveTo>
                          <a:pt x="30" y="72"/>
                        </a:moveTo>
                        <a:cubicBezTo>
                          <a:pt x="30" y="72"/>
                          <a:pt x="30" y="72"/>
                          <a:pt x="30" y="72"/>
                        </a:cubicBezTo>
                        <a:cubicBezTo>
                          <a:pt x="30" y="72"/>
                          <a:pt x="30" y="72"/>
                          <a:pt x="30" y="72"/>
                        </a:cubicBezTo>
                        <a:cubicBezTo>
                          <a:pt x="30" y="72"/>
                          <a:pt x="29" y="72"/>
                          <a:pt x="29" y="73"/>
                        </a:cubicBezTo>
                        <a:cubicBezTo>
                          <a:pt x="29" y="73"/>
                          <a:pt x="29" y="72"/>
                          <a:pt x="29" y="73"/>
                        </a:cubicBezTo>
                        <a:cubicBezTo>
                          <a:pt x="29" y="73"/>
                          <a:pt x="29" y="73"/>
                          <a:pt x="29" y="73"/>
                        </a:cubicBezTo>
                        <a:cubicBezTo>
                          <a:pt x="29" y="73"/>
                          <a:pt x="29" y="73"/>
                          <a:pt x="29" y="73"/>
                        </a:cubicBezTo>
                        <a:cubicBezTo>
                          <a:pt x="29" y="73"/>
                          <a:pt x="29" y="73"/>
                          <a:pt x="29" y="73"/>
                        </a:cubicBezTo>
                        <a:cubicBezTo>
                          <a:pt x="29" y="73"/>
                          <a:pt x="29" y="73"/>
                          <a:pt x="29" y="73"/>
                        </a:cubicBezTo>
                        <a:cubicBezTo>
                          <a:pt x="29" y="74"/>
                          <a:pt x="29" y="74"/>
                          <a:pt x="29" y="74"/>
                        </a:cubicBezTo>
                        <a:cubicBezTo>
                          <a:pt x="29" y="73"/>
                          <a:pt x="29" y="73"/>
                          <a:pt x="29" y="73"/>
                        </a:cubicBezTo>
                        <a:cubicBezTo>
                          <a:pt x="29" y="73"/>
                          <a:pt x="30" y="73"/>
                          <a:pt x="30" y="73"/>
                        </a:cubicBezTo>
                        <a:cubicBezTo>
                          <a:pt x="30" y="73"/>
                          <a:pt x="30" y="72"/>
                          <a:pt x="30" y="72"/>
                        </a:cubicBezTo>
                        <a:cubicBezTo>
                          <a:pt x="30" y="72"/>
                          <a:pt x="30" y="72"/>
                          <a:pt x="30" y="72"/>
                        </a:cubicBezTo>
                        <a:cubicBezTo>
                          <a:pt x="30" y="72"/>
                          <a:pt x="30" y="72"/>
                          <a:pt x="30" y="72"/>
                        </a:cubicBezTo>
                        <a:cubicBezTo>
                          <a:pt x="30" y="72"/>
                          <a:pt x="30" y="72"/>
                          <a:pt x="30" y="72"/>
                        </a:cubicBezTo>
                        <a:close/>
                        <a:moveTo>
                          <a:pt x="30" y="71"/>
                        </a:moveTo>
                        <a:cubicBezTo>
                          <a:pt x="30" y="72"/>
                          <a:pt x="30" y="72"/>
                          <a:pt x="30" y="71"/>
                        </a:cubicBezTo>
                        <a:cubicBezTo>
                          <a:pt x="30" y="71"/>
                          <a:pt x="30" y="72"/>
                          <a:pt x="30" y="71"/>
                        </a:cubicBezTo>
                        <a:cubicBezTo>
                          <a:pt x="30" y="72"/>
                          <a:pt x="29" y="72"/>
                          <a:pt x="29" y="72"/>
                        </a:cubicBezTo>
                        <a:cubicBezTo>
                          <a:pt x="30" y="72"/>
                          <a:pt x="30" y="72"/>
                          <a:pt x="30" y="72"/>
                        </a:cubicBezTo>
                        <a:cubicBezTo>
                          <a:pt x="30" y="72"/>
                          <a:pt x="30" y="72"/>
                          <a:pt x="30" y="72"/>
                        </a:cubicBezTo>
                        <a:cubicBezTo>
                          <a:pt x="30" y="72"/>
                          <a:pt x="30" y="72"/>
                          <a:pt x="30" y="72"/>
                        </a:cubicBezTo>
                        <a:cubicBezTo>
                          <a:pt x="30" y="72"/>
                          <a:pt x="30" y="72"/>
                          <a:pt x="30" y="71"/>
                        </a:cubicBezTo>
                        <a:close/>
                        <a:moveTo>
                          <a:pt x="30" y="71"/>
                        </a:moveTo>
                        <a:cubicBezTo>
                          <a:pt x="30" y="71"/>
                          <a:pt x="30" y="71"/>
                          <a:pt x="30" y="71"/>
                        </a:cubicBezTo>
                        <a:cubicBezTo>
                          <a:pt x="30" y="71"/>
                          <a:pt x="30" y="71"/>
                          <a:pt x="30" y="71"/>
                        </a:cubicBezTo>
                        <a:close/>
                        <a:moveTo>
                          <a:pt x="31" y="71"/>
                        </a:moveTo>
                        <a:cubicBezTo>
                          <a:pt x="31" y="71"/>
                          <a:pt x="30" y="71"/>
                          <a:pt x="30" y="71"/>
                        </a:cubicBezTo>
                        <a:cubicBezTo>
                          <a:pt x="30" y="71"/>
                          <a:pt x="30" y="71"/>
                          <a:pt x="30" y="71"/>
                        </a:cubicBezTo>
                        <a:cubicBezTo>
                          <a:pt x="30" y="72"/>
                          <a:pt x="30" y="71"/>
                          <a:pt x="30" y="72"/>
                        </a:cubicBezTo>
                        <a:cubicBezTo>
                          <a:pt x="30" y="71"/>
                          <a:pt x="31" y="71"/>
                          <a:pt x="31" y="71"/>
                        </a:cubicBezTo>
                        <a:close/>
                        <a:moveTo>
                          <a:pt x="32" y="69"/>
                        </a:moveTo>
                        <a:cubicBezTo>
                          <a:pt x="31" y="69"/>
                          <a:pt x="31" y="69"/>
                          <a:pt x="31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lose/>
                        <a:moveTo>
                          <a:pt x="32" y="69"/>
                        </a:move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68"/>
                        </a:cubicBezTo>
                        <a:cubicBezTo>
                          <a:pt x="32" y="69"/>
                          <a:pt x="32" y="68"/>
                          <a:pt x="32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lose/>
                        <a:moveTo>
                          <a:pt x="32" y="68"/>
                        </a:moveTo>
                        <a:cubicBezTo>
                          <a:pt x="32" y="68"/>
                          <a:pt x="32" y="68"/>
                          <a:pt x="32" y="68"/>
                        </a:cubicBezTo>
                        <a:cubicBezTo>
                          <a:pt x="32" y="68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70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3" y="69"/>
                          <a:pt x="32" y="68"/>
                          <a:pt x="33" y="68"/>
                        </a:cubicBezTo>
                        <a:cubicBezTo>
                          <a:pt x="33" y="68"/>
                          <a:pt x="33" y="69"/>
                          <a:pt x="33" y="69"/>
                        </a:cubicBezTo>
                        <a:cubicBezTo>
                          <a:pt x="33" y="69"/>
                          <a:pt x="33" y="69"/>
                          <a:pt x="33" y="69"/>
                        </a:cubicBezTo>
                        <a:cubicBezTo>
                          <a:pt x="33" y="69"/>
                          <a:pt x="33" y="68"/>
                          <a:pt x="32" y="68"/>
                        </a:cubicBezTo>
                        <a:close/>
                        <a:moveTo>
                          <a:pt x="32" y="68"/>
                        </a:moveTo>
                        <a:cubicBezTo>
                          <a:pt x="32" y="68"/>
                          <a:pt x="32" y="68"/>
                          <a:pt x="32" y="68"/>
                        </a:cubicBezTo>
                        <a:cubicBezTo>
                          <a:pt x="32" y="68"/>
                          <a:pt x="32" y="68"/>
                          <a:pt x="32" y="68"/>
                        </a:cubicBezTo>
                        <a:close/>
                        <a:moveTo>
                          <a:pt x="32" y="68"/>
                        </a:moveTo>
                        <a:cubicBezTo>
                          <a:pt x="32" y="68"/>
                          <a:pt x="33" y="68"/>
                          <a:pt x="32" y="68"/>
                        </a:cubicBezTo>
                        <a:cubicBezTo>
                          <a:pt x="32" y="68"/>
                          <a:pt x="32" y="68"/>
                          <a:pt x="32" y="68"/>
                        </a:cubicBezTo>
                        <a:cubicBezTo>
                          <a:pt x="32" y="68"/>
                          <a:pt x="32" y="68"/>
                          <a:pt x="32" y="68"/>
                        </a:cubicBezTo>
                        <a:cubicBezTo>
                          <a:pt x="32" y="68"/>
                          <a:pt x="32" y="68"/>
                          <a:pt x="32" y="68"/>
                        </a:cubicBezTo>
                        <a:close/>
                        <a:moveTo>
                          <a:pt x="32" y="68"/>
                        </a:moveTo>
                        <a:cubicBezTo>
                          <a:pt x="32" y="68"/>
                          <a:pt x="32" y="67"/>
                          <a:pt x="32" y="67"/>
                        </a:cubicBezTo>
                        <a:cubicBezTo>
                          <a:pt x="32" y="68"/>
                          <a:pt x="32" y="68"/>
                          <a:pt x="31" y="68"/>
                        </a:cubicBezTo>
                        <a:cubicBezTo>
                          <a:pt x="32" y="68"/>
                          <a:pt x="32" y="67"/>
                          <a:pt x="32" y="67"/>
                        </a:cubicBezTo>
                        <a:cubicBezTo>
                          <a:pt x="32" y="67"/>
                          <a:pt x="32" y="67"/>
                          <a:pt x="32" y="67"/>
                        </a:cubicBezTo>
                        <a:cubicBezTo>
                          <a:pt x="32" y="67"/>
                          <a:pt x="32" y="67"/>
                          <a:pt x="32" y="67"/>
                        </a:cubicBezTo>
                        <a:cubicBezTo>
                          <a:pt x="32" y="66"/>
                          <a:pt x="32" y="67"/>
                          <a:pt x="32" y="66"/>
                        </a:cubicBezTo>
                        <a:cubicBezTo>
                          <a:pt x="32" y="67"/>
                          <a:pt x="32" y="67"/>
                          <a:pt x="32" y="67"/>
                        </a:cubicBezTo>
                        <a:cubicBezTo>
                          <a:pt x="32" y="67"/>
                          <a:pt x="32" y="67"/>
                          <a:pt x="32" y="67"/>
                        </a:cubicBezTo>
                        <a:cubicBezTo>
                          <a:pt x="31" y="67"/>
                          <a:pt x="32" y="67"/>
                          <a:pt x="32" y="67"/>
                        </a:cubicBez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7"/>
                          <a:pt x="31" y="68"/>
                          <a:pt x="31" y="68"/>
                        </a:cubicBezTo>
                        <a:cubicBezTo>
                          <a:pt x="31" y="68"/>
                          <a:pt x="31" y="67"/>
                          <a:pt x="32" y="67"/>
                        </a:cubicBezTo>
                        <a:cubicBezTo>
                          <a:pt x="31" y="68"/>
                          <a:pt x="31" y="68"/>
                          <a:pt x="31" y="68"/>
                        </a:cubicBezTo>
                        <a:cubicBezTo>
                          <a:pt x="31" y="68"/>
                          <a:pt x="32" y="68"/>
                          <a:pt x="32" y="68"/>
                        </a:cubicBezTo>
                        <a:cubicBezTo>
                          <a:pt x="32" y="68"/>
                          <a:pt x="32" y="68"/>
                          <a:pt x="32" y="68"/>
                        </a:cubicBezTo>
                        <a:cubicBezTo>
                          <a:pt x="32" y="68"/>
                          <a:pt x="31" y="68"/>
                          <a:pt x="31" y="68"/>
                        </a:cubicBezTo>
                        <a:cubicBezTo>
                          <a:pt x="32" y="68"/>
                          <a:pt x="31" y="69"/>
                          <a:pt x="31" y="68"/>
                        </a:cubicBezTo>
                        <a:cubicBezTo>
                          <a:pt x="32" y="68"/>
                          <a:pt x="32" y="68"/>
                          <a:pt x="32" y="68"/>
                        </a:cubicBezTo>
                        <a:cubicBezTo>
                          <a:pt x="31" y="69"/>
                          <a:pt x="32" y="69"/>
                          <a:pt x="31" y="69"/>
                        </a:cubicBezTo>
                        <a:cubicBezTo>
                          <a:pt x="31" y="68"/>
                          <a:pt x="32" y="68"/>
                          <a:pt x="31" y="68"/>
                        </a:cubicBezTo>
                        <a:cubicBezTo>
                          <a:pt x="31" y="68"/>
                          <a:pt x="31" y="69"/>
                          <a:pt x="31" y="69"/>
                        </a:cubicBezTo>
                        <a:cubicBezTo>
                          <a:pt x="31" y="69"/>
                          <a:pt x="31" y="69"/>
                          <a:pt x="31" y="69"/>
                        </a:cubicBezTo>
                        <a:cubicBezTo>
                          <a:pt x="31" y="69"/>
                          <a:pt x="31" y="69"/>
                          <a:pt x="31" y="70"/>
                        </a:cubicBezTo>
                        <a:cubicBezTo>
                          <a:pt x="31" y="69"/>
                          <a:pt x="31" y="69"/>
                          <a:pt x="32" y="69"/>
                        </a:cubicBezTo>
                        <a:cubicBezTo>
                          <a:pt x="32" y="68"/>
                          <a:pt x="32" y="68"/>
                          <a:pt x="32" y="68"/>
                        </a:cubicBezTo>
                        <a:cubicBezTo>
                          <a:pt x="32" y="68"/>
                          <a:pt x="32" y="67"/>
                          <a:pt x="32" y="67"/>
                        </a:cubicBezTo>
                        <a:cubicBezTo>
                          <a:pt x="32" y="67"/>
                          <a:pt x="32" y="67"/>
                          <a:pt x="32" y="67"/>
                        </a:cubicBezTo>
                        <a:cubicBezTo>
                          <a:pt x="32" y="67"/>
                          <a:pt x="32" y="67"/>
                          <a:pt x="32" y="67"/>
                        </a:cubicBezTo>
                        <a:cubicBezTo>
                          <a:pt x="32" y="67"/>
                          <a:pt x="32" y="67"/>
                          <a:pt x="32" y="67"/>
                        </a:cubicBezTo>
                        <a:cubicBezTo>
                          <a:pt x="32" y="67"/>
                          <a:pt x="32" y="67"/>
                          <a:pt x="33" y="67"/>
                        </a:cubicBezTo>
                        <a:cubicBezTo>
                          <a:pt x="33" y="67"/>
                          <a:pt x="33" y="66"/>
                          <a:pt x="33" y="67"/>
                        </a:cubicBezTo>
                        <a:cubicBezTo>
                          <a:pt x="32" y="67"/>
                          <a:pt x="32" y="67"/>
                          <a:pt x="32" y="68"/>
                        </a:cubicBezTo>
                        <a:close/>
                        <a:moveTo>
                          <a:pt x="33" y="64"/>
                        </a:move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lose/>
                        <a:moveTo>
                          <a:pt x="32" y="65"/>
                        </a:moveTo>
                        <a:cubicBezTo>
                          <a:pt x="32" y="65"/>
                          <a:pt x="32" y="66"/>
                          <a:pt x="32" y="66"/>
                        </a:cubicBezTo>
                        <a:cubicBezTo>
                          <a:pt x="32" y="66"/>
                          <a:pt x="32" y="66"/>
                          <a:pt x="32" y="66"/>
                        </a:cubicBezTo>
                        <a:cubicBezTo>
                          <a:pt x="32" y="66"/>
                          <a:pt x="32" y="66"/>
                          <a:pt x="32" y="66"/>
                        </a:cubicBezTo>
                        <a:cubicBezTo>
                          <a:pt x="32" y="66"/>
                          <a:pt x="32" y="66"/>
                          <a:pt x="32" y="66"/>
                        </a:cubicBezTo>
                        <a:cubicBezTo>
                          <a:pt x="32" y="66"/>
                          <a:pt x="32" y="66"/>
                          <a:pt x="32" y="66"/>
                        </a:cubicBezTo>
                        <a:cubicBezTo>
                          <a:pt x="32" y="66"/>
                          <a:pt x="32" y="65"/>
                          <a:pt x="32" y="65"/>
                        </a:cubicBezTo>
                        <a:cubicBezTo>
                          <a:pt x="32" y="65"/>
                          <a:pt x="32" y="65"/>
                          <a:pt x="32" y="65"/>
                        </a:cubicBezTo>
                        <a:cubicBezTo>
                          <a:pt x="32" y="65"/>
                          <a:pt x="33" y="65"/>
                          <a:pt x="32" y="65"/>
                        </a:cubicBezTo>
                        <a:close/>
                        <a:moveTo>
                          <a:pt x="32" y="66"/>
                        </a:moveTo>
                        <a:cubicBezTo>
                          <a:pt x="32" y="66"/>
                          <a:pt x="33" y="66"/>
                          <a:pt x="33" y="65"/>
                        </a:cubicBezTo>
                        <a:cubicBezTo>
                          <a:pt x="33" y="66"/>
                          <a:pt x="33" y="65"/>
                          <a:pt x="33" y="65"/>
                        </a:cubicBezTo>
                        <a:cubicBezTo>
                          <a:pt x="33" y="66"/>
                          <a:pt x="32" y="66"/>
                          <a:pt x="32" y="66"/>
                        </a:cubicBezTo>
                        <a:close/>
                        <a:moveTo>
                          <a:pt x="33" y="65"/>
                        </a:moveTo>
                        <a:cubicBezTo>
                          <a:pt x="33" y="64"/>
                          <a:pt x="34" y="64"/>
                          <a:pt x="34" y="64"/>
                        </a:cubicBezTo>
                        <a:cubicBezTo>
                          <a:pt x="34" y="64"/>
                          <a:pt x="33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3" y="64"/>
                          <a:pt x="33" y="65"/>
                          <a:pt x="33" y="65"/>
                        </a:cubicBezTo>
                        <a:cubicBezTo>
                          <a:pt x="33" y="65"/>
                          <a:pt x="33" y="65"/>
                          <a:pt x="33" y="65"/>
                        </a:cubicBezTo>
                        <a:cubicBezTo>
                          <a:pt x="33" y="65"/>
                          <a:pt x="33" y="65"/>
                          <a:pt x="33" y="65"/>
                        </a:cubicBezTo>
                        <a:cubicBezTo>
                          <a:pt x="33" y="65"/>
                          <a:pt x="33" y="65"/>
                          <a:pt x="33" y="65"/>
                        </a:cubicBezTo>
                        <a:cubicBezTo>
                          <a:pt x="33" y="65"/>
                          <a:pt x="33" y="65"/>
                          <a:pt x="33" y="65"/>
                        </a:cubicBezTo>
                        <a:close/>
                        <a:moveTo>
                          <a:pt x="34" y="64"/>
                        </a:moveTo>
                        <a:cubicBezTo>
                          <a:pt x="34" y="64"/>
                          <a:pt x="34" y="63"/>
                          <a:pt x="34" y="63"/>
                        </a:cubicBezTo>
                        <a:cubicBezTo>
                          <a:pt x="34" y="63"/>
                          <a:pt x="34" y="63"/>
                          <a:pt x="34" y="64"/>
                        </a:cubicBezTo>
                        <a:close/>
                        <a:moveTo>
                          <a:pt x="35" y="61"/>
                        </a:moveTo>
                        <a:cubicBezTo>
                          <a:pt x="35" y="61"/>
                          <a:pt x="35" y="61"/>
                          <a:pt x="35" y="60"/>
                        </a:cubicBezTo>
                        <a:cubicBezTo>
                          <a:pt x="35" y="60"/>
                          <a:pt x="35" y="60"/>
                          <a:pt x="35" y="60"/>
                        </a:cubicBezTo>
                        <a:cubicBezTo>
                          <a:pt x="35" y="60"/>
                          <a:pt x="35" y="60"/>
                          <a:pt x="35" y="60"/>
                        </a:cubicBezTo>
                        <a:cubicBezTo>
                          <a:pt x="35" y="61"/>
                          <a:pt x="35" y="60"/>
                          <a:pt x="35" y="61"/>
                        </a:cubicBezTo>
                        <a:cubicBezTo>
                          <a:pt x="35" y="61"/>
                          <a:pt x="35" y="61"/>
                          <a:pt x="35" y="61"/>
                        </a:cubicBezTo>
                        <a:close/>
                        <a:moveTo>
                          <a:pt x="35" y="60"/>
                        </a:moveTo>
                        <a:cubicBezTo>
                          <a:pt x="35" y="60"/>
                          <a:pt x="35" y="60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60"/>
                          <a:pt x="36" y="60"/>
                          <a:pt x="35" y="60"/>
                        </a:cubicBezTo>
                        <a:cubicBezTo>
                          <a:pt x="35" y="60"/>
                          <a:pt x="35" y="60"/>
                          <a:pt x="35" y="60"/>
                        </a:cubicBezTo>
                        <a:close/>
                        <a:moveTo>
                          <a:pt x="36" y="58"/>
                        </a:moveTo>
                        <a:cubicBezTo>
                          <a:pt x="36" y="58"/>
                          <a:pt x="36" y="58"/>
                          <a:pt x="36" y="58"/>
                        </a:cubicBezTo>
                        <a:cubicBezTo>
                          <a:pt x="36" y="58"/>
                          <a:pt x="36" y="58"/>
                          <a:pt x="36" y="58"/>
                        </a:cubicBezTo>
                        <a:cubicBezTo>
                          <a:pt x="36" y="58"/>
                          <a:pt x="36" y="58"/>
                          <a:pt x="36" y="58"/>
                        </a:cubicBezTo>
                        <a:cubicBezTo>
                          <a:pt x="36" y="59"/>
                          <a:pt x="36" y="58"/>
                          <a:pt x="36" y="58"/>
                        </a:cubicBezTo>
                        <a:close/>
                        <a:moveTo>
                          <a:pt x="35" y="60"/>
                        </a:moveTo>
                        <a:cubicBezTo>
                          <a:pt x="35" y="60"/>
                          <a:pt x="35" y="60"/>
                          <a:pt x="35" y="60"/>
                        </a:cubicBezTo>
                        <a:cubicBezTo>
                          <a:pt x="35" y="60"/>
                          <a:pt x="35" y="60"/>
                          <a:pt x="35" y="60"/>
                        </a:cubicBezTo>
                        <a:close/>
                        <a:moveTo>
                          <a:pt x="36" y="58"/>
                        </a:moveTo>
                        <a:cubicBezTo>
                          <a:pt x="36" y="58"/>
                          <a:pt x="36" y="58"/>
                          <a:pt x="36" y="58"/>
                        </a:cubicBezTo>
                        <a:cubicBezTo>
                          <a:pt x="36" y="58"/>
                          <a:pt x="36" y="58"/>
                          <a:pt x="36" y="58"/>
                        </a:cubicBezTo>
                        <a:cubicBezTo>
                          <a:pt x="36" y="58"/>
                          <a:pt x="36" y="58"/>
                          <a:pt x="36" y="58"/>
                        </a:cubicBezTo>
                        <a:cubicBezTo>
                          <a:pt x="36" y="58"/>
                          <a:pt x="36" y="58"/>
                          <a:pt x="36" y="58"/>
                        </a:cubicBezTo>
                        <a:close/>
                        <a:moveTo>
                          <a:pt x="36" y="58"/>
                        </a:moveTo>
                        <a:cubicBezTo>
                          <a:pt x="36" y="58"/>
                          <a:pt x="36" y="58"/>
                          <a:pt x="36" y="58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6" y="57"/>
                          <a:pt x="37" y="57"/>
                          <a:pt x="36" y="57"/>
                        </a:cubicBezTo>
                        <a:cubicBezTo>
                          <a:pt x="36" y="57"/>
                          <a:pt x="37" y="57"/>
                          <a:pt x="36" y="57"/>
                        </a:cubicBezTo>
                        <a:cubicBezTo>
                          <a:pt x="36" y="57"/>
                          <a:pt x="36" y="57"/>
                          <a:pt x="36" y="57"/>
                        </a:cubicBezTo>
                        <a:cubicBezTo>
                          <a:pt x="36" y="57"/>
                          <a:pt x="36" y="57"/>
                          <a:pt x="36" y="58"/>
                        </a:cubicBezTo>
                        <a:close/>
                        <a:moveTo>
                          <a:pt x="36" y="59"/>
                        </a:moveTo>
                        <a:cubicBezTo>
                          <a:pt x="36" y="59"/>
                          <a:pt x="36" y="58"/>
                          <a:pt x="36" y="58"/>
                        </a:cubicBezTo>
                        <a:cubicBezTo>
                          <a:pt x="35" y="59"/>
                          <a:pt x="36" y="59"/>
                          <a:pt x="36" y="59"/>
                        </a:cubicBezTo>
                        <a:close/>
                        <a:moveTo>
                          <a:pt x="35" y="61"/>
                        </a:moveTo>
                        <a:cubicBezTo>
                          <a:pt x="35" y="61"/>
                          <a:pt x="35" y="61"/>
                          <a:pt x="35" y="61"/>
                        </a:cubicBezTo>
                        <a:cubicBezTo>
                          <a:pt x="34" y="61"/>
                          <a:pt x="34" y="61"/>
                          <a:pt x="35" y="61"/>
                        </a:cubicBezTo>
                        <a:close/>
                        <a:moveTo>
                          <a:pt x="33" y="63"/>
                        </a:moveTo>
                        <a:cubicBezTo>
                          <a:pt x="33" y="63"/>
                          <a:pt x="33" y="63"/>
                          <a:pt x="33" y="63"/>
                        </a:cubicBezTo>
                        <a:cubicBezTo>
                          <a:pt x="33" y="64"/>
                          <a:pt x="33" y="63"/>
                          <a:pt x="33" y="63"/>
                        </a:cubicBezTo>
                        <a:cubicBezTo>
                          <a:pt x="33" y="63"/>
                          <a:pt x="33" y="64"/>
                          <a:pt x="33" y="63"/>
                        </a:cubicBezTo>
                        <a:cubicBezTo>
                          <a:pt x="33" y="63"/>
                          <a:pt x="33" y="63"/>
                          <a:pt x="33" y="63"/>
                        </a:cubicBezTo>
                        <a:cubicBezTo>
                          <a:pt x="33" y="63"/>
                          <a:pt x="34" y="63"/>
                          <a:pt x="34" y="63"/>
                        </a:cubicBezTo>
                        <a:cubicBezTo>
                          <a:pt x="34" y="63"/>
                          <a:pt x="33" y="63"/>
                          <a:pt x="33" y="63"/>
                        </a:cubicBezTo>
                        <a:cubicBezTo>
                          <a:pt x="34" y="63"/>
                          <a:pt x="34" y="62"/>
                          <a:pt x="34" y="62"/>
                        </a:cubicBezTo>
                        <a:cubicBezTo>
                          <a:pt x="34" y="62"/>
                          <a:pt x="34" y="62"/>
                          <a:pt x="34" y="62"/>
                        </a:cubicBezTo>
                        <a:cubicBezTo>
                          <a:pt x="34" y="62"/>
                          <a:pt x="34" y="62"/>
                          <a:pt x="34" y="63"/>
                        </a:cubicBezTo>
                        <a:cubicBezTo>
                          <a:pt x="34" y="62"/>
                          <a:pt x="34" y="62"/>
                          <a:pt x="34" y="62"/>
                        </a:cubicBezTo>
                        <a:cubicBezTo>
                          <a:pt x="34" y="62"/>
                          <a:pt x="34" y="62"/>
                          <a:pt x="34" y="62"/>
                        </a:cubicBezTo>
                        <a:cubicBezTo>
                          <a:pt x="34" y="62"/>
                          <a:pt x="34" y="62"/>
                          <a:pt x="34" y="63"/>
                        </a:cubicBezTo>
                        <a:cubicBezTo>
                          <a:pt x="34" y="63"/>
                          <a:pt x="34" y="63"/>
                          <a:pt x="34" y="63"/>
                        </a:cubicBezTo>
                        <a:cubicBezTo>
                          <a:pt x="35" y="62"/>
                          <a:pt x="34" y="62"/>
                          <a:pt x="34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4" y="62"/>
                          <a:pt x="34" y="62"/>
                          <a:pt x="34" y="62"/>
                        </a:cubicBezTo>
                        <a:cubicBezTo>
                          <a:pt x="34" y="62"/>
                          <a:pt x="35" y="62"/>
                          <a:pt x="35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4" y="61"/>
                          <a:pt x="34" y="62"/>
                          <a:pt x="34" y="62"/>
                        </a:cubicBezTo>
                        <a:cubicBezTo>
                          <a:pt x="34" y="62"/>
                          <a:pt x="34" y="62"/>
                          <a:pt x="34" y="62"/>
                        </a:cubicBezTo>
                        <a:cubicBezTo>
                          <a:pt x="34" y="62"/>
                          <a:pt x="34" y="62"/>
                          <a:pt x="34" y="62"/>
                        </a:cubicBezTo>
                        <a:cubicBezTo>
                          <a:pt x="34" y="62"/>
                          <a:pt x="34" y="61"/>
                          <a:pt x="34" y="61"/>
                        </a:cubicBezTo>
                        <a:cubicBezTo>
                          <a:pt x="34" y="61"/>
                          <a:pt x="34" y="61"/>
                          <a:pt x="34" y="61"/>
                        </a:cubicBezTo>
                        <a:cubicBezTo>
                          <a:pt x="34" y="61"/>
                          <a:pt x="34" y="61"/>
                          <a:pt x="34" y="61"/>
                        </a:cubicBezTo>
                        <a:cubicBezTo>
                          <a:pt x="34" y="62"/>
                          <a:pt x="34" y="62"/>
                          <a:pt x="33" y="62"/>
                        </a:cubicBezTo>
                        <a:cubicBezTo>
                          <a:pt x="34" y="62"/>
                          <a:pt x="33" y="63"/>
                          <a:pt x="33" y="63"/>
                        </a:cubicBezTo>
                        <a:close/>
                        <a:moveTo>
                          <a:pt x="32" y="64"/>
                        </a:moveTo>
                        <a:cubicBezTo>
                          <a:pt x="33" y="64"/>
                          <a:pt x="32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2" y="64"/>
                          <a:pt x="33" y="64"/>
                          <a:pt x="32" y="64"/>
                        </a:cubicBezTo>
                        <a:close/>
                        <a:moveTo>
                          <a:pt x="32" y="65"/>
                        </a:moveTo>
                        <a:cubicBezTo>
                          <a:pt x="32" y="65"/>
                          <a:pt x="32" y="65"/>
                          <a:pt x="32" y="65"/>
                        </a:cubicBezTo>
                        <a:cubicBezTo>
                          <a:pt x="32" y="65"/>
                          <a:pt x="32" y="64"/>
                          <a:pt x="32" y="64"/>
                        </a:cubicBezTo>
                        <a:cubicBezTo>
                          <a:pt x="32" y="65"/>
                          <a:pt x="32" y="65"/>
                          <a:pt x="32" y="65"/>
                        </a:cubicBezTo>
                        <a:close/>
                        <a:moveTo>
                          <a:pt x="31" y="66"/>
                        </a:move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7"/>
                          <a:pt x="31" y="67"/>
                          <a:pt x="31" y="66"/>
                        </a:cubicBezTo>
                        <a:close/>
                        <a:moveTo>
                          <a:pt x="31" y="66"/>
                        </a:moveTo>
                        <a:cubicBezTo>
                          <a:pt x="31" y="66"/>
                          <a:pt x="31" y="66"/>
                          <a:pt x="31" y="66"/>
                        </a:cubicBezTo>
                        <a:cubicBezTo>
                          <a:pt x="31" y="66"/>
                          <a:pt x="31" y="66"/>
                          <a:pt x="31" y="66"/>
                        </a:cubicBezTo>
                        <a:cubicBezTo>
                          <a:pt x="31" y="66"/>
                          <a:pt x="31" y="66"/>
                          <a:pt x="31" y="66"/>
                        </a:cubicBezTo>
                        <a:cubicBezTo>
                          <a:pt x="31" y="66"/>
                          <a:pt x="31" y="66"/>
                          <a:pt x="30" y="66"/>
                        </a:cubicBezTo>
                        <a:cubicBezTo>
                          <a:pt x="30" y="66"/>
                          <a:pt x="30" y="67"/>
                          <a:pt x="31" y="67"/>
                        </a:cubicBezTo>
                        <a:cubicBezTo>
                          <a:pt x="31" y="67"/>
                          <a:pt x="31" y="66"/>
                          <a:pt x="31" y="66"/>
                        </a:cubicBezTo>
                        <a:cubicBezTo>
                          <a:pt x="31" y="66"/>
                          <a:pt x="31" y="66"/>
                          <a:pt x="31" y="66"/>
                        </a:cubicBezTo>
                        <a:cubicBezTo>
                          <a:pt x="31" y="66"/>
                          <a:pt x="31" y="66"/>
                          <a:pt x="31" y="66"/>
                        </a:cubicBezTo>
                        <a:close/>
                        <a:moveTo>
                          <a:pt x="32" y="63"/>
                        </a:moveTo>
                        <a:cubicBezTo>
                          <a:pt x="32" y="63"/>
                          <a:pt x="32" y="64"/>
                          <a:pt x="32" y="64"/>
                        </a:cubicBezTo>
                        <a:cubicBezTo>
                          <a:pt x="32" y="64"/>
                          <a:pt x="32" y="64"/>
                          <a:pt x="32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lose/>
                        <a:moveTo>
                          <a:pt x="31" y="65"/>
                        </a:moveTo>
                        <a:cubicBezTo>
                          <a:pt x="31" y="66"/>
                          <a:pt x="31" y="66"/>
                          <a:pt x="31" y="66"/>
                        </a:cubicBezTo>
                        <a:cubicBezTo>
                          <a:pt x="31" y="65"/>
                          <a:pt x="31" y="65"/>
                          <a:pt x="31" y="65"/>
                        </a:cubicBezTo>
                        <a:cubicBezTo>
                          <a:pt x="31" y="65"/>
                          <a:pt x="31" y="65"/>
                          <a:pt x="31" y="65"/>
                        </a:cubicBezTo>
                        <a:cubicBezTo>
                          <a:pt x="31" y="66"/>
                          <a:pt x="31" y="65"/>
                          <a:pt x="31" y="65"/>
                        </a:cubicBezTo>
                        <a:close/>
                        <a:moveTo>
                          <a:pt x="31" y="65"/>
                        </a:moveTo>
                        <a:cubicBezTo>
                          <a:pt x="31" y="65"/>
                          <a:pt x="31" y="65"/>
                          <a:pt x="31" y="64"/>
                        </a:cubicBezTo>
                        <a:cubicBezTo>
                          <a:pt x="31" y="64"/>
                          <a:pt x="31" y="65"/>
                          <a:pt x="31" y="65"/>
                        </a:cubicBezTo>
                        <a:close/>
                        <a:moveTo>
                          <a:pt x="31" y="65"/>
                        </a:moveTo>
                        <a:cubicBezTo>
                          <a:pt x="31" y="65"/>
                          <a:pt x="31" y="65"/>
                          <a:pt x="31" y="65"/>
                        </a:cubicBezTo>
                        <a:cubicBezTo>
                          <a:pt x="31" y="65"/>
                          <a:pt x="31" y="65"/>
                          <a:pt x="31" y="65"/>
                        </a:cubicBezTo>
                        <a:cubicBezTo>
                          <a:pt x="31" y="65"/>
                          <a:pt x="31" y="65"/>
                          <a:pt x="31" y="65"/>
                        </a:cubicBezTo>
                        <a:close/>
                        <a:moveTo>
                          <a:pt x="30" y="68"/>
                        </a:moveTo>
                        <a:cubicBezTo>
                          <a:pt x="30" y="68"/>
                          <a:pt x="30" y="68"/>
                          <a:pt x="29" y="68"/>
                        </a:cubicBezTo>
                        <a:cubicBezTo>
                          <a:pt x="30" y="68"/>
                          <a:pt x="30" y="68"/>
                          <a:pt x="30" y="68"/>
                        </a:cubicBezTo>
                        <a:close/>
                        <a:moveTo>
                          <a:pt x="29" y="69"/>
                        </a:moveTo>
                        <a:cubicBezTo>
                          <a:pt x="29" y="69"/>
                          <a:pt x="29" y="69"/>
                          <a:pt x="29" y="69"/>
                        </a:cubicBezTo>
                        <a:cubicBezTo>
                          <a:pt x="29" y="69"/>
                          <a:pt x="29" y="69"/>
                          <a:pt x="29" y="69"/>
                        </a:cubicBezTo>
                        <a:cubicBezTo>
                          <a:pt x="29" y="69"/>
                          <a:pt x="29" y="69"/>
                          <a:pt x="29" y="69"/>
                        </a:cubicBezTo>
                        <a:cubicBezTo>
                          <a:pt x="29" y="69"/>
                          <a:pt x="29" y="69"/>
                          <a:pt x="29" y="69"/>
                        </a:cubicBezTo>
                        <a:cubicBezTo>
                          <a:pt x="29" y="69"/>
                          <a:pt x="29" y="69"/>
                          <a:pt x="29" y="69"/>
                        </a:cubicBezTo>
                        <a:cubicBezTo>
                          <a:pt x="28" y="69"/>
                          <a:pt x="29" y="69"/>
                          <a:pt x="29" y="69"/>
                        </a:cubicBezTo>
                        <a:close/>
                        <a:moveTo>
                          <a:pt x="28" y="69"/>
                        </a:moveTo>
                        <a:cubicBezTo>
                          <a:pt x="28" y="70"/>
                          <a:pt x="28" y="70"/>
                          <a:pt x="28" y="70"/>
                        </a:cubicBezTo>
                        <a:cubicBezTo>
                          <a:pt x="28" y="70"/>
                          <a:pt x="29" y="69"/>
                          <a:pt x="28" y="69"/>
                        </a:cubicBezTo>
                        <a:cubicBezTo>
                          <a:pt x="28" y="70"/>
                          <a:pt x="28" y="70"/>
                          <a:pt x="28" y="69"/>
                        </a:cubicBezTo>
                        <a:cubicBezTo>
                          <a:pt x="28" y="70"/>
                          <a:pt x="28" y="70"/>
                          <a:pt x="28" y="69"/>
                        </a:cubicBezTo>
                        <a:close/>
                        <a:moveTo>
                          <a:pt x="28" y="70"/>
                        </a:moveTo>
                        <a:cubicBezTo>
                          <a:pt x="28" y="70"/>
                          <a:pt x="28" y="70"/>
                          <a:pt x="28" y="70"/>
                        </a:cubicBezTo>
                        <a:cubicBezTo>
                          <a:pt x="28" y="70"/>
                          <a:pt x="28" y="70"/>
                          <a:pt x="28" y="70"/>
                        </a:cubicBezTo>
                        <a:cubicBezTo>
                          <a:pt x="28" y="70"/>
                          <a:pt x="28" y="70"/>
                          <a:pt x="28" y="70"/>
                        </a:cubicBezTo>
                        <a:close/>
                        <a:moveTo>
                          <a:pt x="28" y="69"/>
                        </a:moveTo>
                        <a:cubicBezTo>
                          <a:pt x="28" y="69"/>
                          <a:pt x="29" y="69"/>
                          <a:pt x="29" y="68"/>
                        </a:cubicBezTo>
                        <a:cubicBezTo>
                          <a:pt x="28" y="69"/>
                          <a:pt x="28" y="69"/>
                          <a:pt x="28" y="69"/>
                        </a:cubicBezTo>
                        <a:close/>
                        <a:moveTo>
                          <a:pt x="27" y="72"/>
                        </a:moveTo>
                        <a:cubicBezTo>
                          <a:pt x="27" y="72"/>
                          <a:pt x="27" y="72"/>
                          <a:pt x="27" y="72"/>
                        </a:cubicBezTo>
                        <a:cubicBezTo>
                          <a:pt x="27" y="72"/>
                          <a:pt x="27" y="72"/>
                          <a:pt x="27" y="72"/>
                        </a:cubicBezTo>
                        <a:cubicBezTo>
                          <a:pt x="27" y="73"/>
                          <a:pt x="27" y="73"/>
                          <a:pt x="27" y="73"/>
                        </a:cubicBezTo>
                        <a:cubicBezTo>
                          <a:pt x="27" y="73"/>
                          <a:pt x="27" y="73"/>
                          <a:pt x="27" y="73"/>
                        </a:cubicBezTo>
                        <a:cubicBezTo>
                          <a:pt x="27" y="73"/>
                          <a:pt x="27" y="72"/>
                          <a:pt x="27" y="72"/>
                        </a:cubicBezTo>
                        <a:cubicBezTo>
                          <a:pt x="27" y="72"/>
                          <a:pt x="27" y="72"/>
                          <a:pt x="27" y="72"/>
                        </a:cubicBezTo>
                        <a:cubicBezTo>
                          <a:pt x="27" y="72"/>
                          <a:pt x="27" y="72"/>
                          <a:pt x="27" y="72"/>
                        </a:cubicBezTo>
                        <a:cubicBezTo>
                          <a:pt x="27" y="72"/>
                          <a:pt x="27" y="72"/>
                          <a:pt x="27" y="72"/>
                        </a:cubicBezTo>
                        <a:cubicBezTo>
                          <a:pt x="27" y="72"/>
                          <a:pt x="27" y="72"/>
                          <a:pt x="28" y="71"/>
                        </a:cubicBezTo>
                        <a:cubicBezTo>
                          <a:pt x="28" y="71"/>
                          <a:pt x="27" y="72"/>
                          <a:pt x="27" y="71"/>
                        </a:cubicBezTo>
                        <a:cubicBezTo>
                          <a:pt x="27" y="72"/>
                          <a:pt x="27" y="71"/>
                          <a:pt x="27" y="72"/>
                        </a:cubicBezTo>
                        <a:cubicBezTo>
                          <a:pt x="27" y="72"/>
                          <a:pt x="27" y="72"/>
                          <a:pt x="27" y="72"/>
                        </a:cubicBezTo>
                        <a:cubicBezTo>
                          <a:pt x="27" y="72"/>
                          <a:pt x="27" y="72"/>
                          <a:pt x="27" y="72"/>
                        </a:cubicBezTo>
                        <a:cubicBezTo>
                          <a:pt x="27" y="72"/>
                          <a:pt x="27" y="72"/>
                          <a:pt x="27" y="72"/>
                        </a:cubicBezTo>
                        <a:cubicBezTo>
                          <a:pt x="27" y="72"/>
                          <a:pt x="27" y="72"/>
                          <a:pt x="27" y="72"/>
                        </a:cubicBezTo>
                        <a:close/>
                        <a:moveTo>
                          <a:pt x="25" y="74"/>
                        </a:move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5"/>
                          <a:pt x="25" y="75"/>
                        </a:cubicBezTo>
                        <a:cubicBezTo>
                          <a:pt x="25" y="75"/>
                          <a:pt x="25" y="75"/>
                          <a:pt x="25" y="75"/>
                        </a:cubicBezTo>
                        <a:cubicBezTo>
                          <a:pt x="25" y="75"/>
                          <a:pt x="25" y="74"/>
                          <a:pt x="25" y="74"/>
                        </a:cubicBezTo>
                        <a:close/>
                        <a:moveTo>
                          <a:pt x="31" y="63"/>
                        </a:moveTo>
                        <a:cubicBezTo>
                          <a:pt x="31" y="63"/>
                          <a:pt x="31" y="63"/>
                          <a:pt x="31" y="63"/>
                        </a:cubicBezTo>
                        <a:cubicBezTo>
                          <a:pt x="31" y="63"/>
                          <a:pt x="31" y="63"/>
                          <a:pt x="31" y="63"/>
                        </a:cubicBezTo>
                        <a:close/>
                        <a:moveTo>
                          <a:pt x="35" y="50"/>
                        </a:moveTo>
                        <a:cubicBezTo>
                          <a:pt x="35" y="50"/>
                          <a:pt x="35" y="51"/>
                          <a:pt x="35" y="51"/>
                        </a:cubicBezTo>
                        <a:cubicBezTo>
                          <a:pt x="35" y="51"/>
                          <a:pt x="35" y="50"/>
                          <a:pt x="35" y="51"/>
                        </a:cubicBezTo>
                        <a:cubicBezTo>
                          <a:pt x="35" y="50"/>
                          <a:pt x="35" y="50"/>
                          <a:pt x="35" y="50"/>
                        </a:cubicBezTo>
                        <a:cubicBezTo>
                          <a:pt x="35" y="50"/>
                          <a:pt x="35" y="50"/>
                          <a:pt x="35" y="50"/>
                        </a:cubicBezTo>
                        <a:close/>
                        <a:moveTo>
                          <a:pt x="31" y="49"/>
                        </a:moveTo>
                        <a:cubicBezTo>
                          <a:pt x="31" y="49"/>
                          <a:pt x="31" y="49"/>
                          <a:pt x="31" y="49"/>
                        </a:cubicBezTo>
                        <a:cubicBezTo>
                          <a:pt x="31" y="49"/>
                          <a:pt x="31" y="49"/>
                          <a:pt x="31" y="49"/>
                        </a:cubicBezTo>
                        <a:cubicBezTo>
                          <a:pt x="31" y="49"/>
                          <a:pt x="31" y="49"/>
                          <a:pt x="31" y="49"/>
                        </a:cubicBezTo>
                        <a:cubicBezTo>
                          <a:pt x="31" y="49"/>
                          <a:pt x="31" y="49"/>
                          <a:pt x="31" y="49"/>
                        </a:cubicBezTo>
                        <a:close/>
                        <a:moveTo>
                          <a:pt x="36" y="52"/>
                        </a:moveTo>
                        <a:cubicBezTo>
                          <a:pt x="36" y="52"/>
                          <a:pt x="36" y="52"/>
                          <a:pt x="36" y="52"/>
                        </a:cubicBezTo>
                        <a:cubicBezTo>
                          <a:pt x="36" y="51"/>
                          <a:pt x="36" y="51"/>
                          <a:pt x="36" y="51"/>
                        </a:cubicBezTo>
                        <a:cubicBezTo>
                          <a:pt x="36" y="51"/>
                          <a:pt x="36" y="51"/>
                          <a:pt x="36" y="51"/>
                        </a:cubicBezTo>
                        <a:cubicBezTo>
                          <a:pt x="37" y="51"/>
                          <a:pt x="36" y="51"/>
                          <a:pt x="36" y="51"/>
                        </a:cubicBezTo>
                        <a:cubicBezTo>
                          <a:pt x="36" y="51"/>
                          <a:pt x="36" y="51"/>
                          <a:pt x="36" y="51"/>
                        </a:cubicBezTo>
                        <a:cubicBezTo>
                          <a:pt x="37" y="51"/>
                          <a:pt x="37" y="51"/>
                          <a:pt x="37" y="51"/>
                        </a:cubicBezTo>
                        <a:cubicBezTo>
                          <a:pt x="37" y="51"/>
                          <a:pt x="37" y="51"/>
                          <a:pt x="36" y="52"/>
                        </a:cubicBezTo>
                        <a:close/>
                        <a:moveTo>
                          <a:pt x="35" y="52"/>
                        </a:moveTo>
                        <a:cubicBezTo>
                          <a:pt x="35" y="51"/>
                          <a:pt x="35" y="51"/>
                          <a:pt x="36" y="51"/>
                        </a:cubicBezTo>
                        <a:cubicBezTo>
                          <a:pt x="36" y="51"/>
                          <a:pt x="36" y="51"/>
                          <a:pt x="36" y="51"/>
                        </a:cubicBezTo>
                        <a:cubicBezTo>
                          <a:pt x="36" y="51"/>
                          <a:pt x="36" y="51"/>
                          <a:pt x="36" y="51"/>
                        </a:cubicBezTo>
                        <a:cubicBezTo>
                          <a:pt x="36" y="51"/>
                          <a:pt x="36" y="52"/>
                          <a:pt x="36" y="51"/>
                        </a:cubicBezTo>
                        <a:cubicBezTo>
                          <a:pt x="36" y="51"/>
                          <a:pt x="36" y="51"/>
                          <a:pt x="36" y="51"/>
                        </a:cubicBezTo>
                        <a:cubicBezTo>
                          <a:pt x="36" y="51"/>
                          <a:pt x="36" y="51"/>
                          <a:pt x="36" y="51"/>
                        </a:cubicBezTo>
                        <a:cubicBezTo>
                          <a:pt x="36" y="51"/>
                          <a:pt x="36" y="51"/>
                          <a:pt x="36" y="51"/>
                        </a:cubicBezTo>
                        <a:cubicBezTo>
                          <a:pt x="36" y="51"/>
                          <a:pt x="36" y="52"/>
                          <a:pt x="36" y="52"/>
                        </a:cubicBezTo>
                        <a:cubicBezTo>
                          <a:pt x="36" y="52"/>
                          <a:pt x="36" y="51"/>
                          <a:pt x="35" y="51"/>
                        </a:cubicBezTo>
                        <a:cubicBezTo>
                          <a:pt x="35" y="52"/>
                          <a:pt x="35" y="52"/>
                          <a:pt x="36" y="52"/>
                        </a:cubicBezTo>
                        <a:cubicBezTo>
                          <a:pt x="35" y="52"/>
                          <a:pt x="35" y="52"/>
                          <a:pt x="35" y="52"/>
                        </a:cubicBezTo>
                        <a:cubicBezTo>
                          <a:pt x="35" y="52"/>
                          <a:pt x="35" y="52"/>
                          <a:pt x="35" y="52"/>
                        </a:cubicBezTo>
                        <a:cubicBezTo>
                          <a:pt x="35" y="52"/>
                          <a:pt x="35" y="52"/>
                          <a:pt x="35" y="52"/>
                        </a:cubicBezTo>
                        <a:close/>
                        <a:moveTo>
                          <a:pt x="38" y="52"/>
                        </a:moveTo>
                        <a:cubicBezTo>
                          <a:pt x="38" y="52"/>
                          <a:pt x="37" y="52"/>
                          <a:pt x="37" y="52"/>
                        </a:cubicBezTo>
                        <a:cubicBezTo>
                          <a:pt x="37" y="52"/>
                          <a:pt x="37" y="52"/>
                          <a:pt x="37" y="52"/>
                        </a:cubicBezTo>
                        <a:cubicBezTo>
                          <a:pt x="37" y="52"/>
                          <a:pt x="37" y="52"/>
                          <a:pt x="38" y="52"/>
                        </a:cubicBezTo>
                        <a:close/>
                        <a:moveTo>
                          <a:pt x="31" y="49"/>
                        </a:moveTo>
                        <a:cubicBezTo>
                          <a:pt x="31" y="49"/>
                          <a:pt x="31" y="49"/>
                          <a:pt x="31" y="49"/>
                        </a:cubicBezTo>
                        <a:cubicBezTo>
                          <a:pt x="31" y="49"/>
                          <a:pt x="31" y="49"/>
                          <a:pt x="31" y="49"/>
                        </a:cubicBezTo>
                        <a:cubicBezTo>
                          <a:pt x="31" y="49"/>
                          <a:pt x="31" y="49"/>
                          <a:pt x="31" y="49"/>
                        </a:cubicBezTo>
                        <a:cubicBezTo>
                          <a:pt x="31" y="49"/>
                          <a:pt x="31" y="49"/>
                          <a:pt x="31" y="49"/>
                        </a:cubicBezTo>
                        <a:close/>
                        <a:moveTo>
                          <a:pt x="36" y="55"/>
                        </a:moveTo>
                        <a:cubicBezTo>
                          <a:pt x="36" y="55"/>
                          <a:pt x="36" y="55"/>
                          <a:pt x="36" y="55"/>
                        </a:cubicBezTo>
                        <a:cubicBezTo>
                          <a:pt x="36" y="55"/>
                          <a:pt x="36" y="55"/>
                          <a:pt x="36" y="55"/>
                        </a:cubicBezTo>
                        <a:cubicBezTo>
                          <a:pt x="36" y="55"/>
                          <a:pt x="36" y="55"/>
                          <a:pt x="36" y="55"/>
                        </a:cubicBezTo>
                        <a:cubicBezTo>
                          <a:pt x="35" y="55"/>
                          <a:pt x="35" y="55"/>
                          <a:pt x="35" y="56"/>
                        </a:cubicBezTo>
                        <a:cubicBezTo>
                          <a:pt x="35" y="56"/>
                          <a:pt x="35" y="56"/>
                          <a:pt x="35" y="56"/>
                        </a:cubicBezTo>
                        <a:cubicBezTo>
                          <a:pt x="35" y="56"/>
                          <a:pt x="35" y="56"/>
                          <a:pt x="35" y="55"/>
                        </a:cubicBezTo>
                        <a:cubicBezTo>
                          <a:pt x="35" y="55"/>
                          <a:pt x="35" y="55"/>
                          <a:pt x="35" y="55"/>
                        </a:cubicBezTo>
                        <a:cubicBezTo>
                          <a:pt x="35" y="55"/>
                          <a:pt x="35" y="55"/>
                          <a:pt x="35" y="55"/>
                        </a:cubicBezTo>
                        <a:cubicBezTo>
                          <a:pt x="36" y="55"/>
                          <a:pt x="36" y="55"/>
                          <a:pt x="36" y="54"/>
                        </a:cubicBezTo>
                        <a:cubicBezTo>
                          <a:pt x="36" y="55"/>
                          <a:pt x="36" y="55"/>
                          <a:pt x="36" y="55"/>
                        </a:cubicBezTo>
                        <a:cubicBezTo>
                          <a:pt x="36" y="54"/>
                          <a:pt x="36" y="54"/>
                          <a:pt x="36" y="54"/>
                        </a:cubicBezTo>
                        <a:cubicBezTo>
                          <a:pt x="36" y="54"/>
                          <a:pt x="36" y="54"/>
                          <a:pt x="36" y="54"/>
                        </a:cubicBezTo>
                        <a:cubicBezTo>
                          <a:pt x="36" y="54"/>
                          <a:pt x="36" y="55"/>
                          <a:pt x="36" y="55"/>
                        </a:cubicBezTo>
                        <a:cubicBezTo>
                          <a:pt x="36" y="54"/>
                          <a:pt x="36" y="54"/>
                          <a:pt x="36" y="54"/>
                        </a:cubicBezTo>
                        <a:cubicBezTo>
                          <a:pt x="36" y="54"/>
                          <a:pt x="36" y="54"/>
                          <a:pt x="37" y="54"/>
                        </a:cubicBezTo>
                        <a:cubicBezTo>
                          <a:pt x="37" y="53"/>
                          <a:pt x="37" y="53"/>
                          <a:pt x="37" y="53"/>
                        </a:cubicBezTo>
                        <a:cubicBezTo>
                          <a:pt x="37" y="53"/>
                          <a:pt x="37" y="53"/>
                          <a:pt x="37" y="53"/>
                        </a:cubicBezTo>
                        <a:cubicBezTo>
                          <a:pt x="37" y="52"/>
                          <a:pt x="37" y="52"/>
                          <a:pt x="37" y="52"/>
                        </a:cubicBezTo>
                        <a:cubicBezTo>
                          <a:pt x="37" y="52"/>
                          <a:pt x="37" y="52"/>
                          <a:pt x="37" y="52"/>
                        </a:cubicBezTo>
                        <a:cubicBezTo>
                          <a:pt x="37" y="52"/>
                          <a:pt x="37" y="52"/>
                          <a:pt x="37" y="52"/>
                        </a:cubicBezTo>
                        <a:cubicBezTo>
                          <a:pt x="37" y="53"/>
                          <a:pt x="37" y="53"/>
                          <a:pt x="37" y="53"/>
                        </a:cubicBezTo>
                        <a:cubicBezTo>
                          <a:pt x="37" y="53"/>
                          <a:pt x="37" y="52"/>
                          <a:pt x="37" y="52"/>
                        </a:cubicBezTo>
                        <a:cubicBezTo>
                          <a:pt x="37" y="53"/>
                          <a:pt x="37" y="53"/>
                          <a:pt x="37" y="53"/>
                        </a:cubicBezTo>
                        <a:cubicBezTo>
                          <a:pt x="37" y="53"/>
                          <a:pt x="37" y="53"/>
                          <a:pt x="38" y="52"/>
                        </a:cubicBezTo>
                        <a:cubicBezTo>
                          <a:pt x="38" y="53"/>
                          <a:pt x="37" y="53"/>
                          <a:pt x="37" y="53"/>
                        </a:cubicBezTo>
                        <a:cubicBezTo>
                          <a:pt x="37" y="53"/>
                          <a:pt x="37" y="53"/>
                          <a:pt x="37" y="54"/>
                        </a:cubicBezTo>
                        <a:cubicBezTo>
                          <a:pt x="37" y="54"/>
                          <a:pt x="37" y="54"/>
                          <a:pt x="37" y="54"/>
                        </a:cubicBezTo>
                        <a:cubicBezTo>
                          <a:pt x="37" y="54"/>
                          <a:pt x="37" y="54"/>
                          <a:pt x="37" y="54"/>
                        </a:cubicBezTo>
                        <a:cubicBezTo>
                          <a:pt x="37" y="54"/>
                          <a:pt x="37" y="54"/>
                          <a:pt x="36" y="55"/>
                        </a:cubicBezTo>
                        <a:cubicBezTo>
                          <a:pt x="36" y="55"/>
                          <a:pt x="37" y="55"/>
                          <a:pt x="37" y="55"/>
                        </a:cubicBezTo>
                        <a:cubicBezTo>
                          <a:pt x="37" y="55"/>
                          <a:pt x="37" y="55"/>
                          <a:pt x="37" y="55"/>
                        </a:cubicBezTo>
                        <a:cubicBezTo>
                          <a:pt x="37" y="55"/>
                          <a:pt x="36" y="55"/>
                          <a:pt x="36" y="55"/>
                        </a:cubicBezTo>
                        <a:cubicBezTo>
                          <a:pt x="36" y="55"/>
                          <a:pt x="36" y="55"/>
                          <a:pt x="36" y="55"/>
                        </a:cubicBezTo>
                        <a:cubicBezTo>
                          <a:pt x="36" y="55"/>
                          <a:pt x="36" y="55"/>
                          <a:pt x="36" y="55"/>
                        </a:cubicBezTo>
                        <a:cubicBezTo>
                          <a:pt x="36" y="55"/>
                          <a:pt x="36" y="55"/>
                          <a:pt x="36" y="55"/>
                        </a:cubicBezTo>
                        <a:cubicBezTo>
                          <a:pt x="36" y="55"/>
                          <a:pt x="36" y="56"/>
                          <a:pt x="36" y="56"/>
                        </a:cubicBezTo>
                        <a:cubicBezTo>
                          <a:pt x="36" y="56"/>
                          <a:pt x="36" y="55"/>
                          <a:pt x="36" y="56"/>
                        </a:cubicBezTo>
                        <a:cubicBezTo>
                          <a:pt x="36" y="55"/>
                          <a:pt x="36" y="55"/>
                          <a:pt x="36" y="55"/>
                        </a:cubicBezTo>
                        <a:close/>
                        <a:moveTo>
                          <a:pt x="37" y="54"/>
                        </a:moveTo>
                        <a:cubicBezTo>
                          <a:pt x="37" y="54"/>
                          <a:pt x="36" y="54"/>
                          <a:pt x="36" y="54"/>
                        </a:cubicBezTo>
                        <a:cubicBezTo>
                          <a:pt x="36" y="54"/>
                          <a:pt x="36" y="54"/>
                          <a:pt x="36" y="54"/>
                        </a:cubicBezTo>
                        <a:cubicBezTo>
                          <a:pt x="36" y="54"/>
                          <a:pt x="36" y="54"/>
                          <a:pt x="37" y="54"/>
                        </a:cubicBezTo>
                        <a:cubicBezTo>
                          <a:pt x="36" y="54"/>
                          <a:pt x="37" y="54"/>
                          <a:pt x="37" y="54"/>
                        </a:cubicBezTo>
                        <a:close/>
                        <a:moveTo>
                          <a:pt x="33" y="51"/>
                        </a:moveTo>
                        <a:cubicBezTo>
                          <a:pt x="33" y="51"/>
                          <a:pt x="33" y="51"/>
                          <a:pt x="34" y="51"/>
                        </a:cubicBezTo>
                        <a:cubicBezTo>
                          <a:pt x="34" y="51"/>
                          <a:pt x="34" y="51"/>
                          <a:pt x="33" y="51"/>
                        </a:cubicBezTo>
                        <a:cubicBezTo>
                          <a:pt x="33" y="51"/>
                          <a:pt x="33" y="51"/>
                          <a:pt x="33" y="51"/>
                        </a:cubicBezTo>
                        <a:cubicBezTo>
                          <a:pt x="33" y="51"/>
                          <a:pt x="33" y="51"/>
                          <a:pt x="33" y="52"/>
                        </a:cubicBezTo>
                        <a:cubicBezTo>
                          <a:pt x="33" y="52"/>
                          <a:pt x="33" y="52"/>
                          <a:pt x="33" y="52"/>
                        </a:cubicBezTo>
                        <a:cubicBezTo>
                          <a:pt x="33" y="51"/>
                          <a:pt x="33" y="51"/>
                          <a:pt x="33" y="51"/>
                        </a:cubicBezTo>
                        <a:close/>
                        <a:moveTo>
                          <a:pt x="31" y="50"/>
                        </a:moveTo>
                        <a:cubicBezTo>
                          <a:pt x="31" y="50"/>
                          <a:pt x="31" y="50"/>
                          <a:pt x="31" y="50"/>
                        </a:cubicBezTo>
                        <a:cubicBezTo>
                          <a:pt x="31" y="50"/>
                          <a:pt x="31" y="50"/>
                          <a:pt x="31" y="50"/>
                        </a:cubicBezTo>
                        <a:cubicBezTo>
                          <a:pt x="31" y="50"/>
                          <a:pt x="31" y="50"/>
                          <a:pt x="31" y="50"/>
                        </a:cubicBezTo>
                        <a:cubicBezTo>
                          <a:pt x="31" y="50"/>
                          <a:pt x="31" y="50"/>
                          <a:pt x="31" y="50"/>
                        </a:cubicBezTo>
                        <a:cubicBezTo>
                          <a:pt x="31" y="51"/>
                          <a:pt x="31" y="51"/>
                          <a:pt x="31" y="51"/>
                        </a:cubicBezTo>
                        <a:cubicBezTo>
                          <a:pt x="31" y="51"/>
                          <a:pt x="31" y="51"/>
                          <a:pt x="31" y="51"/>
                        </a:cubicBezTo>
                        <a:cubicBezTo>
                          <a:pt x="31" y="51"/>
                          <a:pt x="31" y="51"/>
                          <a:pt x="31" y="51"/>
                        </a:cubicBezTo>
                        <a:cubicBezTo>
                          <a:pt x="31" y="51"/>
                          <a:pt x="31" y="50"/>
                          <a:pt x="31" y="50"/>
                        </a:cubicBezTo>
                        <a:close/>
                        <a:moveTo>
                          <a:pt x="32" y="50"/>
                        </a:moveTo>
                        <a:cubicBezTo>
                          <a:pt x="32" y="50"/>
                          <a:pt x="32" y="50"/>
                          <a:pt x="32" y="51"/>
                        </a:cubicBezTo>
                        <a:cubicBezTo>
                          <a:pt x="32" y="51"/>
                          <a:pt x="32" y="51"/>
                          <a:pt x="32" y="51"/>
                        </a:cubicBezTo>
                        <a:cubicBezTo>
                          <a:pt x="32" y="51"/>
                          <a:pt x="32" y="51"/>
                          <a:pt x="32" y="51"/>
                        </a:cubicBezTo>
                        <a:cubicBezTo>
                          <a:pt x="32" y="51"/>
                          <a:pt x="32" y="51"/>
                          <a:pt x="32" y="51"/>
                        </a:cubicBezTo>
                        <a:cubicBezTo>
                          <a:pt x="32" y="51"/>
                          <a:pt x="32" y="51"/>
                          <a:pt x="32" y="51"/>
                        </a:cubicBezTo>
                        <a:cubicBezTo>
                          <a:pt x="32" y="51"/>
                          <a:pt x="33" y="51"/>
                          <a:pt x="33" y="52"/>
                        </a:cubicBezTo>
                        <a:cubicBezTo>
                          <a:pt x="32" y="52"/>
                          <a:pt x="33" y="51"/>
                          <a:pt x="32" y="51"/>
                        </a:cubicBezTo>
                        <a:cubicBezTo>
                          <a:pt x="32" y="52"/>
                          <a:pt x="32" y="52"/>
                          <a:pt x="32" y="52"/>
                        </a:cubicBezTo>
                        <a:cubicBezTo>
                          <a:pt x="32" y="52"/>
                          <a:pt x="32" y="52"/>
                          <a:pt x="32" y="51"/>
                        </a:cubicBezTo>
                        <a:cubicBezTo>
                          <a:pt x="32" y="52"/>
                          <a:pt x="32" y="52"/>
                          <a:pt x="32" y="52"/>
                        </a:cubicBezTo>
                        <a:cubicBezTo>
                          <a:pt x="32" y="52"/>
                          <a:pt x="32" y="52"/>
                          <a:pt x="32" y="52"/>
                        </a:cubicBezTo>
                        <a:cubicBezTo>
                          <a:pt x="32" y="52"/>
                          <a:pt x="32" y="52"/>
                          <a:pt x="32" y="52"/>
                        </a:cubicBezTo>
                        <a:cubicBezTo>
                          <a:pt x="31" y="52"/>
                          <a:pt x="32" y="52"/>
                          <a:pt x="32" y="52"/>
                        </a:cubicBezTo>
                        <a:cubicBezTo>
                          <a:pt x="32" y="52"/>
                          <a:pt x="32" y="52"/>
                          <a:pt x="32" y="51"/>
                        </a:cubicBezTo>
                        <a:cubicBezTo>
                          <a:pt x="32" y="51"/>
                          <a:pt x="32" y="51"/>
                          <a:pt x="32" y="51"/>
                        </a:cubicBezTo>
                        <a:cubicBezTo>
                          <a:pt x="32" y="51"/>
                          <a:pt x="32" y="51"/>
                          <a:pt x="32" y="51"/>
                        </a:cubicBezTo>
                        <a:cubicBezTo>
                          <a:pt x="32" y="51"/>
                          <a:pt x="32" y="51"/>
                          <a:pt x="32" y="52"/>
                        </a:cubicBezTo>
                        <a:cubicBezTo>
                          <a:pt x="32" y="52"/>
                          <a:pt x="32" y="52"/>
                          <a:pt x="32" y="52"/>
                        </a:cubicBezTo>
                        <a:cubicBezTo>
                          <a:pt x="31" y="52"/>
                          <a:pt x="31" y="52"/>
                          <a:pt x="31" y="53"/>
                        </a:cubicBezTo>
                        <a:cubicBezTo>
                          <a:pt x="31" y="53"/>
                          <a:pt x="31" y="53"/>
                          <a:pt x="31" y="53"/>
                        </a:cubicBezTo>
                        <a:cubicBezTo>
                          <a:pt x="31" y="53"/>
                          <a:pt x="31" y="52"/>
                          <a:pt x="32" y="51"/>
                        </a:cubicBezTo>
                        <a:cubicBezTo>
                          <a:pt x="31" y="51"/>
                          <a:pt x="32" y="51"/>
                          <a:pt x="32" y="50"/>
                        </a:cubicBezTo>
                        <a:cubicBezTo>
                          <a:pt x="32" y="50"/>
                          <a:pt x="32" y="51"/>
                          <a:pt x="32" y="51"/>
                        </a:cubicBezTo>
                        <a:cubicBezTo>
                          <a:pt x="32" y="50"/>
                          <a:pt x="32" y="50"/>
                          <a:pt x="31" y="50"/>
                        </a:cubicBezTo>
                        <a:cubicBezTo>
                          <a:pt x="31" y="50"/>
                          <a:pt x="32" y="50"/>
                          <a:pt x="32" y="50"/>
                        </a:cubicBezTo>
                        <a:cubicBezTo>
                          <a:pt x="32" y="50"/>
                          <a:pt x="32" y="50"/>
                          <a:pt x="32" y="50"/>
                        </a:cubicBezTo>
                        <a:close/>
                        <a:moveTo>
                          <a:pt x="33" y="52"/>
                        </a:moveTo>
                        <a:cubicBezTo>
                          <a:pt x="33" y="52"/>
                          <a:pt x="33" y="52"/>
                          <a:pt x="33" y="52"/>
                        </a:cubicBezTo>
                        <a:cubicBezTo>
                          <a:pt x="33" y="52"/>
                          <a:pt x="33" y="52"/>
                          <a:pt x="33" y="52"/>
                        </a:cubicBezTo>
                        <a:cubicBezTo>
                          <a:pt x="33" y="52"/>
                          <a:pt x="33" y="52"/>
                          <a:pt x="33" y="52"/>
                        </a:cubicBezTo>
                        <a:cubicBezTo>
                          <a:pt x="33" y="52"/>
                          <a:pt x="33" y="52"/>
                          <a:pt x="33" y="52"/>
                        </a:cubicBezTo>
                        <a:cubicBezTo>
                          <a:pt x="33" y="52"/>
                          <a:pt x="33" y="52"/>
                          <a:pt x="33" y="52"/>
                        </a:cubicBezTo>
                        <a:cubicBezTo>
                          <a:pt x="33" y="52"/>
                          <a:pt x="33" y="52"/>
                          <a:pt x="33" y="52"/>
                        </a:cubicBezTo>
                        <a:close/>
                        <a:moveTo>
                          <a:pt x="33" y="52"/>
                        </a:moveTo>
                        <a:cubicBezTo>
                          <a:pt x="34" y="53"/>
                          <a:pt x="33" y="53"/>
                          <a:pt x="33" y="53"/>
                        </a:cubicBezTo>
                        <a:cubicBezTo>
                          <a:pt x="33" y="53"/>
                          <a:pt x="33" y="53"/>
                          <a:pt x="34" y="53"/>
                        </a:cubicBezTo>
                        <a:cubicBezTo>
                          <a:pt x="34" y="53"/>
                          <a:pt x="33" y="53"/>
                          <a:pt x="34" y="52"/>
                        </a:cubicBezTo>
                        <a:cubicBezTo>
                          <a:pt x="34" y="53"/>
                          <a:pt x="34" y="53"/>
                          <a:pt x="34" y="53"/>
                        </a:cubicBezTo>
                        <a:cubicBezTo>
                          <a:pt x="34" y="52"/>
                          <a:pt x="34" y="52"/>
                          <a:pt x="34" y="52"/>
                        </a:cubicBezTo>
                        <a:cubicBezTo>
                          <a:pt x="34" y="52"/>
                          <a:pt x="34" y="53"/>
                          <a:pt x="34" y="53"/>
                        </a:cubicBezTo>
                        <a:cubicBezTo>
                          <a:pt x="34" y="53"/>
                          <a:pt x="34" y="53"/>
                          <a:pt x="34" y="53"/>
                        </a:cubicBezTo>
                        <a:cubicBezTo>
                          <a:pt x="34" y="53"/>
                          <a:pt x="34" y="53"/>
                          <a:pt x="34" y="53"/>
                        </a:cubicBezTo>
                        <a:cubicBezTo>
                          <a:pt x="34" y="53"/>
                          <a:pt x="34" y="53"/>
                          <a:pt x="34" y="53"/>
                        </a:cubicBezTo>
                        <a:cubicBezTo>
                          <a:pt x="33" y="53"/>
                          <a:pt x="33" y="53"/>
                          <a:pt x="33" y="53"/>
                        </a:cubicBezTo>
                        <a:cubicBezTo>
                          <a:pt x="33" y="53"/>
                          <a:pt x="33" y="53"/>
                          <a:pt x="33" y="52"/>
                        </a:cubicBezTo>
                        <a:close/>
                        <a:moveTo>
                          <a:pt x="32" y="53"/>
                        </a:moveTo>
                        <a:cubicBezTo>
                          <a:pt x="33" y="53"/>
                          <a:pt x="33" y="53"/>
                          <a:pt x="33" y="53"/>
                        </a:cubicBezTo>
                        <a:cubicBezTo>
                          <a:pt x="33" y="53"/>
                          <a:pt x="33" y="53"/>
                          <a:pt x="33" y="53"/>
                        </a:cubicBezTo>
                        <a:cubicBezTo>
                          <a:pt x="33" y="53"/>
                          <a:pt x="32" y="53"/>
                          <a:pt x="33" y="53"/>
                        </a:cubicBezTo>
                        <a:cubicBezTo>
                          <a:pt x="32" y="53"/>
                          <a:pt x="32" y="53"/>
                          <a:pt x="32" y="53"/>
                        </a:cubicBezTo>
                        <a:close/>
                        <a:moveTo>
                          <a:pt x="37" y="56"/>
                        </a:moveTo>
                        <a:cubicBezTo>
                          <a:pt x="37" y="56"/>
                          <a:pt x="37" y="56"/>
                          <a:pt x="37" y="56"/>
                        </a:cubicBezTo>
                        <a:cubicBezTo>
                          <a:pt x="37" y="56"/>
                          <a:pt x="37" y="56"/>
                          <a:pt x="37" y="56"/>
                        </a:cubicBezTo>
                        <a:cubicBezTo>
                          <a:pt x="37" y="56"/>
                          <a:pt x="37" y="56"/>
                          <a:pt x="37" y="56"/>
                        </a:cubicBezTo>
                        <a:cubicBezTo>
                          <a:pt x="37" y="56"/>
                          <a:pt x="37" y="55"/>
                          <a:pt x="38" y="55"/>
                        </a:cubicBezTo>
                        <a:cubicBezTo>
                          <a:pt x="38" y="55"/>
                          <a:pt x="38" y="55"/>
                          <a:pt x="38" y="55"/>
                        </a:cubicBezTo>
                        <a:cubicBezTo>
                          <a:pt x="37" y="55"/>
                          <a:pt x="38" y="56"/>
                          <a:pt x="37" y="56"/>
                        </a:cubicBezTo>
                        <a:cubicBezTo>
                          <a:pt x="37" y="56"/>
                          <a:pt x="38" y="56"/>
                          <a:pt x="38" y="56"/>
                        </a:cubicBezTo>
                        <a:cubicBezTo>
                          <a:pt x="38" y="56"/>
                          <a:pt x="37" y="56"/>
                          <a:pt x="37" y="56"/>
                        </a:cubicBezTo>
                        <a:close/>
                        <a:moveTo>
                          <a:pt x="33" y="54"/>
                        </a:moveTo>
                        <a:cubicBezTo>
                          <a:pt x="33" y="54"/>
                          <a:pt x="33" y="54"/>
                          <a:pt x="33" y="54"/>
                        </a:cubicBezTo>
                        <a:cubicBezTo>
                          <a:pt x="33" y="55"/>
                          <a:pt x="33" y="55"/>
                          <a:pt x="33" y="55"/>
                        </a:cubicBezTo>
                        <a:cubicBezTo>
                          <a:pt x="33" y="55"/>
                          <a:pt x="34" y="55"/>
                          <a:pt x="34" y="55"/>
                        </a:cubicBezTo>
                        <a:cubicBezTo>
                          <a:pt x="34" y="55"/>
                          <a:pt x="33" y="55"/>
                          <a:pt x="33" y="55"/>
                        </a:cubicBezTo>
                        <a:cubicBezTo>
                          <a:pt x="33" y="55"/>
                          <a:pt x="33" y="55"/>
                          <a:pt x="33" y="55"/>
                        </a:cubicBezTo>
                        <a:cubicBezTo>
                          <a:pt x="33" y="55"/>
                          <a:pt x="33" y="55"/>
                          <a:pt x="33" y="54"/>
                        </a:cubicBezTo>
                        <a:cubicBezTo>
                          <a:pt x="33" y="54"/>
                          <a:pt x="33" y="55"/>
                          <a:pt x="33" y="55"/>
                        </a:cubicBezTo>
                        <a:cubicBezTo>
                          <a:pt x="33" y="55"/>
                          <a:pt x="33" y="55"/>
                          <a:pt x="33" y="55"/>
                        </a:cubicBezTo>
                        <a:cubicBezTo>
                          <a:pt x="33" y="55"/>
                          <a:pt x="33" y="55"/>
                          <a:pt x="33" y="55"/>
                        </a:cubicBezTo>
                        <a:cubicBezTo>
                          <a:pt x="33" y="55"/>
                          <a:pt x="33" y="55"/>
                          <a:pt x="33" y="55"/>
                        </a:cubicBezTo>
                        <a:cubicBezTo>
                          <a:pt x="33" y="55"/>
                          <a:pt x="33" y="54"/>
                          <a:pt x="33" y="54"/>
                        </a:cubicBezTo>
                        <a:cubicBezTo>
                          <a:pt x="33" y="54"/>
                          <a:pt x="33" y="54"/>
                          <a:pt x="33" y="54"/>
                        </a:cubicBezTo>
                        <a:cubicBezTo>
                          <a:pt x="33" y="54"/>
                          <a:pt x="33" y="54"/>
                          <a:pt x="33" y="54"/>
                        </a:cubicBezTo>
                        <a:cubicBezTo>
                          <a:pt x="33" y="54"/>
                          <a:pt x="33" y="54"/>
                          <a:pt x="33" y="53"/>
                        </a:cubicBezTo>
                        <a:cubicBezTo>
                          <a:pt x="33" y="53"/>
                          <a:pt x="33" y="53"/>
                          <a:pt x="33" y="54"/>
                        </a:cubicBezTo>
                        <a:cubicBezTo>
                          <a:pt x="33" y="54"/>
                          <a:pt x="33" y="53"/>
                          <a:pt x="33" y="53"/>
                        </a:cubicBezTo>
                        <a:cubicBezTo>
                          <a:pt x="33" y="53"/>
                          <a:pt x="33" y="53"/>
                          <a:pt x="33" y="53"/>
                        </a:cubicBezTo>
                        <a:cubicBezTo>
                          <a:pt x="33" y="53"/>
                          <a:pt x="33" y="53"/>
                          <a:pt x="33" y="53"/>
                        </a:cubicBezTo>
                        <a:cubicBezTo>
                          <a:pt x="34" y="53"/>
                          <a:pt x="34" y="53"/>
                          <a:pt x="34" y="53"/>
                        </a:cubicBezTo>
                        <a:cubicBezTo>
                          <a:pt x="33" y="54"/>
                          <a:pt x="33" y="54"/>
                          <a:pt x="33" y="54"/>
                        </a:cubicBezTo>
                        <a:close/>
                        <a:moveTo>
                          <a:pt x="32" y="54"/>
                        </a:moveTo>
                        <a:cubicBezTo>
                          <a:pt x="32" y="54"/>
                          <a:pt x="32" y="54"/>
                          <a:pt x="32" y="54"/>
                        </a:cubicBezTo>
                        <a:cubicBezTo>
                          <a:pt x="32" y="54"/>
                          <a:pt x="32" y="54"/>
                          <a:pt x="32" y="53"/>
                        </a:cubicBezTo>
                        <a:cubicBezTo>
                          <a:pt x="32" y="53"/>
                          <a:pt x="32" y="53"/>
                          <a:pt x="33" y="54"/>
                        </a:cubicBezTo>
                        <a:cubicBezTo>
                          <a:pt x="32" y="54"/>
                          <a:pt x="32" y="54"/>
                          <a:pt x="32" y="54"/>
                        </a:cubicBezTo>
                        <a:cubicBezTo>
                          <a:pt x="32" y="54"/>
                          <a:pt x="32" y="54"/>
                          <a:pt x="32" y="54"/>
                        </a:cubicBezTo>
                        <a:close/>
                        <a:moveTo>
                          <a:pt x="29" y="55"/>
                        </a:moveTo>
                        <a:cubicBezTo>
                          <a:pt x="29" y="55"/>
                          <a:pt x="29" y="55"/>
                          <a:pt x="29" y="55"/>
                        </a:cubicBezTo>
                        <a:cubicBezTo>
                          <a:pt x="29" y="55"/>
                          <a:pt x="29" y="55"/>
                          <a:pt x="29" y="55"/>
                        </a:cubicBezTo>
                        <a:close/>
                        <a:moveTo>
                          <a:pt x="29" y="55"/>
                        </a:moveTo>
                        <a:cubicBezTo>
                          <a:pt x="29" y="55"/>
                          <a:pt x="29" y="55"/>
                          <a:pt x="29" y="55"/>
                        </a:cubicBezTo>
                        <a:cubicBezTo>
                          <a:pt x="29" y="55"/>
                          <a:pt x="29" y="55"/>
                          <a:pt x="29" y="55"/>
                        </a:cubicBezTo>
                        <a:close/>
                        <a:moveTo>
                          <a:pt x="29" y="55"/>
                        </a:moveTo>
                        <a:cubicBezTo>
                          <a:pt x="29" y="55"/>
                          <a:pt x="29" y="54"/>
                          <a:pt x="29" y="54"/>
                        </a:cubicBezTo>
                        <a:cubicBezTo>
                          <a:pt x="29" y="54"/>
                          <a:pt x="29" y="54"/>
                          <a:pt x="29" y="54"/>
                        </a:cubicBezTo>
                        <a:cubicBezTo>
                          <a:pt x="29" y="54"/>
                          <a:pt x="29" y="54"/>
                          <a:pt x="29" y="53"/>
                        </a:cubicBezTo>
                        <a:cubicBezTo>
                          <a:pt x="29" y="53"/>
                          <a:pt x="29" y="53"/>
                          <a:pt x="29" y="53"/>
                        </a:cubicBezTo>
                        <a:cubicBezTo>
                          <a:pt x="29" y="53"/>
                          <a:pt x="29" y="53"/>
                          <a:pt x="29" y="54"/>
                        </a:cubicBezTo>
                        <a:cubicBezTo>
                          <a:pt x="30" y="54"/>
                          <a:pt x="29" y="53"/>
                          <a:pt x="30" y="53"/>
                        </a:cubicBezTo>
                        <a:cubicBezTo>
                          <a:pt x="30" y="53"/>
                          <a:pt x="30" y="53"/>
                          <a:pt x="30" y="53"/>
                        </a:cubicBezTo>
                        <a:cubicBezTo>
                          <a:pt x="30" y="53"/>
                          <a:pt x="30" y="54"/>
                          <a:pt x="30" y="54"/>
                        </a:cubicBezTo>
                        <a:cubicBezTo>
                          <a:pt x="30" y="54"/>
                          <a:pt x="30" y="54"/>
                          <a:pt x="30" y="54"/>
                        </a:cubicBezTo>
                        <a:cubicBezTo>
                          <a:pt x="30" y="54"/>
                          <a:pt x="29" y="54"/>
                          <a:pt x="30" y="54"/>
                        </a:cubicBezTo>
                        <a:cubicBezTo>
                          <a:pt x="29" y="54"/>
                          <a:pt x="29" y="55"/>
                          <a:pt x="29" y="55"/>
                        </a:cubicBezTo>
                        <a:cubicBezTo>
                          <a:pt x="29" y="55"/>
                          <a:pt x="29" y="55"/>
                          <a:pt x="29" y="55"/>
                        </a:cubicBezTo>
                        <a:close/>
                        <a:moveTo>
                          <a:pt x="29" y="54"/>
                        </a:moveTo>
                        <a:cubicBezTo>
                          <a:pt x="29" y="54"/>
                          <a:pt x="29" y="54"/>
                          <a:pt x="29" y="54"/>
                        </a:cubicBezTo>
                        <a:cubicBezTo>
                          <a:pt x="29" y="54"/>
                          <a:pt x="29" y="54"/>
                          <a:pt x="29" y="54"/>
                        </a:cubicBezTo>
                        <a:close/>
                        <a:moveTo>
                          <a:pt x="33" y="55"/>
                        </a:move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3" y="55"/>
                        </a:cubicBezTo>
                        <a:close/>
                        <a:moveTo>
                          <a:pt x="31" y="55"/>
                        </a:moveTo>
                        <a:cubicBezTo>
                          <a:pt x="31" y="55"/>
                          <a:pt x="31" y="55"/>
                          <a:pt x="31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6"/>
                        </a:cubicBezTo>
                        <a:cubicBezTo>
                          <a:pt x="32" y="56"/>
                          <a:pt x="32" y="55"/>
                          <a:pt x="32" y="55"/>
                        </a:cubicBezTo>
                        <a:cubicBezTo>
                          <a:pt x="32" y="56"/>
                          <a:pt x="32" y="56"/>
                          <a:pt x="32" y="56"/>
                        </a:cubicBezTo>
                        <a:cubicBezTo>
                          <a:pt x="32" y="56"/>
                          <a:pt x="32" y="56"/>
                          <a:pt x="32" y="56"/>
                        </a:cubicBezTo>
                        <a:cubicBezTo>
                          <a:pt x="32" y="56"/>
                          <a:pt x="32" y="56"/>
                          <a:pt x="32" y="56"/>
                        </a:cubicBezTo>
                        <a:cubicBezTo>
                          <a:pt x="32" y="56"/>
                          <a:pt x="32" y="56"/>
                          <a:pt x="32" y="56"/>
                        </a:cubicBezTo>
                        <a:cubicBezTo>
                          <a:pt x="32" y="56"/>
                          <a:pt x="32" y="56"/>
                          <a:pt x="32" y="56"/>
                        </a:cubicBezTo>
                        <a:cubicBezTo>
                          <a:pt x="32" y="56"/>
                          <a:pt x="32" y="57"/>
                          <a:pt x="32" y="56"/>
                        </a:cubicBezTo>
                        <a:cubicBezTo>
                          <a:pt x="31" y="57"/>
                          <a:pt x="31" y="57"/>
                          <a:pt x="31" y="57"/>
                        </a:cubicBezTo>
                        <a:cubicBezTo>
                          <a:pt x="31" y="57"/>
                          <a:pt x="31" y="57"/>
                          <a:pt x="31" y="57"/>
                        </a:cubicBezTo>
                        <a:cubicBezTo>
                          <a:pt x="31" y="57"/>
                          <a:pt x="31" y="57"/>
                          <a:pt x="31" y="57"/>
                        </a:cubicBezTo>
                        <a:cubicBezTo>
                          <a:pt x="31" y="58"/>
                          <a:pt x="31" y="58"/>
                          <a:pt x="31" y="58"/>
                        </a:cubicBezTo>
                        <a:cubicBezTo>
                          <a:pt x="31" y="58"/>
                          <a:pt x="31" y="57"/>
                          <a:pt x="31" y="57"/>
                        </a:cubicBezTo>
                        <a:cubicBezTo>
                          <a:pt x="31" y="57"/>
                          <a:pt x="31" y="57"/>
                          <a:pt x="31" y="57"/>
                        </a:cubicBezTo>
                        <a:cubicBezTo>
                          <a:pt x="31" y="57"/>
                          <a:pt x="31" y="57"/>
                          <a:pt x="31" y="57"/>
                        </a:cubicBezTo>
                        <a:cubicBezTo>
                          <a:pt x="31" y="56"/>
                          <a:pt x="31" y="57"/>
                          <a:pt x="31" y="57"/>
                        </a:cubicBezTo>
                        <a:cubicBezTo>
                          <a:pt x="31" y="56"/>
                          <a:pt x="32" y="56"/>
                          <a:pt x="32" y="55"/>
                        </a:cubicBezTo>
                        <a:cubicBezTo>
                          <a:pt x="32" y="55"/>
                          <a:pt x="31" y="55"/>
                          <a:pt x="31" y="55"/>
                        </a:cubicBezTo>
                        <a:close/>
                        <a:moveTo>
                          <a:pt x="29" y="55"/>
                        </a:moveTo>
                        <a:cubicBezTo>
                          <a:pt x="29" y="55"/>
                          <a:pt x="29" y="55"/>
                          <a:pt x="29" y="55"/>
                        </a:cubicBezTo>
                        <a:cubicBezTo>
                          <a:pt x="29" y="55"/>
                          <a:pt x="30" y="55"/>
                          <a:pt x="30" y="55"/>
                        </a:cubicBezTo>
                        <a:cubicBezTo>
                          <a:pt x="30" y="54"/>
                          <a:pt x="30" y="54"/>
                          <a:pt x="30" y="54"/>
                        </a:cubicBezTo>
                        <a:cubicBezTo>
                          <a:pt x="30" y="54"/>
                          <a:pt x="30" y="54"/>
                          <a:pt x="30" y="54"/>
                        </a:cubicBezTo>
                        <a:cubicBezTo>
                          <a:pt x="30" y="54"/>
                          <a:pt x="30" y="54"/>
                          <a:pt x="30" y="54"/>
                        </a:cubicBezTo>
                        <a:cubicBezTo>
                          <a:pt x="30" y="54"/>
                          <a:pt x="30" y="54"/>
                          <a:pt x="30" y="54"/>
                        </a:cubicBezTo>
                        <a:cubicBezTo>
                          <a:pt x="30" y="53"/>
                          <a:pt x="30" y="53"/>
                          <a:pt x="30" y="53"/>
                        </a:cubicBezTo>
                        <a:cubicBezTo>
                          <a:pt x="30" y="53"/>
                          <a:pt x="30" y="53"/>
                          <a:pt x="30" y="54"/>
                        </a:cubicBezTo>
                        <a:cubicBezTo>
                          <a:pt x="30" y="53"/>
                          <a:pt x="30" y="53"/>
                          <a:pt x="31" y="53"/>
                        </a:cubicBezTo>
                        <a:cubicBezTo>
                          <a:pt x="31" y="53"/>
                          <a:pt x="31" y="54"/>
                          <a:pt x="30" y="54"/>
                        </a:cubicBezTo>
                        <a:cubicBezTo>
                          <a:pt x="30" y="54"/>
                          <a:pt x="31" y="54"/>
                          <a:pt x="30" y="54"/>
                        </a:cubicBezTo>
                        <a:cubicBezTo>
                          <a:pt x="30" y="54"/>
                          <a:pt x="30" y="54"/>
                          <a:pt x="30" y="54"/>
                        </a:cubicBezTo>
                        <a:cubicBezTo>
                          <a:pt x="30" y="54"/>
                          <a:pt x="30" y="54"/>
                          <a:pt x="30" y="55"/>
                        </a:cubicBezTo>
                        <a:cubicBezTo>
                          <a:pt x="30" y="55"/>
                          <a:pt x="30" y="55"/>
                          <a:pt x="30" y="55"/>
                        </a:cubicBezTo>
                        <a:cubicBezTo>
                          <a:pt x="30" y="55"/>
                          <a:pt x="30" y="55"/>
                          <a:pt x="30" y="55"/>
                        </a:cubicBezTo>
                        <a:lnTo>
                          <a:pt x="29" y="55"/>
                        </a:lnTo>
                        <a:close/>
                        <a:moveTo>
                          <a:pt x="30" y="55"/>
                        </a:moveTo>
                        <a:cubicBezTo>
                          <a:pt x="30" y="55"/>
                          <a:pt x="30" y="55"/>
                          <a:pt x="30" y="54"/>
                        </a:cubicBezTo>
                        <a:cubicBezTo>
                          <a:pt x="30" y="55"/>
                          <a:pt x="30" y="55"/>
                          <a:pt x="30" y="55"/>
                        </a:cubicBezTo>
                        <a:close/>
                        <a:moveTo>
                          <a:pt x="34" y="57"/>
                        </a:moveTo>
                        <a:cubicBezTo>
                          <a:pt x="34" y="57"/>
                          <a:pt x="35" y="57"/>
                          <a:pt x="35" y="56"/>
                        </a:cubicBezTo>
                        <a:cubicBezTo>
                          <a:pt x="35" y="57"/>
                          <a:pt x="35" y="56"/>
                          <a:pt x="35" y="56"/>
                        </a:cubicBezTo>
                        <a:cubicBezTo>
                          <a:pt x="35" y="57"/>
                          <a:pt x="34" y="57"/>
                          <a:pt x="35" y="57"/>
                        </a:cubicBezTo>
                        <a:cubicBezTo>
                          <a:pt x="35" y="57"/>
                          <a:pt x="34" y="57"/>
                          <a:pt x="34" y="57"/>
                        </a:cubicBezTo>
                        <a:close/>
                        <a:moveTo>
                          <a:pt x="32" y="57"/>
                        </a:moveTo>
                        <a:cubicBezTo>
                          <a:pt x="32" y="57"/>
                          <a:pt x="32" y="57"/>
                          <a:pt x="32" y="57"/>
                        </a:cubicBezTo>
                        <a:cubicBezTo>
                          <a:pt x="32" y="56"/>
                          <a:pt x="33" y="56"/>
                          <a:pt x="33" y="56"/>
                        </a:cubicBezTo>
                        <a:cubicBezTo>
                          <a:pt x="33" y="56"/>
                          <a:pt x="33" y="56"/>
                          <a:pt x="33" y="56"/>
                        </a:cubicBezTo>
                        <a:cubicBezTo>
                          <a:pt x="33" y="56"/>
                          <a:pt x="33" y="56"/>
                          <a:pt x="33" y="56"/>
                        </a:cubicBezTo>
                        <a:cubicBezTo>
                          <a:pt x="33" y="56"/>
                          <a:pt x="33" y="56"/>
                          <a:pt x="33" y="56"/>
                        </a:cubicBezTo>
                        <a:cubicBezTo>
                          <a:pt x="33" y="56"/>
                          <a:pt x="33" y="56"/>
                          <a:pt x="33" y="57"/>
                        </a:cubicBezTo>
                        <a:cubicBezTo>
                          <a:pt x="33" y="56"/>
                          <a:pt x="33" y="57"/>
                          <a:pt x="32" y="57"/>
                        </a:cubicBezTo>
                        <a:cubicBezTo>
                          <a:pt x="32" y="57"/>
                          <a:pt x="32" y="57"/>
                          <a:pt x="32" y="57"/>
                        </a:cubicBezTo>
                        <a:close/>
                        <a:moveTo>
                          <a:pt x="34" y="57"/>
                        </a:moveTo>
                        <a:cubicBezTo>
                          <a:pt x="34" y="57"/>
                          <a:pt x="34" y="57"/>
                          <a:pt x="34" y="57"/>
                        </a:cubicBezTo>
                        <a:cubicBezTo>
                          <a:pt x="34" y="57"/>
                          <a:pt x="34" y="56"/>
                          <a:pt x="35" y="56"/>
                        </a:cubicBezTo>
                        <a:cubicBezTo>
                          <a:pt x="34" y="57"/>
                          <a:pt x="34" y="57"/>
                          <a:pt x="34" y="57"/>
                        </a:cubicBezTo>
                        <a:cubicBezTo>
                          <a:pt x="34" y="57"/>
                          <a:pt x="34" y="57"/>
                          <a:pt x="34" y="57"/>
                        </a:cubicBezTo>
                        <a:cubicBezTo>
                          <a:pt x="34" y="57"/>
                          <a:pt x="34" y="57"/>
                          <a:pt x="34" y="57"/>
                        </a:cubicBezTo>
                        <a:cubicBezTo>
                          <a:pt x="34" y="57"/>
                          <a:pt x="34" y="57"/>
                          <a:pt x="34" y="57"/>
                        </a:cubicBezTo>
                        <a:close/>
                        <a:moveTo>
                          <a:pt x="36" y="57"/>
                        </a:moveTo>
                        <a:cubicBezTo>
                          <a:pt x="36" y="57"/>
                          <a:pt x="36" y="57"/>
                          <a:pt x="36" y="57"/>
                        </a:cubicBezTo>
                        <a:cubicBezTo>
                          <a:pt x="36" y="57"/>
                          <a:pt x="36" y="57"/>
                          <a:pt x="36" y="57"/>
                        </a:cubicBezTo>
                        <a:cubicBezTo>
                          <a:pt x="36" y="57"/>
                          <a:pt x="36" y="57"/>
                          <a:pt x="36" y="57"/>
                        </a:cubicBezTo>
                        <a:close/>
                        <a:moveTo>
                          <a:pt x="30" y="55"/>
                        </a:moveTo>
                        <a:cubicBezTo>
                          <a:pt x="30" y="55"/>
                          <a:pt x="30" y="55"/>
                          <a:pt x="30" y="55"/>
                        </a:cubicBezTo>
                        <a:cubicBezTo>
                          <a:pt x="31" y="55"/>
                          <a:pt x="31" y="55"/>
                          <a:pt x="31" y="55"/>
                        </a:cubicBezTo>
                        <a:cubicBezTo>
                          <a:pt x="31" y="55"/>
                          <a:pt x="30" y="55"/>
                          <a:pt x="30" y="55"/>
                        </a:cubicBezTo>
                        <a:close/>
                        <a:moveTo>
                          <a:pt x="33" y="59"/>
                        </a:moveTo>
                        <a:cubicBezTo>
                          <a:pt x="33" y="59"/>
                          <a:pt x="33" y="59"/>
                          <a:pt x="33" y="59"/>
                        </a:cubicBezTo>
                        <a:cubicBezTo>
                          <a:pt x="33" y="59"/>
                          <a:pt x="33" y="59"/>
                          <a:pt x="33" y="59"/>
                        </a:cubicBezTo>
                        <a:cubicBezTo>
                          <a:pt x="33" y="58"/>
                          <a:pt x="33" y="58"/>
                          <a:pt x="33" y="58"/>
                        </a:cubicBezTo>
                        <a:cubicBezTo>
                          <a:pt x="33" y="58"/>
                          <a:pt x="34" y="58"/>
                          <a:pt x="34" y="58"/>
                        </a:cubicBezTo>
                        <a:cubicBezTo>
                          <a:pt x="34" y="58"/>
                          <a:pt x="34" y="58"/>
                          <a:pt x="34" y="58"/>
                        </a:cubicBezTo>
                        <a:cubicBezTo>
                          <a:pt x="34" y="58"/>
                          <a:pt x="34" y="58"/>
                          <a:pt x="34" y="57"/>
                        </a:cubicBezTo>
                        <a:cubicBezTo>
                          <a:pt x="34" y="57"/>
                          <a:pt x="34" y="57"/>
                          <a:pt x="34" y="57"/>
                        </a:cubicBezTo>
                        <a:cubicBezTo>
                          <a:pt x="34" y="57"/>
                          <a:pt x="34" y="57"/>
                          <a:pt x="34" y="58"/>
                        </a:cubicBezTo>
                        <a:cubicBezTo>
                          <a:pt x="34" y="57"/>
                          <a:pt x="34" y="57"/>
                          <a:pt x="34" y="57"/>
                        </a:cubicBezTo>
                        <a:cubicBezTo>
                          <a:pt x="34" y="57"/>
                          <a:pt x="33" y="58"/>
                          <a:pt x="34" y="59"/>
                        </a:cubicBezTo>
                        <a:cubicBezTo>
                          <a:pt x="33" y="59"/>
                          <a:pt x="33" y="59"/>
                          <a:pt x="33" y="59"/>
                        </a:cubicBezTo>
                        <a:cubicBezTo>
                          <a:pt x="33" y="59"/>
                          <a:pt x="33" y="59"/>
                          <a:pt x="33" y="59"/>
                        </a:cubicBezTo>
                        <a:close/>
                        <a:moveTo>
                          <a:pt x="30" y="56"/>
                        </a:moveTo>
                        <a:cubicBezTo>
                          <a:pt x="30" y="56"/>
                          <a:pt x="30" y="55"/>
                          <a:pt x="30" y="55"/>
                        </a:cubicBezTo>
                        <a:cubicBezTo>
                          <a:pt x="30" y="55"/>
                          <a:pt x="30" y="56"/>
                          <a:pt x="29" y="56"/>
                        </a:cubicBezTo>
                        <a:cubicBezTo>
                          <a:pt x="30" y="56"/>
                          <a:pt x="30" y="56"/>
                          <a:pt x="30" y="56"/>
                        </a:cubicBezTo>
                        <a:cubicBezTo>
                          <a:pt x="29" y="56"/>
                          <a:pt x="29" y="56"/>
                          <a:pt x="29" y="57"/>
                        </a:cubicBezTo>
                        <a:cubicBezTo>
                          <a:pt x="29" y="57"/>
                          <a:pt x="29" y="57"/>
                          <a:pt x="29" y="57"/>
                        </a:cubicBezTo>
                        <a:cubicBezTo>
                          <a:pt x="29" y="57"/>
                          <a:pt x="29" y="57"/>
                          <a:pt x="29" y="57"/>
                        </a:cubicBezTo>
                        <a:cubicBezTo>
                          <a:pt x="29" y="57"/>
                          <a:pt x="29" y="57"/>
                          <a:pt x="29" y="57"/>
                        </a:cubicBezTo>
                        <a:cubicBezTo>
                          <a:pt x="29" y="57"/>
                          <a:pt x="28" y="58"/>
                          <a:pt x="28" y="58"/>
                        </a:cubicBezTo>
                        <a:cubicBezTo>
                          <a:pt x="28" y="58"/>
                          <a:pt x="29" y="57"/>
                          <a:pt x="29" y="57"/>
                        </a:cubicBezTo>
                        <a:cubicBezTo>
                          <a:pt x="29" y="57"/>
                          <a:pt x="29" y="56"/>
                          <a:pt x="29" y="56"/>
                        </a:cubicBezTo>
                        <a:cubicBezTo>
                          <a:pt x="29" y="56"/>
                          <a:pt x="29" y="56"/>
                          <a:pt x="29" y="56"/>
                        </a:cubicBezTo>
                        <a:cubicBezTo>
                          <a:pt x="29" y="55"/>
                          <a:pt x="30" y="55"/>
                          <a:pt x="30" y="55"/>
                        </a:cubicBezTo>
                        <a:cubicBezTo>
                          <a:pt x="30" y="55"/>
                          <a:pt x="30" y="55"/>
                          <a:pt x="30" y="55"/>
                        </a:cubicBezTo>
                        <a:cubicBezTo>
                          <a:pt x="30" y="55"/>
                          <a:pt x="30" y="55"/>
                          <a:pt x="30" y="55"/>
                        </a:cubicBezTo>
                        <a:cubicBezTo>
                          <a:pt x="30" y="55"/>
                          <a:pt x="30" y="56"/>
                          <a:pt x="30" y="56"/>
                        </a:cubicBezTo>
                        <a:close/>
                        <a:moveTo>
                          <a:pt x="33" y="58"/>
                        </a:moveTo>
                        <a:cubicBezTo>
                          <a:pt x="33" y="58"/>
                          <a:pt x="33" y="58"/>
                          <a:pt x="33" y="58"/>
                        </a:cubicBezTo>
                        <a:cubicBezTo>
                          <a:pt x="33" y="58"/>
                          <a:pt x="33" y="59"/>
                          <a:pt x="32" y="59"/>
                        </a:cubicBezTo>
                        <a:cubicBezTo>
                          <a:pt x="33" y="58"/>
                          <a:pt x="33" y="57"/>
                          <a:pt x="33" y="57"/>
                        </a:cubicBezTo>
                        <a:cubicBezTo>
                          <a:pt x="33" y="58"/>
                          <a:pt x="33" y="58"/>
                          <a:pt x="33" y="58"/>
                        </a:cubicBezTo>
                        <a:close/>
                        <a:moveTo>
                          <a:pt x="29" y="56"/>
                        </a:moveTo>
                        <a:cubicBezTo>
                          <a:pt x="29" y="56"/>
                          <a:pt x="29" y="56"/>
                          <a:pt x="29" y="56"/>
                        </a:cubicBezTo>
                        <a:cubicBezTo>
                          <a:pt x="29" y="56"/>
                          <a:pt x="29" y="56"/>
                          <a:pt x="29" y="56"/>
                        </a:cubicBezTo>
                        <a:close/>
                        <a:moveTo>
                          <a:pt x="34" y="59"/>
                        </a:moveTo>
                        <a:cubicBezTo>
                          <a:pt x="35" y="60"/>
                          <a:pt x="34" y="60"/>
                          <a:pt x="35" y="60"/>
                        </a:cubicBezTo>
                        <a:cubicBezTo>
                          <a:pt x="34" y="60"/>
                          <a:pt x="34" y="60"/>
                          <a:pt x="34" y="59"/>
                        </a:cubicBezTo>
                        <a:close/>
                        <a:moveTo>
                          <a:pt x="31" y="58"/>
                        </a:moveTo>
                        <a:cubicBezTo>
                          <a:pt x="31" y="58"/>
                          <a:pt x="30" y="58"/>
                          <a:pt x="30" y="59"/>
                        </a:cubicBezTo>
                        <a:cubicBezTo>
                          <a:pt x="31" y="59"/>
                          <a:pt x="30" y="59"/>
                          <a:pt x="30" y="59"/>
                        </a:cubicBezTo>
                        <a:cubicBezTo>
                          <a:pt x="30" y="59"/>
                          <a:pt x="30" y="58"/>
                          <a:pt x="30" y="58"/>
                        </a:cubicBezTo>
                        <a:cubicBezTo>
                          <a:pt x="30" y="58"/>
                          <a:pt x="30" y="58"/>
                          <a:pt x="30" y="58"/>
                        </a:cubicBezTo>
                        <a:cubicBezTo>
                          <a:pt x="30" y="58"/>
                          <a:pt x="31" y="58"/>
                          <a:pt x="31" y="58"/>
                        </a:cubicBezTo>
                        <a:cubicBezTo>
                          <a:pt x="31" y="58"/>
                          <a:pt x="31" y="58"/>
                          <a:pt x="31" y="58"/>
                        </a:cubicBezTo>
                        <a:cubicBezTo>
                          <a:pt x="31" y="58"/>
                          <a:pt x="31" y="58"/>
                          <a:pt x="31" y="58"/>
                        </a:cubicBezTo>
                        <a:cubicBezTo>
                          <a:pt x="31" y="58"/>
                          <a:pt x="31" y="58"/>
                          <a:pt x="31" y="58"/>
                        </a:cubicBezTo>
                        <a:cubicBezTo>
                          <a:pt x="31" y="58"/>
                          <a:pt x="31" y="58"/>
                          <a:pt x="31" y="58"/>
                        </a:cubicBezTo>
                        <a:close/>
                        <a:moveTo>
                          <a:pt x="36" y="61"/>
                        </a:moveTo>
                        <a:cubicBezTo>
                          <a:pt x="36" y="61"/>
                          <a:pt x="36" y="61"/>
                          <a:pt x="36" y="61"/>
                        </a:cubicBezTo>
                        <a:cubicBezTo>
                          <a:pt x="36" y="61"/>
                          <a:pt x="36" y="61"/>
                          <a:pt x="36" y="61"/>
                        </a:cubicBezTo>
                        <a:cubicBezTo>
                          <a:pt x="36" y="61"/>
                          <a:pt x="36" y="61"/>
                          <a:pt x="36" y="61"/>
                        </a:cubicBezTo>
                        <a:close/>
                        <a:moveTo>
                          <a:pt x="27" y="57"/>
                        </a:moveTo>
                        <a:cubicBezTo>
                          <a:pt x="27" y="57"/>
                          <a:pt x="27" y="57"/>
                          <a:pt x="27" y="57"/>
                        </a:cubicBezTo>
                        <a:cubicBezTo>
                          <a:pt x="27" y="57"/>
                          <a:pt x="27" y="57"/>
                          <a:pt x="27" y="58"/>
                        </a:cubicBezTo>
                        <a:cubicBezTo>
                          <a:pt x="27" y="58"/>
                          <a:pt x="27" y="57"/>
                          <a:pt x="27" y="57"/>
                        </a:cubicBezTo>
                        <a:close/>
                        <a:moveTo>
                          <a:pt x="30" y="59"/>
                        </a:moveTo>
                        <a:cubicBezTo>
                          <a:pt x="30" y="59"/>
                          <a:pt x="30" y="59"/>
                          <a:pt x="30" y="59"/>
                        </a:cubicBezTo>
                        <a:cubicBezTo>
                          <a:pt x="30" y="59"/>
                          <a:pt x="30" y="58"/>
                          <a:pt x="30" y="59"/>
                        </a:cubicBezTo>
                        <a:close/>
                        <a:moveTo>
                          <a:pt x="36" y="63"/>
                        </a:moveTo>
                        <a:cubicBezTo>
                          <a:pt x="36" y="63"/>
                          <a:pt x="35" y="63"/>
                          <a:pt x="35" y="64"/>
                        </a:cubicBezTo>
                        <a:cubicBezTo>
                          <a:pt x="35" y="63"/>
                          <a:pt x="35" y="63"/>
                          <a:pt x="36" y="63"/>
                        </a:cubicBezTo>
                        <a:cubicBezTo>
                          <a:pt x="36" y="63"/>
                          <a:pt x="36" y="63"/>
                          <a:pt x="36" y="63"/>
                        </a:cubicBezTo>
                        <a:cubicBezTo>
                          <a:pt x="36" y="63"/>
                          <a:pt x="36" y="63"/>
                          <a:pt x="36" y="63"/>
                        </a:cubicBezTo>
                        <a:close/>
                        <a:moveTo>
                          <a:pt x="35" y="63"/>
                        </a:moveTo>
                        <a:cubicBezTo>
                          <a:pt x="35" y="63"/>
                          <a:pt x="35" y="63"/>
                          <a:pt x="35" y="63"/>
                        </a:cubicBezTo>
                        <a:cubicBezTo>
                          <a:pt x="35" y="63"/>
                          <a:pt x="35" y="63"/>
                          <a:pt x="35" y="63"/>
                        </a:cubicBezTo>
                        <a:cubicBezTo>
                          <a:pt x="35" y="63"/>
                          <a:pt x="35" y="64"/>
                          <a:pt x="34" y="64"/>
                        </a:cubicBezTo>
                        <a:cubicBezTo>
                          <a:pt x="35" y="64"/>
                          <a:pt x="35" y="64"/>
                          <a:pt x="35" y="63"/>
                        </a:cubicBezTo>
                        <a:cubicBezTo>
                          <a:pt x="35" y="63"/>
                          <a:pt x="35" y="63"/>
                          <a:pt x="35" y="63"/>
                        </a:cubicBezTo>
                        <a:cubicBezTo>
                          <a:pt x="35" y="63"/>
                          <a:pt x="35" y="63"/>
                          <a:pt x="35" y="63"/>
                        </a:cubicBezTo>
                        <a:cubicBezTo>
                          <a:pt x="35" y="63"/>
                          <a:pt x="35" y="63"/>
                          <a:pt x="35" y="63"/>
                        </a:cubicBezTo>
                        <a:cubicBezTo>
                          <a:pt x="36" y="63"/>
                          <a:pt x="35" y="63"/>
                          <a:pt x="35" y="63"/>
                        </a:cubicBezTo>
                        <a:close/>
                        <a:moveTo>
                          <a:pt x="27" y="60"/>
                        </a:moveTo>
                        <a:cubicBezTo>
                          <a:pt x="27" y="60"/>
                          <a:pt x="27" y="60"/>
                          <a:pt x="27" y="60"/>
                        </a:cubicBezTo>
                        <a:cubicBezTo>
                          <a:pt x="27" y="60"/>
                          <a:pt x="27" y="60"/>
                          <a:pt x="28" y="60"/>
                        </a:cubicBezTo>
                        <a:cubicBezTo>
                          <a:pt x="28" y="60"/>
                          <a:pt x="28" y="60"/>
                          <a:pt x="27" y="60"/>
                        </a:cubicBezTo>
                        <a:cubicBezTo>
                          <a:pt x="27" y="60"/>
                          <a:pt x="28" y="60"/>
                          <a:pt x="28" y="60"/>
                        </a:cubicBezTo>
                        <a:cubicBezTo>
                          <a:pt x="28" y="60"/>
                          <a:pt x="28" y="60"/>
                          <a:pt x="27" y="60"/>
                        </a:cubicBezTo>
                        <a:close/>
                        <a:moveTo>
                          <a:pt x="26" y="59"/>
                        </a:moveTo>
                        <a:cubicBezTo>
                          <a:pt x="26" y="59"/>
                          <a:pt x="26" y="59"/>
                          <a:pt x="26" y="59"/>
                        </a:cubicBezTo>
                        <a:cubicBezTo>
                          <a:pt x="26" y="59"/>
                          <a:pt x="26" y="59"/>
                          <a:pt x="26" y="59"/>
                        </a:cubicBezTo>
                        <a:cubicBezTo>
                          <a:pt x="26" y="59"/>
                          <a:pt x="26" y="59"/>
                          <a:pt x="26" y="59"/>
                        </a:cubicBezTo>
                        <a:cubicBezTo>
                          <a:pt x="26" y="59"/>
                          <a:pt x="26" y="59"/>
                          <a:pt x="26" y="59"/>
                        </a:cubicBezTo>
                        <a:cubicBezTo>
                          <a:pt x="26" y="59"/>
                          <a:pt x="26" y="59"/>
                          <a:pt x="26" y="59"/>
                        </a:cubicBezTo>
                        <a:close/>
                        <a:moveTo>
                          <a:pt x="25" y="61"/>
                        </a:moveTo>
                        <a:cubicBezTo>
                          <a:pt x="25" y="61"/>
                          <a:pt x="25" y="61"/>
                          <a:pt x="25" y="61"/>
                        </a:cubicBezTo>
                        <a:cubicBezTo>
                          <a:pt x="25" y="61"/>
                          <a:pt x="25" y="61"/>
                          <a:pt x="25" y="62"/>
                        </a:cubicBezTo>
                        <a:cubicBezTo>
                          <a:pt x="25" y="61"/>
                          <a:pt x="26" y="60"/>
                          <a:pt x="26" y="60"/>
                        </a:cubicBezTo>
                        <a:cubicBezTo>
                          <a:pt x="26" y="60"/>
                          <a:pt x="26" y="60"/>
                          <a:pt x="26" y="60"/>
                        </a:cubicBezTo>
                        <a:cubicBezTo>
                          <a:pt x="26" y="60"/>
                          <a:pt x="26" y="60"/>
                          <a:pt x="26" y="60"/>
                        </a:cubicBezTo>
                        <a:cubicBezTo>
                          <a:pt x="26" y="60"/>
                          <a:pt x="26" y="60"/>
                          <a:pt x="26" y="60"/>
                        </a:cubicBezTo>
                        <a:cubicBezTo>
                          <a:pt x="26" y="60"/>
                          <a:pt x="26" y="60"/>
                          <a:pt x="26" y="60"/>
                        </a:cubicBezTo>
                        <a:cubicBezTo>
                          <a:pt x="26" y="61"/>
                          <a:pt x="26" y="61"/>
                          <a:pt x="25" y="61"/>
                        </a:cubicBezTo>
                        <a:cubicBezTo>
                          <a:pt x="25" y="61"/>
                          <a:pt x="25" y="61"/>
                          <a:pt x="26" y="61"/>
                        </a:cubicBezTo>
                        <a:cubicBezTo>
                          <a:pt x="26" y="61"/>
                          <a:pt x="25" y="61"/>
                          <a:pt x="25" y="61"/>
                        </a:cubicBezTo>
                        <a:close/>
                        <a:moveTo>
                          <a:pt x="27" y="60"/>
                        </a:moveTo>
                        <a:cubicBezTo>
                          <a:pt x="27" y="60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7" y="60"/>
                        </a:cubicBezTo>
                        <a:cubicBezTo>
                          <a:pt x="27" y="60"/>
                          <a:pt x="27" y="61"/>
                          <a:pt x="27" y="60"/>
                        </a:cubicBezTo>
                        <a:close/>
                        <a:moveTo>
                          <a:pt x="26" y="63"/>
                        </a:moveTo>
                        <a:cubicBezTo>
                          <a:pt x="27" y="62"/>
                          <a:pt x="27" y="62"/>
                          <a:pt x="28" y="61"/>
                        </a:cubicBezTo>
                        <a:cubicBezTo>
                          <a:pt x="28" y="61"/>
                          <a:pt x="27" y="61"/>
                          <a:pt x="27" y="62"/>
                        </a:cubicBezTo>
                        <a:cubicBezTo>
                          <a:pt x="27" y="62"/>
                          <a:pt x="27" y="62"/>
                          <a:pt x="28" y="62"/>
                        </a:cubicBezTo>
                        <a:cubicBezTo>
                          <a:pt x="28" y="61"/>
                          <a:pt x="28" y="61"/>
                          <a:pt x="28" y="61"/>
                        </a:cubicBezTo>
                        <a:cubicBezTo>
                          <a:pt x="28" y="61"/>
                          <a:pt x="28" y="61"/>
                          <a:pt x="28" y="61"/>
                        </a:cubicBezTo>
                        <a:cubicBezTo>
                          <a:pt x="28" y="61"/>
                          <a:pt x="28" y="62"/>
                          <a:pt x="28" y="62"/>
                        </a:cubicBezTo>
                        <a:cubicBezTo>
                          <a:pt x="28" y="62"/>
                          <a:pt x="28" y="61"/>
                          <a:pt x="28" y="62"/>
                        </a:cubicBezTo>
                        <a:cubicBezTo>
                          <a:pt x="28" y="62"/>
                          <a:pt x="28" y="61"/>
                          <a:pt x="28" y="61"/>
                        </a:cubicBezTo>
                        <a:cubicBezTo>
                          <a:pt x="28" y="61"/>
                          <a:pt x="28" y="61"/>
                          <a:pt x="29" y="61"/>
                        </a:cubicBezTo>
                        <a:cubicBezTo>
                          <a:pt x="29" y="61"/>
                          <a:pt x="28" y="62"/>
                          <a:pt x="28" y="62"/>
                        </a:cubicBezTo>
                        <a:cubicBezTo>
                          <a:pt x="29" y="61"/>
                          <a:pt x="28" y="61"/>
                          <a:pt x="28" y="62"/>
                        </a:cubicBezTo>
                        <a:cubicBezTo>
                          <a:pt x="28" y="62"/>
                          <a:pt x="28" y="62"/>
                          <a:pt x="29" y="62"/>
                        </a:cubicBezTo>
                        <a:cubicBezTo>
                          <a:pt x="29" y="62"/>
                          <a:pt x="28" y="62"/>
                          <a:pt x="28" y="62"/>
                        </a:cubicBezTo>
                        <a:cubicBezTo>
                          <a:pt x="28" y="62"/>
                          <a:pt x="28" y="62"/>
                          <a:pt x="28" y="62"/>
                        </a:cubicBezTo>
                        <a:cubicBezTo>
                          <a:pt x="28" y="62"/>
                          <a:pt x="28" y="62"/>
                          <a:pt x="28" y="63"/>
                        </a:cubicBezTo>
                        <a:cubicBezTo>
                          <a:pt x="28" y="63"/>
                          <a:pt x="28" y="63"/>
                          <a:pt x="28" y="62"/>
                        </a:cubicBezTo>
                        <a:cubicBezTo>
                          <a:pt x="28" y="62"/>
                          <a:pt x="28" y="63"/>
                          <a:pt x="28" y="63"/>
                        </a:cubicBezTo>
                        <a:cubicBezTo>
                          <a:pt x="28" y="63"/>
                          <a:pt x="28" y="63"/>
                          <a:pt x="28" y="63"/>
                        </a:cubicBezTo>
                        <a:cubicBezTo>
                          <a:pt x="28" y="63"/>
                          <a:pt x="28" y="63"/>
                          <a:pt x="28" y="63"/>
                        </a:cubicBezTo>
                        <a:cubicBezTo>
                          <a:pt x="28" y="63"/>
                          <a:pt x="28" y="63"/>
                          <a:pt x="28" y="63"/>
                        </a:cubicBezTo>
                        <a:cubicBezTo>
                          <a:pt x="28" y="62"/>
                          <a:pt x="28" y="62"/>
                          <a:pt x="28" y="62"/>
                        </a:cubicBezTo>
                        <a:cubicBezTo>
                          <a:pt x="27" y="62"/>
                          <a:pt x="28" y="63"/>
                          <a:pt x="27" y="63"/>
                        </a:cubicBezTo>
                        <a:cubicBezTo>
                          <a:pt x="28" y="63"/>
                          <a:pt x="28" y="63"/>
                          <a:pt x="28" y="63"/>
                        </a:cubicBezTo>
                        <a:cubicBezTo>
                          <a:pt x="28" y="63"/>
                          <a:pt x="28" y="64"/>
                          <a:pt x="27" y="64"/>
                        </a:cubicBezTo>
                        <a:cubicBezTo>
                          <a:pt x="27" y="64"/>
                          <a:pt x="27" y="64"/>
                          <a:pt x="27" y="64"/>
                        </a:cubicBezTo>
                        <a:cubicBezTo>
                          <a:pt x="27" y="64"/>
                          <a:pt x="27" y="64"/>
                          <a:pt x="27" y="65"/>
                        </a:cubicBezTo>
                        <a:cubicBezTo>
                          <a:pt x="26" y="65"/>
                          <a:pt x="27" y="64"/>
                          <a:pt x="27" y="64"/>
                        </a:cubicBezTo>
                        <a:cubicBezTo>
                          <a:pt x="27" y="64"/>
                          <a:pt x="27" y="64"/>
                          <a:pt x="27" y="64"/>
                        </a:cubicBezTo>
                        <a:cubicBezTo>
                          <a:pt x="27" y="64"/>
                          <a:pt x="27" y="64"/>
                          <a:pt x="27" y="64"/>
                        </a:cubicBezTo>
                        <a:cubicBezTo>
                          <a:pt x="27" y="63"/>
                          <a:pt x="27" y="63"/>
                          <a:pt x="27" y="63"/>
                        </a:cubicBezTo>
                        <a:cubicBezTo>
                          <a:pt x="27" y="63"/>
                          <a:pt x="27" y="63"/>
                          <a:pt x="27" y="62"/>
                        </a:cubicBezTo>
                        <a:cubicBezTo>
                          <a:pt x="27" y="62"/>
                          <a:pt x="27" y="62"/>
                          <a:pt x="27" y="62"/>
                        </a:cubicBezTo>
                        <a:cubicBezTo>
                          <a:pt x="27" y="63"/>
                          <a:pt x="27" y="63"/>
                          <a:pt x="27" y="63"/>
                        </a:cubicBezTo>
                        <a:cubicBezTo>
                          <a:pt x="27" y="63"/>
                          <a:pt x="27" y="63"/>
                          <a:pt x="27" y="63"/>
                        </a:cubicBezTo>
                        <a:cubicBezTo>
                          <a:pt x="27" y="63"/>
                          <a:pt x="27" y="63"/>
                          <a:pt x="27" y="63"/>
                        </a:cubicBezTo>
                        <a:cubicBezTo>
                          <a:pt x="27" y="63"/>
                          <a:pt x="26" y="63"/>
                          <a:pt x="26" y="63"/>
                        </a:cubicBezTo>
                        <a:close/>
                        <a:moveTo>
                          <a:pt x="27" y="61"/>
                        </a:move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6" y="61"/>
                          <a:pt x="27" y="61"/>
                          <a:pt x="26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lose/>
                        <a:moveTo>
                          <a:pt x="28" y="63"/>
                        </a:moveTo>
                        <a:cubicBezTo>
                          <a:pt x="28" y="63"/>
                          <a:pt x="28" y="63"/>
                          <a:pt x="28" y="63"/>
                        </a:cubicBezTo>
                        <a:cubicBezTo>
                          <a:pt x="28" y="63"/>
                          <a:pt x="28" y="63"/>
                          <a:pt x="28" y="63"/>
                        </a:cubicBezTo>
                        <a:cubicBezTo>
                          <a:pt x="28" y="63"/>
                          <a:pt x="28" y="64"/>
                          <a:pt x="28" y="64"/>
                        </a:cubicBezTo>
                        <a:cubicBezTo>
                          <a:pt x="27" y="64"/>
                          <a:pt x="28" y="63"/>
                          <a:pt x="28" y="63"/>
                        </a:cubicBezTo>
                        <a:close/>
                        <a:moveTo>
                          <a:pt x="30" y="67"/>
                        </a:moveTo>
                        <a:cubicBezTo>
                          <a:pt x="30" y="67"/>
                          <a:pt x="30" y="68"/>
                          <a:pt x="30" y="68"/>
                        </a:cubicBezTo>
                        <a:cubicBezTo>
                          <a:pt x="29" y="68"/>
                          <a:pt x="29" y="68"/>
                          <a:pt x="29" y="68"/>
                        </a:cubicBezTo>
                        <a:cubicBezTo>
                          <a:pt x="29" y="68"/>
                          <a:pt x="30" y="68"/>
                          <a:pt x="30" y="67"/>
                        </a:cubicBezTo>
                        <a:close/>
                        <a:moveTo>
                          <a:pt x="24" y="66"/>
                        </a:move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7"/>
                          <a:pt x="23" y="67"/>
                        </a:cubicBezTo>
                        <a:cubicBezTo>
                          <a:pt x="23" y="67"/>
                          <a:pt x="23" y="67"/>
                          <a:pt x="23" y="67"/>
                        </a:cubicBezTo>
                        <a:cubicBezTo>
                          <a:pt x="23" y="66"/>
                          <a:pt x="24" y="66"/>
                          <a:pt x="24" y="66"/>
                        </a:cubicBez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6"/>
                          <a:pt x="24" y="65"/>
                        </a:cubicBezTo>
                        <a:cubicBezTo>
                          <a:pt x="24" y="65"/>
                          <a:pt x="24" y="66"/>
                          <a:pt x="25" y="65"/>
                        </a:cubicBezTo>
                        <a:cubicBezTo>
                          <a:pt x="25" y="66"/>
                          <a:pt x="24" y="66"/>
                          <a:pt x="24" y="66"/>
                        </a:cubicBezTo>
                        <a:close/>
                        <a:moveTo>
                          <a:pt x="24" y="66"/>
                        </a:move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6"/>
                          <a:pt x="24" y="66"/>
                        </a:cubicBezTo>
                        <a:close/>
                        <a:moveTo>
                          <a:pt x="32" y="71"/>
                        </a:moveTo>
                        <a:cubicBezTo>
                          <a:pt x="32" y="71"/>
                          <a:pt x="32" y="71"/>
                          <a:pt x="32" y="71"/>
                        </a:cubicBezTo>
                        <a:cubicBezTo>
                          <a:pt x="32" y="71"/>
                          <a:pt x="32" y="71"/>
                          <a:pt x="32" y="71"/>
                        </a:cubicBezTo>
                        <a:close/>
                        <a:moveTo>
                          <a:pt x="26" y="70"/>
                        </a:moveTo>
                        <a:cubicBezTo>
                          <a:pt x="26" y="70"/>
                          <a:pt x="27" y="70"/>
                          <a:pt x="27" y="70"/>
                        </a:cubicBezTo>
                        <a:cubicBezTo>
                          <a:pt x="27" y="70"/>
                          <a:pt x="26" y="70"/>
                          <a:pt x="27" y="70"/>
                        </a:cubicBezTo>
                        <a:cubicBezTo>
                          <a:pt x="27" y="70"/>
                          <a:pt x="27" y="69"/>
                          <a:pt x="27" y="69"/>
                        </a:cubicBezTo>
                        <a:cubicBezTo>
                          <a:pt x="27" y="69"/>
                          <a:pt x="27" y="69"/>
                          <a:pt x="27" y="69"/>
                        </a:cubicBezTo>
                        <a:cubicBezTo>
                          <a:pt x="27" y="69"/>
                          <a:pt x="27" y="70"/>
                          <a:pt x="27" y="70"/>
                        </a:cubicBezTo>
                        <a:cubicBezTo>
                          <a:pt x="27" y="70"/>
                          <a:pt x="27" y="70"/>
                          <a:pt x="26" y="70"/>
                        </a:cubicBezTo>
                        <a:cubicBezTo>
                          <a:pt x="26" y="70"/>
                          <a:pt x="27" y="70"/>
                          <a:pt x="26" y="70"/>
                        </a:cubicBezTo>
                        <a:cubicBezTo>
                          <a:pt x="26" y="70"/>
                          <a:pt x="26" y="70"/>
                          <a:pt x="26" y="70"/>
                        </a:cubicBezTo>
                        <a:cubicBezTo>
                          <a:pt x="26" y="70"/>
                          <a:pt x="26" y="70"/>
                          <a:pt x="26" y="70"/>
                        </a:cubicBezTo>
                        <a:cubicBezTo>
                          <a:pt x="26" y="70"/>
                          <a:pt x="26" y="71"/>
                          <a:pt x="26" y="71"/>
                        </a:cubicBezTo>
                        <a:cubicBezTo>
                          <a:pt x="26" y="71"/>
                          <a:pt x="26" y="71"/>
                          <a:pt x="26" y="70"/>
                        </a:cubicBezTo>
                        <a:cubicBezTo>
                          <a:pt x="26" y="70"/>
                          <a:pt x="26" y="70"/>
                          <a:pt x="26" y="70"/>
                        </a:cubicBezTo>
                        <a:close/>
                        <a:moveTo>
                          <a:pt x="27" y="68"/>
                        </a:moveTo>
                        <a:cubicBezTo>
                          <a:pt x="28" y="69"/>
                          <a:pt x="27" y="69"/>
                          <a:pt x="27" y="69"/>
                        </a:cubicBezTo>
                        <a:cubicBezTo>
                          <a:pt x="27" y="69"/>
                          <a:pt x="28" y="69"/>
                          <a:pt x="28" y="69"/>
                        </a:cubicBezTo>
                        <a:cubicBezTo>
                          <a:pt x="28" y="69"/>
                          <a:pt x="28" y="69"/>
                          <a:pt x="27" y="69"/>
                        </a:cubicBezTo>
                        <a:cubicBezTo>
                          <a:pt x="27" y="69"/>
                          <a:pt x="27" y="69"/>
                          <a:pt x="27" y="69"/>
                        </a:cubicBezTo>
                        <a:cubicBezTo>
                          <a:pt x="27" y="69"/>
                          <a:pt x="27" y="69"/>
                          <a:pt x="27" y="69"/>
                        </a:cubicBezTo>
                        <a:cubicBezTo>
                          <a:pt x="27" y="69"/>
                          <a:pt x="27" y="69"/>
                          <a:pt x="27" y="68"/>
                        </a:cubicBezTo>
                        <a:close/>
                        <a:moveTo>
                          <a:pt x="31" y="71"/>
                        </a:moveTo>
                        <a:cubicBezTo>
                          <a:pt x="31" y="71"/>
                          <a:pt x="31" y="72"/>
                          <a:pt x="31" y="71"/>
                        </a:cubicBezTo>
                        <a:cubicBezTo>
                          <a:pt x="31" y="71"/>
                          <a:pt x="31" y="71"/>
                          <a:pt x="31" y="71"/>
                        </a:cubicBezTo>
                        <a:cubicBezTo>
                          <a:pt x="31" y="71"/>
                          <a:pt x="31" y="71"/>
                          <a:pt x="31" y="71"/>
                        </a:cubicBezTo>
                        <a:cubicBezTo>
                          <a:pt x="32" y="71"/>
                          <a:pt x="31" y="72"/>
                          <a:pt x="31" y="71"/>
                        </a:cubicBezTo>
                        <a:cubicBezTo>
                          <a:pt x="31" y="72"/>
                          <a:pt x="31" y="72"/>
                          <a:pt x="31" y="72"/>
                        </a:cubicBezTo>
                        <a:cubicBezTo>
                          <a:pt x="31" y="72"/>
                          <a:pt x="31" y="72"/>
                          <a:pt x="31" y="72"/>
                        </a:cubicBezTo>
                        <a:cubicBezTo>
                          <a:pt x="31" y="72"/>
                          <a:pt x="31" y="72"/>
                          <a:pt x="31" y="71"/>
                        </a:cubicBezTo>
                        <a:close/>
                        <a:moveTo>
                          <a:pt x="23" y="68"/>
                        </a:moveTo>
                        <a:cubicBezTo>
                          <a:pt x="23" y="68"/>
                          <a:pt x="23" y="68"/>
                          <a:pt x="23" y="69"/>
                        </a:cubicBezTo>
                        <a:cubicBezTo>
                          <a:pt x="23" y="69"/>
                          <a:pt x="23" y="68"/>
                          <a:pt x="23" y="68"/>
                        </a:cubicBezTo>
                        <a:cubicBezTo>
                          <a:pt x="23" y="68"/>
                          <a:pt x="23" y="68"/>
                          <a:pt x="23" y="68"/>
                        </a:cubicBezTo>
                        <a:cubicBezTo>
                          <a:pt x="23" y="68"/>
                          <a:pt x="23" y="68"/>
                          <a:pt x="22" y="69"/>
                        </a:cubicBezTo>
                        <a:cubicBezTo>
                          <a:pt x="22" y="69"/>
                          <a:pt x="22" y="68"/>
                          <a:pt x="22" y="69"/>
                        </a:cubicBezTo>
                        <a:cubicBezTo>
                          <a:pt x="22" y="68"/>
                          <a:pt x="22" y="68"/>
                          <a:pt x="22" y="68"/>
                        </a:cubicBezTo>
                        <a:cubicBezTo>
                          <a:pt x="22" y="68"/>
                          <a:pt x="23" y="68"/>
                          <a:pt x="23" y="68"/>
                        </a:cubicBezTo>
                        <a:cubicBezTo>
                          <a:pt x="23" y="68"/>
                          <a:pt x="23" y="68"/>
                          <a:pt x="23" y="68"/>
                        </a:cubicBezTo>
                        <a:cubicBezTo>
                          <a:pt x="23" y="68"/>
                          <a:pt x="23" y="68"/>
                          <a:pt x="23" y="67"/>
                        </a:cubicBezTo>
                        <a:cubicBezTo>
                          <a:pt x="23" y="68"/>
                          <a:pt x="23" y="68"/>
                          <a:pt x="23" y="68"/>
                        </a:cubicBezTo>
                        <a:cubicBezTo>
                          <a:pt x="23" y="68"/>
                          <a:pt x="23" y="68"/>
                          <a:pt x="23" y="68"/>
                        </a:cubicBezTo>
                        <a:close/>
                        <a:moveTo>
                          <a:pt x="32" y="72"/>
                        </a:moveTo>
                        <a:cubicBezTo>
                          <a:pt x="32" y="73"/>
                          <a:pt x="32" y="73"/>
                          <a:pt x="32" y="73"/>
                        </a:cubicBezTo>
                        <a:cubicBezTo>
                          <a:pt x="32" y="72"/>
                          <a:pt x="32" y="72"/>
                          <a:pt x="32" y="72"/>
                        </a:cubicBezTo>
                        <a:cubicBezTo>
                          <a:pt x="32" y="72"/>
                          <a:pt x="32" y="73"/>
                          <a:pt x="32" y="73"/>
                        </a:cubicBezTo>
                        <a:lnTo>
                          <a:pt x="32" y="72"/>
                        </a:lnTo>
                        <a:close/>
                        <a:moveTo>
                          <a:pt x="28" y="76"/>
                        </a:moveTo>
                        <a:cubicBezTo>
                          <a:pt x="28" y="76"/>
                          <a:pt x="28" y="76"/>
                          <a:pt x="28" y="76"/>
                        </a:cubicBezTo>
                        <a:cubicBezTo>
                          <a:pt x="28" y="76"/>
                          <a:pt x="28" y="76"/>
                          <a:pt x="28" y="76"/>
                        </a:cubicBezTo>
                        <a:cubicBezTo>
                          <a:pt x="28" y="76"/>
                          <a:pt x="28" y="76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6"/>
                          <a:pt x="28" y="75"/>
                          <a:pt x="28" y="75"/>
                        </a:cubicBezTo>
                        <a:cubicBezTo>
                          <a:pt x="28" y="75"/>
                          <a:pt x="28" y="76"/>
                          <a:pt x="28" y="76"/>
                        </a:cubicBezTo>
                        <a:close/>
                        <a:moveTo>
                          <a:pt x="26" y="79"/>
                        </a:moveTo>
                        <a:cubicBezTo>
                          <a:pt x="26" y="78"/>
                          <a:pt x="26" y="78"/>
                          <a:pt x="26" y="78"/>
                        </a:cubicBezTo>
                        <a:cubicBezTo>
                          <a:pt x="26" y="78"/>
                          <a:pt x="26" y="78"/>
                          <a:pt x="26" y="78"/>
                        </a:cubicBezTo>
                        <a:cubicBezTo>
                          <a:pt x="26" y="78"/>
                          <a:pt x="26" y="78"/>
                          <a:pt x="26" y="78"/>
                        </a:cubicBezTo>
                        <a:cubicBezTo>
                          <a:pt x="26" y="78"/>
                          <a:pt x="26" y="78"/>
                          <a:pt x="26" y="78"/>
                        </a:cubicBezTo>
                        <a:cubicBezTo>
                          <a:pt x="26" y="78"/>
                          <a:pt x="26" y="79"/>
                          <a:pt x="26" y="79"/>
                        </a:cubicBezTo>
                        <a:cubicBezTo>
                          <a:pt x="26" y="79"/>
                          <a:pt x="26" y="79"/>
                          <a:pt x="26" y="79"/>
                        </a:cubicBezTo>
                        <a:close/>
                        <a:moveTo>
                          <a:pt x="28" y="77"/>
                        </a:moveTo>
                        <a:cubicBezTo>
                          <a:pt x="28" y="77"/>
                          <a:pt x="28" y="77"/>
                          <a:pt x="28" y="77"/>
                        </a:cubicBezTo>
                        <a:cubicBezTo>
                          <a:pt x="28" y="77"/>
                          <a:pt x="28" y="77"/>
                          <a:pt x="28" y="77"/>
                        </a:cubicBezTo>
                        <a:cubicBezTo>
                          <a:pt x="28" y="77"/>
                          <a:pt x="28" y="77"/>
                          <a:pt x="28" y="76"/>
                        </a:cubicBezTo>
                        <a:cubicBezTo>
                          <a:pt x="28" y="77"/>
                          <a:pt x="28" y="77"/>
                          <a:pt x="28" y="77"/>
                        </a:cubicBezTo>
                        <a:close/>
                        <a:moveTo>
                          <a:pt x="25" y="78"/>
                        </a:moveTo>
                        <a:cubicBezTo>
                          <a:pt x="25" y="78"/>
                          <a:pt x="25" y="77"/>
                          <a:pt x="25" y="77"/>
                        </a:cubicBezTo>
                        <a:cubicBezTo>
                          <a:pt x="25" y="77"/>
                          <a:pt x="25" y="77"/>
                          <a:pt x="25" y="77"/>
                        </a:cubicBezTo>
                        <a:cubicBezTo>
                          <a:pt x="25" y="78"/>
                          <a:pt x="25" y="77"/>
                          <a:pt x="25" y="77"/>
                        </a:cubicBezTo>
                        <a:cubicBezTo>
                          <a:pt x="25" y="77"/>
                          <a:pt x="25" y="78"/>
                          <a:pt x="25" y="78"/>
                        </a:cubicBezTo>
                        <a:close/>
                        <a:moveTo>
                          <a:pt x="25" y="79"/>
                        </a:moveTo>
                        <a:cubicBezTo>
                          <a:pt x="25" y="79"/>
                          <a:pt x="25" y="79"/>
                          <a:pt x="25" y="79"/>
                        </a:cubicBezTo>
                        <a:cubicBezTo>
                          <a:pt x="25" y="79"/>
                          <a:pt x="25" y="79"/>
                          <a:pt x="25" y="79"/>
                        </a:cubicBezTo>
                        <a:cubicBezTo>
                          <a:pt x="24" y="79"/>
                          <a:pt x="25" y="79"/>
                          <a:pt x="25" y="79"/>
                        </a:cubicBezTo>
                        <a:cubicBezTo>
                          <a:pt x="24" y="79"/>
                          <a:pt x="24" y="79"/>
                          <a:pt x="24" y="79"/>
                        </a:cubicBezTo>
                        <a:cubicBezTo>
                          <a:pt x="24" y="79"/>
                          <a:pt x="25" y="79"/>
                          <a:pt x="24" y="79"/>
                        </a:cubicBezTo>
                        <a:cubicBezTo>
                          <a:pt x="24" y="79"/>
                          <a:pt x="24" y="80"/>
                          <a:pt x="24" y="80"/>
                        </a:cubicBezTo>
                        <a:cubicBezTo>
                          <a:pt x="24" y="80"/>
                          <a:pt x="24" y="79"/>
                          <a:pt x="24" y="79"/>
                        </a:cubicBezTo>
                        <a:cubicBezTo>
                          <a:pt x="24" y="79"/>
                          <a:pt x="24" y="79"/>
                          <a:pt x="24" y="79"/>
                        </a:cubicBezTo>
                        <a:cubicBezTo>
                          <a:pt x="24" y="79"/>
                          <a:pt x="24" y="79"/>
                          <a:pt x="24" y="79"/>
                        </a:cubicBezTo>
                        <a:cubicBezTo>
                          <a:pt x="25" y="78"/>
                          <a:pt x="24" y="79"/>
                          <a:pt x="24" y="79"/>
                        </a:cubicBezTo>
                        <a:cubicBezTo>
                          <a:pt x="25" y="79"/>
                          <a:pt x="25" y="78"/>
                          <a:pt x="25" y="78"/>
                        </a:cubicBezTo>
                        <a:cubicBezTo>
                          <a:pt x="25" y="79"/>
                          <a:pt x="24" y="79"/>
                          <a:pt x="24" y="79"/>
                        </a:cubicBezTo>
                        <a:cubicBezTo>
                          <a:pt x="25" y="79"/>
                          <a:pt x="25" y="79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4" y="78"/>
                          <a:pt x="25" y="78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5" y="77"/>
                          <a:pt x="25" y="78"/>
                          <a:pt x="25" y="77"/>
                        </a:cubicBezTo>
                        <a:cubicBezTo>
                          <a:pt x="25" y="77"/>
                          <a:pt x="25" y="77"/>
                          <a:pt x="26" y="77"/>
                        </a:cubicBezTo>
                        <a:cubicBezTo>
                          <a:pt x="26" y="77"/>
                          <a:pt x="25" y="77"/>
                          <a:pt x="25" y="77"/>
                        </a:cubicBezTo>
                        <a:cubicBezTo>
                          <a:pt x="25" y="77"/>
                          <a:pt x="26" y="77"/>
                          <a:pt x="26" y="77"/>
                        </a:cubicBezTo>
                        <a:cubicBezTo>
                          <a:pt x="26" y="77"/>
                          <a:pt x="26" y="77"/>
                          <a:pt x="26" y="77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6" y="76"/>
                          <a:pt x="26" y="77"/>
                          <a:pt x="26" y="77"/>
                        </a:cubicBezTo>
                        <a:cubicBezTo>
                          <a:pt x="26" y="77"/>
                          <a:pt x="26" y="77"/>
                          <a:pt x="26" y="77"/>
                        </a:cubicBezTo>
                        <a:cubicBezTo>
                          <a:pt x="26" y="77"/>
                          <a:pt x="26" y="77"/>
                          <a:pt x="26" y="77"/>
                        </a:cubicBezTo>
                        <a:cubicBezTo>
                          <a:pt x="26" y="77"/>
                          <a:pt x="26" y="77"/>
                          <a:pt x="26" y="77"/>
                        </a:cubicBezTo>
                        <a:cubicBezTo>
                          <a:pt x="26" y="77"/>
                          <a:pt x="26" y="77"/>
                          <a:pt x="26" y="78"/>
                        </a:cubicBezTo>
                        <a:cubicBezTo>
                          <a:pt x="26" y="78"/>
                          <a:pt x="26" y="78"/>
                          <a:pt x="26" y="77"/>
                        </a:cubicBezTo>
                        <a:cubicBezTo>
                          <a:pt x="26" y="77"/>
                          <a:pt x="26" y="78"/>
                          <a:pt x="26" y="78"/>
                        </a:cubicBezTo>
                        <a:cubicBezTo>
                          <a:pt x="26" y="78"/>
                          <a:pt x="26" y="78"/>
                          <a:pt x="26" y="78"/>
                        </a:cubicBezTo>
                        <a:cubicBezTo>
                          <a:pt x="26" y="78"/>
                          <a:pt x="26" y="78"/>
                          <a:pt x="26" y="78"/>
                        </a:cubicBezTo>
                        <a:cubicBezTo>
                          <a:pt x="26" y="78"/>
                          <a:pt x="26" y="78"/>
                          <a:pt x="26" y="78"/>
                        </a:cubicBezTo>
                        <a:cubicBezTo>
                          <a:pt x="25" y="78"/>
                          <a:pt x="26" y="78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5" y="78"/>
                          <a:pt x="25" y="79"/>
                          <a:pt x="25" y="79"/>
                        </a:cubicBezTo>
                        <a:cubicBezTo>
                          <a:pt x="25" y="79"/>
                          <a:pt x="25" y="79"/>
                          <a:pt x="25" y="79"/>
                        </a:cubicBezTo>
                        <a:close/>
                        <a:moveTo>
                          <a:pt x="26" y="78"/>
                        </a:moveTo>
                        <a:cubicBezTo>
                          <a:pt x="26" y="78"/>
                          <a:pt x="26" y="77"/>
                          <a:pt x="26" y="77"/>
                        </a:cubicBezTo>
                        <a:cubicBezTo>
                          <a:pt x="26" y="77"/>
                          <a:pt x="25" y="77"/>
                          <a:pt x="25" y="78"/>
                        </a:cubicBezTo>
                        <a:cubicBezTo>
                          <a:pt x="26" y="77"/>
                          <a:pt x="26" y="78"/>
                          <a:pt x="26" y="78"/>
                        </a:cubicBezTo>
                        <a:close/>
                        <a:moveTo>
                          <a:pt x="28" y="76"/>
                        </a:moveTo>
                        <a:cubicBezTo>
                          <a:pt x="28" y="77"/>
                          <a:pt x="27" y="77"/>
                          <a:pt x="27" y="77"/>
                        </a:cubicBezTo>
                        <a:cubicBezTo>
                          <a:pt x="27" y="77"/>
                          <a:pt x="27" y="76"/>
                          <a:pt x="28" y="76"/>
                        </a:cubicBezTo>
                        <a:close/>
                        <a:moveTo>
                          <a:pt x="25" y="76"/>
                        </a:moveTo>
                        <a:cubicBezTo>
                          <a:pt x="25" y="77"/>
                          <a:pt x="25" y="77"/>
                          <a:pt x="25" y="77"/>
                        </a:cubicBezTo>
                        <a:cubicBezTo>
                          <a:pt x="25" y="77"/>
                          <a:pt x="25" y="77"/>
                          <a:pt x="25" y="77"/>
                        </a:cubicBezTo>
                        <a:cubicBezTo>
                          <a:pt x="25" y="77"/>
                          <a:pt x="25" y="77"/>
                          <a:pt x="25" y="77"/>
                        </a:cubicBezTo>
                        <a:cubicBezTo>
                          <a:pt x="25" y="77"/>
                          <a:pt x="25" y="76"/>
                          <a:pt x="25" y="76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5" y="76"/>
                          <a:pt x="26" y="76"/>
                          <a:pt x="25" y="76"/>
                        </a:cubicBezTo>
                        <a:close/>
                        <a:moveTo>
                          <a:pt x="28" y="78"/>
                        </a:moveTo>
                        <a:cubicBezTo>
                          <a:pt x="28" y="78"/>
                          <a:pt x="28" y="78"/>
                          <a:pt x="28" y="78"/>
                        </a:cubicBezTo>
                        <a:cubicBezTo>
                          <a:pt x="28" y="78"/>
                          <a:pt x="28" y="78"/>
                          <a:pt x="28" y="78"/>
                        </a:cubicBezTo>
                        <a:cubicBezTo>
                          <a:pt x="28" y="78"/>
                          <a:pt x="28" y="78"/>
                          <a:pt x="28" y="78"/>
                        </a:cubicBezTo>
                        <a:cubicBezTo>
                          <a:pt x="28" y="78"/>
                          <a:pt x="28" y="78"/>
                          <a:pt x="28" y="78"/>
                        </a:cubicBezTo>
                        <a:cubicBezTo>
                          <a:pt x="28" y="78"/>
                          <a:pt x="28" y="78"/>
                          <a:pt x="28" y="78"/>
                        </a:cubicBezTo>
                        <a:cubicBezTo>
                          <a:pt x="28" y="78"/>
                          <a:pt x="28" y="78"/>
                          <a:pt x="28" y="78"/>
                        </a:cubicBezTo>
                        <a:cubicBezTo>
                          <a:pt x="28" y="78"/>
                          <a:pt x="28" y="78"/>
                          <a:pt x="28" y="78"/>
                        </a:cubicBezTo>
                        <a:close/>
                        <a:moveTo>
                          <a:pt x="22" y="76"/>
                        </a:moveTo>
                        <a:cubicBezTo>
                          <a:pt x="22" y="76"/>
                          <a:pt x="22" y="76"/>
                          <a:pt x="22" y="76"/>
                        </a:cubicBezTo>
                        <a:cubicBezTo>
                          <a:pt x="23" y="76"/>
                          <a:pt x="23" y="76"/>
                          <a:pt x="23" y="75"/>
                        </a:cubicBezTo>
                        <a:cubicBezTo>
                          <a:pt x="23" y="76"/>
                          <a:pt x="22" y="76"/>
                          <a:pt x="22" y="76"/>
                        </a:cubicBezTo>
                        <a:close/>
                        <a:moveTo>
                          <a:pt x="28" y="78"/>
                        </a:moveTo>
                        <a:cubicBezTo>
                          <a:pt x="28" y="78"/>
                          <a:pt x="28" y="78"/>
                          <a:pt x="28" y="78"/>
                        </a:cubicBezTo>
                        <a:cubicBezTo>
                          <a:pt x="28" y="78"/>
                          <a:pt x="28" y="79"/>
                          <a:pt x="28" y="79"/>
                        </a:cubicBezTo>
                        <a:cubicBezTo>
                          <a:pt x="28" y="79"/>
                          <a:pt x="28" y="78"/>
                          <a:pt x="28" y="78"/>
                        </a:cubicBezTo>
                        <a:cubicBezTo>
                          <a:pt x="28" y="78"/>
                          <a:pt x="28" y="78"/>
                          <a:pt x="28" y="78"/>
                        </a:cubicBezTo>
                        <a:cubicBezTo>
                          <a:pt x="28" y="78"/>
                          <a:pt x="28" y="78"/>
                          <a:pt x="28" y="78"/>
                        </a:cubicBezTo>
                        <a:close/>
                        <a:moveTo>
                          <a:pt x="27" y="79"/>
                        </a:moveTo>
                        <a:cubicBezTo>
                          <a:pt x="27" y="79"/>
                          <a:pt x="27" y="79"/>
                          <a:pt x="27" y="79"/>
                        </a:cubicBezTo>
                        <a:cubicBezTo>
                          <a:pt x="27" y="79"/>
                          <a:pt x="27" y="79"/>
                          <a:pt x="27" y="79"/>
                        </a:cubicBezTo>
                        <a:cubicBezTo>
                          <a:pt x="27" y="79"/>
                          <a:pt x="27" y="79"/>
                          <a:pt x="27" y="78"/>
                        </a:cubicBezTo>
                        <a:cubicBezTo>
                          <a:pt x="27" y="78"/>
                          <a:pt x="27" y="78"/>
                          <a:pt x="27" y="78"/>
                        </a:cubicBezTo>
                        <a:cubicBezTo>
                          <a:pt x="27" y="78"/>
                          <a:pt x="27" y="79"/>
                          <a:pt x="27" y="79"/>
                        </a:cubicBezTo>
                        <a:cubicBezTo>
                          <a:pt x="27" y="79"/>
                          <a:pt x="27" y="79"/>
                          <a:pt x="27" y="78"/>
                        </a:cubicBezTo>
                        <a:cubicBezTo>
                          <a:pt x="27" y="79"/>
                          <a:pt x="27" y="79"/>
                          <a:pt x="27" y="79"/>
                        </a:cubicBezTo>
                        <a:close/>
                        <a:moveTo>
                          <a:pt x="26" y="80"/>
                        </a:moveTo>
                        <a:cubicBezTo>
                          <a:pt x="26" y="80"/>
                          <a:pt x="26" y="81"/>
                          <a:pt x="26" y="81"/>
                        </a:cubicBezTo>
                        <a:cubicBezTo>
                          <a:pt x="26" y="80"/>
                          <a:pt x="26" y="80"/>
                          <a:pt x="26" y="80"/>
                        </a:cubicBezTo>
                        <a:cubicBezTo>
                          <a:pt x="27" y="80"/>
                          <a:pt x="27" y="79"/>
                          <a:pt x="27" y="79"/>
                        </a:cubicBezTo>
                        <a:cubicBezTo>
                          <a:pt x="27" y="80"/>
                          <a:pt x="27" y="80"/>
                          <a:pt x="27" y="80"/>
                        </a:cubicBezTo>
                        <a:cubicBezTo>
                          <a:pt x="27" y="80"/>
                          <a:pt x="27" y="80"/>
                          <a:pt x="27" y="80"/>
                        </a:cubicBezTo>
                        <a:cubicBezTo>
                          <a:pt x="26" y="80"/>
                          <a:pt x="26" y="81"/>
                          <a:pt x="26" y="81"/>
                        </a:cubicBezTo>
                        <a:cubicBezTo>
                          <a:pt x="26" y="81"/>
                          <a:pt x="26" y="81"/>
                          <a:pt x="26" y="81"/>
                        </a:cubicBezTo>
                        <a:cubicBezTo>
                          <a:pt x="26" y="81"/>
                          <a:pt x="26" y="81"/>
                          <a:pt x="26" y="81"/>
                        </a:cubicBezTo>
                        <a:cubicBezTo>
                          <a:pt x="27" y="81"/>
                          <a:pt x="26" y="81"/>
                          <a:pt x="26" y="81"/>
                        </a:cubicBezTo>
                        <a:cubicBezTo>
                          <a:pt x="26" y="81"/>
                          <a:pt x="26" y="82"/>
                          <a:pt x="26" y="82"/>
                        </a:cubicBezTo>
                        <a:cubicBezTo>
                          <a:pt x="26" y="82"/>
                          <a:pt x="26" y="82"/>
                          <a:pt x="26" y="82"/>
                        </a:cubicBezTo>
                        <a:cubicBezTo>
                          <a:pt x="26" y="82"/>
                          <a:pt x="26" y="81"/>
                          <a:pt x="26" y="81"/>
                        </a:cubicBezTo>
                        <a:cubicBezTo>
                          <a:pt x="26" y="81"/>
                          <a:pt x="26" y="81"/>
                          <a:pt x="26" y="81"/>
                        </a:cubicBezTo>
                        <a:cubicBezTo>
                          <a:pt x="26" y="81"/>
                          <a:pt x="26" y="81"/>
                          <a:pt x="26" y="81"/>
                        </a:cubicBezTo>
                        <a:cubicBezTo>
                          <a:pt x="26" y="81"/>
                          <a:pt x="26" y="81"/>
                          <a:pt x="26" y="81"/>
                        </a:cubicBezTo>
                        <a:cubicBezTo>
                          <a:pt x="26" y="81"/>
                          <a:pt x="26" y="81"/>
                          <a:pt x="26" y="81"/>
                        </a:cubicBezTo>
                        <a:cubicBezTo>
                          <a:pt x="26" y="81"/>
                          <a:pt x="26" y="81"/>
                          <a:pt x="26" y="81"/>
                        </a:cubicBezTo>
                        <a:cubicBezTo>
                          <a:pt x="26" y="81"/>
                          <a:pt x="26" y="81"/>
                          <a:pt x="25" y="82"/>
                        </a:cubicBezTo>
                        <a:cubicBezTo>
                          <a:pt x="25" y="81"/>
                          <a:pt x="26" y="81"/>
                          <a:pt x="26" y="80"/>
                        </a:cubicBezTo>
                        <a:close/>
                        <a:moveTo>
                          <a:pt x="25" y="80"/>
                        </a:move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0"/>
                        </a:cubicBezTo>
                        <a:close/>
                        <a:moveTo>
                          <a:pt x="25" y="79"/>
                        </a:moveTo>
                        <a:cubicBezTo>
                          <a:pt x="25" y="79"/>
                          <a:pt x="25" y="80"/>
                          <a:pt x="25" y="80"/>
                        </a:cubicBezTo>
                        <a:cubicBezTo>
                          <a:pt x="25" y="80"/>
                          <a:pt x="25" y="80"/>
                          <a:pt x="25" y="80"/>
                        </a:cubicBezTo>
                        <a:cubicBezTo>
                          <a:pt x="25" y="80"/>
                          <a:pt x="25" y="79"/>
                          <a:pt x="25" y="79"/>
                        </a:cubicBezTo>
                        <a:close/>
                        <a:moveTo>
                          <a:pt x="25" y="80"/>
                        </a:moveTo>
                        <a:cubicBezTo>
                          <a:pt x="25" y="80"/>
                          <a:pt x="25" y="80"/>
                          <a:pt x="25" y="80"/>
                        </a:cubicBezTo>
                        <a:cubicBezTo>
                          <a:pt x="25" y="80"/>
                          <a:pt x="25" y="80"/>
                          <a:pt x="25" y="80"/>
                        </a:cubicBezTo>
                        <a:cubicBezTo>
                          <a:pt x="25" y="80"/>
                          <a:pt x="25" y="80"/>
                          <a:pt x="25" y="80"/>
                        </a:cubicBezTo>
                        <a:close/>
                        <a:moveTo>
                          <a:pt x="25" y="80"/>
                        </a:moveTo>
                        <a:cubicBezTo>
                          <a:pt x="25" y="80"/>
                          <a:pt x="25" y="80"/>
                          <a:pt x="25" y="80"/>
                        </a:cubicBezTo>
                        <a:cubicBezTo>
                          <a:pt x="25" y="80"/>
                          <a:pt x="25" y="80"/>
                          <a:pt x="25" y="80"/>
                        </a:cubicBezTo>
                        <a:cubicBezTo>
                          <a:pt x="25" y="80"/>
                          <a:pt x="25" y="80"/>
                          <a:pt x="25" y="79"/>
                        </a:cubicBezTo>
                        <a:cubicBezTo>
                          <a:pt x="25" y="79"/>
                          <a:pt x="25" y="80"/>
                          <a:pt x="25" y="80"/>
                        </a:cubicBezTo>
                        <a:close/>
                        <a:moveTo>
                          <a:pt x="26" y="80"/>
                        </a:moveTo>
                        <a:cubicBezTo>
                          <a:pt x="26" y="80"/>
                          <a:pt x="26" y="80"/>
                          <a:pt x="26" y="80"/>
                        </a:cubicBezTo>
                        <a:cubicBezTo>
                          <a:pt x="26" y="80"/>
                          <a:pt x="26" y="80"/>
                          <a:pt x="26" y="80"/>
                        </a:cubicBezTo>
                        <a:close/>
                        <a:moveTo>
                          <a:pt x="24" y="81"/>
                        </a:moveTo>
                        <a:cubicBezTo>
                          <a:pt x="24" y="81"/>
                          <a:pt x="24" y="81"/>
                          <a:pt x="24" y="81"/>
                        </a:cubicBezTo>
                        <a:cubicBezTo>
                          <a:pt x="24" y="81"/>
                          <a:pt x="24" y="81"/>
                          <a:pt x="24" y="81"/>
                        </a:cubicBezTo>
                        <a:cubicBezTo>
                          <a:pt x="24" y="81"/>
                          <a:pt x="24" y="81"/>
                          <a:pt x="24" y="81"/>
                        </a:cubicBezTo>
                        <a:cubicBezTo>
                          <a:pt x="24" y="80"/>
                          <a:pt x="24" y="81"/>
                          <a:pt x="24" y="81"/>
                        </a:cubicBezTo>
                        <a:close/>
                        <a:moveTo>
                          <a:pt x="25" y="83"/>
                        </a:moveTo>
                        <a:cubicBezTo>
                          <a:pt x="25" y="83"/>
                          <a:pt x="25" y="83"/>
                          <a:pt x="25" y="83"/>
                        </a:cubicBezTo>
                        <a:cubicBezTo>
                          <a:pt x="25" y="83"/>
                          <a:pt x="25" y="83"/>
                          <a:pt x="25" y="83"/>
                        </a:cubicBezTo>
                        <a:cubicBezTo>
                          <a:pt x="25" y="83"/>
                          <a:pt x="25" y="83"/>
                          <a:pt x="25" y="83"/>
                        </a:cubicBezTo>
                        <a:cubicBezTo>
                          <a:pt x="25" y="83"/>
                          <a:pt x="25" y="83"/>
                          <a:pt x="25" y="83"/>
                        </a:cubicBezTo>
                        <a:close/>
                        <a:moveTo>
                          <a:pt x="26" y="83"/>
                        </a:moveTo>
                        <a:cubicBezTo>
                          <a:pt x="26" y="83"/>
                          <a:pt x="26" y="83"/>
                          <a:pt x="26" y="83"/>
                        </a:cubicBezTo>
                        <a:cubicBezTo>
                          <a:pt x="26" y="84"/>
                          <a:pt x="26" y="83"/>
                          <a:pt x="26" y="83"/>
                        </a:cubicBezTo>
                        <a:close/>
                        <a:moveTo>
                          <a:pt x="22" y="84"/>
                        </a:moveTo>
                        <a:cubicBezTo>
                          <a:pt x="22" y="84"/>
                          <a:pt x="22" y="84"/>
                          <a:pt x="22" y="84"/>
                        </a:cubicBezTo>
                        <a:cubicBezTo>
                          <a:pt x="22" y="84"/>
                          <a:pt x="22" y="84"/>
                          <a:pt x="22" y="84"/>
                        </a:cubicBezTo>
                        <a:cubicBezTo>
                          <a:pt x="22" y="84"/>
                          <a:pt x="22" y="84"/>
                          <a:pt x="22" y="84"/>
                        </a:cubicBezTo>
                        <a:cubicBezTo>
                          <a:pt x="22" y="84"/>
                          <a:pt x="22" y="84"/>
                          <a:pt x="22" y="84"/>
                        </a:cubicBezTo>
                        <a:close/>
                        <a:moveTo>
                          <a:pt x="22" y="85"/>
                        </a:moveTo>
                        <a:cubicBezTo>
                          <a:pt x="22" y="85"/>
                          <a:pt x="21" y="85"/>
                          <a:pt x="22" y="85"/>
                        </a:cubicBezTo>
                        <a:cubicBezTo>
                          <a:pt x="21" y="85"/>
                          <a:pt x="21" y="85"/>
                          <a:pt x="21" y="85"/>
                        </a:cubicBezTo>
                        <a:cubicBezTo>
                          <a:pt x="21" y="85"/>
                          <a:pt x="21" y="85"/>
                          <a:pt x="21" y="85"/>
                        </a:cubicBezTo>
                        <a:cubicBezTo>
                          <a:pt x="21" y="85"/>
                          <a:pt x="21" y="85"/>
                          <a:pt x="21" y="84"/>
                        </a:cubicBezTo>
                        <a:cubicBezTo>
                          <a:pt x="21" y="84"/>
                          <a:pt x="21" y="85"/>
                          <a:pt x="21" y="84"/>
                        </a:cubicBezTo>
                        <a:cubicBezTo>
                          <a:pt x="21" y="84"/>
                          <a:pt x="21" y="84"/>
                          <a:pt x="21" y="84"/>
                        </a:cubicBezTo>
                        <a:cubicBezTo>
                          <a:pt x="21" y="84"/>
                          <a:pt x="21" y="84"/>
                          <a:pt x="21" y="85"/>
                        </a:cubicBezTo>
                        <a:cubicBezTo>
                          <a:pt x="22" y="85"/>
                          <a:pt x="22" y="84"/>
                          <a:pt x="22" y="85"/>
                        </a:cubicBezTo>
                        <a:cubicBezTo>
                          <a:pt x="22" y="85"/>
                          <a:pt x="22" y="85"/>
                          <a:pt x="22" y="85"/>
                        </a:cubicBezTo>
                        <a:cubicBezTo>
                          <a:pt x="22" y="85"/>
                          <a:pt x="22" y="85"/>
                          <a:pt x="22" y="85"/>
                        </a:cubicBezTo>
                        <a:close/>
                        <a:moveTo>
                          <a:pt x="22" y="88"/>
                        </a:moveTo>
                        <a:cubicBezTo>
                          <a:pt x="22" y="89"/>
                          <a:pt x="22" y="89"/>
                          <a:pt x="21" y="89"/>
                        </a:cubicBezTo>
                        <a:cubicBezTo>
                          <a:pt x="21" y="89"/>
                          <a:pt x="21" y="90"/>
                          <a:pt x="21" y="89"/>
                        </a:cubicBezTo>
                        <a:cubicBezTo>
                          <a:pt x="21" y="89"/>
                          <a:pt x="21" y="89"/>
                          <a:pt x="21" y="89"/>
                        </a:cubicBezTo>
                        <a:cubicBezTo>
                          <a:pt x="21" y="89"/>
                          <a:pt x="21" y="89"/>
                          <a:pt x="22" y="89"/>
                        </a:cubicBezTo>
                        <a:cubicBezTo>
                          <a:pt x="22" y="88"/>
                          <a:pt x="21" y="88"/>
                          <a:pt x="22" y="88"/>
                        </a:cubicBezTo>
                        <a:cubicBezTo>
                          <a:pt x="22" y="88"/>
                          <a:pt x="22" y="88"/>
                          <a:pt x="22" y="88"/>
                        </a:cubicBezTo>
                        <a:cubicBezTo>
                          <a:pt x="22" y="88"/>
                          <a:pt x="22" y="88"/>
                          <a:pt x="22" y="88"/>
                        </a:cubicBezTo>
                        <a:close/>
                        <a:moveTo>
                          <a:pt x="21" y="89"/>
                        </a:moveTo>
                        <a:cubicBezTo>
                          <a:pt x="21" y="89"/>
                          <a:pt x="21" y="89"/>
                          <a:pt x="21" y="89"/>
                        </a:cubicBezTo>
                        <a:cubicBezTo>
                          <a:pt x="21" y="89"/>
                          <a:pt x="22" y="89"/>
                          <a:pt x="21" y="89"/>
                        </a:cubicBezTo>
                        <a:close/>
                        <a:moveTo>
                          <a:pt x="22" y="89"/>
                        </a:moveTo>
                        <a:cubicBezTo>
                          <a:pt x="22" y="89"/>
                          <a:pt x="22" y="89"/>
                          <a:pt x="23" y="89"/>
                        </a:cubicBezTo>
                        <a:cubicBezTo>
                          <a:pt x="23" y="89"/>
                          <a:pt x="22" y="89"/>
                          <a:pt x="22" y="89"/>
                        </a:cubicBezTo>
                        <a:cubicBezTo>
                          <a:pt x="22" y="89"/>
                          <a:pt x="23" y="89"/>
                          <a:pt x="22" y="89"/>
                        </a:cubicBezTo>
                        <a:cubicBezTo>
                          <a:pt x="22" y="89"/>
                          <a:pt x="22" y="89"/>
                          <a:pt x="22" y="89"/>
                        </a:cubicBezTo>
                        <a:cubicBezTo>
                          <a:pt x="22" y="89"/>
                          <a:pt x="22" y="89"/>
                          <a:pt x="22" y="89"/>
                        </a:cubicBezTo>
                        <a:close/>
                        <a:moveTo>
                          <a:pt x="22" y="90"/>
                        </a:moveTo>
                        <a:cubicBezTo>
                          <a:pt x="22" y="90"/>
                          <a:pt x="22" y="90"/>
                          <a:pt x="22" y="90"/>
                        </a:cubicBezTo>
                        <a:cubicBezTo>
                          <a:pt x="22" y="90"/>
                          <a:pt x="22" y="90"/>
                          <a:pt x="22" y="90"/>
                        </a:cubicBezTo>
                        <a:cubicBezTo>
                          <a:pt x="22" y="90"/>
                          <a:pt x="22" y="90"/>
                          <a:pt x="22" y="90"/>
                        </a:cubicBezTo>
                        <a:cubicBezTo>
                          <a:pt x="21" y="90"/>
                          <a:pt x="22" y="90"/>
                          <a:pt x="22" y="90"/>
                        </a:cubicBezTo>
                        <a:close/>
                        <a:moveTo>
                          <a:pt x="20" y="93"/>
                        </a:moveTo>
                        <a:cubicBezTo>
                          <a:pt x="20" y="93"/>
                          <a:pt x="20" y="93"/>
                          <a:pt x="20" y="93"/>
                        </a:cubicBezTo>
                        <a:cubicBezTo>
                          <a:pt x="19" y="93"/>
                          <a:pt x="20" y="93"/>
                          <a:pt x="20" y="93"/>
                        </a:cubicBezTo>
                        <a:cubicBezTo>
                          <a:pt x="19" y="94"/>
                          <a:pt x="19" y="94"/>
                          <a:pt x="19" y="95"/>
                        </a:cubicBezTo>
                        <a:cubicBezTo>
                          <a:pt x="19" y="95"/>
                          <a:pt x="19" y="95"/>
                          <a:pt x="19" y="95"/>
                        </a:cubicBezTo>
                        <a:cubicBezTo>
                          <a:pt x="18" y="95"/>
                          <a:pt x="19" y="95"/>
                          <a:pt x="18" y="96"/>
                        </a:cubicBezTo>
                        <a:cubicBezTo>
                          <a:pt x="18" y="95"/>
                          <a:pt x="18" y="95"/>
                          <a:pt x="19" y="95"/>
                        </a:cubicBezTo>
                        <a:cubicBezTo>
                          <a:pt x="18" y="95"/>
                          <a:pt x="18" y="96"/>
                          <a:pt x="18" y="96"/>
                        </a:cubicBezTo>
                        <a:cubicBezTo>
                          <a:pt x="18" y="96"/>
                          <a:pt x="18" y="96"/>
                          <a:pt x="18" y="96"/>
                        </a:cubicBezTo>
                        <a:cubicBezTo>
                          <a:pt x="18" y="96"/>
                          <a:pt x="18" y="96"/>
                          <a:pt x="18" y="96"/>
                        </a:cubicBezTo>
                        <a:cubicBezTo>
                          <a:pt x="18" y="96"/>
                          <a:pt x="18" y="96"/>
                          <a:pt x="18" y="96"/>
                        </a:cubicBezTo>
                        <a:cubicBezTo>
                          <a:pt x="18" y="96"/>
                          <a:pt x="18" y="96"/>
                          <a:pt x="18" y="96"/>
                        </a:cubicBezTo>
                        <a:cubicBezTo>
                          <a:pt x="18" y="96"/>
                          <a:pt x="18" y="96"/>
                          <a:pt x="18" y="96"/>
                        </a:cubicBezTo>
                        <a:cubicBezTo>
                          <a:pt x="18" y="95"/>
                          <a:pt x="19" y="95"/>
                          <a:pt x="19" y="94"/>
                        </a:cubicBezTo>
                        <a:cubicBezTo>
                          <a:pt x="19" y="94"/>
                          <a:pt x="19" y="95"/>
                          <a:pt x="19" y="95"/>
                        </a:cubicBezTo>
                        <a:cubicBezTo>
                          <a:pt x="19" y="95"/>
                          <a:pt x="19" y="94"/>
                          <a:pt x="19" y="94"/>
                        </a:cubicBezTo>
                        <a:cubicBezTo>
                          <a:pt x="19" y="94"/>
                          <a:pt x="19" y="94"/>
                          <a:pt x="19" y="94"/>
                        </a:cubicBezTo>
                        <a:cubicBezTo>
                          <a:pt x="19" y="94"/>
                          <a:pt x="19" y="94"/>
                          <a:pt x="19" y="94"/>
                        </a:cubicBezTo>
                        <a:cubicBezTo>
                          <a:pt x="19" y="93"/>
                          <a:pt x="19" y="93"/>
                          <a:pt x="20" y="92"/>
                        </a:cubicBezTo>
                        <a:cubicBezTo>
                          <a:pt x="20" y="92"/>
                          <a:pt x="20" y="92"/>
                          <a:pt x="20" y="92"/>
                        </a:cubicBezTo>
                        <a:cubicBezTo>
                          <a:pt x="20" y="91"/>
                          <a:pt x="20" y="91"/>
                          <a:pt x="20" y="91"/>
                        </a:cubicBezTo>
                        <a:cubicBezTo>
                          <a:pt x="21" y="91"/>
                          <a:pt x="21" y="90"/>
                          <a:pt x="22" y="90"/>
                        </a:cubicBezTo>
                        <a:cubicBezTo>
                          <a:pt x="21" y="90"/>
                          <a:pt x="20" y="92"/>
                          <a:pt x="20" y="93"/>
                        </a:cubicBezTo>
                        <a:cubicBezTo>
                          <a:pt x="20" y="93"/>
                          <a:pt x="20" y="93"/>
                          <a:pt x="20" y="93"/>
                        </a:cubicBezTo>
                        <a:close/>
                        <a:moveTo>
                          <a:pt x="21" y="90"/>
                        </a:moveTo>
                        <a:cubicBezTo>
                          <a:pt x="21" y="90"/>
                          <a:pt x="21" y="90"/>
                          <a:pt x="21" y="90"/>
                        </a:cubicBezTo>
                        <a:cubicBezTo>
                          <a:pt x="21" y="90"/>
                          <a:pt x="21" y="90"/>
                          <a:pt x="21" y="90"/>
                        </a:cubicBezTo>
                        <a:cubicBezTo>
                          <a:pt x="21" y="90"/>
                          <a:pt x="21" y="90"/>
                          <a:pt x="21" y="90"/>
                        </a:cubicBezTo>
                        <a:cubicBezTo>
                          <a:pt x="21" y="89"/>
                          <a:pt x="21" y="90"/>
                          <a:pt x="21" y="90"/>
                        </a:cubicBezTo>
                        <a:close/>
                        <a:moveTo>
                          <a:pt x="18" y="98"/>
                        </a:moveTo>
                        <a:cubicBezTo>
                          <a:pt x="18" y="97"/>
                          <a:pt x="19" y="96"/>
                          <a:pt x="19" y="95"/>
                        </a:cubicBezTo>
                        <a:cubicBezTo>
                          <a:pt x="19" y="96"/>
                          <a:pt x="19" y="97"/>
                          <a:pt x="18" y="98"/>
                        </a:cubicBezTo>
                        <a:close/>
                        <a:moveTo>
                          <a:pt x="16" y="100"/>
                        </a:moveTo>
                        <a:cubicBezTo>
                          <a:pt x="15" y="100"/>
                          <a:pt x="16" y="100"/>
                          <a:pt x="15" y="100"/>
                        </a:cubicBezTo>
                        <a:cubicBezTo>
                          <a:pt x="16" y="100"/>
                          <a:pt x="16" y="100"/>
                          <a:pt x="16" y="100"/>
                        </a:cubicBezTo>
                        <a:cubicBezTo>
                          <a:pt x="16" y="100"/>
                          <a:pt x="16" y="100"/>
                          <a:pt x="16" y="100"/>
                        </a:cubicBezTo>
                        <a:cubicBezTo>
                          <a:pt x="16" y="100"/>
                          <a:pt x="16" y="100"/>
                          <a:pt x="16" y="100"/>
                        </a:cubicBezTo>
                        <a:cubicBezTo>
                          <a:pt x="16" y="100"/>
                          <a:pt x="16" y="100"/>
                          <a:pt x="16" y="100"/>
                        </a:cubicBezTo>
                        <a:cubicBezTo>
                          <a:pt x="16" y="100"/>
                          <a:pt x="16" y="100"/>
                          <a:pt x="16" y="100"/>
                        </a:cubicBezTo>
                        <a:cubicBezTo>
                          <a:pt x="16" y="100"/>
                          <a:pt x="16" y="100"/>
                          <a:pt x="16" y="100"/>
                        </a:cubicBezTo>
                        <a:close/>
                        <a:moveTo>
                          <a:pt x="15" y="105"/>
                        </a:moveTo>
                        <a:cubicBezTo>
                          <a:pt x="15" y="105"/>
                          <a:pt x="14" y="105"/>
                          <a:pt x="14" y="105"/>
                        </a:cubicBezTo>
                        <a:cubicBezTo>
                          <a:pt x="14" y="105"/>
                          <a:pt x="14" y="105"/>
                          <a:pt x="14" y="105"/>
                        </a:cubicBezTo>
                        <a:cubicBezTo>
                          <a:pt x="14" y="105"/>
                          <a:pt x="14" y="105"/>
                          <a:pt x="15" y="105"/>
                        </a:cubicBezTo>
                        <a:cubicBezTo>
                          <a:pt x="15" y="104"/>
                          <a:pt x="15" y="104"/>
                          <a:pt x="15" y="104"/>
                        </a:cubicBezTo>
                        <a:cubicBezTo>
                          <a:pt x="15" y="104"/>
                          <a:pt x="15" y="105"/>
                          <a:pt x="15" y="104"/>
                        </a:cubicBezTo>
                        <a:cubicBezTo>
                          <a:pt x="15" y="104"/>
                          <a:pt x="15" y="104"/>
                          <a:pt x="15" y="104"/>
                        </a:cubicBezTo>
                        <a:cubicBezTo>
                          <a:pt x="15" y="104"/>
                          <a:pt x="15" y="104"/>
                          <a:pt x="15" y="104"/>
                        </a:cubicBezTo>
                        <a:cubicBezTo>
                          <a:pt x="15" y="104"/>
                          <a:pt x="15" y="104"/>
                          <a:pt x="15" y="104"/>
                        </a:cubicBezTo>
                        <a:cubicBezTo>
                          <a:pt x="15" y="105"/>
                          <a:pt x="15" y="104"/>
                          <a:pt x="15" y="105"/>
                        </a:cubicBezTo>
                        <a:close/>
                        <a:moveTo>
                          <a:pt x="11" y="112"/>
                        </a:moveTo>
                        <a:cubicBezTo>
                          <a:pt x="12" y="111"/>
                          <a:pt x="12" y="111"/>
                          <a:pt x="12" y="111"/>
                        </a:cubicBezTo>
                        <a:cubicBezTo>
                          <a:pt x="12" y="111"/>
                          <a:pt x="12" y="111"/>
                          <a:pt x="12" y="111"/>
                        </a:cubicBezTo>
                        <a:cubicBezTo>
                          <a:pt x="12" y="110"/>
                          <a:pt x="12" y="110"/>
                          <a:pt x="12" y="110"/>
                        </a:cubicBezTo>
                        <a:cubicBezTo>
                          <a:pt x="12" y="110"/>
                          <a:pt x="12" y="110"/>
                          <a:pt x="12" y="110"/>
                        </a:cubicBezTo>
                        <a:cubicBezTo>
                          <a:pt x="12" y="110"/>
                          <a:pt x="12" y="110"/>
                          <a:pt x="12" y="110"/>
                        </a:cubicBezTo>
                        <a:cubicBezTo>
                          <a:pt x="12" y="110"/>
                          <a:pt x="12" y="110"/>
                          <a:pt x="12" y="110"/>
                        </a:cubicBezTo>
                        <a:cubicBezTo>
                          <a:pt x="12" y="110"/>
                          <a:pt x="12" y="109"/>
                          <a:pt x="13" y="108"/>
                        </a:cubicBezTo>
                        <a:cubicBezTo>
                          <a:pt x="13" y="108"/>
                          <a:pt x="13" y="109"/>
                          <a:pt x="13" y="109"/>
                        </a:cubicBezTo>
                        <a:cubicBezTo>
                          <a:pt x="12" y="109"/>
                          <a:pt x="13" y="109"/>
                          <a:pt x="12" y="109"/>
                        </a:cubicBezTo>
                        <a:cubicBezTo>
                          <a:pt x="13" y="109"/>
                          <a:pt x="13" y="108"/>
                          <a:pt x="13" y="108"/>
                        </a:cubicBezTo>
                        <a:cubicBezTo>
                          <a:pt x="13" y="108"/>
                          <a:pt x="13" y="108"/>
                          <a:pt x="13" y="108"/>
                        </a:cubicBezTo>
                        <a:cubicBezTo>
                          <a:pt x="13" y="108"/>
                          <a:pt x="13" y="108"/>
                          <a:pt x="14" y="108"/>
                        </a:cubicBezTo>
                        <a:cubicBezTo>
                          <a:pt x="14" y="108"/>
                          <a:pt x="13" y="108"/>
                          <a:pt x="13" y="108"/>
                        </a:cubicBezTo>
                        <a:cubicBezTo>
                          <a:pt x="13" y="108"/>
                          <a:pt x="13" y="108"/>
                          <a:pt x="13" y="108"/>
                        </a:cubicBezTo>
                        <a:cubicBezTo>
                          <a:pt x="13" y="108"/>
                          <a:pt x="13" y="109"/>
                          <a:pt x="13" y="109"/>
                        </a:cubicBezTo>
                        <a:cubicBezTo>
                          <a:pt x="13" y="109"/>
                          <a:pt x="13" y="109"/>
                          <a:pt x="13" y="109"/>
                        </a:cubicBezTo>
                        <a:cubicBezTo>
                          <a:pt x="13" y="109"/>
                          <a:pt x="13" y="109"/>
                          <a:pt x="13" y="109"/>
                        </a:cubicBezTo>
                        <a:cubicBezTo>
                          <a:pt x="13" y="109"/>
                          <a:pt x="13" y="109"/>
                          <a:pt x="13" y="109"/>
                        </a:cubicBezTo>
                        <a:cubicBezTo>
                          <a:pt x="13" y="109"/>
                          <a:pt x="13" y="109"/>
                          <a:pt x="13" y="109"/>
                        </a:cubicBezTo>
                        <a:cubicBezTo>
                          <a:pt x="13" y="109"/>
                          <a:pt x="13" y="109"/>
                          <a:pt x="13" y="109"/>
                        </a:cubicBezTo>
                        <a:cubicBezTo>
                          <a:pt x="12" y="109"/>
                          <a:pt x="13" y="109"/>
                          <a:pt x="13" y="110"/>
                        </a:cubicBezTo>
                        <a:cubicBezTo>
                          <a:pt x="13" y="109"/>
                          <a:pt x="12" y="110"/>
                          <a:pt x="12" y="110"/>
                        </a:cubicBezTo>
                        <a:cubicBezTo>
                          <a:pt x="12" y="110"/>
                          <a:pt x="13" y="110"/>
                          <a:pt x="13" y="110"/>
                        </a:cubicBezTo>
                        <a:cubicBezTo>
                          <a:pt x="13" y="110"/>
                          <a:pt x="12" y="110"/>
                          <a:pt x="12" y="110"/>
                        </a:cubicBezTo>
                        <a:cubicBezTo>
                          <a:pt x="12" y="110"/>
                          <a:pt x="12" y="110"/>
                          <a:pt x="13" y="110"/>
                        </a:cubicBezTo>
                        <a:cubicBezTo>
                          <a:pt x="12" y="111"/>
                          <a:pt x="12" y="111"/>
                          <a:pt x="12" y="111"/>
                        </a:cubicBezTo>
                        <a:cubicBezTo>
                          <a:pt x="12" y="111"/>
                          <a:pt x="12" y="111"/>
                          <a:pt x="12" y="111"/>
                        </a:cubicBezTo>
                        <a:cubicBezTo>
                          <a:pt x="12" y="111"/>
                          <a:pt x="12" y="111"/>
                          <a:pt x="12" y="111"/>
                        </a:cubicBezTo>
                        <a:cubicBezTo>
                          <a:pt x="12" y="111"/>
                          <a:pt x="12" y="111"/>
                          <a:pt x="12" y="111"/>
                        </a:cubicBezTo>
                        <a:cubicBezTo>
                          <a:pt x="12" y="111"/>
                          <a:pt x="12" y="111"/>
                          <a:pt x="12" y="111"/>
                        </a:cubicBezTo>
                        <a:cubicBezTo>
                          <a:pt x="12" y="112"/>
                          <a:pt x="12" y="111"/>
                          <a:pt x="12" y="111"/>
                        </a:cubicBezTo>
                        <a:cubicBezTo>
                          <a:pt x="12" y="112"/>
                          <a:pt x="12" y="112"/>
                          <a:pt x="12" y="113"/>
                        </a:cubicBezTo>
                        <a:cubicBezTo>
                          <a:pt x="11" y="113"/>
                          <a:pt x="12" y="112"/>
                          <a:pt x="12" y="112"/>
                        </a:cubicBezTo>
                        <a:cubicBezTo>
                          <a:pt x="12" y="112"/>
                          <a:pt x="12" y="112"/>
                          <a:pt x="12" y="112"/>
                        </a:cubicBezTo>
                        <a:cubicBezTo>
                          <a:pt x="12" y="112"/>
                          <a:pt x="12" y="112"/>
                          <a:pt x="12" y="112"/>
                        </a:cubicBezTo>
                        <a:cubicBezTo>
                          <a:pt x="11" y="112"/>
                          <a:pt x="12" y="112"/>
                          <a:pt x="11" y="112"/>
                        </a:cubicBezTo>
                        <a:cubicBezTo>
                          <a:pt x="11" y="112"/>
                          <a:pt x="12" y="112"/>
                          <a:pt x="12" y="112"/>
                        </a:cubicBezTo>
                        <a:cubicBezTo>
                          <a:pt x="12" y="112"/>
                          <a:pt x="12" y="112"/>
                          <a:pt x="11" y="112"/>
                        </a:cubicBezTo>
                        <a:close/>
                        <a:moveTo>
                          <a:pt x="12" y="108"/>
                        </a:moveTo>
                        <a:cubicBezTo>
                          <a:pt x="13" y="108"/>
                          <a:pt x="12" y="108"/>
                          <a:pt x="12" y="108"/>
                        </a:cubicBezTo>
                        <a:cubicBezTo>
                          <a:pt x="12" y="108"/>
                          <a:pt x="12" y="108"/>
                          <a:pt x="12" y="108"/>
                        </a:cubicBezTo>
                        <a:close/>
                        <a:moveTo>
                          <a:pt x="12" y="109"/>
                        </a:moveTo>
                        <a:cubicBezTo>
                          <a:pt x="12" y="109"/>
                          <a:pt x="12" y="109"/>
                          <a:pt x="12" y="109"/>
                        </a:cubicBezTo>
                        <a:cubicBezTo>
                          <a:pt x="12" y="109"/>
                          <a:pt x="12" y="108"/>
                          <a:pt x="12" y="109"/>
                        </a:cubicBezTo>
                        <a:close/>
                        <a:moveTo>
                          <a:pt x="12" y="109"/>
                        </a:moveTo>
                        <a:cubicBezTo>
                          <a:pt x="11" y="109"/>
                          <a:pt x="12" y="109"/>
                          <a:pt x="11" y="109"/>
                        </a:cubicBezTo>
                        <a:cubicBezTo>
                          <a:pt x="11" y="109"/>
                          <a:pt x="11" y="108"/>
                          <a:pt x="12" y="109"/>
                        </a:cubicBezTo>
                        <a:close/>
                        <a:moveTo>
                          <a:pt x="11" y="115"/>
                        </a:moveTo>
                        <a:cubicBezTo>
                          <a:pt x="11" y="114"/>
                          <a:pt x="11" y="114"/>
                          <a:pt x="11" y="114"/>
                        </a:cubicBezTo>
                        <a:cubicBezTo>
                          <a:pt x="11" y="114"/>
                          <a:pt x="11" y="114"/>
                          <a:pt x="11" y="115"/>
                        </a:cubicBezTo>
                        <a:close/>
                        <a:moveTo>
                          <a:pt x="8" y="115"/>
                        </a:moveTo>
                        <a:cubicBezTo>
                          <a:pt x="8" y="115"/>
                          <a:pt x="8" y="115"/>
                          <a:pt x="8" y="115"/>
                        </a:cubicBezTo>
                        <a:cubicBezTo>
                          <a:pt x="8" y="115"/>
                          <a:pt x="8" y="115"/>
                          <a:pt x="8" y="114"/>
                        </a:cubicBezTo>
                        <a:cubicBezTo>
                          <a:pt x="9" y="114"/>
                          <a:pt x="9" y="114"/>
                          <a:pt x="9" y="114"/>
                        </a:cubicBezTo>
                        <a:cubicBezTo>
                          <a:pt x="8" y="114"/>
                          <a:pt x="8" y="115"/>
                          <a:pt x="8" y="115"/>
                        </a:cubicBezTo>
                        <a:close/>
                        <a:moveTo>
                          <a:pt x="8" y="115"/>
                        </a:moveTo>
                        <a:cubicBezTo>
                          <a:pt x="8" y="115"/>
                          <a:pt x="8" y="115"/>
                          <a:pt x="8" y="115"/>
                        </a:cubicBezTo>
                        <a:cubicBezTo>
                          <a:pt x="8" y="115"/>
                          <a:pt x="8" y="115"/>
                          <a:pt x="8" y="115"/>
                        </a:cubicBezTo>
                        <a:cubicBezTo>
                          <a:pt x="8" y="115"/>
                          <a:pt x="8" y="115"/>
                          <a:pt x="8" y="115"/>
                        </a:cubicBezTo>
                        <a:cubicBezTo>
                          <a:pt x="8" y="115"/>
                          <a:pt x="8" y="115"/>
                          <a:pt x="8" y="115"/>
                        </a:cubicBezTo>
                        <a:close/>
                        <a:moveTo>
                          <a:pt x="3" y="119"/>
                        </a:moveTo>
                        <a:cubicBezTo>
                          <a:pt x="3" y="119"/>
                          <a:pt x="3" y="119"/>
                          <a:pt x="4" y="119"/>
                        </a:cubicBezTo>
                        <a:cubicBezTo>
                          <a:pt x="3" y="119"/>
                          <a:pt x="3" y="119"/>
                          <a:pt x="3" y="119"/>
                        </a:cubicBezTo>
                        <a:cubicBezTo>
                          <a:pt x="3" y="119"/>
                          <a:pt x="3" y="119"/>
                          <a:pt x="3" y="119"/>
                        </a:cubicBezTo>
                        <a:close/>
                        <a:moveTo>
                          <a:pt x="6" y="122"/>
                        </a:moveTo>
                        <a:cubicBezTo>
                          <a:pt x="6" y="122"/>
                          <a:pt x="5" y="122"/>
                          <a:pt x="5" y="122"/>
                        </a:cubicBezTo>
                        <a:cubicBezTo>
                          <a:pt x="5" y="122"/>
                          <a:pt x="6" y="122"/>
                          <a:pt x="6" y="122"/>
                        </a:cubicBezTo>
                        <a:close/>
                        <a:moveTo>
                          <a:pt x="49" y="9"/>
                        </a:moveTo>
                        <a:cubicBezTo>
                          <a:pt x="49" y="8"/>
                          <a:pt x="49" y="8"/>
                          <a:pt x="49" y="8"/>
                        </a:cubicBezTo>
                        <a:cubicBezTo>
                          <a:pt x="49" y="8"/>
                          <a:pt x="49" y="8"/>
                          <a:pt x="49" y="9"/>
                        </a:cubicBezTo>
                        <a:cubicBezTo>
                          <a:pt x="49" y="8"/>
                          <a:pt x="49" y="9"/>
                          <a:pt x="49" y="9"/>
                        </a:cubicBezTo>
                        <a:close/>
                        <a:moveTo>
                          <a:pt x="44" y="25"/>
                        </a:moveTo>
                        <a:cubicBezTo>
                          <a:pt x="44" y="25"/>
                          <a:pt x="44" y="25"/>
                          <a:pt x="44" y="25"/>
                        </a:cubicBezTo>
                        <a:cubicBezTo>
                          <a:pt x="44" y="26"/>
                          <a:pt x="44" y="26"/>
                          <a:pt x="44" y="26"/>
                        </a:cubicBezTo>
                        <a:cubicBezTo>
                          <a:pt x="43" y="26"/>
                          <a:pt x="44" y="25"/>
                          <a:pt x="44" y="25"/>
                        </a:cubicBezTo>
                        <a:close/>
                        <a:moveTo>
                          <a:pt x="45" y="26"/>
                        </a:moveTo>
                        <a:cubicBezTo>
                          <a:pt x="45" y="26"/>
                          <a:pt x="45" y="26"/>
                          <a:pt x="45" y="26"/>
                        </a:cubicBezTo>
                        <a:cubicBezTo>
                          <a:pt x="45" y="26"/>
                          <a:pt x="45" y="26"/>
                          <a:pt x="45" y="26"/>
                        </a:cubicBezTo>
                        <a:cubicBezTo>
                          <a:pt x="45" y="26"/>
                          <a:pt x="45" y="26"/>
                          <a:pt x="45" y="26"/>
                        </a:cubicBezTo>
                        <a:close/>
                        <a:moveTo>
                          <a:pt x="45" y="27"/>
                        </a:moveTo>
                        <a:cubicBezTo>
                          <a:pt x="44" y="27"/>
                          <a:pt x="44" y="27"/>
                          <a:pt x="44" y="28"/>
                        </a:cubicBezTo>
                        <a:cubicBezTo>
                          <a:pt x="44" y="28"/>
                          <a:pt x="44" y="28"/>
                          <a:pt x="44" y="28"/>
                        </a:cubicBezTo>
                        <a:cubicBezTo>
                          <a:pt x="44" y="28"/>
                          <a:pt x="44" y="27"/>
                          <a:pt x="44" y="27"/>
                        </a:cubicBezTo>
                        <a:cubicBezTo>
                          <a:pt x="44" y="27"/>
                          <a:pt x="44" y="27"/>
                          <a:pt x="44" y="27"/>
                        </a:cubicBezTo>
                        <a:cubicBezTo>
                          <a:pt x="45" y="27"/>
                          <a:pt x="44" y="27"/>
                          <a:pt x="45" y="27"/>
                        </a:cubicBezTo>
                        <a:close/>
                        <a:moveTo>
                          <a:pt x="47" y="29"/>
                        </a:moveTo>
                        <a:cubicBezTo>
                          <a:pt x="47" y="29"/>
                          <a:pt x="47" y="29"/>
                          <a:pt x="47" y="29"/>
                        </a:cubicBezTo>
                        <a:cubicBezTo>
                          <a:pt x="47" y="29"/>
                          <a:pt x="47" y="29"/>
                          <a:pt x="47" y="29"/>
                        </a:cubicBezTo>
                        <a:cubicBezTo>
                          <a:pt x="47" y="29"/>
                          <a:pt x="47" y="29"/>
                          <a:pt x="47" y="29"/>
                        </a:cubicBezTo>
                        <a:cubicBezTo>
                          <a:pt x="47" y="29"/>
                          <a:pt x="47" y="30"/>
                          <a:pt x="47" y="30"/>
                        </a:cubicBezTo>
                        <a:cubicBezTo>
                          <a:pt x="47" y="30"/>
                          <a:pt x="47" y="29"/>
                          <a:pt x="47" y="29"/>
                        </a:cubicBezTo>
                        <a:cubicBezTo>
                          <a:pt x="47" y="29"/>
                          <a:pt x="47" y="29"/>
                          <a:pt x="47" y="29"/>
                        </a:cubicBezTo>
                        <a:cubicBezTo>
                          <a:pt x="47" y="29"/>
                          <a:pt x="47" y="29"/>
                          <a:pt x="47" y="29"/>
                        </a:cubicBezTo>
                        <a:close/>
                        <a:moveTo>
                          <a:pt x="48" y="36"/>
                        </a:moveTo>
                        <a:cubicBezTo>
                          <a:pt x="48" y="36"/>
                          <a:pt x="48" y="36"/>
                          <a:pt x="48" y="36"/>
                        </a:cubicBezTo>
                        <a:cubicBezTo>
                          <a:pt x="48" y="36"/>
                          <a:pt x="48" y="36"/>
                          <a:pt x="48" y="36"/>
                        </a:cubicBezTo>
                        <a:cubicBezTo>
                          <a:pt x="47" y="36"/>
                          <a:pt x="48" y="36"/>
                          <a:pt x="48" y="35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8" y="35"/>
                          <a:pt x="48" y="36"/>
                          <a:pt x="48" y="36"/>
                        </a:cubicBezTo>
                        <a:close/>
                        <a:moveTo>
                          <a:pt x="41" y="35"/>
                        </a:moveTo>
                        <a:cubicBezTo>
                          <a:pt x="41" y="35"/>
                          <a:pt x="41" y="35"/>
                          <a:pt x="41" y="35"/>
                        </a:cubicBezTo>
                        <a:cubicBezTo>
                          <a:pt x="41" y="35"/>
                          <a:pt x="41" y="35"/>
                          <a:pt x="41" y="34"/>
                        </a:cubicBezTo>
                        <a:cubicBezTo>
                          <a:pt x="41" y="34"/>
                          <a:pt x="41" y="35"/>
                          <a:pt x="41" y="35"/>
                        </a:cubicBezTo>
                        <a:close/>
                        <a:moveTo>
                          <a:pt x="44" y="44"/>
                        </a:moveTo>
                        <a:cubicBezTo>
                          <a:pt x="44" y="44"/>
                          <a:pt x="44" y="44"/>
                          <a:pt x="44" y="44"/>
                        </a:cubicBezTo>
                        <a:cubicBezTo>
                          <a:pt x="44" y="44"/>
                          <a:pt x="44" y="44"/>
                          <a:pt x="44" y="44"/>
                        </a:cubicBezTo>
                        <a:cubicBezTo>
                          <a:pt x="44" y="44"/>
                          <a:pt x="44" y="44"/>
                          <a:pt x="44" y="44"/>
                        </a:cubicBezTo>
                        <a:cubicBezTo>
                          <a:pt x="44" y="44"/>
                          <a:pt x="44" y="44"/>
                          <a:pt x="44" y="44"/>
                        </a:cubicBezTo>
                        <a:close/>
                        <a:moveTo>
                          <a:pt x="43" y="48"/>
                        </a:moveTo>
                        <a:cubicBezTo>
                          <a:pt x="43" y="48"/>
                          <a:pt x="43" y="48"/>
                          <a:pt x="43" y="48"/>
                        </a:cubicBezTo>
                        <a:cubicBezTo>
                          <a:pt x="43" y="48"/>
                          <a:pt x="43" y="49"/>
                          <a:pt x="43" y="49"/>
                        </a:cubicBezTo>
                        <a:cubicBezTo>
                          <a:pt x="43" y="49"/>
                          <a:pt x="43" y="49"/>
                          <a:pt x="42" y="49"/>
                        </a:cubicBezTo>
                        <a:cubicBezTo>
                          <a:pt x="42" y="49"/>
                          <a:pt x="43" y="48"/>
                          <a:pt x="43" y="48"/>
                        </a:cubicBezTo>
                        <a:close/>
                        <a:moveTo>
                          <a:pt x="37" y="46"/>
                        </a:moveTo>
                        <a:cubicBezTo>
                          <a:pt x="37" y="46"/>
                          <a:pt x="38" y="46"/>
                          <a:pt x="38" y="46"/>
                        </a:cubicBezTo>
                        <a:cubicBezTo>
                          <a:pt x="38" y="47"/>
                          <a:pt x="38" y="47"/>
                          <a:pt x="37" y="47"/>
                        </a:cubicBezTo>
                        <a:cubicBezTo>
                          <a:pt x="37" y="47"/>
                          <a:pt x="37" y="47"/>
                          <a:pt x="37" y="47"/>
                        </a:cubicBezTo>
                        <a:cubicBezTo>
                          <a:pt x="37" y="47"/>
                          <a:pt x="37" y="47"/>
                          <a:pt x="37" y="46"/>
                        </a:cubicBezTo>
                        <a:close/>
                        <a:moveTo>
                          <a:pt x="37" y="51"/>
                        </a:moveTo>
                        <a:cubicBezTo>
                          <a:pt x="37" y="51"/>
                          <a:pt x="37" y="51"/>
                          <a:pt x="37" y="50"/>
                        </a:cubicBezTo>
                        <a:cubicBezTo>
                          <a:pt x="37" y="51"/>
                          <a:pt x="37" y="51"/>
                          <a:pt x="37" y="50"/>
                        </a:cubicBezTo>
                        <a:cubicBezTo>
                          <a:pt x="37" y="51"/>
                          <a:pt x="37" y="51"/>
                          <a:pt x="37" y="51"/>
                        </a:cubicBezTo>
                        <a:close/>
                        <a:moveTo>
                          <a:pt x="31" y="51"/>
                        </a:moveTo>
                        <a:cubicBezTo>
                          <a:pt x="31" y="51"/>
                          <a:pt x="31" y="51"/>
                          <a:pt x="31" y="51"/>
                        </a:cubicBezTo>
                        <a:cubicBezTo>
                          <a:pt x="31" y="51"/>
                          <a:pt x="31" y="51"/>
                          <a:pt x="31" y="51"/>
                        </a:cubicBezTo>
                        <a:cubicBezTo>
                          <a:pt x="32" y="51"/>
                          <a:pt x="31" y="51"/>
                          <a:pt x="32" y="51"/>
                        </a:cubicBezTo>
                        <a:cubicBezTo>
                          <a:pt x="32" y="51"/>
                          <a:pt x="31" y="51"/>
                          <a:pt x="31" y="51"/>
                        </a:cubicBezTo>
                        <a:close/>
                        <a:moveTo>
                          <a:pt x="34" y="56"/>
                        </a:moveTo>
                        <a:cubicBezTo>
                          <a:pt x="34" y="55"/>
                          <a:pt x="35" y="55"/>
                          <a:pt x="35" y="54"/>
                        </a:cubicBezTo>
                        <a:cubicBezTo>
                          <a:pt x="35" y="54"/>
                          <a:pt x="35" y="54"/>
                          <a:pt x="35" y="54"/>
                        </a:cubicBez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5" y="54"/>
                          <a:pt x="35" y="54"/>
                          <a:pt x="35" y="54"/>
                        </a:cubicBezTo>
                        <a:cubicBezTo>
                          <a:pt x="35" y="54"/>
                          <a:pt x="35" y="54"/>
                          <a:pt x="35" y="54"/>
                        </a:cubicBezTo>
                        <a:cubicBezTo>
                          <a:pt x="35" y="54"/>
                          <a:pt x="35" y="54"/>
                          <a:pt x="34" y="54"/>
                        </a:cubicBezTo>
                        <a:cubicBezTo>
                          <a:pt x="34" y="54"/>
                          <a:pt x="35" y="53"/>
                          <a:pt x="35" y="53"/>
                        </a:cubicBezTo>
                        <a:cubicBezTo>
                          <a:pt x="35" y="53"/>
                          <a:pt x="35" y="53"/>
                          <a:pt x="35" y="53"/>
                        </a:cubicBezTo>
                        <a:cubicBezTo>
                          <a:pt x="35" y="54"/>
                          <a:pt x="35" y="54"/>
                          <a:pt x="35" y="54"/>
                        </a:cubicBezTo>
                        <a:cubicBezTo>
                          <a:pt x="35" y="54"/>
                          <a:pt x="35" y="54"/>
                          <a:pt x="35" y="54"/>
                        </a:cubicBezTo>
                        <a:cubicBezTo>
                          <a:pt x="35" y="54"/>
                          <a:pt x="35" y="54"/>
                          <a:pt x="35" y="54"/>
                        </a:cubicBezTo>
                        <a:cubicBezTo>
                          <a:pt x="35" y="54"/>
                          <a:pt x="35" y="54"/>
                          <a:pt x="35" y="54"/>
                        </a:cubicBezTo>
                        <a:cubicBezTo>
                          <a:pt x="35" y="55"/>
                          <a:pt x="35" y="55"/>
                          <a:pt x="35" y="55"/>
                        </a:cubicBezTo>
                        <a:cubicBezTo>
                          <a:pt x="35" y="55"/>
                          <a:pt x="35" y="55"/>
                          <a:pt x="35" y="55"/>
                        </a:cubicBezTo>
                        <a:cubicBezTo>
                          <a:pt x="35" y="55"/>
                          <a:pt x="35" y="55"/>
                          <a:pt x="35" y="55"/>
                        </a:cubicBezTo>
                        <a:cubicBezTo>
                          <a:pt x="35" y="55"/>
                          <a:pt x="34" y="56"/>
                          <a:pt x="34" y="56"/>
                        </a:cubicBezTo>
                        <a:close/>
                        <a:moveTo>
                          <a:pt x="34" y="56"/>
                        </a:moveTo>
                        <a:cubicBezTo>
                          <a:pt x="34" y="56"/>
                          <a:pt x="34" y="56"/>
                          <a:pt x="33" y="56"/>
                        </a:cubicBezTo>
                        <a:cubicBezTo>
                          <a:pt x="34" y="56"/>
                          <a:pt x="33" y="56"/>
                          <a:pt x="33" y="56"/>
                        </a:cubicBezTo>
                        <a:cubicBezTo>
                          <a:pt x="33" y="56"/>
                          <a:pt x="33" y="56"/>
                          <a:pt x="33" y="56"/>
                        </a:cubicBezTo>
                        <a:cubicBezTo>
                          <a:pt x="33" y="56"/>
                          <a:pt x="33" y="56"/>
                          <a:pt x="33" y="56"/>
                        </a:cubicBezTo>
                        <a:cubicBezTo>
                          <a:pt x="34" y="56"/>
                          <a:pt x="34" y="56"/>
                          <a:pt x="34" y="56"/>
                        </a:cubicBezTo>
                        <a:cubicBezTo>
                          <a:pt x="34" y="56"/>
                          <a:pt x="34" y="56"/>
                          <a:pt x="34" y="56"/>
                        </a:cubicBezTo>
                        <a:cubicBezTo>
                          <a:pt x="34" y="56"/>
                          <a:pt x="34" y="56"/>
                          <a:pt x="34" y="56"/>
                        </a:cubicBezTo>
                        <a:close/>
                        <a:moveTo>
                          <a:pt x="31" y="58"/>
                        </a:moveTo>
                        <a:cubicBezTo>
                          <a:pt x="31" y="58"/>
                          <a:pt x="31" y="58"/>
                          <a:pt x="31" y="57"/>
                        </a:cubicBezTo>
                        <a:cubicBezTo>
                          <a:pt x="31" y="57"/>
                          <a:pt x="31" y="57"/>
                          <a:pt x="32" y="58"/>
                        </a:cubicBezTo>
                        <a:cubicBezTo>
                          <a:pt x="32" y="57"/>
                          <a:pt x="32" y="57"/>
                          <a:pt x="32" y="57"/>
                        </a:cubicBezTo>
                        <a:cubicBezTo>
                          <a:pt x="32" y="57"/>
                          <a:pt x="31" y="57"/>
                          <a:pt x="31" y="57"/>
                        </a:cubicBezTo>
                        <a:cubicBezTo>
                          <a:pt x="32" y="57"/>
                          <a:pt x="32" y="57"/>
                          <a:pt x="32" y="57"/>
                        </a:cubicBezTo>
                        <a:cubicBezTo>
                          <a:pt x="32" y="57"/>
                          <a:pt x="32" y="57"/>
                          <a:pt x="32" y="57"/>
                        </a:cubicBezTo>
                        <a:cubicBezTo>
                          <a:pt x="32" y="57"/>
                          <a:pt x="32" y="57"/>
                          <a:pt x="32" y="57"/>
                        </a:cubicBezTo>
                        <a:cubicBezTo>
                          <a:pt x="32" y="56"/>
                          <a:pt x="32" y="57"/>
                          <a:pt x="32" y="57"/>
                        </a:cubicBezTo>
                        <a:cubicBezTo>
                          <a:pt x="32" y="57"/>
                          <a:pt x="32" y="57"/>
                          <a:pt x="32" y="57"/>
                        </a:cubicBezTo>
                        <a:cubicBezTo>
                          <a:pt x="32" y="57"/>
                          <a:pt x="32" y="58"/>
                          <a:pt x="32" y="58"/>
                        </a:cubicBezTo>
                        <a:cubicBezTo>
                          <a:pt x="31" y="58"/>
                          <a:pt x="31" y="58"/>
                          <a:pt x="31" y="58"/>
                        </a:cubicBezTo>
                        <a:close/>
                        <a:moveTo>
                          <a:pt x="28" y="57"/>
                        </a:moveTo>
                        <a:cubicBezTo>
                          <a:pt x="28" y="57"/>
                          <a:pt x="28" y="57"/>
                          <a:pt x="29" y="56"/>
                        </a:cubicBezTo>
                        <a:cubicBezTo>
                          <a:pt x="29" y="56"/>
                          <a:pt x="29" y="56"/>
                          <a:pt x="29" y="56"/>
                        </a:cubicBezTo>
                        <a:cubicBezTo>
                          <a:pt x="29" y="57"/>
                          <a:pt x="29" y="57"/>
                          <a:pt x="29" y="57"/>
                        </a:cubicBezTo>
                        <a:cubicBezTo>
                          <a:pt x="28" y="57"/>
                          <a:pt x="28" y="57"/>
                          <a:pt x="28" y="57"/>
                        </a:cubicBezTo>
                        <a:cubicBezTo>
                          <a:pt x="28" y="57"/>
                          <a:pt x="28" y="57"/>
                          <a:pt x="28" y="58"/>
                        </a:cubicBezTo>
                        <a:cubicBezTo>
                          <a:pt x="28" y="58"/>
                          <a:pt x="28" y="57"/>
                          <a:pt x="28" y="57"/>
                        </a:cubicBezTo>
                        <a:close/>
                        <a:moveTo>
                          <a:pt x="32" y="60"/>
                        </a:moveTo>
                        <a:cubicBezTo>
                          <a:pt x="32" y="60"/>
                          <a:pt x="32" y="60"/>
                          <a:pt x="32" y="60"/>
                        </a:cubicBezTo>
                        <a:cubicBezTo>
                          <a:pt x="32" y="61"/>
                          <a:pt x="32" y="60"/>
                          <a:pt x="32" y="60"/>
                        </a:cubicBezTo>
                        <a:cubicBezTo>
                          <a:pt x="32" y="60"/>
                          <a:pt x="32" y="60"/>
                          <a:pt x="32" y="60"/>
                        </a:cubicBezTo>
                        <a:cubicBezTo>
                          <a:pt x="32" y="60"/>
                          <a:pt x="33" y="60"/>
                          <a:pt x="32" y="60"/>
                        </a:cubicBezTo>
                        <a:close/>
                        <a:moveTo>
                          <a:pt x="25" y="76"/>
                        </a:moveTo>
                        <a:cubicBezTo>
                          <a:pt x="26" y="75"/>
                          <a:pt x="26" y="75"/>
                          <a:pt x="26" y="75"/>
                        </a:cubicBezTo>
                        <a:cubicBezTo>
                          <a:pt x="26" y="75"/>
                          <a:pt x="26" y="75"/>
                          <a:pt x="26" y="75"/>
                        </a:cubicBezTo>
                        <a:cubicBezTo>
                          <a:pt x="26" y="75"/>
                          <a:pt x="26" y="75"/>
                          <a:pt x="26" y="75"/>
                        </a:cubicBezTo>
                        <a:cubicBezTo>
                          <a:pt x="26" y="75"/>
                          <a:pt x="26" y="75"/>
                          <a:pt x="26" y="75"/>
                        </a:cubicBezTo>
                        <a:cubicBezTo>
                          <a:pt x="26" y="75"/>
                          <a:pt x="26" y="75"/>
                          <a:pt x="26" y="75"/>
                        </a:cubicBezTo>
                        <a:cubicBezTo>
                          <a:pt x="26" y="75"/>
                          <a:pt x="26" y="76"/>
                          <a:pt x="26" y="76"/>
                        </a:cubicBezTo>
                        <a:cubicBezTo>
                          <a:pt x="26" y="76"/>
                          <a:pt x="26" y="75"/>
                          <a:pt x="26" y="75"/>
                        </a:cubicBezTo>
                        <a:cubicBezTo>
                          <a:pt x="26" y="75"/>
                          <a:pt x="26" y="76"/>
                          <a:pt x="26" y="75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6" y="76"/>
                          <a:pt x="26" y="76"/>
                          <a:pt x="25" y="76"/>
                        </a:cubicBezTo>
                        <a:close/>
                        <a:moveTo>
                          <a:pt x="24" y="81"/>
                        </a:moveTo>
                        <a:cubicBezTo>
                          <a:pt x="25" y="81"/>
                          <a:pt x="25" y="81"/>
                          <a:pt x="24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2"/>
                          <a:pt x="24" y="82"/>
                          <a:pt x="24" y="82"/>
                        </a:cubicBezTo>
                        <a:cubicBezTo>
                          <a:pt x="24" y="82"/>
                          <a:pt x="24" y="82"/>
                          <a:pt x="25" y="81"/>
                        </a:cubicBezTo>
                        <a:cubicBezTo>
                          <a:pt x="25" y="81"/>
                          <a:pt x="25" y="81"/>
                          <a:pt x="24" y="81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84000">
                        <a:schemeClr val="accent2">
                          <a:lumMod val="40000"/>
                          <a:lumOff val="60000"/>
                        </a:schemeClr>
                      </a:gs>
                      <a:gs pos="0">
                        <a:schemeClr val="accent2"/>
                      </a:gs>
                      <a:gs pos="55000">
                        <a:schemeClr val="accent2"/>
                      </a:gs>
                    </a:gsLst>
                    <a:lin ang="135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/>
                  </a:p>
                </p:txBody>
              </p:sp>
              <p:sp>
                <p:nvSpPr>
                  <p:cNvPr id="200" name="任意多边形: 形状 199">
                    <a:extLst>
                      <a:ext uri="{FF2B5EF4-FFF2-40B4-BE49-F238E27FC236}">
                        <a16:creationId xmlns:a16="http://schemas.microsoft.com/office/drawing/2014/main" id="{26D53860-F728-4A32-AC98-8E0A78D6E78F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9241576" y="2183979"/>
                    <a:ext cx="266657" cy="70926"/>
                  </a:xfrm>
                  <a:custGeom>
                    <a:avLst/>
                    <a:gdLst>
                      <a:gd name="T0" fmla="*/ 190 w 251"/>
                      <a:gd name="T1" fmla="*/ 13 h 67"/>
                      <a:gd name="T2" fmla="*/ 184 w 251"/>
                      <a:gd name="T3" fmla="*/ 18 h 67"/>
                      <a:gd name="T4" fmla="*/ 176 w 251"/>
                      <a:gd name="T5" fmla="*/ 18 h 67"/>
                      <a:gd name="T6" fmla="*/ 171 w 251"/>
                      <a:gd name="T7" fmla="*/ 19 h 67"/>
                      <a:gd name="T8" fmla="*/ 161 w 251"/>
                      <a:gd name="T9" fmla="*/ 21 h 67"/>
                      <a:gd name="T10" fmla="*/ 156 w 251"/>
                      <a:gd name="T11" fmla="*/ 31 h 67"/>
                      <a:gd name="T12" fmla="*/ 145 w 251"/>
                      <a:gd name="T13" fmla="*/ 33 h 67"/>
                      <a:gd name="T14" fmla="*/ 138 w 251"/>
                      <a:gd name="T15" fmla="*/ 26 h 67"/>
                      <a:gd name="T16" fmla="*/ 134 w 251"/>
                      <a:gd name="T17" fmla="*/ 32 h 67"/>
                      <a:gd name="T18" fmla="*/ 123 w 251"/>
                      <a:gd name="T19" fmla="*/ 30 h 67"/>
                      <a:gd name="T20" fmla="*/ 110 w 251"/>
                      <a:gd name="T21" fmla="*/ 33 h 67"/>
                      <a:gd name="T22" fmla="*/ 102 w 251"/>
                      <a:gd name="T23" fmla="*/ 36 h 67"/>
                      <a:gd name="T24" fmla="*/ 92 w 251"/>
                      <a:gd name="T25" fmla="*/ 45 h 67"/>
                      <a:gd name="T26" fmla="*/ 86 w 251"/>
                      <a:gd name="T27" fmla="*/ 42 h 67"/>
                      <a:gd name="T28" fmla="*/ 71 w 251"/>
                      <a:gd name="T29" fmla="*/ 48 h 67"/>
                      <a:gd name="T30" fmla="*/ 25 w 251"/>
                      <a:gd name="T31" fmla="*/ 61 h 67"/>
                      <a:gd name="T32" fmla="*/ 6 w 251"/>
                      <a:gd name="T33" fmla="*/ 66 h 67"/>
                      <a:gd name="T34" fmla="*/ 190 w 251"/>
                      <a:gd name="T35" fmla="*/ 23 h 67"/>
                      <a:gd name="T36" fmla="*/ 178 w 251"/>
                      <a:gd name="T37" fmla="*/ 24 h 67"/>
                      <a:gd name="T38" fmla="*/ 186 w 251"/>
                      <a:gd name="T39" fmla="*/ 21 h 67"/>
                      <a:gd name="T40" fmla="*/ 179 w 251"/>
                      <a:gd name="T41" fmla="*/ 22 h 67"/>
                      <a:gd name="T42" fmla="*/ 198 w 251"/>
                      <a:gd name="T43" fmla="*/ 15 h 67"/>
                      <a:gd name="T44" fmla="*/ 196 w 251"/>
                      <a:gd name="T45" fmla="*/ 12 h 67"/>
                      <a:gd name="T46" fmla="*/ 213 w 251"/>
                      <a:gd name="T47" fmla="*/ 4 h 67"/>
                      <a:gd name="T48" fmla="*/ 207 w 251"/>
                      <a:gd name="T49" fmla="*/ 7 h 67"/>
                      <a:gd name="T50" fmla="*/ 191 w 251"/>
                      <a:gd name="T51" fmla="*/ 15 h 67"/>
                      <a:gd name="T52" fmla="*/ 178 w 251"/>
                      <a:gd name="T53" fmla="*/ 22 h 67"/>
                      <a:gd name="T54" fmla="*/ 199 w 251"/>
                      <a:gd name="T55" fmla="*/ 19 h 67"/>
                      <a:gd name="T56" fmla="*/ 200 w 251"/>
                      <a:gd name="T57" fmla="*/ 20 h 67"/>
                      <a:gd name="T58" fmla="*/ 187 w 251"/>
                      <a:gd name="T59" fmla="*/ 15 h 67"/>
                      <a:gd name="T60" fmla="*/ 180 w 251"/>
                      <a:gd name="T61" fmla="*/ 18 h 67"/>
                      <a:gd name="T62" fmla="*/ 164 w 251"/>
                      <a:gd name="T63" fmla="*/ 29 h 67"/>
                      <a:gd name="T64" fmla="*/ 153 w 251"/>
                      <a:gd name="T65" fmla="*/ 31 h 67"/>
                      <a:gd name="T66" fmla="*/ 149 w 251"/>
                      <a:gd name="T67" fmla="*/ 31 h 67"/>
                      <a:gd name="T68" fmla="*/ 156 w 251"/>
                      <a:gd name="T69" fmla="*/ 28 h 67"/>
                      <a:gd name="T70" fmla="*/ 152 w 251"/>
                      <a:gd name="T71" fmla="*/ 30 h 67"/>
                      <a:gd name="T72" fmla="*/ 147 w 251"/>
                      <a:gd name="T73" fmla="*/ 23 h 67"/>
                      <a:gd name="T74" fmla="*/ 95 w 251"/>
                      <a:gd name="T75" fmla="*/ 40 h 67"/>
                      <a:gd name="T76" fmla="*/ 107 w 251"/>
                      <a:gd name="T77" fmla="*/ 38 h 67"/>
                      <a:gd name="T78" fmla="*/ 108 w 251"/>
                      <a:gd name="T79" fmla="*/ 36 h 67"/>
                      <a:gd name="T80" fmla="*/ 120 w 251"/>
                      <a:gd name="T81" fmla="*/ 35 h 67"/>
                      <a:gd name="T82" fmla="*/ 137 w 251"/>
                      <a:gd name="T83" fmla="*/ 33 h 67"/>
                      <a:gd name="T84" fmla="*/ 142 w 251"/>
                      <a:gd name="T85" fmla="*/ 35 h 67"/>
                      <a:gd name="T86" fmla="*/ 119 w 251"/>
                      <a:gd name="T87" fmla="*/ 39 h 67"/>
                      <a:gd name="T88" fmla="*/ 98 w 251"/>
                      <a:gd name="T89" fmla="*/ 44 h 67"/>
                      <a:gd name="T90" fmla="*/ 101 w 251"/>
                      <a:gd name="T91" fmla="*/ 40 h 67"/>
                      <a:gd name="T92" fmla="*/ 138 w 251"/>
                      <a:gd name="T93" fmla="*/ 34 h 67"/>
                      <a:gd name="T94" fmla="*/ 119 w 251"/>
                      <a:gd name="T95" fmla="*/ 36 h 67"/>
                      <a:gd name="T96" fmla="*/ 113 w 251"/>
                      <a:gd name="T97" fmla="*/ 38 h 67"/>
                      <a:gd name="T98" fmla="*/ 98 w 251"/>
                      <a:gd name="T99" fmla="*/ 44 h 67"/>
                      <a:gd name="T100" fmla="*/ 114 w 251"/>
                      <a:gd name="T101" fmla="*/ 38 h 67"/>
                      <a:gd name="T102" fmla="*/ 128 w 251"/>
                      <a:gd name="T103" fmla="*/ 35 h 67"/>
                      <a:gd name="T104" fmla="*/ 102 w 251"/>
                      <a:gd name="T105" fmla="*/ 40 h 67"/>
                      <a:gd name="T106" fmla="*/ 140 w 251"/>
                      <a:gd name="T107" fmla="*/ 31 h 67"/>
                      <a:gd name="T108" fmla="*/ 137 w 251"/>
                      <a:gd name="T109" fmla="*/ 29 h 67"/>
                      <a:gd name="T110" fmla="*/ 134 w 251"/>
                      <a:gd name="T111" fmla="*/ 27 h 67"/>
                      <a:gd name="T112" fmla="*/ 126 w 251"/>
                      <a:gd name="T113" fmla="*/ 27 h 67"/>
                      <a:gd name="T114" fmla="*/ 120 w 251"/>
                      <a:gd name="T115" fmla="*/ 30 h 67"/>
                      <a:gd name="T116" fmla="*/ 96 w 251"/>
                      <a:gd name="T117" fmla="*/ 44 h 67"/>
                      <a:gd name="T118" fmla="*/ 93 w 251"/>
                      <a:gd name="T119" fmla="*/ 45 h 67"/>
                      <a:gd name="T120" fmla="*/ 71 w 251"/>
                      <a:gd name="T121" fmla="*/ 51 h 67"/>
                      <a:gd name="T122" fmla="*/ 25 w 251"/>
                      <a:gd name="T123" fmla="*/ 62 h 67"/>
                      <a:gd name="T124" fmla="*/ 140 w 251"/>
                      <a:gd name="T125" fmla="*/ 25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251" h="67">
                        <a:moveTo>
                          <a:pt x="249" y="8"/>
                        </a:moveTo>
                        <a:cubicBezTo>
                          <a:pt x="249" y="8"/>
                          <a:pt x="249" y="8"/>
                          <a:pt x="249" y="8"/>
                        </a:cubicBezTo>
                        <a:cubicBezTo>
                          <a:pt x="248" y="8"/>
                          <a:pt x="249" y="8"/>
                          <a:pt x="248" y="9"/>
                        </a:cubicBezTo>
                        <a:cubicBezTo>
                          <a:pt x="248" y="8"/>
                          <a:pt x="248" y="8"/>
                          <a:pt x="249" y="8"/>
                        </a:cubicBezTo>
                        <a:close/>
                        <a:moveTo>
                          <a:pt x="227" y="1"/>
                        </a:moveTo>
                        <a:cubicBezTo>
                          <a:pt x="227" y="1"/>
                          <a:pt x="227" y="1"/>
                          <a:pt x="228" y="1"/>
                        </a:cubicBezTo>
                        <a:cubicBezTo>
                          <a:pt x="227" y="1"/>
                          <a:pt x="228" y="1"/>
                          <a:pt x="228" y="2"/>
                        </a:cubicBezTo>
                        <a:cubicBezTo>
                          <a:pt x="227" y="2"/>
                          <a:pt x="227" y="1"/>
                          <a:pt x="227" y="1"/>
                        </a:cubicBezTo>
                        <a:close/>
                        <a:moveTo>
                          <a:pt x="223" y="2"/>
                        </a:moveTo>
                        <a:cubicBezTo>
                          <a:pt x="223" y="2"/>
                          <a:pt x="223" y="2"/>
                          <a:pt x="223" y="2"/>
                        </a:cubicBezTo>
                        <a:cubicBezTo>
                          <a:pt x="223" y="2"/>
                          <a:pt x="223" y="2"/>
                          <a:pt x="223" y="2"/>
                        </a:cubicBezTo>
                        <a:cubicBezTo>
                          <a:pt x="223" y="2"/>
                          <a:pt x="223" y="2"/>
                          <a:pt x="223" y="2"/>
                        </a:cubicBezTo>
                        <a:close/>
                        <a:moveTo>
                          <a:pt x="221" y="2"/>
                        </a:moveTo>
                        <a:cubicBezTo>
                          <a:pt x="222" y="2"/>
                          <a:pt x="221" y="3"/>
                          <a:pt x="222" y="2"/>
                        </a:cubicBezTo>
                        <a:cubicBezTo>
                          <a:pt x="222" y="2"/>
                          <a:pt x="221" y="2"/>
                          <a:pt x="221" y="3"/>
                        </a:cubicBezTo>
                        <a:cubicBezTo>
                          <a:pt x="221" y="3"/>
                          <a:pt x="221" y="2"/>
                          <a:pt x="221" y="2"/>
                        </a:cubicBezTo>
                        <a:close/>
                        <a:moveTo>
                          <a:pt x="217" y="3"/>
                        </a:moveTo>
                        <a:cubicBezTo>
                          <a:pt x="217" y="3"/>
                          <a:pt x="217" y="3"/>
                          <a:pt x="217" y="3"/>
                        </a:cubicBezTo>
                        <a:cubicBezTo>
                          <a:pt x="216" y="3"/>
                          <a:pt x="216" y="4"/>
                          <a:pt x="216" y="3"/>
                        </a:cubicBezTo>
                        <a:cubicBezTo>
                          <a:pt x="216" y="3"/>
                          <a:pt x="216" y="3"/>
                          <a:pt x="217" y="3"/>
                        </a:cubicBezTo>
                        <a:close/>
                        <a:moveTo>
                          <a:pt x="210" y="5"/>
                        </a:moveTo>
                        <a:cubicBezTo>
                          <a:pt x="210" y="5"/>
                          <a:pt x="210" y="5"/>
                          <a:pt x="209" y="5"/>
                        </a:cubicBezTo>
                        <a:cubicBezTo>
                          <a:pt x="209" y="5"/>
                          <a:pt x="210" y="5"/>
                          <a:pt x="210" y="4"/>
                        </a:cubicBezTo>
                        <a:cubicBezTo>
                          <a:pt x="210" y="5"/>
                          <a:pt x="210" y="4"/>
                          <a:pt x="210" y="5"/>
                        </a:cubicBezTo>
                        <a:close/>
                        <a:moveTo>
                          <a:pt x="209" y="4"/>
                        </a:moveTo>
                        <a:cubicBezTo>
                          <a:pt x="209" y="4"/>
                          <a:pt x="209" y="4"/>
                          <a:pt x="209" y="4"/>
                        </a:cubicBezTo>
                        <a:cubicBezTo>
                          <a:pt x="210" y="5"/>
                          <a:pt x="209" y="5"/>
                          <a:pt x="209" y="4"/>
                        </a:cubicBezTo>
                        <a:close/>
                        <a:moveTo>
                          <a:pt x="207" y="6"/>
                        </a:moveTo>
                        <a:cubicBezTo>
                          <a:pt x="207" y="6"/>
                          <a:pt x="208" y="6"/>
                          <a:pt x="208" y="6"/>
                        </a:cubicBezTo>
                        <a:cubicBezTo>
                          <a:pt x="208" y="6"/>
                          <a:pt x="208" y="6"/>
                          <a:pt x="207" y="6"/>
                        </a:cubicBezTo>
                        <a:close/>
                        <a:moveTo>
                          <a:pt x="203" y="9"/>
                        </a:moveTo>
                        <a:cubicBezTo>
                          <a:pt x="203" y="9"/>
                          <a:pt x="203" y="9"/>
                          <a:pt x="204" y="8"/>
                        </a:cubicBezTo>
                        <a:cubicBezTo>
                          <a:pt x="204" y="8"/>
                          <a:pt x="204" y="8"/>
                          <a:pt x="204" y="8"/>
                        </a:cubicBezTo>
                        <a:cubicBezTo>
                          <a:pt x="204" y="8"/>
                          <a:pt x="204" y="8"/>
                          <a:pt x="205" y="8"/>
                        </a:cubicBezTo>
                        <a:cubicBezTo>
                          <a:pt x="204" y="9"/>
                          <a:pt x="204" y="9"/>
                          <a:pt x="204" y="9"/>
                        </a:cubicBezTo>
                        <a:cubicBezTo>
                          <a:pt x="203" y="9"/>
                          <a:pt x="203" y="9"/>
                          <a:pt x="203" y="9"/>
                        </a:cubicBezTo>
                        <a:close/>
                        <a:moveTo>
                          <a:pt x="202" y="8"/>
                        </a:moveTo>
                        <a:cubicBezTo>
                          <a:pt x="202" y="8"/>
                          <a:pt x="202" y="8"/>
                          <a:pt x="202" y="8"/>
                        </a:cubicBezTo>
                        <a:cubicBezTo>
                          <a:pt x="202" y="8"/>
                          <a:pt x="202" y="8"/>
                          <a:pt x="202" y="8"/>
                        </a:cubicBezTo>
                        <a:cubicBezTo>
                          <a:pt x="203" y="8"/>
                          <a:pt x="202" y="8"/>
                          <a:pt x="202" y="8"/>
                        </a:cubicBezTo>
                        <a:close/>
                        <a:moveTo>
                          <a:pt x="200" y="9"/>
                        </a:moveTo>
                        <a:cubicBezTo>
                          <a:pt x="200" y="9"/>
                          <a:pt x="199" y="9"/>
                          <a:pt x="199" y="9"/>
                        </a:cubicBezTo>
                        <a:cubicBezTo>
                          <a:pt x="199" y="9"/>
                          <a:pt x="200" y="9"/>
                          <a:pt x="200" y="9"/>
                        </a:cubicBezTo>
                        <a:cubicBezTo>
                          <a:pt x="200" y="9"/>
                          <a:pt x="200" y="9"/>
                          <a:pt x="200" y="9"/>
                        </a:cubicBezTo>
                        <a:close/>
                        <a:moveTo>
                          <a:pt x="198" y="10"/>
                        </a:moveTo>
                        <a:cubicBezTo>
                          <a:pt x="197" y="10"/>
                          <a:pt x="197" y="10"/>
                          <a:pt x="197" y="9"/>
                        </a:cubicBezTo>
                        <a:cubicBezTo>
                          <a:pt x="198" y="9"/>
                          <a:pt x="198" y="9"/>
                          <a:pt x="198" y="9"/>
                        </a:cubicBezTo>
                        <a:cubicBezTo>
                          <a:pt x="198" y="9"/>
                          <a:pt x="197" y="9"/>
                          <a:pt x="198" y="10"/>
                        </a:cubicBezTo>
                        <a:close/>
                        <a:moveTo>
                          <a:pt x="196" y="9"/>
                        </a:moveTo>
                        <a:cubicBezTo>
                          <a:pt x="196" y="9"/>
                          <a:pt x="197" y="9"/>
                          <a:pt x="198" y="8"/>
                        </a:cubicBezTo>
                        <a:cubicBezTo>
                          <a:pt x="198" y="9"/>
                          <a:pt x="197" y="9"/>
                          <a:pt x="196" y="9"/>
                        </a:cubicBezTo>
                        <a:close/>
                        <a:moveTo>
                          <a:pt x="195" y="9"/>
                        </a:moveTo>
                        <a:cubicBezTo>
                          <a:pt x="195" y="9"/>
                          <a:pt x="196" y="9"/>
                          <a:pt x="196" y="9"/>
                        </a:cubicBezTo>
                        <a:cubicBezTo>
                          <a:pt x="196" y="9"/>
                          <a:pt x="195" y="9"/>
                          <a:pt x="195" y="9"/>
                        </a:cubicBezTo>
                        <a:close/>
                        <a:moveTo>
                          <a:pt x="196" y="15"/>
                        </a:moveTo>
                        <a:cubicBezTo>
                          <a:pt x="196" y="15"/>
                          <a:pt x="196" y="15"/>
                          <a:pt x="196" y="15"/>
                        </a:cubicBezTo>
                        <a:cubicBezTo>
                          <a:pt x="196" y="15"/>
                          <a:pt x="196" y="15"/>
                          <a:pt x="196" y="15"/>
                        </a:cubicBezTo>
                        <a:close/>
                        <a:moveTo>
                          <a:pt x="194" y="12"/>
                        </a:moveTo>
                        <a:cubicBezTo>
                          <a:pt x="195" y="12"/>
                          <a:pt x="194" y="12"/>
                          <a:pt x="195" y="12"/>
                        </a:cubicBezTo>
                        <a:cubicBezTo>
                          <a:pt x="195" y="12"/>
                          <a:pt x="194" y="12"/>
                          <a:pt x="194" y="12"/>
                        </a:cubicBezTo>
                        <a:cubicBezTo>
                          <a:pt x="194" y="12"/>
                          <a:pt x="194" y="12"/>
                          <a:pt x="194" y="12"/>
                        </a:cubicBezTo>
                        <a:close/>
                        <a:moveTo>
                          <a:pt x="195" y="14"/>
                        </a:moveTo>
                        <a:cubicBezTo>
                          <a:pt x="196" y="15"/>
                          <a:pt x="195" y="15"/>
                          <a:pt x="196" y="15"/>
                        </a:cubicBezTo>
                        <a:cubicBezTo>
                          <a:pt x="196" y="15"/>
                          <a:pt x="195" y="15"/>
                          <a:pt x="195" y="15"/>
                        </a:cubicBezTo>
                        <a:cubicBezTo>
                          <a:pt x="195" y="15"/>
                          <a:pt x="195" y="15"/>
                          <a:pt x="195" y="14"/>
                        </a:cubicBezTo>
                        <a:close/>
                        <a:moveTo>
                          <a:pt x="196" y="20"/>
                        </a:moveTo>
                        <a:cubicBezTo>
                          <a:pt x="197" y="20"/>
                          <a:pt x="197" y="20"/>
                          <a:pt x="197" y="20"/>
                        </a:cubicBezTo>
                        <a:cubicBezTo>
                          <a:pt x="196" y="20"/>
                          <a:pt x="196" y="20"/>
                          <a:pt x="196" y="20"/>
                        </a:cubicBezTo>
                        <a:close/>
                        <a:moveTo>
                          <a:pt x="193" y="16"/>
                        </a:moveTo>
                        <a:cubicBezTo>
                          <a:pt x="193" y="16"/>
                          <a:pt x="193" y="16"/>
                          <a:pt x="193" y="16"/>
                        </a:cubicBezTo>
                        <a:cubicBezTo>
                          <a:pt x="193" y="16"/>
                          <a:pt x="193" y="16"/>
                          <a:pt x="194" y="16"/>
                        </a:cubicBezTo>
                        <a:cubicBezTo>
                          <a:pt x="193" y="16"/>
                          <a:pt x="193" y="16"/>
                          <a:pt x="193" y="16"/>
                        </a:cubicBezTo>
                        <a:close/>
                        <a:moveTo>
                          <a:pt x="192" y="13"/>
                        </a:moveTo>
                        <a:cubicBezTo>
                          <a:pt x="192" y="13"/>
                          <a:pt x="192" y="13"/>
                          <a:pt x="192" y="13"/>
                        </a:cubicBezTo>
                        <a:cubicBezTo>
                          <a:pt x="192" y="13"/>
                          <a:pt x="193" y="13"/>
                          <a:pt x="192" y="13"/>
                        </a:cubicBezTo>
                        <a:cubicBezTo>
                          <a:pt x="192" y="13"/>
                          <a:pt x="191" y="13"/>
                          <a:pt x="191" y="14"/>
                        </a:cubicBezTo>
                        <a:cubicBezTo>
                          <a:pt x="191" y="13"/>
                          <a:pt x="191" y="13"/>
                          <a:pt x="191" y="13"/>
                        </a:cubicBezTo>
                        <a:cubicBezTo>
                          <a:pt x="191" y="13"/>
                          <a:pt x="190" y="13"/>
                          <a:pt x="190" y="13"/>
                        </a:cubicBezTo>
                        <a:cubicBezTo>
                          <a:pt x="191" y="13"/>
                          <a:pt x="191" y="13"/>
                          <a:pt x="192" y="13"/>
                        </a:cubicBezTo>
                        <a:close/>
                        <a:moveTo>
                          <a:pt x="193" y="17"/>
                        </a:moveTo>
                        <a:cubicBezTo>
                          <a:pt x="193" y="17"/>
                          <a:pt x="193" y="17"/>
                          <a:pt x="192" y="17"/>
                        </a:cubicBezTo>
                        <a:cubicBezTo>
                          <a:pt x="192" y="17"/>
                          <a:pt x="193" y="17"/>
                          <a:pt x="193" y="17"/>
                        </a:cubicBezTo>
                        <a:cubicBezTo>
                          <a:pt x="193" y="17"/>
                          <a:pt x="193" y="17"/>
                          <a:pt x="193" y="17"/>
                        </a:cubicBezTo>
                        <a:close/>
                        <a:moveTo>
                          <a:pt x="191" y="12"/>
                        </a:moveTo>
                        <a:cubicBezTo>
                          <a:pt x="191" y="12"/>
                          <a:pt x="191" y="12"/>
                          <a:pt x="191" y="12"/>
                        </a:cubicBezTo>
                        <a:cubicBezTo>
                          <a:pt x="191" y="13"/>
                          <a:pt x="191" y="12"/>
                          <a:pt x="191" y="12"/>
                        </a:cubicBezTo>
                        <a:cubicBezTo>
                          <a:pt x="191" y="12"/>
                          <a:pt x="191" y="12"/>
                          <a:pt x="191" y="12"/>
                        </a:cubicBezTo>
                        <a:close/>
                        <a:moveTo>
                          <a:pt x="192" y="16"/>
                        </a:moveTo>
                        <a:cubicBezTo>
                          <a:pt x="192" y="16"/>
                          <a:pt x="192" y="16"/>
                          <a:pt x="192" y="16"/>
                        </a:cubicBezTo>
                        <a:cubicBezTo>
                          <a:pt x="192" y="16"/>
                          <a:pt x="192" y="16"/>
                          <a:pt x="192" y="16"/>
                        </a:cubicBezTo>
                        <a:cubicBezTo>
                          <a:pt x="192" y="16"/>
                          <a:pt x="192" y="16"/>
                          <a:pt x="192" y="16"/>
                        </a:cubicBezTo>
                        <a:close/>
                        <a:moveTo>
                          <a:pt x="190" y="13"/>
                        </a:moveTo>
                        <a:cubicBezTo>
                          <a:pt x="190" y="13"/>
                          <a:pt x="191" y="13"/>
                          <a:pt x="191" y="13"/>
                        </a:cubicBezTo>
                        <a:cubicBezTo>
                          <a:pt x="191" y="13"/>
                          <a:pt x="190" y="13"/>
                          <a:pt x="190" y="13"/>
                        </a:cubicBezTo>
                        <a:close/>
                        <a:moveTo>
                          <a:pt x="193" y="22"/>
                        </a:moveTo>
                        <a:cubicBezTo>
                          <a:pt x="193" y="23"/>
                          <a:pt x="193" y="23"/>
                          <a:pt x="193" y="23"/>
                        </a:cubicBezTo>
                        <a:cubicBezTo>
                          <a:pt x="193" y="23"/>
                          <a:pt x="193" y="23"/>
                          <a:pt x="192" y="23"/>
                        </a:cubicBezTo>
                        <a:cubicBezTo>
                          <a:pt x="192" y="23"/>
                          <a:pt x="192" y="23"/>
                          <a:pt x="192" y="23"/>
                        </a:cubicBezTo>
                        <a:cubicBezTo>
                          <a:pt x="192" y="23"/>
                          <a:pt x="192" y="23"/>
                          <a:pt x="192" y="23"/>
                        </a:cubicBezTo>
                        <a:cubicBezTo>
                          <a:pt x="192" y="22"/>
                          <a:pt x="192" y="23"/>
                          <a:pt x="193" y="22"/>
                        </a:cubicBezTo>
                        <a:close/>
                        <a:moveTo>
                          <a:pt x="190" y="17"/>
                        </a:moveTo>
                        <a:cubicBezTo>
                          <a:pt x="190" y="17"/>
                          <a:pt x="189" y="17"/>
                          <a:pt x="189" y="17"/>
                        </a:cubicBezTo>
                        <a:cubicBezTo>
                          <a:pt x="189" y="17"/>
                          <a:pt x="190" y="17"/>
                          <a:pt x="190" y="17"/>
                        </a:cubicBezTo>
                        <a:close/>
                        <a:moveTo>
                          <a:pt x="189" y="13"/>
                        </a:moveTo>
                        <a:cubicBezTo>
                          <a:pt x="189" y="13"/>
                          <a:pt x="189" y="13"/>
                          <a:pt x="190" y="13"/>
                        </a:cubicBezTo>
                        <a:cubicBezTo>
                          <a:pt x="190" y="13"/>
                          <a:pt x="190" y="13"/>
                          <a:pt x="190" y="13"/>
                        </a:cubicBezTo>
                        <a:lnTo>
                          <a:pt x="189" y="13"/>
                        </a:lnTo>
                        <a:close/>
                        <a:moveTo>
                          <a:pt x="189" y="11"/>
                        </a:moveTo>
                        <a:cubicBezTo>
                          <a:pt x="189" y="11"/>
                          <a:pt x="189" y="11"/>
                          <a:pt x="189" y="11"/>
                        </a:cubicBezTo>
                        <a:cubicBezTo>
                          <a:pt x="188" y="11"/>
                          <a:pt x="188" y="11"/>
                          <a:pt x="188" y="11"/>
                        </a:cubicBezTo>
                        <a:cubicBezTo>
                          <a:pt x="188" y="11"/>
                          <a:pt x="189" y="10"/>
                          <a:pt x="189" y="11"/>
                        </a:cubicBezTo>
                        <a:close/>
                        <a:moveTo>
                          <a:pt x="191" y="23"/>
                        </a:moveTo>
                        <a:cubicBezTo>
                          <a:pt x="191" y="23"/>
                          <a:pt x="191" y="23"/>
                          <a:pt x="191" y="23"/>
                        </a:cubicBezTo>
                        <a:cubicBezTo>
                          <a:pt x="191" y="23"/>
                          <a:pt x="191" y="22"/>
                          <a:pt x="192" y="23"/>
                        </a:cubicBezTo>
                        <a:cubicBezTo>
                          <a:pt x="191" y="23"/>
                          <a:pt x="191" y="22"/>
                          <a:pt x="191" y="23"/>
                        </a:cubicBezTo>
                        <a:close/>
                        <a:moveTo>
                          <a:pt x="190" y="18"/>
                        </a:moveTo>
                        <a:cubicBezTo>
                          <a:pt x="190" y="18"/>
                          <a:pt x="190" y="18"/>
                          <a:pt x="190" y="18"/>
                        </a:cubicBezTo>
                        <a:cubicBezTo>
                          <a:pt x="190" y="18"/>
                          <a:pt x="190" y="18"/>
                          <a:pt x="190" y="18"/>
                        </a:cubicBezTo>
                        <a:cubicBezTo>
                          <a:pt x="190" y="18"/>
                          <a:pt x="190" y="18"/>
                          <a:pt x="190" y="18"/>
                        </a:cubicBezTo>
                        <a:cubicBezTo>
                          <a:pt x="190" y="18"/>
                          <a:pt x="190" y="18"/>
                          <a:pt x="190" y="18"/>
                        </a:cubicBezTo>
                        <a:close/>
                        <a:moveTo>
                          <a:pt x="189" y="15"/>
                        </a:moveTo>
                        <a:cubicBezTo>
                          <a:pt x="189" y="15"/>
                          <a:pt x="189" y="15"/>
                          <a:pt x="189" y="15"/>
                        </a:cubicBezTo>
                        <a:cubicBezTo>
                          <a:pt x="189" y="14"/>
                          <a:pt x="189" y="14"/>
                          <a:pt x="189" y="14"/>
                        </a:cubicBezTo>
                        <a:cubicBezTo>
                          <a:pt x="189" y="15"/>
                          <a:pt x="189" y="15"/>
                          <a:pt x="189" y="15"/>
                        </a:cubicBezTo>
                        <a:close/>
                        <a:moveTo>
                          <a:pt x="189" y="17"/>
                        </a:moveTo>
                        <a:cubicBezTo>
                          <a:pt x="188" y="18"/>
                          <a:pt x="189" y="17"/>
                          <a:pt x="189" y="17"/>
                        </a:cubicBezTo>
                        <a:cubicBezTo>
                          <a:pt x="189" y="17"/>
                          <a:pt x="188" y="17"/>
                          <a:pt x="188" y="18"/>
                        </a:cubicBezTo>
                        <a:cubicBezTo>
                          <a:pt x="188" y="18"/>
                          <a:pt x="188" y="18"/>
                          <a:pt x="188" y="18"/>
                        </a:cubicBezTo>
                        <a:cubicBezTo>
                          <a:pt x="188" y="17"/>
                          <a:pt x="188" y="18"/>
                          <a:pt x="188" y="17"/>
                        </a:cubicBezTo>
                        <a:cubicBezTo>
                          <a:pt x="188" y="18"/>
                          <a:pt x="188" y="17"/>
                          <a:pt x="189" y="17"/>
                        </a:cubicBezTo>
                        <a:close/>
                        <a:moveTo>
                          <a:pt x="188" y="13"/>
                        </a:moveTo>
                        <a:cubicBezTo>
                          <a:pt x="188" y="13"/>
                          <a:pt x="187" y="14"/>
                          <a:pt x="187" y="13"/>
                        </a:cubicBezTo>
                        <a:cubicBezTo>
                          <a:pt x="187" y="13"/>
                          <a:pt x="187" y="13"/>
                          <a:pt x="188" y="13"/>
                        </a:cubicBezTo>
                        <a:close/>
                        <a:moveTo>
                          <a:pt x="188" y="16"/>
                        </a:moveTo>
                        <a:cubicBezTo>
                          <a:pt x="187" y="15"/>
                          <a:pt x="188" y="15"/>
                          <a:pt x="188" y="15"/>
                        </a:cubicBezTo>
                        <a:cubicBezTo>
                          <a:pt x="188" y="15"/>
                          <a:pt x="188" y="15"/>
                          <a:pt x="188" y="16"/>
                        </a:cubicBezTo>
                        <a:cubicBezTo>
                          <a:pt x="188" y="15"/>
                          <a:pt x="188" y="15"/>
                          <a:pt x="188" y="15"/>
                        </a:cubicBezTo>
                        <a:cubicBezTo>
                          <a:pt x="188" y="16"/>
                          <a:pt x="188" y="16"/>
                          <a:pt x="188" y="16"/>
                        </a:cubicBezTo>
                        <a:close/>
                        <a:moveTo>
                          <a:pt x="187" y="15"/>
                        </a:moveTo>
                        <a:cubicBezTo>
                          <a:pt x="187" y="16"/>
                          <a:pt x="187" y="16"/>
                          <a:pt x="187" y="16"/>
                        </a:cubicBezTo>
                        <a:cubicBezTo>
                          <a:pt x="187" y="16"/>
                          <a:pt x="187" y="16"/>
                          <a:pt x="187" y="16"/>
                        </a:cubicBezTo>
                        <a:cubicBezTo>
                          <a:pt x="187" y="15"/>
                          <a:pt x="187" y="16"/>
                          <a:pt x="187" y="15"/>
                        </a:cubicBezTo>
                        <a:close/>
                        <a:moveTo>
                          <a:pt x="186" y="19"/>
                        </a:moveTo>
                        <a:cubicBezTo>
                          <a:pt x="187" y="18"/>
                          <a:pt x="186" y="18"/>
                          <a:pt x="187" y="18"/>
                        </a:cubicBezTo>
                        <a:cubicBezTo>
                          <a:pt x="187" y="19"/>
                          <a:pt x="187" y="18"/>
                          <a:pt x="188" y="18"/>
                        </a:cubicBezTo>
                        <a:cubicBezTo>
                          <a:pt x="187" y="19"/>
                          <a:pt x="187" y="18"/>
                          <a:pt x="186" y="19"/>
                        </a:cubicBezTo>
                        <a:close/>
                        <a:moveTo>
                          <a:pt x="184" y="12"/>
                        </a:moveTo>
                        <a:cubicBezTo>
                          <a:pt x="184" y="12"/>
                          <a:pt x="184" y="12"/>
                          <a:pt x="184" y="12"/>
                        </a:cubicBezTo>
                        <a:cubicBezTo>
                          <a:pt x="184" y="12"/>
                          <a:pt x="184" y="12"/>
                          <a:pt x="184" y="12"/>
                        </a:cubicBezTo>
                        <a:cubicBezTo>
                          <a:pt x="184" y="12"/>
                          <a:pt x="184" y="11"/>
                          <a:pt x="184" y="11"/>
                        </a:cubicBezTo>
                        <a:cubicBezTo>
                          <a:pt x="185" y="11"/>
                          <a:pt x="185" y="11"/>
                          <a:pt x="185" y="11"/>
                        </a:cubicBezTo>
                        <a:cubicBezTo>
                          <a:pt x="184" y="11"/>
                          <a:pt x="184" y="11"/>
                          <a:pt x="184" y="12"/>
                        </a:cubicBezTo>
                        <a:cubicBezTo>
                          <a:pt x="184" y="12"/>
                          <a:pt x="184" y="12"/>
                          <a:pt x="184" y="12"/>
                        </a:cubicBezTo>
                        <a:cubicBezTo>
                          <a:pt x="184" y="12"/>
                          <a:pt x="184" y="12"/>
                          <a:pt x="184" y="12"/>
                        </a:cubicBezTo>
                        <a:close/>
                        <a:moveTo>
                          <a:pt x="186" y="19"/>
                        </a:moveTo>
                        <a:cubicBezTo>
                          <a:pt x="186" y="19"/>
                          <a:pt x="186" y="19"/>
                          <a:pt x="186" y="19"/>
                        </a:cubicBezTo>
                        <a:cubicBezTo>
                          <a:pt x="186" y="19"/>
                          <a:pt x="186" y="19"/>
                          <a:pt x="186" y="19"/>
                        </a:cubicBezTo>
                        <a:cubicBezTo>
                          <a:pt x="186" y="19"/>
                          <a:pt x="186" y="19"/>
                          <a:pt x="185" y="19"/>
                        </a:cubicBezTo>
                        <a:cubicBezTo>
                          <a:pt x="185" y="19"/>
                          <a:pt x="186" y="19"/>
                          <a:pt x="186" y="19"/>
                        </a:cubicBezTo>
                        <a:close/>
                        <a:moveTo>
                          <a:pt x="186" y="22"/>
                        </a:moveTo>
                        <a:cubicBezTo>
                          <a:pt x="186" y="22"/>
                          <a:pt x="186" y="22"/>
                          <a:pt x="185" y="22"/>
                        </a:cubicBezTo>
                        <a:cubicBezTo>
                          <a:pt x="185" y="22"/>
                          <a:pt x="186" y="22"/>
                          <a:pt x="186" y="22"/>
                        </a:cubicBezTo>
                        <a:close/>
                        <a:moveTo>
                          <a:pt x="185" y="19"/>
                        </a:moveTo>
                        <a:cubicBezTo>
                          <a:pt x="185" y="19"/>
                          <a:pt x="184" y="19"/>
                          <a:pt x="184" y="19"/>
                        </a:cubicBezTo>
                        <a:cubicBezTo>
                          <a:pt x="184" y="19"/>
                          <a:pt x="184" y="19"/>
                          <a:pt x="184" y="19"/>
                        </a:cubicBezTo>
                        <a:cubicBezTo>
                          <a:pt x="184" y="19"/>
                          <a:pt x="185" y="19"/>
                          <a:pt x="185" y="19"/>
                        </a:cubicBezTo>
                        <a:cubicBezTo>
                          <a:pt x="185" y="19"/>
                          <a:pt x="185" y="19"/>
                          <a:pt x="185" y="19"/>
                        </a:cubicBezTo>
                        <a:close/>
                        <a:moveTo>
                          <a:pt x="183" y="17"/>
                        </a:moveTo>
                        <a:cubicBezTo>
                          <a:pt x="183" y="16"/>
                          <a:pt x="184" y="16"/>
                          <a:pt x="184" y="16"/>
                        </a:cubicBezTo>
                        <a:cubicBezTo>
                          <a:pt x="184" y="16"/>
                          <a:pt x="183" y="16"/>
                          <a:pt x="184" y="17"/>
                        </a:cubicBezTo>
                        <a:cubicBezTo>
                          <a:pt x="183" y="17"/>
                          <a:pt x="183" y="16"/>
                          <a:pt x="183" y="17"/>
                        </a:cubicBezTo>
                        <a:close/>
                        <a:moveTo>
                          <a:pt x="183" y="14"/>
                        </a:moveTo>
                        <a:cubicBezTo>
                          <a:pt x="184" y="14"/>
                          <a:pt x="183" y="14"/>
                          <a:pt x="183" y="14"/>
                        </a:cubicBezTo>
                        <a:cubicBezTo>
                          <a:pt x="183" y="14"/>
                          <a:pt x="183" y="14"/>
                          <a:pt x="183" y="14"/>
                        </a:cubicBezTo>
                        <a:close/>
                        <a:moveTo>
                          <a:pt x="183" y="19"/>
                        </a:moveTo>
                        <a:cubicBezTo>
                          <a:pt x="183" y="18"/>
                          <a:pt x="184" y="18"/>
                          <a:pt x="184" y="18"/>
                        </a:cubicBezTo>
                        <a:cubicBezTo>
                          <a:pt x="184" y="19"/>
                          <a:pt x="183" y="19"/>
                          <a:pt x="183" y="19"/>
                        </a:cubicBezTo>
                        <a:close/>
                        <a:moveTo>
                          <a:pt x="184" y="19"/>
                        </a:moveTo>
                        <a:cubicBezTo>
                          <a:pt x="184" y="19"/>
                          <a:pt x="184" y="19"/>
                          <a:pt x="185" y="19"/>
                        </a:cubicBezTo>
                        <a:cubicBezTo>
                          <a:pt x="185" y="19"/>
                          <a:pt x="184" y="20"/>
                          <a:pt x="184" y="20"/>
                        </a:cubicBezTo>
                        <a:cubicBezTo>
                          <a:pt x="184" y="19"/>
                          <a:pt x="184" y="19"/>
                          <a:pt x="184" y="19"/>
                        </a:cubicBezTo>
                        <a:close/>
                        <a:moveTo>
                          <a:pt x="184" y="18"/>
                        </a:moveTo>
                        <a:cubicBezTo>
                          <a:pt x="184" y="18"/>
                          <a:pt x="184" y="18"/>
                          <a:pt x="184" y="18"/>
                        </a:cubicBezTo>
                        <a:cubicBezTo>
                          <a:pt x="184" y="18"/>
                          <a:pt x="184" y="18"/>
                          <a:pt x="184" y="18"/>
                        </a:cubicBezTo>
                        <a:cubicBezTo>
                          <a:pt x="184" y="18"/>
                          <a:pt x="184" y="18"/>
                          <a:pt x="184" y="18"/>
                        </a:cubicBezTo>
                        <a:cubicBezTo>
                          <a:pt x="183" y="18"/>
                          <a:pt x="183" y="18"/>
                          <a:pt x="183" y="18"/>
                        </a:cubicBezTo>
                        <a:cubicBezTo>
                          <a:pt x="183" y="18"/>
                          <a:pt x="184" y="18"/>
                          <a:pt x="184" y="18"/>
                        </a:cubicBezTo>
                        <a:close/>
                        <a:moveTo>
                          <a:pt x="184" y="21"/>
                        </a:moveTo>
                        <a:cubicBezTo>
                          <a:pt x="184" y="21"/>
                          <a:pt x="184" y="21"/>
                          <a:pt x="184" y="21"/>
                        </a:cubicBezTo>
                        <a:cubicBezTo>
                          <a:pt x="185" y="21"/>
                          <a:pt x="184" y="21"/>
                          <a:pt x="184" y="21"/>
                        </a:cubicBezTo>
                        <a:close/>
                        <a:moveTo>
                          <a:pt x="183" y="17"/>
                        </a:moveTo>
                        <a:cubicBezTo>
                          <a:pt x="183" y="17"/>
                          <a:pt x="183" y="17"/>
                          <a:pt x="182" y="17"/>
                        </a:cubicBezTo>
                        <a:cubicBezTo>
                          <a:pt x="182" y="17"/>
                          <a:pt x="182" y="17"/>
                          <a:pt x="182" y="17"/>
                        </a:cubicBezTo>
                        <a:cubicBezTo>
                          <a:pt x="182" y="17"/>
                          <a:pt x="183" y="17"/>
                          <a:pt x="183" y="17"/>
                        </a:cubicBezTo>
                        <a:close/>
                        <a:moveTo>
                          <a:pt x="181" y="20"/>
                        </a:moveTo>
                        <a:cubicBezTo>
                          <a:pt x="181" y="20"/>
                          <a:pt x="183" y="19"/>
                          <a:pt x="183" y="19"/>
                        </a:cubicBezTo>
                        <a:cubicBezTo>
                          <a:pt x="183" y="20"/>
                          <a:pt x="182" y="20"/>
                          <a:pt x="183" y="20"/>
                        </a:cubicBezTo>
                        <a:cubicBezTo>
                          <a:pt x="183" y="20"/>
                          <a:pt x="182" y="20"/>
                          <a:pt x="181" y="20"/>
                        </a:cubicBezTo>
                        <a:close/>
                        <a:moveTo>
                          <a:pt x="182" y="14"/>
                        </a:moveTo>
                        <a:cubicBezTo>
                          <a:pt x="182" y="14"/>
                          <a:pt x="182" y="15"/>
                          <a:pt x="182" y="15"/>
                        </a:cubicBezTo>
                        <a:cubicBezTo>
                          <a:pt x="182" y="15"/>
                          <a:pt x="182" y="15"/>
                          <a:pt x="182" y="15"/>
                        </a:cubicBezTo>
                        <a:cubicBezTo>
                          <a:pt x="181" y="15"/>
                          <a:pt x="182" y="15"/>
                          <a:pt x="182" y="15"/>
                        </a:cubicBezTo>
                        <a:cubicBezTo>
                          <a:pt x="181" y="15"/>
                          <a:pt x="181" y="15"/>
                          <a:pt x="181" y="15"/>
                        </a:cubicBezTo>
                        <a:cubicBezTo>
                          <a:pt x="181" y="15"/>
                          <a:pt x="182" y="14"/>
                          <a:pt x="182" y="14"/>
                        </a:cubicBezTo>
                        <a:close/>
                        <a:moveTo>
                          <a:pt x="182" y="19"/>
                        </a:moveTo>
                        <a:cubicBezTo>
                          <a:pt x="182" y="19"/>
                          <a:pt x="182" y="19"/>
                          <a:pt x="182" y="19"/>
                        </a:cubicBezTo>
                        <a:cubicBezTo>
                          <a:pt x="182" y="19"/>
                          <a:pt x="182" y="19"/>
                          <a:pt x="181" y="19"/>
                        </a:cubicBezTo>
                        <a:cubicBezTo>
                          <a:pt x="181" y="19"/>
                          <a:pt x="181" y="19"/>
                          <a:pt x="181" y="19"/>
                        </a:cubicBezTo>
                        <a:cubicBezTo>
                          <a:pt x="182" y="19"/>
                          <a:pt x="182" y="18"/>
                          <a:pt x="182" y="18"/>
                        </a:cubicBezTo>
                        <a:cubicBezTo>
                          <a:pt x="182" y="18"/>
                          <a:pt x="182" y="19"/>
                          <a:pt x="182" y="19"/>
                        </a:cubicBezTo>
                        <a:close/>
                        <a:moveTo>
                          <a:pt x="181" y="19"/>
                        </a:moveTo>
                        <a:cubicBezTo>
                          <a:pt x="181" y="19"/>
                          <a:pt x="181" y="19"/>
                          <a:pt x="180" y="19"/>
                        </a:cubicBezTo>
                        <a:cubicBezTo>
                          <a:pt x="180" y="19"/>
                          <a:pt x="181" y="19"/>
                          <a:pt x="181" y="19"/>
                        </a:cubicBezTo>
                        <a:close/>
                        <a:moveTo>
                          <a:pt x="180" y="13"/>
                        </a:moveTo>
                        <a:cubicBezTo>
                          <a:pt x="180" y="13"/>
                          <a:pt x="180" y="13"/>
                          <a:pt x="180" y="14"/>
                        </a:cubicBezTo>
                        <a:cubicBezTo>
                          <a:pt x="179" y="14"/>
                          <a:pt x="179" y="14"/>
                          <a:pt x="179" y="13"/>
                        </a:cubicBezTo>
                        <a:cubicBezTo>
                          <a:pt x="179" y="13"/>
                          <a:pt x="180" y="13"/>
                          <a:pt x="180" y="13"/>
                        </a:cubicBezTo>
                        <a:close/>
                        <a:moveTo>
                          <a:pt x="180" y="17"/>
                        </a:moveTo>
                        <a:cubicBezTo>
                          <a:pt x="180" y="17"/>
                          <a:pt x="180" y="17"/>
                          <a:pt x="181" y="17"/>
                        </a:cubicBezTo>
                        <a:cubicBezTo>
                          <a:pt x="181" y="17"/>
                          <a:pt x="181" y="17"/>
                          <a:pt x="181" y="17"/>
                        </a:cubicBezTo>
                        <a:cubicBezTo>
                          <a:pt x="180" y="17"/>
                          <a:pt x="180" y="17"/>
                          <a:pt x="180" y="17"/>
                        </a:cubicBezTo>
                        <a:close/>
                        <a:moveTo>
                          <a:pt x="180" y="20"/>
                        </a:moveTo>
                        <a:cubicBezTo>
                          <a:pt x="180" y="20"/>
                          <a:pt x="181" y="20"/>
                          <a:pt x="181" y="20"/>
                        </a:cubicBezTo>
                        <a:cubicBezTo>
                          <a:pt x="181" y="20"/>
                          <a:pt x="181" y="20"/>
                          <a:pt x="180" y="20"/>
                        </a:cubicBezTo>
                        <a:close/>
                        <a:moveTo>
                          <a:pt x="180" y="15"/>
                        </a:moveTo>
                        <a:cubicBezTo>
                          <a:pt x="180" y="15"/>
                          <a:pt x="179" y="15"/>
                          <a:pt x="179" y="15"/>
                        </a:cubicBezTo>
                        <a:cubicBezTo>
                          <a:pt x="179" y="15"/>
                          <a:pt x="179" y="15"/>
                          <a:pt x="179" y="15"/>
                        </a:cubicBezTo>
                        <a:cubicBezTo>
                          <a:pt x="179" y="15"/>
                          <a:pt x="179" y="15"/>
                          <a:pt x="180" y="15"/>
                        </a:cubicBezTo>
                        <a:close/>
                        <a:moveTo>
                          <a:pt x="179" y="17"/>
                        </a:moveTo>
                        <a:cubicBezTo>
                          <a:pt x="180" y="17"/>
                          <a:pt x="180" y="17"/>
                          <a:pt x="180" y="17"/>
                        </a:cubicBezTo>
                        <a:cubicBezTo>
                          <a:pt x="180" y="17"/>
                          <a:pt x="179" y="17"/>
                          <a:pt x="179" y="17"/>
                        </a:cubicBezTo>
                        <a:close/>
                        <a:moveTo>
                          <a:pt x="180" y="19"/>
                        </a:moveTo>
                        <a:cubicBezTo>
                          <a:pt x="179" y="19"/>
                          <a:pt x="179" y="19"/>
                          <a:pt x="179" y="19"/>
                        </a:cubicBezTo>
                        <a:cubicBezTo>
                          <a:pt x="179" y="19"/>
                          <a:pt x="178" y="19"/>
                          <a:pt x="178" y="19"/>
                        </a:cubicBezTo>
                        <a:cubicBezTo>
                          <a:pt x="178" y="19"/>
                          <a:pt x="178" y="19"/>
                          <a:pt x="179" y="19"/>
                        </a:cubicBezTo>
                        <a:cubicBezTo>
                          <a:pt x="179" y="19"/>
                          <a:pt x="178" y="19"/>
                          <a:pt x="179" y="19"/>
                        </a:cubicBezTo>
                        <a:cubicBezTo>
                          <a:pt x="179" y="19"/>
                          <a:pt x="180" y="19"/>
                          <a:pt x="180" y="19"/>
                        </a:cubicBezTo>
                        <a:close/>
                        <a:moveTo>
                          <a:pt x="180" y="22"/>
                        </a:moveTo>
                        <a:cubicBezTo>
                          <a:pt x="180" y="22"/>
                          <a:pt x="180" y="22"/>
                          <a:pt x="180" y="22"/>
                        </a:cubicBezTo>
                        <a:cubicBezTo>
                          <a:pt x="180" y="22"/>
                          <a:pt x="180" y="22"/>
                          <a:pt x="180" y="23"/>
                        </a:cubicBezTo>
                        <a:cubicBezTo>
                          <a:pt x="180" y="23"/>
                          <a:pt x="180" y="22"/>
                          <a:pt x="180" y="22"/>
                        </a:cubicBezTo>
                        <a:close/>
                        <a:moveTo>
                          <a:pt x="178" y="16"/>
                        </a:moveTo>
                        <a:cubicBezTo>
                          <a:pt x="178" y="16"/>
                          <a:pt x="178" y="16"/>
                          <a:pt x="178" y="16"/>
                        </a:cubicBezTo>
                        <a:cubicBezTo>
                          <a:pt x="178" y="16"/>
                          <a:pt x="178" y="16"/>
                          <a:pt x="178" y="16"/>
                        </a:cubicBezTo>
                        <a:cubicBezTo>
                          <a:pt x="178" y="16"/>
                          <a:pt x="178" y="16"/>
                          <a:pt x="178" y="16"/>
                        </a:cubicBezTo>
                        <a:close/>
                        <a:moveTo>
                          <a:pt x="180" y="25"/>
                        </a:moveTo>
                        <a:cubicBezTo>
                          <a:pt x="180" y="25"/>
                          <a:pt x="180" y="25"/>
                          <a:pt x="179" y="25"/>
                        </a:cubicBezTo>
                        <a:cubicBezTo>
                          <a:pt x="179" y="25"/>
                          <a:pt x="179" y="25"/>
                          <a:pt x="180" y="25"/>
                        </a:cubicBezTo>
                        <a:cubicBezTo>
                          <a:pt x="180" y="25"/>
                          <a:pt x="179" y="25"/>
                          <a:pt x="179" y="25"/>
                        </a:cubicBezTo>
                        <a:cubicBezTo>
                          <a:pt x="179" y="25"/>
                          <a:pt x="179" y="25"/>
                          <a:pt x="179" y="25"/>
                        </a:cubicBezTo>
                        <a:cubicBezTo>
                          <a:pt x="180" y="24"/>
                          <a:pt x="180" y="25"/>
                          <a:pt x="180" y="25"/>
                        </a:cubicBezTo>
                        <a:close/>
                        <a:moveTo>
                          <a:pt x="178" y="18"/>
                        </a:moveTo>
                        <a:cubicBezTo>
                          <a:pt x="177" y="18"/>
                          <a:pt x="177" y="18"/>
                          <a:pt x="177" y="18"/>
                        </a:cubicBezTo>
                        <a:cubicBezTo>
                          <a:pt x="177" y="18"/>
                          <a:pt x="178" y="18"/>
                          <a:pt x="178" y="18"/>
                        </a:cubicBezTo>
                        <a:cubicBezTo>
                          <a:pt x="178" y="18"/>
                          <a:pt x="177" y="18"/>
                          <a:pt x="178" y="18"/>
                        </a:cubicBezTo>
                        <a:close/>
                        <a:moveTo>
                          <a:pt x="178" y="17"/>
                        </a:moveTo>
                        <a:cubicBezTo>
                          <a:pt x="178" y="17"/>
                          <a:pt x="178" y="17"/>
                          <a:pt x="178" y="17"/>
                        </a:cubicBezTo>
                        <a:cubicBezTo>
                          <a:pt x="178" y="17"/>
                          <a:pt x="177" y="18"/>
                          <a:pt x="177" y="18"/>
                        </a:cubicBezTo>
                        <a:cubicBezTo>
                          <a:pt x="177" y="18"/>
                          <a:pt x="177" y="18"/>
                          <a:pt x="177" y="18"/>
                        </a:cubicBezTo>
                        <a:cubicBezTo>
                          <a:pt x="177" y="17"/>
                          <a:pt x="177" y="17"/>
                          <a:pt x="178" y="17"/>
                        </a:cubicBezTo>
                        <a:close/>
                        <a:moveTo>
                          <a:pt x="177" y="17"/>
                        </a:moveTo>
                        <a:cubicBezTo>
                          <a:pt x="177" y="17"/>
                          <a:pt x="177" y="17"/>
                          <a:pt x="177" y="17"/>
                        </a:cubicBezTo>
                        <a:cubicBezTo>
                          <a:pt x="177" y="17"/>
                          <a:pt x="177" y="17"/>
                          <a:pt x="176" y="17"/>
                        </a:cubicBezTo>
                        <a:cubicBezTo>
                          <a:pt x="177" y="17"/>
                          <a:pt x="177" y="17"/>
                          <a:pt x="177" y="17"/>
                        </a:cubicBezTo>
                        <a:cubicBezTo>
                          <a:pt x="177" y="17"/>
                          <a:pt x="177" y="17"/>
                          <a:pt x="177" y="17"/>
                        </a:cubicBezTo>
                        <a:close/>
                        <a:moveTo>
                          <a:pt x="178" y="20"/>
                        </a:moveTo>
                        <a:cubicBezTo>
                          <a:pt x="177" y="20"/>
                          <a:pt x="177" y="20"/>
                          <a:pt x="176" y="20"/>
                        </a:cubicBezTo>
                        <a:cubicBezTo>
                          <a:pt x="176" y="20"/>
                          <a:pt x="176" y="20"/>
                          <a:pt x="176" y="20"/>
                        </a:cubicBezTo>
                        <a:cubicBezTo>
                          <a:pt x="176" y="20"/>
                          <a:pt x="176" y="20"/>
                          <a:pt x="176" y="20"/>
                        </a:cubicBezTo>
                        <a:cubicBezTo>
                          <a:pt x="176" y="20"/>
                          <a:pt x="177" y="19"/>
                          <a:pt x="177" y="19"/>
                        </a:cubicBezTo>
                        <a:cubicBezTo>
                          <a:pt x="177" y="19"/>
                          <a:pt x="178" y="19"/>
                          <a:pt x="178" y="19"/>
                        </a:cubicBezTo>
                        <a:cubicBezTo>
                          <a:pt x="178" y="20"/>
                          <a:pt x="178" y="20"/>
                          <a:pt x="178" y="20"/>
                        </a:cubicBezTo>
                        <a:close/>
                        <a:moveTo>
                          <a:pt x="178" y="26"/>
                        </a:moveTo>
                        <a:cubicBezTo>
                          <a:pt x="178" y="26"/>
                          <a:pt x="179" y="25"/>
                          <a:pt x="179" y="26"/>
                        </a:cubicBezTo>
                        <a:cubicBezTo>
                          <a:pt x="179" y="26"/>
                          <a:pt x="178" y="26"/>
                          <a:pt x="178" y="26"/>
                        </a:cubicBezTo>
                        <a:close/>
                        <a:moveTo>
                          <a:pt x="176" y="18"/>
                        </a:moveTo>
                        <a:cubicBezTo>
                          <a:pt x="176" y="18"/>
                          <a:pt x="176" y="18"/>
                          <a:pt x="176" y="18"/>
                        </a:cubicBezTo>
                        <a:cubicBezTo>
                          <a:pt x="175" y="18"/>
                          <a:pt x="176" y="18"/>
                          <a:pt x="176" y="18"/>
                        </a:cubicBezTo>
                        <a:cubicBezTo>
                          <a:pt x="176" y="18"/>
                          <a:pt x="176" y="18"/>
                          <a:pt x="176" y="18"/>
                        </a:cubicBezTo>
                        <a:close/>
                        <a:moveTo>
                          <a:pt x="175" y="19"/>
                        </a:moveTo>
                        <a:cubicBezTo>
                          <a:pt x="175" y="19"/>
                          <a:pt x="176" y="19"/>
                          <a:pt x="176" y="19"/>
                        </a:cubicBezTo>
                        <a:cubicBezTo>
                          <a:pt x="176" y="19"/>
                          <a:pt x="175" y="19"/>
                          <a:pt x="175" y="19"/>
                        </a:cubicBezTo>
                        <a:close/>
                        <a:moveTo>
                          <a:pt x="176" y="22"/>
                        </a:moveTo>
                        <a:cubicBezTo>
                          <a:pt x="176" y="22"/>
                          <a:pt x="176" y="21"/>
                          <a:pt x="176" y="21"/>
                        </a:cubicBezTo>
                        <a:cubicBezTo>
                          <a:pt x="177" y="22"/>
                          <a:pt x="176" y="22"/>
                          <a:pt x="175" y="22"/>
                        </a:cubicBezTo>
                        <a:cubicBezTo>
                          <a:pt x="175" y="22"/>
                          <a:pt x="175" y="22"/>
                          <a:pt x="175" y="22"/>
                        </a:cubicBezTo>
                        <a:cubicBezTo>
                          <a:pt x="175" y="22"/>
                          <a:pt x="176" y="21"/>
                          <a:pt x="176" y="22"/>
                        </a:cubicBezTo>
                        <a:close/>
                        <a:moveTo>
                          <a:pt x="177" y="25"/>
                        </a:moveTo>
                        <a:cubicBezTo>
                          <a:pt x="177" y="25"/>
                          <a:pt x="177" y="25"/>
                          <a:pt x="177" y="25"/>
                        </a:cubicBezTo>
                        <a:cubicBezTo>
                          <a:pt x="177" y="25"/>
                          <a:pt x="176" y="26"/>
                          <a:pt x="176" y="26"/>
                        </a:cubicBezTo>
                        <a:cubicBezTo>
                          <a:pt x="176" y="26"/>
                          <a:pt x="176" y="26"/>
                          <a:pt x="176" y="26"/>
                        </a:cubicBezTo>
                        <a:cubicBezTo>
                          <a:pt x="176" y="25"/>
                          <a:pt x="176" y="25"/>
                          <a:pt x="177" y="25"/>
                        </a:cubicBezTo>
                        <a:close/>
                        <a:moveTo>
                          <a:pt x="175" y="18"/>
                        </a:moveTo>
                        <a:cubicBezTo>
                          <a:pt x="175" y="18"/>
                          <a:pt x="174" y="18"/>
                          <a:pt x="173" y="18"/>
                        </a:cubicBezTo>
                        <a:cubicBezTo>
                          <a:pt x="173" y="18"/>
                          <a:pt x="174" y="18"/>
                          <a:pt x="175" y="18"/>
                        </a:cubicBezTo>
                        <a:close/>
                        <a:moveTo>
                          <a:pt x="173" y="14"/>
                        </a:moveTo>
                        <a:cubicBezTo>
                          <a:pt x="173" y="14"/>
                          <a:pt x="173" y="14"/>
                          <a:pt x="174" y="14"/>
                        </a:cubicBezTo>
                        <a:cubicBezTo>
                          <a:pt x="174" y="14"/>
                          <a:pt x="173" y="14"/>
                          <a:pt x="173" y="14"/>
                        </a:cubicBezTo>
                        <a:close/>
                        <a:moveTo>
                          <a:pt x="175" y="21"/>
                        </a:moveTo>
                        <a:cubicBezTo>
                          <a:pt x="175" y="21"/>
                          <a:pt x="175" y="21"/>
                          <a:pt x="175" y="21"/>
                        </a:cubicBezTo>
                        <a:cubicBezTo>
                          <a:pt x="176" y="21"/>
                          <a:pt x="175" y="22"/>
                          <a:pt x="175" y="21"/>
                        </a:cubicBezTo>
                        <a:close/>
                        <a:moveTo>
                          <a:pt x="176" y="26"/>
                        </a:moveTo>
                        <a:cubicBezTo>
                          <a:pt x="176" y="26"/>
                          <a:pt x="176" y="26"/>
                          <a:pt x="176" y="26"/>
                        </a:cubicBezTo>
                        <a:cubicBezTo>
                          <a:pt x="176" y="26"/>
                          <a:pt x="176" y="26"/>
                          <a:pt x="176" y="26"/>
                        </a:cubicBezTo>
                        <a:cubicBezTo>
                          <a:pt x="176" y="26"/>
                          <a:pt x="176" y="26"/>
                          <a:pt x="176" y="26"/>
                        </a:cubicBezTo>
                        <a:cubicBezTo>
                          <a:pt x="176" y="26"/>
                          <a:pt x="176" y="26"/>
                          <a:pt x="176" y="26"/>
                        </a:cubicBezTo>
                        <a:close/>
                        <a:moveTo>
                          <a:pt x="175" y="26"/>
                        </a:moveTo>
                        <a:cubicBezTo>
                          <a:pt x="175" y="26"/>
                          <a:pt x="175" y="26"/>
                          <a:pt x="176" y="26"/>
                        </a:cubicBezTo>
                        <a:cubicBezTo>
                          <a:pt x="175" y="26"/>
                          <a:pt x="175" y="26"/>
                          <a:pt x="176" y="26"/>
                        </a:cubicBezTo>
                        <a:cubicBezTo>
                          <a:pt x="175" y="26"/>
                          <a:pt x="175" y="26"/>
                          <a:pt x="175" y="26"/>
                        </a:cubicBezTo>
                        <a:cubicBezTo>
                          <a:pt x="175" y="26"/>
                          <a:pt x="175" y="26"/>
                          <a:pt x="175" y="26"/>
                        </a:cubicBezTo>
                        <a:cubicBezTo>
                          <a:pt x="175" y="26"/>
                          <a:pt x="174" y="26"/>
                          <a:pt x="174" y="26"/>
                        </a:cubicBezTo>
                        <a:cubicBezTo>
                          <a:pt x="174" y="26"/>
                          <a:pt x="175" y="26"/>
                          <a:pt x="175" y="26"/>
                        </a:cubicBezTo>
                        <a:close/>
                        <a:moveTo>
                          <a:pt x="172" y="19"/>
                        </a:moveTo>
                        <a:cubicBezTo>
                          <a:pt x="173" y="19"/>
                          <a:pt x="173" y="18"/>
                          <a:pt x="174" y="18"/>
                        </a:cubicBezTo>
                        <a:cubicBezTo>
                          <a:pt x="173" y="19"/>
                          <a:pt x="173" y="19"/>
                          <a:pt x="172" y="19"/>
                        </a:cubicBezTo>
                        <a:close/>
                        <a:moveTo>
                          <a:pt x="176" y="26"/>
                        </a:moveTo>
                        <a:cubicBezTo>
                          <a:pt x="175" y="26"/>
                          <a:pt x="175" y="26"/>
                          <a:pt x="175" y="26"/>
                        </a:cubicBezTo>
                        <a:cubicBezTo>
                          <a:pt x="175" y="26"/>
                          <a:pt x="175" y="26"/>
                          <a:pt x="176" y="26"/>
                        </a:cubicBezTo>
                        <a:close/>
                        <a:moveTo>
                          <a:pt x="172" y="19"/>
                        </a:moveTo>
                        <a:cubicBezTo>
                          <a:pt x="172" y="19"/>
                          <a:pt x="172" y="19"/>
                          <a:pt x="173" y="19"/>
                        </a:cubicBezTo>
                        <a:cubicBezTo>
                          <a:pt x="173" y="19"/>
                          <a:pt x="173" y="19"/>
                          <a:pt x="173" y="19"/>
                        </a:cubicBezTo>
                        <a:cubicBezTo>
                          <a:pt x="172" y="19"/>
                          <a:pt x="172" y="19"/>
                          <a:pt x="172" y="19"/>
                        </a:cubicBezTo>
                        <a:close/>
                        <a:moveTo>
                          <a:pt x="172" y="20"/>
                        </a:moveTo>
                        <a:cubicBezTo>
                          <a:pt x="172" y="20"/>
                          <a:pt x="172" y="20"/>
                          <a:pt x="172" y="21"/>
                        </a:cubicBezTo>
                        <a:cubicBezTo>
                          <a:pt x="172" y="21"/>
                          <a:pt x="172" y="20"/>
                          <a:pt x="173" y="20"/>
                        </a:cubicBezTo>
                        <a:cubicBezTo>
                          <a:pt x="172" y="21"/>
                          <a:pt x="173" y="20"/>
                          <a:pt x="173" y="20"/>
                        </a:cubicBezTo>
                        <a:cubicBezTo>
                          <a:pt x="172" y="21"/>
                          <a:pt x="171" y="21"/>
                          <a:pt x="171" y="21"/>
                        </a:cubicBezTo>
                        <a:cubicBezTo>
                          <a:pt x="171" y="21"/>
                          <a:pt x="171" y="21"/>
                          <a:pt x="171" y="21"/>
                        </a:cubicBezTo>
                        <a:cubicBezTo>
                          <a:pt x="171" y="21"/>
                          <a:pt x="171" y="21"/>
                          <a:pt x="172" y="21"/>
                        </a:cubicBezTo>
                        <a:cubicBezTo>
                          <a:pt x="172" y="21"/>
                          <a:pt x="171" y="21"/>
                          <a:pt x="171" y="21"/>
                        </a:cubicBezTo>
                        <a:cubicBezTo>
                          <a:pt x="172" y="20"/>
                          <a:pt x="172" y="20"/>
                          <a:pt x="172" y="20"/>
                        </a:cubicBezTo>
                        <a:close/>
                        <a:moveTo>
                          <a:pt x="174" y="26"/>
                        </a:moveTo>
                        <a:cubicBezTo>
                          <a:pt x="174" y="27"/>
                          <a:pt x="174" y="27"/>
                          <a:pt x="174" y="27"/>
                        </a:cubicBezTo>
                        <a:cubicBezTo>
                          <a:pt x="173" y="27"/>
                          <a:pt x="174" y="26"/>
                          <a:pt x="174" y="26"/>
                        </a:cubicBezTo>
                        <a:close/>
                        <a:moveTo>
                          <a:pt x="172" y="25"/>
                        </a:moveTo>
                        <a:cubicBezTo>
                          <a:pt x="172" y="25"/>
                          <a:pt x="172" y="25"/>
                          <a:pt x="172" y="25"/>
                        </a:cubicBezTo>
                        <a:cubicBezTo>
                          <a:pt x="172" y="25"/>
                          <a:pt x="172" y="25"/>
                          <a:pt x="172" y="25"/>
                        </a:cubicBezTo>
                        <a:cubicBezTo>
                          <a:pt x="172" y="26"/>
                          <a:pt x="172" y="25"/>
                          <a:pt x="172" y="25"/>
                        </a:cubicBezTo>
                        <a:cubicBezTo>
                          <a:pt x="172" y="26"/>
                          <a:pt x="172" y="25"/>
                          <a:pt x="172" y="26"/>
                        </a:cubicBezTo>
                        <a:cubicBezTo>
                          <a:pt x="172" y="26"/>
                          <a:pt x="172" y="26"/>
                          <a:pt x="172" y="26"/>
                        </a:cubicBezTo>
                        <a:cubicBezTo>
                          <a:pt x="171" y="26"/>
                          <a:pt x="172" y="25"/>
                          <a:pt x="172" y="25"/>
                        </a:cubicBezTo>
                        <a:cubicBezTo>
                          <a:pt x="172" y="25"/>
                          <a:pt x="172" y="25"/>
                          <a:pt x="172" y="25"/>
                        </a:cubicBezTo>
                        <a:cubicBezTo>
                          <a:pt x="172" y="25"/>
                          <a:pt x="173" y="24"/>
                          <a:pt x="174" y="25"/>
                        </a:cubicBezTo>
                        <a:cubicBezTo>
                          <a:pt x="173" y="25"/>
                          <a:pt x="173" y="25"/>
                          <a:pt x="173" y="25"/>
                        </a:cubicBezTo>
                        <a:cubicBezTo>
                          <a:pt x="172" y="25"/>
                          <a:pt x="172" y="25"/>
                          <a:pt x="172" y="25"/>
                        </a:cubicBezTo>
                        <a:cubicBezTo>
                          <a:pt x="172" y="25"/>
                          <a:pt x="172" y="25"/>
                          <a:pt x="172" y="25"/>
                        </a:cubicBezTo>
                        <a:cubicBezTo>
                          <a:pt x="172" y="25"/>
                          <a:pt x="173" y="25"/>
                          <a:pt x="173" y="25"/>
                        </a:cubicBezTo>
                        <a:cubicBezTo>
                          <a:pt x="172" y="25"/>
                          <a:pt x="172" y="25"/>
                          <a:pt x="172" y="25"/>
                        </a:cubicBezTo>
                        <a:close/>
                        <a:moveTo>
                          <a:pt x="173" y="26"/>
                        </a:moveTo>
                        <a:cubicBezTo>
                          <a:pt x="173" y="26"/>
                          <a:pt x="173" y="26"/>
                          <a:pt x="173" y="26"/>
                        </a:cubicBezTo>
                        <a:cubicBezTo>
                          <a:pt x="173" y="26"/>
                          <a:pt x="173" y="26"/>
                          <a:pt x="173" y="26"/>
                        </a:cubicBezTo>
                        <a:cubicBezTo>
                          <a:pt x="173" y="26"/>
                          <a:pt x="173" y="26"/>
                          <a:pt x="173" y="26"/>
                        </a:cubicBezTo>
                        <a:cubicBezTo>
                          <a:pt x="173" y="26"/>
                          <a:pt x="173" y="26"/>
                          <a:pt x="174" y="26"/>
                        </a:cubicBezTo>
                        <a:cubicBezTo>
                          <a:pt x="173" y="26"/>
                          <a:pt x="174" y="26"/>
                          <a:pt x="174" y="26"/>
                        </a:cubicBezTo>
                        <a:cubicBezTo>
                          <a:pt x="174" y="26"/>
                          <a:pt x="173" y="26"/>
                          <a:pt x="173" y="26"/>
                        </a:cubicBezTo>
                        <a:cubicBezTo>
                          <a:pt x="173" y="27"/>
                          <a:pt x="172" y="26"/>
                          <a:pt x="172" y="27"/>
                        </a:cubicBezTo>
                        <a:cubicBezTo>
                          <a:pt x="172" y="27"/>
                          <a:pt x="172" y="27"/>
                          <a:pt x="172" y="27"/>
                        </a:cubicBezTo>
                        <a:cubicBezTo>
                          <a:pt x="172" y="26"/>
                          <a:pt x="172" y="26"/>
                          <a:pt x="172" y="26"/>
                        </a:cubicBezTo>
                        <a:cubicBezTo>
                          <a:pt x="173" y="26"/>
                          <a:pt x="172" y="26"/>
                          <a:pt x="172" y="26"/>
                        </a:cubicBezTo>
                        <a:cubicBezTo>
                          <a:pt x="173" y="26"/>
                          <a:pt x="173" y="26"/>
                          <a:pt x="173" y="26"/>
                        </a:cubicBezTo>
                        <a:close/>
                        <a:moveTo>
                          <a:pt x="173" y="27"/>
                        </a:moveTo>
                        <a:cubicBezTo>
                          <a:pt x="173" y="27"/>
                          <a:pt x="173" y="27"/>
                          <a:pt x="172" y="27"/>
                        </a:cubicBezTo>
                        <a:cubicBezTo>
                          <a:pt x="172" y="27"/>
                          <a:pt x="173" y="27"/>
                          <a:pt x="173" y="27"/>
                        </a:cubicBezTo>
                        <a:cubicBezTo>
                          <a:pt x="173" y="27"/>
                          <a:pt x="173" y="27"/>
                          <a:pt x="173" y="27"/>
                        </a:cubicBezTo>
                        <a:close/>
                        <a:moveTo>
                          <a:pt x="171" y="19"/>
                        </a:moveTo>
                        <a:cubicBezTo>
                          <a:pt x="171" y="19"/>
                          <a:pt x="171" y="19"/>
                          <a:pt x="171" y="19"/>
                        </a:cubicBezTo>
                        <a:cubicBezTo>
                          <a:pt x="171" y="19"/>
                          <a:pt x="171" y="19"/>
                          <a:pt x="171" y="19"/>
                        </a:cubicBezTo>
                        <a:cubicBezTo>
                          <a:pt x="171" y="19"/>
                          <a:pt x="171" y="19"/>
                          <a:pt x="171" y="19"/>
                        </a:cubicBezTo>
                        <a:close/>
                        <a:moveTo>
                          <a:pt x="169" y="15"/>
                        </a:moveTo>
                        <a:cubicBezTo>
                          <a:pt x="169" y="15"/>
                          <a:pt x="170" y="15"/>
                          <a:pt x="170" y="15"/>
                        </a:cubicBezTo>
                        <a:cubicBezTo>
                          <a:pt x="170" y="15"/>
                          <a:pt x="170" y="15"/>
                          <a:pt x="170" y="15"/>
                        </a:cubicBezTo>
                        <a:cubicBezTo>
                          <a:pt x="170" y="15"/>
                          <a:pt x="170" y="15"/>
                          <a:pt x="169" y="15"/>
                        </a:cubicBezTo>
                        <a:close/>
                        <a:moveTo>
                          <a:pt x="169" y="20"/>
                        </a:moveTo>
                        <a:cubicBezTo>
                          <a:pt x="169" y="20"/>
                          <a:pt x="170" y="19"/>
                          <a:pt x="169" y="19"/>
                        </a:cubicBezTo>
                        <a:cubicBezTo>
                          <a:pt x="170" y="19"/>
                          <a:pt x="170" y="19"/>
                          <a:pt x="170" y="19"/>
                        </a:cubicBezTo>
                        <a:cubicBezTo>
                          <a:pt x="170" y="19"/>
                          <a:pt x="170" y="19"/>
                          <a:pt x="170" y="20"/>
                        </a:cubicBezTo>
                        <a:cubicBezTo>
                          <a:pt x="169" y="20"/>
                          <a:pt x="169" y="20"/>
                          <a:pt x="169" y="20"/>
                        </a:cubicBezTo>
                        <a:close/>
                        <a:moveTo>
                          <a:pt x="172" y="25"/>
                        </a:moveTo>
                        <a:cubicBezTo>
                          <a:pt x="171" y="25"/>
                          <a:pt x="171" y="25"/>
                          <a:pt x="172" y="25"/>
                        </a:cubicBezTo>
                        <a:cubicBezTo>
                          <a:pt x="171" y="25"/>
                          <a:pt x="170" y="26"/>
                          <a:pt x="169" y="26"/>
                        </a:cubicBezTo>
                        <a:cubicBezTo>
                          <a:pt x="169" y="26"/>
                          <a:pt x="170" y="26"/>
                          <a:pt x="171" y="25"/>
                        </a:cubicBezTo>
                        <a:cubicBezTo>
                          <a:pt x="171" y="25"/>
                          <a:pt x="171" y="25"/>
                          <a:pt x="171" y="25"/>
                        </a:cubicBezTo>
                        <a:cubicBezTo>
                          <a:pt x="171" y="25"/>
                          <a:pt x="171" y="25"/>
                          <a:pt x="172" y="25"/>
                        </a:cubicBezTo>
                        <a:close/>
                        <a:moveTo>
                          <a:pt x="171" y="26"/>
                        </a:moveTo>
                        <a:cubicBezTo>
                          <a:pt x="171" y="26"/>
                          <a:pt x="171" y="26"/>
                          <a:pt x="171" y="26"/>
                        </a:cubicBezTo>
                        <a:cubicBezTo>
                          <a:pt x="171" y="26"/>
                          <a:pt x="172" y="26"/>
                          <a:pt x="171" y="26"/>
                        </a:cubicBezTo>
                        <a:cubicBezTo>
                          <a:pt x="171" y="26"/>
                          <a:pt x="171" y="26"/>
                          <a:pt x="171" y="26"/>
                        </a:cubicBezTo>
                        <a:cubicBezTo>
                          <a:pt x="171" y="26"/>
                          <a:pt x="171" y="26"/>
                          <a:pt x="171" y="26"/>
                        </a:cubicBezTo>
                        <a:cubicBezTo>
                          <a:pt x="171" y="26"/>
                          <a:pt x="171" y="26"/>
                          <a:pt x="171" y="26"/>
                        </a:cubicBezTo>
                        <a:close/>
                        <a:moveTo>
                          <a:pt x="170" y="21"/>
                        </a:moveTo>
                        <a:cubicBezTo>
                          <a:pt x="170" y="21"/>
                          <a:pt x="170" y="21"/>
                          <a:pt x="170" y="21"/>
                        </a:cubicBezTo>
                        <a:cubicBezTo>
                          <a:pt x="170" y="21"/>
                          <a:pt x="170" y="21"/>
                          <a:pt x="170" y="21"/>
                        </a:cubicBezTo>
                        <a:close/>
                        <a:moveTo>
                          <a:pt x="169" y="19"/>
                        </a:moveTo>
                        <a:cubicBezTo>
                          <a:pt x="169" y="19"/>
                          <a:pt x="169" y="19"/>
                          <a:pt x="169" y="19"/>
                        </a:cubicBezTo>
                        <a:cubicBezTo>
                          <a:pt x="169" y="19"/>
                          <a:pt x="169" y="19"/>
                          <a:pt x="169" y="19"/>
                        </a:cubicBezTo>
                        <a:cubicBezTo>
                          <a:pt x="169" y="19"/>
                          <a:pt x="169" y="19"/>
                          <a:pt x="169" y="19"/>
                        </a:cubicBezTo>
                        <a:close/>
                        <a:moveTo>
                          <a:pt x="171" y="26"/>
                        </a:moveTo>
                        <a:cubicBezTo>
                          <a:pt x="170" y="26"/>
                          <a:pt x="170" y="26"/>
                          <a:pt x="170" y="26"/>
                        </a:cubicBezTo>
                        <a:cubicBezTo>
                          <a:pt x="170" y="26"/>
                          <a:pt x="170" y="26"/>
                          <a:pt x="171" y="26"/>
                        </a:cubicBezTo>
                        <a:close/>
                        <a:moveTo>
                          <a:pt x="167" y="20"/>
                        </a:moveTo>
                        <a:cubicBezTo>
                          <a:pt x="168" y="20"/>
                          <a:pt x="170" y="19"/>
                          <a:pt x="168" y="20"/>
                        </a:cubicBezTo>
                        <a:cubicBezTo>
                          <a:pt x="169" y="20"/>
                          <a:pt x="168" y="20"/>
                          <a:pt x="168" y="20"/>
                        </a:cubicBezTo>
                        <a:cubicBezTo>
                          <a:pt x="168" y="20"/>
                          <a:pt x="167" y="20"/>
                          <a:pt x="167" y="20"/>
                        </a:cubicBezTo>
                        <a:close/>
                        <a:moveTo>
                          <a:pt x="167" y="19"/>
                        </a:moveTo>
                        <a:cubicBezTo>
                          <a:pt x="167" y="19"/>
                          <a:pt x="167" y="19"/>
                          <a:pt x="168" y="19"/>
                        </a:cubicBezTo>
                        <a:cubicBezTo>
                          <a:pt x="168" y="19"/>
                          <a:pt x="168" y="19"/>
                          <a:pt x="168" y="19"/>
                        </a:cubicBezTo>
                        <a:cubicBezTo>
                          <a:pt x="168" y="19"/>
                          <a:pt x="168" y="19"/>
                          <a:pt x="167" y="19"/>
                        </a:cubicBezTo>
                        <a:close/>
                        <a:moveTo>
                          <a:pt x="169" y="24"/>
                        </a:moveTo>
                        <a:cubicBezTo>
                          <a:pt x="169" y="24"/>
                          <a:pt x="169" y="24"/>
                          <a:pt x="169" y="24"/>
                        </a:cubicBezTo>
                        <a:cubicBezTo>
                          <a:pt x="169" y="24"/>
                          <a:pt x="169" y="24"/>
                          <a:pt x="169" y="24"/>
                        </a:cubicBezTo>
                        <a:close/>
                        <a:moveTo>
                          <a:pt x="168" y="20"/>
                        </a:moveTo>
                        <a:cubicBezTo>
                          <a:pt x="168" y="20"/>
                          <a:pt x="168" y="20"/>
                          <a:pt x="168" y="21"/>
                        </a:cubicBezTo>
                        <a:cubicBezTo>
                          <a:pt x="168" y="21"/>
                          <a:pt x="168" y="20"/>
                          <a:pt x="168" y="20"/>
                        </a:cubicBezTo>
                        <a:cubicBezTo>
                          <a:pt x="168" y="20"/>
                          <a:pt x="168" y="20"/>
                          <a:pt x="168" y="20"/>
                        </a:cubicBezTo>
                        <a:close/>
                        <a:moveTo>
                          <a:pt x="166" y="20"/>
                        </a:moveTo>
                        <a:cubicBezTo>
                          <a:pt x="166" y="19"/>
                          <a:pt x="165" y="20"/>
                          <a:pt x="166" y="20"/>
                        </a:cubicBezTo>
                        <a:cubicBezTo>
                          <a:pt x="165" y="20"/>
                          <a:pt x="165" y="20"/>
                          <a:pt x="165" y="20"/>
                        </a:cubicBezTo>
                        <a:cubicBezTo>
                          <a:pt x="164" y="20"/>
                          <a:pt x="164" y="20"/>
                          <a:pt x="164" y="20"/>
                        </a:cubicBezTo>
                        <a:cubicBezTo>
                          <a:pt x="164" y="20"/>
                          <a:pt x="163" y="20"/>
                          <a:pt x="163" y="20"/>
                        </a:cubicBezTo>
                        <a:cubicBezTo>
                          <a:pt x="162" y="20"/>
                          <a:pt x="163" y="20"/>
                          <a:pt x="163" y="20"/>
                        </a:cubicBezTo>
                        <a:cubicBezTo>
                          <a:pt x="163" y="20"/>
                          <a:pt x="164" y="20"/>
                          <a:pt x="165" y="20"/>
                        </a:cubicBezTo>
                        <a:cubicBezTo>
                          <a:pt x="165" y="20"/>
                          <a:pt x="166" y="19"/>
                          <a:pt x="166" y="20"/>
                        </a:cubicBezTo>
                        <a:cubicBezTo>
                          <a:pt x="166" y="19"/>
                          <a:pt x="166" y="19"/>
                          <a:pt x="166" y="19"/>
                        </a:cubicBezTo>
                        <a:cubicBezTo>
                          <a:pt x="166" y="19"/>
                          <a:pt x="167" y="19"/>
                          <a:pt x="167" y="19"/>
                        </a:cubicBezTo>
                        <a:cubicBezTo>
                          <a:pt x="167" y="19"/>
                          <a:pt x="166" y="20"/>
                          <a:pt x="166" y="20"/>
                        </a:cubicBezTo>
                        <a:close/>
                        <a:moveTo>
                          <a:pt x="168" y="28"/>
                        </a:moveTo>
                        <a:cubicBezTo>
                          <a:pt x="168" y="28"/>
                          <a:pt x="168" y="27"/>
                          <a:pt x="168" y="27"/>
                        </a:cubicBezTo>
                        <a:cubicBezTo>
                          <a:pt x="168" y="27"/>
                          <a:pt x="168" y="28"/>
                          <a:pt x="168" y="28"/>
                        </a:cubicBezTo>
                        <a:close/>
                        <a:moveTo>
                          <a:pt x="167" y="22"/>
                        </a:moveTo>
                        <a:cubicBezTo>
                          <a:pt x="167" y="22"/>
                          <a:pt x="166" y="23"/>
                          <a:pt x="166" y="22"/>
                        </a:cubicBezTo>
                        <a:cubicBezTo>
                          <a:pt x="166" y="22"/>
                          <a:pt x="166" y="22"/>
                          <a:pt x="167" y="22"/>
                        </a:cubicBezTo>
                        <a:close/>
                        <a:moveTo>
                          <a:pt x="168" y="28"/>
                        </a:moveTo>
                        <a:cubicBezTo>
                          <a:pt x="168" y="28"/>
                          <a:pt x="168" y="28"/>
                          <a:pt x="167" y="28"/>
                        </a:cubicBezTo>
                        <a:cubicBezTo>
                          <a:pt x="167" y="28"/>
                          <a:pt x="168" y="28"/>
                          <a:pt x="168" y="28"/>
                        </a:cubicBezTo>
                        <a:cubicBezTo>
                          <a:pt x="168" y="28"/>
                          <a:pt x="168" y="28"/>
                          <a:pt x="168" y="28"/>
                        </a:cubicBezTo>
                        <a:close/>
                        <a:moveTo>
                          <a:pt x="166" y="25"/>
                        </a:moveTo>
                        <a:cubicBezTo>
                          <a:pt x="166" y="25"/>
                          <a:pt x="166" y="25"/>
                          <a:pt x="167" y="25"/>
                        </a:cubicBezTo>
                        <a:cubicBezTo>
                          <a:pt x="166" y="25"/>
                          <a:pt x="166" y="25"/>
                          <a:pt x="166" y="25"/>
                        </a:cubicBezTo>
                        <a:cubicBezTo>
                          <a:pt x="166" y="25"/>
                          <a:pt x="166" y="25"/>
                          <a:pt x="166" y="25"/>
                        </a:cubicBezTo>
                        <a:close/>
                        <a:moveTo>
                          <a:pt x="167" y="28"/>
                        </a:moveTo>
                        <a:cubicBezTo>
                          <a:pt x="167" y="28"/>
                          <a:pt x="167" y="29"/>
                          <a:pt x="167" y="29"/>
                        </a:cubicBezTo>
                        <a:cubicBezTo>
                          <a:pt x="167" y="29"/>
                          <a:pt x="167" y="28"/>
                          <a:pt x="167" y="28"/>
                        </a:cubicBezTo>
                        <a:close/>
                        <a:moveTo>
                          <a:pt x="165" y="24"/>
                        </a:moveTo>
                        <a:cubicBezTo>
                          <a:pt x="165" y="24"/>
                          <a:pt x="165" y="24"/>
                          <a:pt x="166" y="24"/>
                        </a:cubicBezTo>
                        <a:cubicBezTo>
                          <a:pt x="166" y="24"/>
                          <a:pt x="166" y="24"/>
                          <a:pt x="165" y="24"/>
                        </a:cubicBezTo>
                        <a:close/>
                        <a:moveTo>
                          <a:pt x="165" y="29"/>
                        </a:moveTo>
                        <a:cubicBezTo>
                          <a:pt x="165" y="29"/>
                          <a:pt x="165" y="29"/>
                          <a:pt x="165" y="29"/>
                        </a:cubicBezTo>
                        <a:cubicBezTo>
                          <a:pt x="166" y="28"/>
                          <a:pt x="166" y="29"/>
                          <a:pt x="166" y="29"/>
                        </a:cubicBezTo>
                        <a:cubicBezTo>
                          <a:pt x="166" y="29"/>
                          <a:pt x="165" y="29"/>
                          <a:pt x="165" y="29"/>
                        </a:cubicBezTo>
                        <a:close/>
                        <a:moveTo>
                          <a:pt x="163" y="17"/>
                        </a:moveTo>
                        <a:cubicBezTo>
                          <a:pt x="163" y="17"/>
                          <a:pt x="162" y="17"/>
                          <a:pt x="162" y="17"/>
                        </a:cubicBezTo>
                        <a:cubicBezTo>
                          <a:pt x="162" y="17"/>
                          <a:pt x="163" y="17"/>
                          <a:pt x="163" y="17"/>
                        </a:cubicBezTo>
                        <a:close/>
                        <a:moveTo>
                          <a:pt x="162" y="21"/>
                        </a:moveTo>
                        <a:cubicBezTo>
                          <a:pt x="163" y="21"/>
                          <a:pt x="163" y="21"/>
                          <a:pt x="163" y="21"/>
                        </a:cubicBezTo>
                        <a:cubicBezTo>
                          <a:pt x="163" y="21"/>
                          <a:pt x="162" y="21"/>
                          <a:pt x="162" y="21"/>
                        </a:cubicBezTo>
                        <a:close/>
                        <a:moveTo>
                          <a:pt x="162" y="20"/>
                        </a:moveTo>
                        <a:cubicBezTo>
                          <a:pt x="162" y="20"/>
                          <a:pt x="162" y="20"/>
                          <a:pt x="162" y="20"/>
                        </a:cubicBezTo>
                        <a:cubicBezTo>
                          <a:pt x="162" y="20"/>
                          <a:pt x="161" y="20"/>
                          <a:pt x="161" y="20"/>
                        </a:cubicBezTo>
                        <a:cubicBezTo>
                          <a:pt x="161" y="21"/>
                          <a:pt x="160" y="21"/>
                          <a:pt x="161" y="21"/>
                        </a:cubicBezTo>
                        <a:cubicBezTo>
                          <a:pt x="161" y="21"/>
                          <a:pt x="160" y="21"/>
                          <a:pt x="160" y="21"/>
                        </a:cubicBezTo>
                        <a:cubicBezTo>
                          <a:pt x="160" y="21"/>
                          <a:pt x="160" y="21"/>
                          <a:pt x="159" y="21"/>
                        </a:cubicBezTo>
                        <a:cubicBezTo>
                          <a:pt x="160" y="21"/>
                          <a:pt x="161" y="20"/>
                          <a:pt x="162" y="20"/>
                        </a:cubicBezTo>
                        <a:close/>
                        <a:moveTo>
                          <a:pt x="163" y="26"/>
                        </a:moveTo>
                        <a:cubicBezTo>
                          <a:pt x="163" y="26"/>
                          <a:pt x="163" y="26"/>
                          <a:pt x="163" y="26"/>
                        </a:cubicBezTo>
                        <a:cubicBezTo>
                          <a:pt x="162" y="26"/>
                          <a:pt x="162" y="26"/>
                          <a:pt x="162" y="26"/>
                        </a:cubicBezTo>
                        <a:cubicBezTo>
                          <a:pt x="162" y="26"/>
                          <a:pt x="163" y="25"/>
                          <a:pt x="163" y="26"/>
                        </a:cubicBezTo>
                        <a:close/>
                        <a:moveTo>
                          <a:pt x="161" y="24"/>
                        </a:moveTo>
                        <a:cubicBezTo>
                          <a:pt x="161" y="24"/>
                          <a:pt x="162" y="24"/>
                          <a:pt x="161" y="24"/>
                        </a:cubicBezTo>
                        <a:cubicBezTo>
                          <a:pt x="161" y="24"/>
                          <a:pt x="162" y="24"/>
                          <a:pt x="162" y="24"/>
                        </a:cubicBezTo>
                        <a:cubicBezTo>
                          <a:pt x="162" y="24"/>
                          <a:pt x="161" y="24"/>
                          <a:pt x="161" y="24"/>
                        </a:cubicBezTo>
                        <a:cubicBezTo>
                          <a:pt x="161" y="24"/>
                          <a:pt x="161" y="24"/>
                          <a:pt x="161" y="24"/>
                        </a:cubicBezTo>
                        <a:close/>
                        <a:moveTo>
                          <a:pt x="160" y="21"/>
                        </a:moveTo>
                        <a:cubicBezTo>
                          <a:pt x="160" y="21"/>
                          <a:pt x="161" y="21"/>
                          <a:pt x="161" y="21"/>
                        </a:cubicBezTo>
                        <a:cubicBezTo>
                          <a:pt x="161" y="21"/>
                          <a:pt x="160" y="21"/>
                          <a:pt x="160" y="21"/>
                        </a:cubicBezTo>
                        <a:close/>
                        <a:moveTo>
                          <a:pt x="161" y="26"/>
                        </a:moveTo>
                        <a:cubicBezTo>
                          <a:pt x="161" y="26"/>
                          <a:pt x="161" y="26"/>
                          <a:pt x="162" y="26"/>
                        </a:cubicBezTo>
                        <a:cubicBezTo>
                          <a:pt x="162" y="26"/>
                          <a:pt x="161" y="26"/>
                          <a:pt x="161" y="26"/>
                        </a:cubicBezTo>
                        <a:close/>
                        <a:moveTo>
                          <a:pt x="160" y="20"/>
                        </a:moveTo>
                        <a:cubicBezTo>
                          <a:pt x="160" y="21"/>
                          <a:pt x="159" y="21"/>
                          <a:pt x="159" y="21"/>
                        </a:cubicBezTo>
                        <a:cubicBezTo>
                          <a:pt x="159" y="20"/>
                          <a:pt x="159" y="21"/>
                          <a:pt x="160" y="20"/>
                        </a:cubicBezTo>
                        <a:close/>
                        <a:moveTo>
                          <a:pt x="161" y="25"/>
                        </a:moveTo>
                        <a:cubicBezTo>
                          <a:pt x="161" y="25"/>
                          <a:pt x="160" y="25"/>
                          <a:pt x="160" y="25"/>
                        </a:cubicBezTo>
                        <a:cubicBezTo>
                          <a:pt x="160" y="25"/>
                          <a:pt x="160" y="25"/>
                          <a:pt x="160" y="25"/>
                        </a:cubicBezTo>
                        <a:cubicBezTo>
                          <a:pt x="160" y="25"/>
                          <a:pt x="160" y="25"/>
                          <a:pt x="161" y="25"/>
                        </a:cubicBezTo>
                        <a:close/>
                        <a:moveTo>
                          <a:pt x="160" y="23"/>
                        </a:moveTo>
                        <a:cubicBezTo>
                          <a:pt x="160" y="23"/>
                          <a:pt x="159" y="23"/>
                          <a:pt x="159" y="23"/>
                        </a:cubicBezTo>
                        <a:cubicBezTo>
                          <a:pt x="159" y="23"/>
                          <a:pt x="159" y="23"/>
                          <a:pt x="160" y="23"/>
                        </a:cubicBezTo>
                        <a:close/>
                        <a:moveTo>
                          <a:pt x="158" y="22"/>
                        </a:moveTo>
                        <a:cubicBezTo>
                          <a:pt x="158" y="22"/>
                          <a:pt x="159" y="22"/>
                          <a:pt x="159" y="22"/>
                        </a:cubicBezTo>
                        <a:cubicBezTo>
                          <a:pt x="159" y="22"/>
                          <a:pt x="159" y="22"/>
                          <a:pt x="158" y="22"/>
                        </a:cubicBezTo>
                        <a:close/>
                        <a:moveTo>
                          <a:pt x="157" y="20"/>
                        </a:moveTo>
                        <a:cubicBezTo>
                          <a:pt x="157" y="19"/>
                          <a:pt x="158" y="19"/>
                          <a:pt x="158" y="19"/>
                        </a:cubicBezTo>
                        <a:cubicBezTo>
                          <a:pt x="158" y="19"/>
                          <a:pt x="158" y="19"/>
                          <a:pt x="157" y="20"/>
                        </a:cubicBezTo>
                        <a:close/>
                        <a:moveTo>
                          <a:pt x="159" y="27"/>
                        </a:moveTo>
                        <a:cubicBezTo>
                          <a:pt x="159" y="27"/>
                          <a:pt x="160" y="27"/>
                          <a:pt x="160" y="27"/>
                        </a:cubicBezTo>
                        <a:cubicBezTo>
                          <a:pt x="160" y="27"/>
                          <a:pt x="160" y="27"/>
                          <a:pt x="159" y="27"/>
                        </a:cubicBezTo>
                        <a:close/>
                        <a:moveTo>
                          <a:pt x="160" y="30"/>
                        </a:moveTo>
                        <a:cubicBezTo>
                          <a:pt x="160" y="30"/>
                          <a:pt x="160" y="30"/>
                          <a:pt x="160" y="30"/>
                        </a:cubicBezTo>
                        <a:cubicBezTo>
                          <a:pt x="160" y="30"/>
                          <a:pt x="160" y="30"/>
                          <a:pt x="160" y="30"/>
                        </a:cubicBezTo>
                        <a:cubicBezTo>
                          <a:pt x="160" y="30"/>
                          <a:pt x="160" y="30"/>
                          <a:pt x="160" y="30"/>
                        </a:cubicBezTo>
                        <a:close/>
                        <a:moveTo>
                          <a:pt x="159" y="25"/>
                        </a:moveTo>
                        <a:cubicBezTo>
                          <a:pt x="158" y="25"/>
                          <a:pt x="158" y="26"/>
                          <a:pt x="157" y="26"/>
                        </a:cubicBezTo>
                        <a:cubicBezTo>
                          <a:pt x="157" y="26"/>
                          <a:pt x="157" y="26"/>
                          <a:pt x="157" y="26"/>
                        </a:cubicBezTo>
                        <a:cubicBezTo>
                          <a:pt x="157" y="26"/>
                          <a:pt x="157" y="26"/>
                          <a:pt x="157" y="26"/>
                        </a:cubicBezTo>
                        <a:cubicBezTo>
                          <a:pt x="157" y="26"/>
                          <a:pt x="157" y="26"/>
                          <a:pt x="157" y="26"/>
                        </a:cubicBezTo>
                        <a:cubicBezTo>
                          <a:pt x="157" y="26"/>
                          <a:pt x="157" y="26"/>
                          <a:pt x="157" y="26"/>
                        </a:cubicBezTo>
                        <a:cubicBezTo>
                          <a:pt x="157" y="26"/>
                          <a:pt x="156" y="26"/>
                          <a:pt x="156" y="26"/>
                        </a:cubicBezTo>
                        <a:cubicBezTo>
                          <a:pt x="156" y="25"/>
                          <a:pt x="157" y="26"/>
                          <a:pt x="157" y="25"/>
                        </a:cubicBezTo>
                        <a:cubicBezTo>
                          <a:pt x="157" y="25"/>
                          <a:pt x="158" y="25"/>
                          <a:pt x="157" y="25"/>
                        </a:cubicBezTo>
                        <a:cubicBezTo>
                          <a:pt x="158" y="25"/>
                          <a:pt x="158" y="25"/>
                          <a:pt x="158" y="25"/>
                        </a:cubicBezTo>
                        <a:cubicBezTo>
                          <a:pt x="158" y="25"/>
                          <a:pt x="158" y="25"/>
                          <a:pt x="159" y="25"/>
                        </a:cubicBezTo>
                        <a:close/>
                        <a:moveTo>
                          <a:pt x="159" y="27"/>
                        </a:moveTo>
                        <a:cubicBezTo>
                          <a:pt x="159" y="27"/>
                          <a:pt x="159" y="27"/>
                          <a:pt x="158" y="27"/>
                        </a:cubicBezTo>
                        <a:cubicBezTo>
                          <a:pt x="158" y="27"/>
                          <a:pt x="158" y="27"/>
                          <a:pt x="158" y="27"/>
                        </a:cubicBezTo>
                        <a:cubicBezTo>
                          <a:pt x="158" y="27"/>
                          <a:pt x="158" y="27"/>
                          <a:pt x="158" y="27"/>
                        </a:cubicBezTo>
                        <a:cubicBezTo>
                          <a:pt x="158" y="27"/>
                          <a:pt x="158" y="27"/>
                          <a:pt x="158" y="27"/>
                        </a:cubicBezTo>
                        <a:cubicBezTo>
                          <a:pt x="158" y="27"/>
                          <a:pt x="158" y="27"/>
                          <a:pt x="158" y="28"/>
                        </a:cubicBezTo>
                        <a:cubicBezTo>
                          <a:pt x="157" y="27"/>
                          <a:pt x="158" y="27"/>
                          <a:pt x="158" y="27"/>
                        </a:cubicBezTo>
                        <a:cubicBezTo>
                          <a:pt x="158" y="27"/>
                          <a:pt x="158" y="27"/>
                          <a:pt x="158" y="27"/>
                        </a:cubicBezTo>
                        <a:cubicBezTo>
                          <a:pt x="159" y="27"/>
                          <a:pt x="158" y="27"/>
                          <a:pt x="159" y="27"/>
                        </a:cubicBezTo>
                        <a:cubicBezTo>
                          <a:pt x="159" y="27"/>
                          <a:pt x="159" y="27"/>
                          <a:pt x="159" y="27"/>
                        </a:cubicBezTo>
                        <a:close/>
                        <a:moveTo>
                          <a:pt x="157" y="26"/>
                        </a:moveTo>
                        <a:cubicBezTo>
                          <a:pt x="157" y="26"/>
                          <a:pt x="158" y="26"/>
                          <a:pt x="158" y="26"/>
                        </a:cubicBezTo>
                        <a:cubicBezTo>
                          <a:pt x="158" y="26"/>
                          <a:pt x="157" y="26"/>
                          <a:pt x="157" y="26"/>
                        </a:cubicBezTo>
                        <a:cubicBezTo>
                          <a:pt x="157" y="26"/>
                          <a:pt x="157" y="26"/>
                          <a:pt x="157" y="26"/>
                        </a:cubicBezTo>
                        <a:cubicBezTo>
                          <a:pt x="157" y="26"/>
                          <a:pt x="157" y="26"/>
                          <a:pt x="157" y="26"/>
                        </a:cubicBezTo>
                        <a:close/>
                        <a:moveTo>
                          <a:pt x="158" y="28"/>
                        </a:moveTo>
                        <a:cubicBezTo>
                          <a:pt x="158" y="29"/>
                          <a:pt x="158" y="28"/>
                          <a:pt x="158" y="29"/>
                        </a:cubicBezTo>
                        <a:cubicBezTo>
                          <a:pt x="158" y="29"/>
                          <a:pt x="157" y="29"/>
                          <a:pt x="158" y="29"/>
                        </a:cubicBezTo>
                        <a:cubicBezTo>
                          <a:pt x="157" y="29"/>
                          <a:pt x="157" y="29"/>
                          <a:pt x="157" y="29"/>
                        </a:cubicBezTo>
                        <a:cubicBezTo>
                          <a:pt x="157" y="29"/>
                          <a:pt x="157" y="29"/>
                          <a:pt x="157" y="29"/>
                        </a:cubicBezTo>
                        <a:cubicBezTo>
                          <a:pt x="157" y="28"/>
                          <a:pt x="157" y="28"/>
                          <a:pt x="156" y="29"/>
                        </a:cubicBezTo>
                        <a:cubicBezTo>
                          <a:pt x="157" y="28"/>
                          <a:pt x="157" y="28"/>
                          <a:pt x="158" y="28"/>
                        </a:cubicBezTo>
                        <a:close/>
                        <a:moveTo>
                          <a:pt x="156" y="22"/>
                        </a:moveTo>
                        <a:cubicBezTo>
                          <a:pt x="156" y="22"/>
                          <a:pt x="156" y="22"/>
                          <a:pt x="155" y="22"/>
                        </a:cubicBezTo>
                        <a:cubicBezTo>
                          <a:pt x="155" y="22"/>
                          <a:pt x="156" y="22"/>
                          <a:pt x="156" y="22"/>
                        </a:cubicBezTo>
                        <a:close/>
                        <a:moveTo>
                          <a:pt x="156" y="25"/>
                        </a:moveTo>
                        <a:cubicBezTo>
                          <a:pt x="156" y="25"/>
                          <a:pt x="156" y="25"/>
                          <a:pt x="156" y="25"/>
                        </a:cubicBezTo>
                        <a:cubicBezTo>
                          <a:pt x="156" y="25"/>
                          <a:pt x="156" y="25"/>
                          <a:pt x="156" y="25"/>
                        </a:cubicBezTo>
                        <a:close/>
                        <a:moveTo>
                          <a:pt x="157" y="27"/>
                        </a:moveTo>
                        <a:cubicBezTo>
                          <a:pt x="157" y="27"/>
                          <a:pt x="156" y="27"/>
                          <a:pt x="156" y="27"/>
                        </a:cubicBezTo>
                        <a:cubicBezTo>
                          <a:pt x="156" y="26"/>
                          <a:pt x="156" y="27"/>
                          <a:pt x="157" y="27"/>
                        </a:cubicBezTo>
                        <a:close/>
                        <a:moveTo>
                          <a:pt x="156" y="25"/>
                        </a:moveTo>
                        <a:cubicBezTo>
                          <a:pt x="155" y="25"/>
                          <a:pt x="155" y="25"/>
                          <a:pt x="155" y="25"/>
                        </a:cubicBezTo>
                        <a:cubicBezTo>
                          <a:pt x="155" y="25"/>
                          <a:pt x="154" y="26"/>
                          <a:pt x="154" y="25"/>
                        </a:cubicBezTo>
                        <a:cubicBezTo>
                          <a:pt x="154" y="25"/>
                          <a:pt x="154" y="26"/>
                          <a:pt x="154" y="26"/>
                        </a:cubicBezTo>
                        <a:cubicBezTo>
                          <a:pt x="154" y="26"/>
                          <a:pt x="153" y="26"/>
                          <a:pt x="153" y="25"/>
                        </a:cubicBezTo>
                        <a:cubicBezTo>
                          <a:pt x="154" y="25"/>
                          <a:pt x="155" y="25"/>
                          <a:pt x="156" y="25"/>
                        </a:cubicBezTo>
                        <a:close/>
                        <a:moveTo>
                          <a:pt x="157" y="31"/>
                        </a:moveTo>
                        <a:cubicBezTo>
                          <a:pt x="157" y="31"/>
                          <a:pt x="156" y="31"/>
                          <a:pt x="156" y="31"/>
                        </a:cubicBezTo>
                        <a:cubicBezTo>
                          <a:pt x="156" y="31"/>
                          <a:pt x="156" y="31"/>
                          <a:pt x="156" y="31"/>
                        </a:cubicBezTo>
                        <a:cubicBezTo>
                          <a:pt x="156" y="31"/>
                          <a:pt x="157" y="30"/>
                          <a:pt x="157" y="31"/>
                        </a:cubicBezTo>
                        <a:close/>
                        <a:moveTo>
                          <a:pt x="156" y="29"/>
                        </a:moveTo>
                        <a:cubicBezTo>
                          <a:pt x="156" y="29"/>
                          <a:pt x="156" y="29"/>
                          <a:pt x="156" y="29"/>
                        </a:cubicBezTo>
                        <a:cubicBezTo>
                          <a:pt x="156" y="29"/>
                          <a:pt x="156" y="29"/>
                          <a:pt x="156" y="29"/>
                        </a:cubicBezTo>
                        <a:close/>
                        <a:moveTo>
                          <a:pt x="155" y="32"/>
                        </a:moveTo>
                        <a:cubicBezTo>
                          <a:pt x="154" y="32"/>
                          <a:pt x="153" y="32"/>
                          <a:pt x="152" y="32"/>
                        </a:cubicBezTo>
                        <a:cubicBezTo>
                          <a:pt x="153" y="32"/>
                          <a:pt x="155" y="31"/>
                          <a:pt x="156" y="31"/>
                        </a:cubicBezTo>
                        <a:cubicBezTo>
                          <a:pt x="156" y="31"/>
                          <a:pt x="155" y="32"/>
                          <a:pt x="155" y="32"/>
                        </a:cubicBezTo>
                        <a:close/>
                        <a:moveTo>
                          <a:pt x="152" y="23"/>
                        </a:moveTo>
                        <a:cubicBezTo>
                          <a:pt x="153" y="23"/>
                          <a:pt x="153" y="23"/>
                          <a:pt x="153" y="23"/>
                        </a:cubicBezTo>
                        <a:cubicBezTo>
                          <a:pt x="153" y="23"/>
                          <a:pt x="153" y="23"/>
                          <a:pt x="152" y="23"/>
                        </a:cubicBezTo>
                        <a:close/>
                        <a:moveTo>
                          <a:pt x="154" y="29"/>
                        </a:moveTo>
                        <a:cubicBezTo>
                          <a:pt x="154" y="29"/>
                          <a:pt x="154" y="29"/>
                          <a:pt x="154" y="29"/>
                        </a:cubicBezTo>
                        <a:cubicBezTo>
                          <a:pt x="154" y="28"/>
                          <a:pt x="154" y="29"/>
                          <a:pt x="155" y="28"/>
                        </a:cubicBezTo>
                        <a:cubicBezTo>
                          <a:pt x="154" y="29"/>
                          <a:pt x="154" y="29"/>
                          <a:pt x="154" y="29"/>
                        </a:cubicBezTo>
                        <a:close/>
                        <a:moveTo>
                          <a:pt x="152" y="25"/>
                        </a:moveTo>
                        <a:cubicBezTo>
                          <a:pt x="153" y="25"/>
                          <a:pt x="153" y="25"/>
                          <a:pt x="153" y="25"/>
                        </a:cubicBezTo>
                        <a:cubicBezTo>
                          <a:pt x="153" y="25"/>
                          <a:pt x="152" y="25"/>
                          <a:pt x="151" y="25"/>
                        </a:cubicBezTo>
                        <a:cubicBezTo>
                          <a:pt x="151" y="25"/>
                          <a:pt x="152" y="25"/>
                          <a:pt x="152" y="25"/>
                        </a:cubicBezTo>
                        <a:close/>
                        <a:moveTo>
                          <a:pt x="151" y="25"/>
                        </a:moveTo>
                        <a:cubicBezTo>
                          <a:pt x="151" y="25"/>
                          <a:pt x="151" y="25"/>
                          <a:pt x="151" y="25"/>
                        </a:cubicBezTo>
                        <a:cubicBezTo>
                          <a:pt x="151" y="25"/>
                          <a:pt x="151" y="25"/>
                          <a:pt x="151" y="25"/>
                        </a:cubicBezTo>
                        <a:cubicBezTo>
                          <a:pt x="151" y="25"/>
                          <a:pt x="151" y="25"/>
                          <a:pt x="151" y="25"/>
                        </a:cubicBezTo>
                        <a:cubicBezTo>
                          <a:pt x="151" y="25"/>
                          <a:pt x="151" y="25"/>
                          <a:pt x="151" y="25"/>
                        </a:cubicBezTo>
                        <a:close/>
                        <a:moveTo>
                          <a:pt x="149" y="33"/>
                        </a:moveTo>
                        <a:cubicBezTo>
                          <a:pt x="150" y="33"/>
                          <a:pt x="151" y="33"/>
                          <a:pt x="149" y="33"/>
                        </a:cubicBezTo>
                        <a:close/>
                        <a:moveTo>
                          <a:pt x="149" y="29"/>
                        </a:moveTo>
                        <a:cubicBezTo>
                          <a:pt x="149" y="29"/>
                          <a:pt x="149" y="29"/>
                          <a:pt x="148" y="29"/>
                        </a:cubicBezTo>
                        <a:cubicBezTo>
                          <a:pt x="148" y="29"/>
                          <a:pt x="148" y="29"/>
                          <a:pt x="148" y="29"/>
                        </a:cubicBezTo>
                        <a:cubicBezTo>
                          <a:pt x="148" y="29"/>
                          <a:pt x="149" y="29"/>
                          <a:pt x="149" y="29"/>
                        </a:cubicBezTo>
                        <a:close/>
                        <a:moveTo>
                          <a:pt x="148" y="27"/>
                        </a:moveTo>
                        <a:cubicBezTo>
                          <a:pt x="148" y="26"/>
                          <a:pt x="148" y="27"/>
                          <a:pt x="148" y="26"/>
                        </a:cubicBezTo>
                        <a:cubicBezTo>
                          <a:pt x="148" y="27"/>
                          <a:pt x="148" y="27"/>
                          <a:pt x="148" y="27"/>
                        </a:cubicBezTo>
                        <a:close/>
                        <a:moveTo>
                          <a:pt x="149" y="30"/>
                        </a:moveTo>
                        <a:cubicBezTo>
                          <a:pt x="149" y="30"/>
                          <a:pt x="148" y="31"/>
                          <a:pt x="148" y="30"/>
                        </a:cubicBezTo>
                        <a:cubicBezTo>
                          <a:pt x="148" y="30"/>
                          <a:pt x="149" y="30"/>
                          <a:pt x="149" y="30"/>
                        </a:cubicBezTo>
                        <a:close/>
                        <a:moveTo>
                          <a:pt x="147" y="25"/>
                        </a:moveTo>
                        <a:cubicBezTo>
                          <a:pt x="147" y="25"/>
                          <a:pt x="147" y="25"/>
                          <a:pt x="147" y="25"/>
                        </a:cubicBezTo>
                        <a:cubicBezTo>
                          <a:pt x="147" y="25"/>
                          <a:pt x="147" y="25"/>
                          <a:pt x="147" y="25"/>
                        </a:cubicBezTo>
                        <a:close/>
                        <a:moveTo>
                          <a:pt x="146" y="28"/>
                        </a:moveTo>
                        <a:cubicBezTo>
                          <a:pt x="146" y="28"/>
                          <a:pt x="146" y="28"/>
                          <a:pt x="146" y="28"/>
                        </a:cubicBezTo>
                        <a:cubicBezTo>
                          <a:pt x="146" y="27"/>
                          <a:pt x="146" y="27"/>
                          <a:pt x="146" y="27"/>
                        </a:cubicBezTo>
                        <a:cubicBezTo>
                          <a:pt x="147" y="27"/>
                          <a:pt x="147" y="27"/>
                          <a:pt x="148" y="27"/>
                        </a:cubicBezTo>
                        <a:cubicBezTo>
                          <a:pt x="147" y="27"/>
                          <a:pt x="146" y="27"/>
                          <a:pt x="146" y="28"/>
                        </a:cubicBezTo>
                        <a:close/>
                        <a:moveTo>
                          <a:pt x="146" y="26"/>
                        </a:moveTo>
                        <a:cubicBezTo>
                          <a:pt x="146" y="26"/>
                          <a:pt x="146" y="26"/>
                          <a:pt x="146" y="26"/>
                        </a:cubicBezTo>
                        <a:cubicBezTo>
                          <a:pt x="147" y="26"/>
                          <a:pt x="147" y="26"/>
                          <a:pt x="146" y="26"/>
                        </a:cubicBezTo>
                        <a:close/>
                        <a:moveTo>
                          <a:pt x="147" y="29"/>
                        </a:moveTo>
                        <a:cubicBezTo>
                          <a:pt x="147" y="29"/>
                          <a:pt x="147" y="29"/>
                          <a:pt x="147" y="29"/>
                        </a:cubicBezTo>
                        <a:cubicBezTo>
                          <a:pt x="147" y="29"/>
                          <a:pt x="147" y="29"/>
                          <a:pt x="147" y="29"/>
                        </a:cubicBezTo>
                        <a:cubicBezTo>
                          <a:pt x="147" y="29"/>
                          <a:pt x="147" y="29"/>
                          <a:pt x="147" y="29"/>
                        </a:cubicBezTo>
                        <a:cubicBezTo>
                          <a:pt x="147" y="29"/>
                          <a:pt x="147" y="29"/>
                          <a:pt x="147" y="29"/>
                        </a:cubicBezTo>
                        <a:close/>
                        <a:moveTo>
                          <a:pt x="146" y="30"/>
                        </a:moveTo>
                        <a:cubicBezTo>
                          <a:pt x="147" y="29"/>
                          <a:pt x="147" y="29"/>
                          <a:pt x="147" y="29"/>
                        </a:cubicBezTo>
                        <a:cubicBezTo>
                          <a:pt x="147" y="30"/>
                          <a:pt x="146" y="30"/>
                          <a:pt x="146" y="30"/>
                        </a:cubicBezTo>
                        <a:close/>
                        <a:moveTo>
                          <a:pt x="146" y="28"/>
                        </a:moveTo>
                        <a:cubicBezTo>
                          <a:pt x="146" y="28"/>
                          <a:pt x="146" y="28"/>
                          <a:pt x="146" y="28"/>
                        </a:cubicBezTo>
                        <a:cubicBezTo>
                          <a:pt x="147" y="28"/>
                          <a:pt x="146" y="28"/>
                          <a:pt x="146" y="28"/>
                        </a:cubicBezTo>
                        <a:close/>
                        <a:moveTo>
                          <a:pt x="146" y="34"/>
                        </a:moveTo>
                        <a:cubicBezTo>
                          <a:pt x="147" y="34"/>
                          <a:pt x="147" y="34"/>
                          <a:pt x="147" y="34"/>
                        </a:cubicBezTo>
                        <a:cubicBezTo>
                          <a:pt x="147" y="34"/>
                          <a:pt x="147" y="34"/>
                          <a:pt x="146" y="34"/>
                        </a:cubicBezTo>
                        <a:close/>
                        <a:moveTo>
                          <a:pt x="144" y="23"/>
                        </a:moveTo>
                        <a:cubicBezTo>
                          <a:pt x="144" y="23"/>
                          <a:pt x="144" y="23"/>
                          <a:pt x="144" y="23"/>
                        </a:cubicBezTo>
                        <a:cubicBezTo>
                          <a:pt x="144" y="23"/>
                          <a:pt x="144" y="23"/>
                          <a:pt x="144" y="23"/>
                        </a:cubicBezTo>
                        <a:cubicBezTo>
                          <a:pt x="144" y="23"/>
                          <a:pt x="144" y="23"/>
                          <a:pt x="144" y="23"/>
                        </a:cubicBezTo>
                        <a:close/>
                        <a:moveTo>
                          <a:pt x="146" y="29"/>
                        </a:moveTo>
                        <a:cubicBezTo>
                          <a:pt x="146" y="29"/>
                          <a:pt x="146" y="29"/>
                          <a:pt x="146" y="29"/>
                        </a:cubicBezTo>
                        <a:cubicBezTo>
                          <a:pt x="146" y="29"/>
                          <a:pt x="146" y="29"/>
                          <a:pt x="145" y="29"/>
                        </a:cubicBezTo>
                        <a:cubicBezTo>
                          <a:pt x="145" y="29"/>
                          <a:pt x="146" y="29"/>
                          <a:pt x="146" y="29"/>
                        </a:cubicBezTo>
                        <a:cubicBezTo>
                          <a:pt x="146" y="29"/>
                          <a:pt x="146" y="29"/>
                          <a:pt x="146" y="29"/>
                        </a:cubicBezTo>
                        <a:close/>
                        <a:moveTo>
                          <a:pt x="144" y="25"/>
                        </a:moveTo>
                        <a:cubicBezTo>
                          <a:pt x="144" y="25"/>
                          <a:pt x="144" y="25"/>
                          <a:pt x="144" y="25"/>
                        </a:cubicBezTo>
                        <a:cubicBezTo>
                          <a:pt x="144" y="25"/>
                          <a:pt x="144" y="25"/>
                          <a:pt x="145" y="25"/>
                        </a:cubicBezTo>
                        <a:cubicBezTo>
                          <a:pt x="145" y="25"/>
                          <a:pt x="145" y="25"/>
                          <a:pt x="144" y="25"/>
                        </a:cubicBezTo>
                        <a:close/>
                        <a:moveTo>
                          <a:pt x="145" y="27"/>
                        </a:moveTo>
                        <a:cubicBezTo>
                          <a:pt x="144" y="27"/>
                          <a:pt x="144" y="27"/>
                          <a:pt x="144" y="27"/>
                        </a:cubicBezTo>
                        <a:cubicBezTo>
                          <a:pt x="144" y="26"/>
                          <a:pt x="145" y="26"/>
                          <a:pt x="145" y="27"/>
                        </a:cubicBezTo>
                        <a:close/>
                        <a:moveTo>
                          <a:pt x="145" y="33"/>
                        </a:moveTo>
                        <a:cubicBezTo>
                          <a:pt x="145" y="33"/>
                          <a:pt x="145" y="33"/>
                          <a:pt x="145" y="33"/>
                        </a:cubicBezTo>
                        <a:cubicBezTo>
                          <a:pt x="145" y="33"/>
                          <a:pt x="145" y="32"/>
                          <a:pt x="145" y="33"/>
                        </a:cubicBezTo>
                        <a:close/>
                        <a:moveTo>
                          <a:pt x="144" y="29"/>
                        </a:moveTo>
                        <a:cubicBezTo>
                          <a:pt x="144" y="29"/>
                          <a:pt x="144" y="29"/>
                          <a:pt x="144" y="29"/>
                        </a:cubicBezTo>
                        <a:cubicBezTo>
                          <a:pt x="144" y="28"/>
                          <a:pt x="144" y="28"/>
                          <a:pt x="144" y="29"/>
                        </a:cubicBezTo>
                        <a:close/>
                        <a:moveTo>
                          <a:pt x="144" y="29"/>
                        </a:moveTo>
                        <a:cubicBezTo>
                          <a:pt x="144" y="29"/>
                          <a:pt x="144" y="29"/>
                          <a:pt x="144" y="29"/>
                        </a:cubicBezTo>
                        <a:cubicBezTo>
                          <a:pt x="144" y="29"/>
                          <a:pt x="144" y="29"/>
                          <a:pt x="144" y="29"/>
                        </a:cubicBezTo>
                        <a:close/>
                        <a:moveTo>
                          <a:pt x="142" y="25"/>
                        </a:moveTo>
                        <a:cubicBezTo>
                          <a:pt x="142" y="25"/>
                          <a:pt x="142" y="24"/>
                          <a:pt x="143" y="24"/>
                        </a:cubicBezTo>
                        <a:cubicBezTo>
                          <a:pt x="143" y="25"/>
                          <a:pt x="142" y="25"/>
                          <a:pt x="142" y="25"/>
                        </a:cubicBezTo>
                        <a:close/>
                        <a:moveTo>
                          <a:pt x="144" y="33"/>
                        </a:moveTo>
                        <a:cubicBezTo>
                          <a:pt x="144" y="33"/>
                          <a:pt x="144" y="33"/>
                          <a:pt x="143" y="33"/>
                        </a:cubicBezTo>
                        <a:cubicBezTo>
                          <a:pt x="144" y="33"/>
                          <a:pt x="144" y="33"/>
                          <a:pt x="145" y="33"/>
                        </a:cubicBezTo>
                        <a:cubicBezTo>
                          <a:pt x="144" y="33"/>
                          <a:pt x="144" y="33"/>
                          <a:pt x="145" y="33"/>
                        </a:cubicBezTo>
                        <a:cubicBezTo>
                          <a:pt x="145" y="33"/>
                          <a:pt x="144" y="33"/>
                          <a:pt x="144" y="33"/>
                        </a:cubicBezTo>
                        <a:cubicBezTo>
                          <a:pt x="144" y="33"/>
                          <a:pt x="144" y="33"/>
                          <a:pt x="144" y="33"/>
                        </a:cubicBezTo>
                        <a:cubicBezTo>
                          <a:pt x="144" y="33"/>
                          <a:pt x="144" y="33"/>
                          <a:pt x="144" y="33"/>
                        </a:cubicBezTo>
                        <a:close/>
                        <a:moveTo>
                          <a:pt x="143" y="26"/>
                        </a:moveTo>
                        <a:cubicBezTo>
                          <a:pt x="142" y="26"/>
                          <a:pt x="142" y="26"/>
                          <a:pt x="142" y="26"/>
                        </a:cubicBezTo>
                        <a:cubicBezTo>
                          <a:pt x="142" y="26"/>
                          <a:pt x="142" y="26"/>
                          <a:pt x="143" y="26"/>
                        </a:cubicBezTo>
                        <a:cubicBezTo>
                          <a:pt x="143" y="26"/>
                          <a:pt x="142" y="26"/>
                          <a:pt x="143" y="26"/>
                        </a:cubicBezTo>
                        <a:close/>
                        <a:moveTo>
                          <a:pt x="142" y="23"/>
                        </a:moveTo>
                        <a:cubicBezTo>
                          <a:pt x="141" y="23"/>
                          <a:pt x="141" y="23"/>
                          <a:pt x="141" y="23"/>
                        </a:cubicBezTo>
                        <a:cubicBezTo>
                          <a:pt x="141" y="23"/>
                          <a:pt x="141" y="22"/>
                          <a:pt x="142" y="22"/>
                        </a:cubicBezTo>
                        <a:cubicBezTo>
                          <a:pt x="142" y="22"/>
                          <a:pt x="142" y="22"/>
                          <a:pt x="142" y="23"/>
                        </a:cubicBezTo>
                        <a:close/>
                        <a:moveTo>
                          <a:pt x="140" y="24"/>
                        </a:moveTo>
                        <a:cubicBezTo>
                          <a:pt x="139" y="24"/>
                          <a:pt x="137" y="24"/>
                          <a:pt x="136" y="24"/>
                        </a:cubicBezTo>
                        <a:cubicBezTo>
                          <a:pt x="138" y="24"/>
                          <a:pt x="139" y="24"/>
                          <a:pt x="141" y="23"/>
                        </a:cubicBezTo>
                        <a:cubicBezTo>
                          <a:pt x="140" y="23"/>
                          <a:pt x="141" y="23"/>
                          <a:pt x="141" y="23"/>
                        </a:cubicBezTo>
                        <a:cubicBezTo>
                          <a:pt x="141" y="24"/>
                          <a:pt x="140" y="23"/>
                          <a:pt x="140" y="24"/>
                        </a:cubicBezTo>
                        <a:close/>
                        <a:moveTo>
                          <a:pt x="142" y="27"/>
                        </a:moveTo>
                        <a:cubicBezTo>
                          <a:pt x="142" y="27"/>
                          <a:pt x="141" y="27"/>
                          <a:pt x="141" y="27"/>
                        </a:cubicBezTo>
                        <a:cubicBezTo>
                          <a:pt x="141" y="27"/>
                          <a:pt x="142" y="27"/>
                          <a:pt x="142" y="27"/>
                        </a:cubicBezTo>
                        <a:close/>
                        <a:moveTo>
                          <a:pt x="142" y="27"/>
                        </a:moveTo>
                        <a:cubicBezTo>
                          <a:pt x="142" y="27"/>
                          <a:pt x="142" y="28"/>
                          <a:pt x="141" y="28"/>
                        </a:cubicBezTo>
                        <a:cubicBezTo>
                          <a:pt x="141" y="28"/>
                          <a:pt x="142" y="27"/>
                          <a:pt x="142" y="27"/>
                        </a:cubicBezTo>
                        <a:cubicBezTo>
                          <a:pt x="142" y="27"/>
                          <a:pt x="142" y="27"/>
                          <a:pt x="142" y="27"/>
                        </a:cubicBezTo>
                        <a:close/>
                        <a:moveTo>
                          <a:pt x="141" y="23"/>
                        </a:moveTo>
                        <a:cubicBezTo>
                          <a:pt x="141" y="23"/>
                          <a:pt x="141" y="23"/>
                          <a:pt x="140" y="23"/>
                        </a:cubicBezTo>
                        <a:cubicBezTo>
                          <a:pt x="140" y="23"/>
                          <a:pt x="141" y="23"/>
                          <a:pt x="141" y="23"/>
                        </a:cubicBezTo>
                        <a:close/>
                        <a:moveTo>
                          <a:pt x="141" y="26"/>
                        </a:moveTo>
                        <a:cubicBezTo>
                          <a:pt x="141" y="26"/>
                          <a:pt x="141" y="25"/>
                          <a:pt x="141" y="25"/>
                        </a:cubicBezTo>
                        <a:cubicBezTo>
                          <a:pt x="142" y="25"/>
                          <a:pt x="141" y="26"/>
                          <a:pt x="142" y="26"/>
                        </a:cubicBezTo>
                        <a:cubicBezTo>
                          <a:pt x="142" y="26"/>
                          <a:pt x="141" y="25"/>
                          <a:pt x="141" y="26"/>
                        </a:cubicBezTo>
                        <a:close/>
                        <a:moveTo>
                          <a:pt x="141" y="26"/>
                        </a:moveTo>
                        <a:cubicBezTo>
                          <a:pt x="141" y="26"/>
                          <a:pt x="142" y="26"/>
                          <a:pt x="141" y="26"/>
                        </a:cubicBezTo>
                        <a:cubicBezTo>
                          <a:pt x="141" y="26"/>
                          <a:pt x="141" y="26"/>
                          <a:pt x="141" y="26"/>
                        </a:cubicBezTo>
                        <a:cubicBezTo>
                          <a:pt x="141" y="26"/>
                          <a:pt x="141" y="26"/>
                          <a:pt x="142" y="26"/>
                        </a:cubicBezTo>
                        <a:cubicBezTo>
                          <a:pt x="142" y="26"/>
                          <a:pt x="142" y="26"/>
                          <a:pt x="142" y="26"/>
                        </a:cubicBezTo>
                        <a:lnTo>
                          <a:pt x="141" y="26"/>
                        </a:lnTo>
                        <a:close/>
                        <a:moveTo>
                          <a:pt x="139" y="24"/>
                        </a:moveTo>
                        <a:cubicBezTo>
                          <a:pt x="140" y="24"/>
                          <a:pt x="140" y="24"/>
                          <a:pt x="141" y="24"/>
                        </a:cubicBezTo>
                        <a:cubicBezTo>
                          <a:pt x="141" y="24"/>
                          <a:pt x="141" y="24"/>
                          <a:pt x="140" y="24"/>
                        </a:cubicBezTo>
                        <a:cubicBezTo>
                          <a:pt x="140" y="24"/>
                          <a:pt x="140" y="24"/>
                          <a:pt x="139" y="24"/>
                        </a:cubicBezTo>
                        <a:close/>
                        <a:moveTo>
                          <a:pt x="140" y="24"/>
                        </a:moveTo>
                        <a:cubicBezTo>
                          <a:pt x="140" y="24"/>
                          <a:pt x="140" y="24"/>
                          <a:pt x="140" y="24"/>
                        </a:cubicBezTo>
                        <a:cubicBezTo>
                          <a:pt x="140" y="24"/>
                          <a:pt x="141" y="24"/>
                          <a:pt x="141" y="24"/>
                        </a:cubicBezTo>
                        <a:cubicBezTo>
                          <a:pt x="141" y="24"/>
                          <a:pt x="140" y="24"/>
                          <a:pt x="140" y="24"/>
                        </a:cubicBezTo>
                        <a:close/>
                        <a:moveTo>
                          <a:pt x="141" y="29"/>
                        </a:moveTo>
                        <a:cubicBezTo>
                          <a:pt x="141" y="29"/>
                          <a:pt x="141" y="28"/>
                          <a:pt x="141" y="29"/>
                        </a:cubicBezTo>
                        <a:cubicBezTo>
                          <a:pt x="141" y="28"/>
                          <a:pt x="141" y="28"/>
                          <a:pt x="142" y="28"/>
                        </a:cubicBezTo>
                        <a:cubicBezTo>
                          <a:pt x="142" y="28"/>
                          <a:pt x="141" y="29"/>
                          <a:pt x="141" y="29"/>
                        </a:cubicBezTo>
                        <a:cubicBezTo>
                          <a:pt x="141" y="29"/>
                          <a:pt x="141" y="29"/>
                          <a:pt x="141" y="29"/>
                        </a:cubicBezTo>
                        <a:close/>
                        <a:moveTo>
                          <a:pt x="142" y="30"/>
                        </a:moveTo>
                        <a:cubicBezTo>
                          <a:pt x="142" y="30"/>
                          <a:pt x="142" y="30"/>
                          <a:pt x="141" y="30"/>
                        </a:cubicBezTo>
                        <a:cubicBezTo>
                          <a:pt x="141" y="30"/>
                          <a:pt x="142" y="30"/>
                          <a:pt x="142" y="30"/>
                        </a:cubicBezTo>
                        <a:close/>
                        <a:moveTo>
                          <a:pt x="141" y="30"/>
                        </a:moveTo>
                        <a:cubicBezTo>
                          <a:pt x="141" y="30"/>
                          <a:pt x="141" y="30"/>
                          <a:pt x="141" y="30"/>
                        </a:cubicBezTo>
                        <a:cubicBezTo>
                          <a:pt x="142" y="30"/>
                          <a:pt x="141" y="30"/>
                          <a:pt x="141" y="30"/>
                        </a:cubicBezTo>
                        <a:close/>
                        <a:moveTo>
                          <a:pt x="141" y="27"/>
                        </a:moveTo>
                        <a:cubicBezTo>
                          <a:pt x="140" y="27"/>
                          <a:pt x="140" y="27"/>
                          <a:pt x="140" y="27"/>
                        </a:cubicBezTo>
                        <a:cubicBezTo>
                          <a:pt x="140" y="27"/>
                          <a:pt x="140" y="27"/>
                          <a:pt x="140" y="27"/>
                        </a:cubicBezTo>
                        <a:cubicBezTo>
                          <a:pt x="140" y="27"/>
                          <a:pt x="140" y="27"/>
                          <a:pt x="140" y="27"/>
                        </a:cubicBezTo>
                        <a:cubicBezTo>
                          <a:pt x="141" y="27"/>
                          <a:pt x="140" y="27"/>
                          <a:pt x="141" y="27"/>
                        </a:cubicBezTo>
                        <a:close/>
                        <a:moveTo>
                          <a:pt x="140" y="28"/>
                        </a:moveTo>
                        <a:cubicBezTo>
                          <a:pt x="140" y="28"/>
                          <a:pt x="140" y="28"/>
                          <a:pt x="140" y="28"/>
                        </a:cubicBezTo>
                        <a:cubicBezTo>
                          <a:pt x="140" y="28"/>
                          <a:pt x="140" y="28"/>
                          <a:pt x="141" y="28"/>
                        </a:cubicBezTo>
                        <a:cubicBezTo>
                          <a:pt x="141" y="28"/>
                          <a:pt x="140" y="28"/>
                          <a:pt x="140" y="28"/>
                        </a:cubicBezTo>
                        <a:cubicBezTo>
                          <a:pt x="140" y="28"/>
                          <a:pt x="140" y="28"/>
                          <a:pt x="140" y="28"/>
                        </a:cubicBezTo>
                        <a:close/>
                        <a:moveTo>
                          <a:pt x="141" y="29"/>
                        </a:moveTo>
                        <a:cubicBezTo>
                          <a:pt x="141" y="30"/>
                          <a:pt x="140" y="30"/>
                          <a:pt x="140" y="30"/>
                        </a:cubicBezTo>
                        <a:cubicBezTo>
                          <a:pt x="140" y="29"/>
                          <a:pt x="140" y="30"/>
                          <a:pt x="141" y="29"/>
                        </a:cubicBezTo>
                        <a:close/>
                        <a:moveTo>
                          <a:pt x="141" y="30"/>
                        </a:moveTo>
                        <a:cubicBezTo>
                          <a:pt x="141" y="30"/>
                          <a:pt x="141" y="30"/>
                          <a:pt x="141" y="30"/>
                        </a:cubicBezTo>
                        <a:cubicBezTo>
                          <a:pt x="141" y="30"/>
                          <a:pt x="141" y="30"/>
                          <a:pt x="141" y="30"/>
                        </a:cubicBezTo>
                        <a:close/>
                        <a:moveTo>
                          <a:pt x="139" y="24"/>
                        </a:moveTo>
                        <a:cubicBezTo>
                          <a:pt x="139" y="24"/>
                          <a:pt x="139" y="24"/>
                          <a:pt x="139" y="24"/>
                        </a:cubicBezTo>
                        <a:cubicBezTo>
                          <a:pt x="139" y="24"/>
                          <a:pt x="139" y="25"/>
                          <a:pt x="139" y="24"/>
                        </a:cubicBezTo>
                        <a:close/>
                        <a:moveTo>
                          <a:pt x="139" y="25"/>
                        </a:moveTo>
                        <a:cubicBezTo>
                          <a:pt x="139" y="25"/>
                          <a:pt x="138" y="25"/>
                          <a:pt x="138" y="25"/>
                        </a:cubicBezTo>
                        <a:cubicBezTo>
                          <a:pt x="138" y="25"/>
                          <a:pt x="138" y="25"/>
                          <a:pt x="139" y="25"/>
                        </a:cubicBezTo>
                        <a:close/>
                        <a:moveTo>
                          <a:pt x="139" y="29"/>
                        </a:moveTo>
                        <a:cubicBezTo>
                          <a:pt x="139" y="29"/>
                          <a:pt x="139" y="29"/>
                          <a:pt x="138" y="29"/>
                        </a:cubicBezTo>
                        <a:cubicBezTo>
                          <a:pt x="138" y="29"/>
                          <a:pt x="139" y="29"/>
                          <a:pt x="139" y="29"/>
                        </a:cubicBezTo>
                        <a:cubicBezTo>
                          <a:pt x="139" y="29"/>
                          <a:pt x="138" y="29"/>
                          <a:pt x="138" y="29"/>
                        </a:cubicBezTo>
                        <a:cubicBezTo>
                          <a:pt x="138" y="29"/>
                          <a:pt x="138" y="29"/>
                          <a:pt x="138" y="29"/>
                        </a:cubicBezTo>
                        <a:cubicBezTo>
                          <a:pt x="139" y="29"/>
                          <a:pt x="139" y="28"/>
                          <a:pt x="139" y="28"/>
                        </a:cubicBezTo>
                        <a:cubicBezTo>
                          <a:pt x="139" y="29"/>
                          <a:pt x="139" y="29"/>
                          <a:pt x="139" y="29"/>
                        </a:cubicBezTo>
                        <a:close/>
                        <a:moveTo>
                          <a:pt x="138" y="26"/>
                        </a:moveTo>
                        <a:cubicBezTo>
                          <a:pt x="138" y="26"/>
                          <a:pt x="138" y="26"/>
                          <a:pt x="138" y="26"/>
                        </a:cubicBezTo>
                        <a:cubicBezTo>
                          <a:pt x="138" y="26"/>
                          <a:pt x="138" y="26"/>
                          <a:pt x="138" y="26"/>
                        </a:cubicBezTo>
                        <a:cubicBezTo>
                          <a:pt x="138" y="26"/>
                          <a:pt x="137" y="27"/>
                          <a:pt x="136" y="27"/>
                        </a:cubicBezTo>
                        <a:cubicBezTo>
                          <a:pt x="137" y="27"/>
                          <a:pt x="136" y="27"/>
                          <a:pt x="136" y="26"/>
                        </a:cubicBezTo>
                        <a:cubicBezTo>
                          <a:pt x="137" y="26"/>
                          <a:pt x="137" y="26"/>
                          <a:pt x="138" y="26"/>
                        </a:cubicBezTo>
                        <a:cubicBezTo>
                          <a:pt x="138" y="26"/>
                          <a:pt x="138" y="26"/>
                          <a:pt x="138" y="26"/>
                        </a:cubicBezTo>
                        <a:close/>
                        <a:moveTo>
                          <a:pt x="137" y="26"/>
                        </a:moveTo>
                        <a:cubicBezTo>
                          <a:pt x="137" y="26"/>
                          <a:pt x="137" y="26"/>
                          <a:pt x="137" y="27"/>
                        </a:cubicBezTo>
                        <a:cubicBezTo>
                          <a:pt x="137" y="27"/>
                          <a:pt x="137" y="27"/>
                          <a:pt x="137" y="26"/>
                        </a:cubicBezTo>
                        <a:close/>
                        <a:moveTo>
                          <a:pt x="138" y="29"/>
                        </a:moveTo>
                        <a:cubicBezTo>
                          <a:pt x="138" y="29"/>
                          <a:pt x="137" y="29"/>
                          <a:pt x="137" y="29"/>
                        </a:cubicBezTo>
                        <a:cubicBezTo>
                          <a:pt x="137" y="29"/>
                          <a:pt x="137" y="29"/>
                          <a:pt x="137" y="29"/>
                        </a:cubicBezTo>
                        <a:cubicBezTo>
                          <a:pt x="137" y="29"/>
                          <a:pt x="137" y="29"/>
                          <a:pt x="137" y="29"/>
                        </a:cubicBezTo>
                        <a:cubicBezTo>
                          <a:pt x="138" y="29"/>
                          <a:pt x="138" y="29"/>
                          <a:pt x="138" y="29"/>
                        </a:cubicBezTo>
                        <a:cubicBezTo>
                          <a:pt x="138" y="29"/>
                          <a:pt x="138" y="29"/>
                          <a:pt x="138" y="29"/>
                        </a:cubicBezTo>
                        <a:cubicBezTo>
                          <a:pt x="138" y="29"/>
                          <a:pt x="138" y="29"/>
                          <a:pt x="138" y="29"/>
                        </a:cubicBezTo>
                        <a:close/>
                        <a:moveTo>
                          <a:pt x="137" y="25"/>
                        </a:moveTo>
                        <a:cubicBezTo>
                          <a:pt x="137" y="25"/>
                          <a:pt x="137" y="25"/>
                          <a:pt x="137" y="25"/>
                        </a:cubicBezTo>
                        <a:cubicBezTo>
                          <a:pt x="137" y="25"/>
                          <a:pt x="137" y="25"/>
                          <a:pt x="137" y="25"/>
                        </a:cubicBezTo>
                        <a:close/>
                        <a:moveTo>
                          <a:pt x="138" y="31"/>
                        </a:moveTo>
                        <a:cubicBezTo>
                          <a:pt x="138" y="31"/>
                          <a:pt x="138" y="31"/>
                          <a:pt x="138" y="31"/>
                        </a:cubicBezTo>
                        <a:cubicBezTo>
                          <a:pt x="138" y="31"/>
                          <a:pt x="138" y="31"/>
                          <a:pt x="138" y="31"/>
                        </a:cubicBezTo>
                        <a:close/>
                        <a:moveTo>
                          <a:pt x="138" y="33"/>
                        </a:moveTo>
                        <a:cubicBezTo>
                          <a:pt x="138" y="33"/>
                          <a:pt x="138" y="33"/>
                          <a:pt x="139" y="33"/>
                        </a:cubicBezTo>
                        <a:cubicBezTo>
                          <a:pt x="138" y="33"/>
                          <a:pt x="138" y="33"/>
                          <a:pt x="137" y="33"/>
                        </a:cubicBezTo>
                        <a:cubicBezTo>
                          <a:pt x="137" y="33"/>
                          <a:pt x="137" y="33"/>
                          <a:pt x="137" y="33"/>
                        </a:cubicBezTo>
                        <a:cubicBezTo>
                          <a:pt x="137" y="33"/>
                          <a:pt x="137" y="33"/>
                          <a:pt x="137" y="33"/>
                        </a:cubicBezTo>
                        <a:cubicBezTo>
                          <a:pt x="137" y="33"/>
                          <a:pt x="137" y="33"/>
                          <a:pt x="137" y="33"/>
                        </a:cubicBezTo>
                        <a:cubicBezTo>
                          <a:pt x="138" y="32"/>
                          <a:pt x="138" y="32"/>
                          <a:pt x="139" y="32"/>
                        </a:cubicBezTo>
                        <a:cubicBezTo>
                          <a:pt x="138" y="32"/>
                          <a:pt x="139" y="33"/>
                          <a:pt x="139" y="32"/>
                        </a:cubicBezTo>
                        <a:cubicBezTo>
                          <a:pt x="139" y="32"/>
                          <a:pt x="139" y="32"/>
                          <a:pt x="139" y="32"/>
                        </a:cubicBezTo>
                        <a:cubicBezTo>
                          <a:pt x="140" y="32"/>
                          <a:pt x="140" y="32"/>
                          <a:pt x="141" y="32"/>
                        </a:cubicBezTo>
                        <a:cubicBezTo>
                          <a:pt x="140" y="32"/>
                          <a:pt x="142" y="32"/>
                          <a:pt x="142" y="32"/>
                        </a:cubicBezTo>
                        <a:cubicBezTo>
                          <a:pt x="142" y="32"/>
                          <a:pt x="142" y="32"/>
                          <a:pt x="142" y="32"/>
                        </a:cubicBezTo>
                        <a:cubicBezTo>
                          <a:pt x="141" y="32"/>
                          <a:pt x="140" y="32"/>
                          <a:pt x="139" y="33"/>
                        </a:cubicBezTo>
                        <a:cubicBezTo>
                          <a:pt x="139" y="33"/>
                          <a:pt x="139" y="33"/>
                          <a:pt x="139" y="33"/>
                        </a:cubicBezTo>
                        <a:cubicBezTo>
                          <a:pt x="139" y="33"/>
                          <a:pt x="138" y="33"/>
                          <a:pt x="138" y="33"/>
                        </a:cubicBezTo>
                        <a:cubicBezTo>
                          <a:pt x="138" y="33"/>
                          <a:pt x="138" y="33"/>
                          <a:pt x="138" y="33"/>
                        </a:cubicBezTo>
                        <a:close/>
                        <a:moveTo>
                          <a:pt x="135" y="25"/>
                        </a:moveTo>
                        <a:cubicBezTo>
                          <a:pt x="136" y="25"/>
                          <a:pt x="136" y="25"/>
                          <a:pt x="136" y="25"/>
                        </a:cubicBezTo>
                        <a:cubicBezTo>
                          <a:pt x="136" y="26"/>
                          <a:pt x="136" y="25"/>
                          <a:pt x="137" y="25"/>
                        </a:cubicBezTo>
                        <a:cubicBezTo>
                          <a:pt x="137" y="26"/>
                          <a:pt x="136" y="26"/>
                          <a:pt x="135" y="26"/>
                        </a:cubicBezTo>
                        <a:cubicBezTo>
                          <a:pt x="136" y="26"/>
                          <a:pt x="136" y="26"/>
                          <a:pt x="135" y="25"/>
                        </a:cubicBezTo>
                        <a:close/>
                        <a:moveTo>
                          <a:pt x="137" y="30"/>
                        </a:moveTo>
                        <a:cubicBezTo>
                          <a:pt x="138" y="30"/>
                          <a:pt x="138" y="30"/>
                          <a:pt x="138" y="30"/>
                        </a:cubicBezTo>
                        <a:cubicBezTo>
                          <a:pt x="137" y="30"/>
                          <a:pt x="137" y="30"/>
                          <a:pt x="137" y="30"/>
                        </a:cubicBezTo>
                        <a:close/>
                        <a:moveTo>
                          <a:pt x="135" y="24"/>
                        </a:moveTo>
                        <a:cubicBezTo>
                          <a:pt x="136" y="24"/>
                          <a:pt x="136" y="24"/>
                          <a:pt x="136" y="24"/>
                        </a:cubicBezTo>
                        <a:cubicBezTo>
                          <a:pt x="136" y="25"/>
                          <a:pt x="135" y="25"/>
                          <a:pt x="135" y="24"/>
                        </a:cubicBezTo>
                        <a:close/>
                        <a:moveTo>
                          <a:pt x="136" y="25"/>
                        </a:moveTo>
                        <a:cubicBezTo>
                          <a:pt x="136" y="25"/>
                          <a:pt x="135" y="25"/>
                          <a:pt x="134" y="25"/>
                        </a:cubicBezTo>
                        <a:cubicBezTo>
                          <a:pt x="135" y="25"/>
                          <a:pt x="135" y="25"/>
                          <a:pt x="136" y="25"/>
                        </a:cubicBezTo>
                        <a:cubicBezTo>
                          <a:pt x="136" y="25"/>
                          <a:pt x="136" y="25"/>
                          <a:pt x="136" y="25"/>
                        </a:cubicBezTo>
                        <a:close/>
                        <a:moveTo>
                          <a:pt x="137" y="30"/>
                        </a:moveTo>
                        <a:cubicBezTo>
                          <a:pt x="137" y="30"/>
                          <a:pt x="137" y="30"/>
                          <a:pt x="137" y="30"/>
                        </a:cubicBezTo>
                        <a:cubicBezTo>
                          <a:pt x="137" y="30"/>
                          <a:pt x="137" y="30"/>
                          <a:pt x="137" y="30"/>
                        </a:cubicBezTo>
                        <a:close/>
                        <a:moveTo>
                          <a:pt x="136" y="29"/>
                        </a:moveTo>
                        <a:cubicBezTo>
                          <a:pt x="135" y="29"/>
                          <a:pt x="136" y="28"/>
                          <a:pt x="136" y="28"/>
                        </a:cubicBezTo>
                        <a:cubicBezTo>
                          <a:pt x="136" y="28"/>
                          <a:pt x="135" y="29"/>
                          <a:pt x="135" y="28"/>
                        </a:cubicBezTo>
                        <a:cubicBezTo>
                          <a:pt x="135" y="28"/>
                          <a:pt x="136" y="28"/>
                          <a:pt x="136" y="28"/>
                        </a:cubicBezTo>
                        <a:cubicBezTo>
                          <a:pt x="136" y="28"/>
                          <a:pt x="136" y="28"/>
                          <a:pt x="136" y="29"/>
                        </a:cubicBezTo>
                        <a:cubicBezTo>
                          <a:pt x="136" y="29"/>
                          <a:pt x="136" y="28"/>
                          <a:pt x="136" y="29"/>
                        </a:cubicBezTo>
                        <a:close/>
                        <a:moveTo>
                          <a:pt x="136" y="32"/>
                        </a:moveTo>
                        <a:cubicBezTo>
                          <a:pt x="136" y="32"/>
                          <a:pt x="136" y="32"/>
                          <a:pt x="136" y="32"/>
                        </a:cubicBezTo>
                        <a:cubicBezTo>
                          <a:pt x="136" y="32"/>
                          <a:pt x="136" y="32"/>
                          <a:pt x="136" y="32"/>
                        </a:cubicBezTo>
                        <a:cubicBezTo>
                          <a:pt x="136" y="32"/>
                          <a:pt x="137" y="32"/>
                          <a:pt x="137" y="32"/>
                        </a:cubicBezTo>
                        <a:cubicBezTo>
                          <a:pt x="137" y="32"/>
                          <a:pt x="137" y="32"/>
                          <a:pt x="137" y="32"/>
                        </a:cubicBezTo>
                        <a:cubicBezTo>
                          <a:pt x="136" y="32"/>
                          <a:pt x="135" y="33"/>
                          <a:pt x="135" y="32"/>
                        </a:cubicBezTo>
                        <a:cubicBezTo>
                          <a:pt x="136" y="32"/>
                          <a:pt x="136" y="33"/>
                          <a:pt x="136" y="32"/>
                        </a:cubicBezTo>
                        <a:close/>
                        <a:moveTo>
                          <a:pt x="136" y="30"/>
                        </a:moveTo>
                        <a:cubicBezTo>
                          <a:pt x="136" y="30"/>
                          <a:pt x="136" y="30"/>
                          <a:pt x="136" y="30"/>
                        </a:cubicBezTo>
                        <a:cubicBezTo>
                          <a:pt x="136" y="30"/>
                          <a:pt x="136" y="30"/>
                          <a:pt x="136" y="30"/>
                        </a:cubicBezTo>
                        <a:cubicBezTo>
                          <a:pt x="136" y="30"/>
                          <a:pt x="136" y="30"/>
                          <a:pt x="136" y="30"/>
                        </a:cubicBezTo>
                        <a:cubicBezTo>
                          <a:pt x="136" y="30"/>
                          <a:pt x="136" y="30"/>
                          <a:pt x="136" y="30"/>
                        </a:cubicBezTo>
                        <a:close/>
                        <a:moveTo>
                          <a:pt x="134" y="27"/>
                        </a:moveTo>
                        <a:cubicBezTo>
                          <a:pt x="135" y="27"/>
                          <a:pt x="134" y="27"/>
                          <a:pt x="135" y="27"/>
                        </a:cubicBezTo>
                        <a:cubicBezTo>
                          <a:pt x="135" y="27"/>
                          <a:pt x="135" y="27"/>
                          <a:pt x="135" y="27"/>
                        </a:cubicBezTo>
                        <a:cubicBezTo>
                          <a:pt x="134" y="27"/>
                          <a:pt x="134" y="27"/>
                          <a:pt x="134" y="27"/>
                        </a:cubicBezTo>
                        <a:close/>
                        <a:moveTo>
                          <a:pt x="133" y="25"/>
                        </a:moveTo>
                        <a:cubicBezTo>
                          <a:pt x="134" y="25"/>
                          <a:pt x="134" y="25"/>
                          <a:pt x="134" y="25"/>
                        </a:cubicBezTo>
                        <a:cubicBezTo>
                          <a:pt x="134" y="25"/>
                          <a:pt x="133" y="25"/>
                          <a:pt x="133" y="25"/>
                        </a:cubicBezTo>
                        <a:close/>
                        <a:moveTo>
                          <a:pt x="134" y="27"/>
                        </a:moveTo>
                        <a:cubicBezTo>
                          <a:pt x="134" y="27"/>
                          <a:pt x="134" y="27"/>
                          <a:pt x="134" y="27"/>
                        </a:cubicBezTo>
                        <a:cubicBezTo>
                          <a:pt x="134" y="28"/>
                          <a:pt x="133" y="27"/>
                          <a:pt x="134" y="27"/>
                        </a:cubicBezTo>
                        <a:close/>
                        <a:moveTo>
                          <a:pt x="133" y="31"/>
                        </a:moveTo>
                        <a:cubicBezTo>
                          <a:pt x="133" y="31"/>
                          <a:pt x="134" y="30"/>
                          <a:pt x="134" y="30"/>
                        </a:cubicBezTo>
                        <a:cubicBezTo>
                          <a:pt x="134" y="31"/>
                          <a:pt x="134" y="31"/>
                          <a:pt x="134" y="31"/>
                        </a:cubicBezTo>
                        <a:cubicBezTo>
                          <a:pt x="134" y="31"/>
                          <a:pt x="134" y="31"/>
                          <a:pt x="134" y="31"/>
                        </a:cubicBezTo>
                        <a:cubicBezTo>
                          <a:pt x="134" y="31"/>
                          <a:pt x="134" y="31"/>
                          <a:pt x="134" y="31"/>
                        </a:cubicBezTo>
                        <a:cubicBezTo>
                          <a:pt x="134" y="31"/>
                          <a:pt x="133" y="31"/>
                          <a:pt x="133" y="31"/>
                        </a:cubicBezTo>
                        <a:close/>
                        <a:moveTo>
                          <a:pt x="133" y="31"/>
                        </a:moveTo>
                        <a:cubicBezTo>
                          <a:pt x="133" y="31"/>
                          <a:pt x="134" y="31"/>
                          <a:pt x="134" y="31"/>
                        </a:cubicBezTo>
                        <a:cubicBezTo>
                          <a:pt x="134" y="31"/>
                          <a:pt x="134" y="31"/>
                          <a:pt x="133" y="31"/>
                        </a:cubicBezTo>
                        <a:close/>
                        <a:moveTo>
                          <a:pt x="133" y="26"/>
                        </a:moveTo>
                        <a:cubicBezTo>
                          <a:pt x="133" y="26"/>
                          <a:pt x="133" y="26"/>
                          <a:pt x="133" y="26"/>
                        </a:cubicBezTo>
                        <a:cubicBezTo>
                          <a:pt x="132" y="26"/>
                          <a:pt x="132" y="26"/>
                          <a:pt x="132" y="26"/>
                        </a:cubicBezTo>
                        <a:cubicBezTo>
                          <a:pt x="133" y="26"/>
                          <a:pt x="133" y="26"/>
                          <a:pt x="133" y="26"/>
                        </a:cubicBezTo>
                        <a:close/>
                        <a:moveTo>
                          <a:pt x="134" y="32"/>
                        </a:moveTo>
                        <a:cubicBezTo>
                          <a:pt x="133" y="32"/>
                          <a:pt x="133" y="32"/>
                          <a:pt x="132" y="32"/>
                        </a:cubicBezTo>
                        <a:cubicBezTo>
                          <a:pt x="132" y="32"/>
                          <a:pt x="133" y="32"/>
                          <a:pt x="134" y="32"/>
                        </a:cubicBezTo>
                        <a:close/>
                        <a:moveTo>
                          <a:pt x="132" y="31"/>
                        </a:moveTo>
                        <a:cubicBezTo>
                          <a:pt x="133" y="31"/>
                          <a:pt x="133" y="31"/>
                          <a:pt x="133" y="31"/>
                        </a:cubicBezTo>
                        <a:cubicBezTo>
                          <a:pt x="132" y="31"/>
                          <a:pt x="131" y="31"/>
                          <a:pt x="131" y="31"/>
                        </a:cubicBezTo>
                        <a:cubicBezTo>
                          <a:pt x="131" y="31"/>
                          <a:pt x="132" y="31"/>
                          <a:pt x="132" y="31"/>
                        </a:cubicBezTo>
                        <a:close/>
                        <a:moveTo>
                          <a:pt x="131" y="28"/>
                        </a:moveTo>
                        <a:cubicBezTo>
                          <a:pt x="131" y="28"/>
                          <a:pt x="131" y="28"/>
                          <a:pt x="132" y="28"/>
                        </a:cubicBezTo>
                        <a:cubicBezTo>
                          <a:pt x="132" y="28"/>
                          <a:pt x="131" y="28"/>
                          <a:pt x="131" y="28"/>
                        </a:cubicBezTo>
                        <a:close/>
                        <a:moveTo>
                          <a:pt x="131" y="33"/>
                        </a:moveTo>
                        <a:cubicBezTo>
                          <a:pt x="131" y="33"/>
                          <a:pt x="132" y="33"/>
                          <a:pt x="133" y="33"/>
                        </a:cubicBezTo>
                        <a:cubicBezTo>
                          <a:pt x="133" y="33"/>
                          <a:pt x="132" y="33"/>
                          <a:pt x="131" y="33"/>
                        </a:cubicBezTo>
                        <a:close/>
                        <a:moveTo>
                          <a:pt x="132" y="33"/>
                        </a:moveTo>
                        <a:cubicBezTo>
                          <a:pt x="132" y="33"/>
                          <a:pt x="132" y="33"/>
                          <a:pt x="132" y="33"/>
                        </a:cubicBezTo>
                        <a:cubicBezTo>
                          <a:pt x="132" y="33"/>
                          <a:pt x="132" y="33"/>
                          <a:pt x="133" y="33"/>
                        </a:cubicBezTo>
                        <a:cubicBezTo>
                          <a:pt x="133" y="33"/>
                          <a:pt x="132" y="33"/>
                          <a:pt x="132" y="33"/>
                        </a:cubicBezTo>
                        <a:cubicBezTo>
                          <a:pt x="132" y="33"/>
                          <a:pt x="132" y="33"/>
                          <a:pt x="132" y="33"/>
                        </a:cubicBezTo>
                        <a:close/>
                        <a:moveTo>
                          <a:pt x="130" y="27"/>
                        </a:moveTo>
                        <a:cubicBezTo>
                          <a:pt x="130" y="27"/>
                          <a:pt x="131" y="27"/>
                          <a:pt x="131" y="27"/>
                        </a:cubicBezTo>
                        <a:cubicBezTo>
                          <a:pt x="131" y="27"/>
                          <a:pt x="130" y="27"/>
                          <a:pt x="130" y="27"/>
                        </a:cubicBezTo>
                        <a:cubicBezTo>
                          <a:pt x="130" y="27"/>
                          <a:pt x="130" y="27"/>
                          <a:pt x="130" y="27"/>
                        </a:cubicBezTo>
                        <a:cubicBezTo>
                          <a:pt x="130" y="27"/>
                          <a:pt x="131" y="27"/>
                          <a:pt x="130" y="27"/>
                        </a:cubicBezTo>
                        <a:close/>
                        <a:moveTo>
                          <a:pt x="130" y="31"/>
                        </a:moveTo>
                        <a:cubicBezTo>
                          <a:pt x="130" y="32"/>
                          <a:pt x="130" y="32"/>
                          <a:pt x="130" y="32"/>
                        </a:cubicBezTo>
                        <a:cubicBezTo>
                          <a:pt x="130" y="32"/>
                          <a:pt x="130" y="32"/>
                          <a:pt x="130" y="32"/>
                        </a:cubicBezTo>
                        <a:cubicBezTo>
                          <a:pt x="130" y="31"/>
                          <a:pt x="130" y="31"/>
                          <a:pt x="130" y="31"/>
                        </a:cubicBezTo>
                        <a:close/>
                        <a:moveTo>
                          <a:pt x="129" y="26"/>
                        </a:moveTo>
                        <a:cubicBezTo>
                          <a:pt x="129" y="27"/>
                          <a:pt x="128" y="27"/>
                          <a:pt x="128" y="27"/>
                        </a:cubicBezTo>
                        <a:cubicBezTo>
                          <a:pt x="128" y="27"/>
                          <a:pt x="128" y="27"/>
                          <a:pt x="129" y="26"/>
                        </a:cubicBezTo>
                        <a:close/>
                        <a:moveTo>
                          <a:pt x="128" y="29"/>
                        </a:moveTo>
                        <a:cubicBezTo>
                          <a:pt x="128" y="29"/>
                          <a:pt x="128" y="29"/>
                          <a:pt x="128" y="29"/>
                        </a:cubicBezTo>
                        <a:cubicBezTo>
                          <a:pt x="129" y="28"/>
                          <a:pt x="129" y="29"/>
                          <a:pt x="129" y="28"/>
                        </a:cubicBezTo>
                        <a:cubicBezTo>
                          <a:pt x="129" y="29"/>
                          <a:pt x="129" y="29"/>
                          <a:pt x="128" y="29"/>
                        </a:cubicBezTo>
                        <a:close/>
                        <a:moveTo>
                          <a:pt x="129" y="32"/>
                        </a:moveTo>
                        <a:cubicBezTo>
                          <a:pt x="129" y="32"/>
                          <a:pt x="128" y="32"/>
                          <a:pt x="128" y="32"/>
                        </a:cubicBezTo>
                        <a:cubicBezTo>
                          <a:pt x="129" y="32"/>
                          <a:pt x="129" y="32"/>
                          <a:pt x="129" y="32"/>
                        </a:cubicBezTo>
                        <a:close/>
                        <a:moveTo>
                          <a:pt x="129" y="29"/>
                        </a:moveTo>
                        <a:cubicBezTo>
                          <a:pt x="128" y="29"/>
                          <a:pt x="128" y="29"/>
                          <a:pt x="128" y="29"/>
                        </a:cubicBezTo>
                        <a:cubicBezTo>
                          <a:pt x="128" y="29"/>
                          <a:pt x="128" y="29"/>
                          <a:pt x="129" y="29"/>
                        </a:cubicBezTo>
                        <a:close/>
                        <a:moveTo>
                          <a:pt x="128" y="31"/>
                        </a:moveTo>
                        <a:cubicBezTo>
                          <a:pt x="128" y="31"/>
                          <a:pt x="128" y="31"/>
                          <a:pt x="128" y="31"/>
                        </a:cubicBezTo>
                        <a:cubicBezTo>
                          <a:pt x="128" y="31"/>
                          <a:pt x="128" y="31"/>
                          <a:pt x="128" y="31"/>
                        </a:cubicBezTo>
                        <a:close/>
                        <a:moveTo>
                          <a:pt x="127" y="29"/>
                        </a:moveTo>
                        <a:cubicBezTo>
                          <a:pt x="128" y="29"/>
                          <a:pt x="128" y="29"/>
                          <a:pt x="127" y="29"/>
                        </a:cubicBezTo>
                        <a:cubicBezTo>
                          <a:pt x="127" y="29"/>
                          <a:pt x="127" y="29"/>
                          <a:pt x="127" y="29"/>
                        </a:cubicBezTo>
                        <a:close/>
                        <a:moveTo>
                          <a:pt x="125" y="28"/>
                        </a:moveTo>
                        <a:cubicBezTo>
                          <a:pt x="125" y="28"/>
                          <a:pt x="125" y="28"/>
                          <a:pt x="126" y="28"/>
                        </a:cubicBezTo>
                        <a:cubicBezTo>
                          <a:pt x="126" y="28"/>
                          <a:pt x="125" y="28"/>
                          <a:pt x="125" y="28"/>
                        </a:cubicBezTo>
                        <a:close/>
                        <a:moveTo>
                          <a:pt x="125" y="30"/>
                        </a:moveTo>
                        <a:cubicBezTo>
                          <a:pt x="125" y="30"/>
                          <a:pt x="125" y="30"/>
                          <a:pt x="125" y="30"/>
                        </a:cubicBezTo>
                        <a:cubicBezTo>
                          <a:pt x="125" y="30"/>
                          <a:pt x="125" y="29"/>
                          <a:pt x="125" y="29"/>
                        </a:cubicBezTo>
                        <a:cubicBezTo>
                          <a:pt x="125" y="29"/>
                          <a:pt x="125" y="29"/>
                          <a:pt x="125" y="29"/>
                        </a:cubicBezTo>
                        <a:cubicBezTo>
                          <a:pt x="125" y="29"/>
                          <a:pt x="125" y="29"/>
                          <a:pt x="126" y="29"/>
                        </a:cubicBezTo>
                        <a:cubicBezTo>
                          <a:pt x="126" y="29"/>
                          <a:pt x="126" y="29"/>
                          <a:pt x="126" y="29"/>
                        </a:cubicBezTo>
                        <a:cubicBezTo>
                          <a:pt x="126" y="29"/>
                          <a:pt x="126" y="29"/>
                          <a:pt x="126" y="30"/>
                        </a:cubicBezTo>
                        <a:cubicBezTo>
                          <a:pt x="125" y="30"/>
                          <a:pt x="125" y="30"/>
                          <a:pt x="125" y="30"/>
                        </a:cubicBezTo>
                        <a:cubicBezTo>
                          <a:pt x="125" y="30"/>
                          <a:pt x="125" y="30"/>
                          <a:pt x="125" y="30"/>
                        </a:cubicBezTo>
                        <a:close/>
                        <a:moveTo>
                          <a:pt x="125" y="35"/>
                        </a:moveTo>
                        <a:cubicBezTo>
                          <a:pt x="125" y="34"/>
                          <a:pt x="126" y="35"/>
                          <a:pt x="126" y="34"/>
                        </a:cubicBezTo>
                        <a:cubicBezTo>
                          <a:pt x="126" y="35"/>
                          <a:pt x="126" y="34"/>
                          <a:pt x="125" y="35"/>
                        </a:cubicBezTo>
                        <a:close/>
                        <a:moveTo>
                          <a:pt x="125" y="31"/>
                        </a:moveTo>
                        <a:cubicBezTo>
                          <a:pt x="125" y="30"/>
                          <a:pt x="125" y="31"/>
                          <a:pt x="125" y="31"/>
                        </a:cubicBezTo>
                        <a:cubicBezTo>
                          <a:pt x="125" y="31"/>
                          <a:pt x="125" y="31"/>
                          <a:pt x="125" y="30"/>
                        </a:cubicBezTo>
                        <a:cubicBezTo>
                          <a:pt x="125" y="30"/>
                          <a:pt x="125" y="31"/>
                          <a:pt x="125" y="31"/>
                        </a:cubicBezTo>
                        <a:cubicBezTo>
                          <a:pt x="125" y="31"/>
                          <a:pt x="125" y="31"/>
                          <a:pt x="125" y="31"/>
                        </a:cubicBezTo>
                        <a:cubicBezTo>
                          <a:pt x="125" y="31"/>
                          <a:pt x="124" y="31"/>
                          <a:pt x="125" y="31"/>
                        </a:cubicBezTo>
                        <a:close/>
                        <a:moveTo>
                          <a:pt x="124" y="28"/>
                        </a:moveTo>
                        <a:cubicBezTo>
                          <a:pt x="124" y="28"/>
                          <a:pt x="124" y="28"/>
                          <a:pt x="124" y="28"/>
                        </a:cubicBezTo>
                        <a:cubicBezTo>
                          <a:pt x="124" y="28"/>
                          <a:pt x="124" y="28"/>
                          <a:pt x="124" y="28"/>
                        </a:cubicBezTo>
                        <a:close/>
                        <a:moveTo>
                          <a:pt x="124" y="29"/>
                        </a:moveTo>
                        <a:cubicBezTo>
                          <a:pt x="124" y="29"/>
                          <a:pt x="124" y="29"/>
                          <a:pt x="124" y="29"/>
                        </a:cubicBezTo>
                        <a:cubicBezTo>
                          <a:pt x="124" y="29"/>
                          <a:pt x="124" y="29"/>
                          <a:pt x="123" y="29"/>
                        </a:cubicBezTo>
                        <a:cubicBezTo>
                          <a:pt x="123" y="29"/>
                          <a:pt x="123" y="29"/>
                          <a:pt x="123" y="29"/>
                        </a:cubicBezTo>
                        <a:cubicBezTo>
                          <a:pt x="124" y="29"/>
                          <a:pt x="124" y="29"/>
                          <a:pt x="124" y="29"/>
                        </a:cubicBezTo>
                        <a:close/>
                        <a:moveTo>
                          <a:pt x="125" y="33"/>
                        </a:moveTo>
                        <a:cubicBezTo>
                          <a:pt x="125" y="33"/>
                          <a:pt x="125" y="33"/>
                          <a:pt x="125" y="33"/>
                        </a:cubicBezTo>
                        <a:cubicBezTo>
                          <a:pt x="125" y="33"/>
                          <a:pt x="125" y="33"/>
                          <a:pt x="125" y="33"/>
                        </a:cubicBezTo>
                        <a:close/>
                        <a:moveTo>
                          <a:pt x="124" y="30"/>
                        </a:moveTo>
                        <a:cubicBezTo>
                          <a:pt x="123" y="30"/>
                          <a:pt x="123" y="30"/>
                          <a:pt x="123" y="30"/>
                        </a:cubicBezTo>
                        <a:cubicBezTo>
                          <a:pt x="122" y="30"/>
                          <a:pt x="124" y="30"/>
                          <a:pt x="124" y="30"/>
                        </a:cubicBezTo>
                        <a:cubicBezTo>
                          <a:pt x="124" y="30"/>
                          <a:pt x="124" y="30"/>
                          <a:pt x="124" y="30"/>
                        </a:cubicBezTo>
                        <a:close/>
                        <a:moveTo>
                          <a:pt x="121" y="31"/>
                        </a:moveTo>
                        <a:cubicBezTo>
                          <a:pt x="122" y="31"/>
                          <a:pt x="123" y="31"/>
                          <a:pt x="124" y="31"/>
                        </a:cubicBezTo>
                        <a:cubicBezTo>
                          <a:pt x="124" y="31"/>
                          <a:pt x="122" y="32"/>
                          <a:pt x="121" y="31"/>
                        </a:cubicBezTo>
                        <a:close/>
                        <a:moveTo>
                          <a:pt x="124" y="34"/>
                        </a:moveTo>
                        <a:cubicBezTo>
                          <a:pt x="124" y="34"/>
                          <a:pt x="124" y="34"/>
                          <a:pt x="124" y="34"/>
                        </a:cubicBezTo>
                        <a:cubicBezTo>
                          <a:pt x="124" y="34"/>
                          <a:pt x="124" y="34"/>
                          <a:pt x="124" y="34"/>
                        </a:cubicBezTo>
                        <a:close/>
                        <a:moveTo>
                          <a:pt x="123" y="28"/>
                        </a:moveTo>
                        <a:cubicBezTo>
                          <a:pt x="122" y="28"/>
                          <a:pt x="122" y="28"/>
                          <a:pt x="122" y="28"/>
                        </a:cubicBezTo>
                        <a:cubicBezTo>
                          <a:pt x="122" y="28"/>
                          <a:pt x="123" y="28"/>
                          <a:pt x="122" y="28"/>
                        </a:cubicBezTo>
                        <a:cubicBezTo>
                          <a:pt x="122" y="28"/>
                          <a:pt x="123" y="28"/>
                          <a:pt x="123" y="28"/>
                        </a:cubicBezTo>
                        <a:close/>
                        <a:moveTo>
                          <a:pt x="123" y="30"/>
                        </a:moveTo>
                        <a:cubicBezTo>
                          <a:pt x="123" y="30"/>
                          <a:pt x="123" y="30"/>
                          <a:pt x="123" y="30"/>
                        </a:cubicBezTo>
                        <a:cubicBezTo>
                          <a:pt x="123" y="30"/>
                          <a:pt x="123" y="30"/>
                          <a:pt x="123" y="30"/>
                        </a:cubicBezTo>
                        <a:cubicBezTo>
                          <a:pt x="123" y="31"/>
                          <a:pt x="123" y="31"/>
                          <a:pt x="123" y="31"/>
                        </a:cubicBezTo>
                        <a:cubicBezTo>
                          <a:pt x="123" y="30"/>
                          <a:pt x="123" y="30"/>
                          <a:pt x="123" y="30"/>
                        </a:cubicBezTo>
                        <a:close/>
                        <a:moveTo>
                          <a:pt x="123" y="34"/>
                        </a:moveTo>
                        <a:cubicBezTo>
                          <a:pt x="122" y="34"/>
                          <a:pt x="122" y="34"/>
                          <a:pt x="122" y="34"/>
                        </a:cubicBezTo>
                        <a:cubicBezTo>
                          <a:pt x="122" y="34"/>
                          <a:pt x="122" y="34"/>
                          <a:pt x="122" y="34"/>
                        </a:cubicBezTo>
                        <a:cubicBezTo>
                          <a:pt x="122" y="34"/>
                          <a:pt x="123" y="33"/>
                          <a:pt x="123" y="34"/>
                        </a:cubicBezTo>
                        <a:close/>
                        <a:moveTo>
                          <a:pt x="120" y="29"/>
                        </a:moveTo>
                        <a:cubicBezTo>
                          <a:pt x="120" y="29"/>
                          <a:pt x="121" y="29"/>
                          <a:pt x="121" y="29"/>
                        </a:cubicBezTo>
                        <a:cubicBezTo>
                          <a:pt x="121" y="29"/>
                          <a:pt x="121" y="29"/>
                          <a:pt x="120" y="29"/>
                        </a:cubicBezTo>
                        <a:close/>
                        <a:moveTo>
                          <a:pt x="123" y="39"/>
                        </a:moveTo>
                        <a:cubicBezTo>
                          <a:pt x="123" y="39"/>
                          <a:pt x="123" y="39"/>
                          <a:pt x="123" y="39"/>
                        </a:cubicBezTo>
                        <a:cubicBezTo>
                          <a:pt x="123" y="39"/>
                          <a:pt x="123" y="39"/>
                          <a:pt x="124" y="39"/>
                        </a:cubicBezTo>
                        <a:cubicBezTo>
                          <a:pt x="123" y="39"/>
                          <a:pt x="123" y="40"/>
                          <a:pt x="123" y="39"/>
                        </a:cubicBezTo>
                        <a:close/>
                        <a:moveTo>
                          <a:pt x="122" y="35"/>
                        </a:moveTo>
                        <a:cubicBezTo>
                          <a:pt x="122" y="35"/>
                          <a:pt x="122" y="35"/>
                          <a:pt x="122" y="35"/>
                        </a:cubicBezTo>
                        <a:cubicBezTo>
                          <a:pt x="122" y="35"/>
                          <a:pt x="122" y="35"/>
                          <a:pt x="122" y="35"/>
                        </a:cubicBezTo>
                        <a:close/>
                        <a:moveTo>
                          <a:pt x="122" y="38"/>
                        </a:moveTo>
                        <a:cubicBezTo>
                          <a:pt x="122" y="38"/>
                          <a:pt x="122" y="38"/>
                          <a:pt x="123" y="38"/>
                        </a:cubicBezTo>
                        <a:cubicBezTo>
                          <a:pt x="123" y="38"/>
                          <a:pt x="123" y="38"/>
                          <a:pt x="123" y="38"/>
                        </a:cubicBezTo>
                        <a:cubicBezTo>
                          <a:pt x="122" y="38"/>
                          <a:pt x="122" y="38"/>
                          <a:pt x="122" y="38"/>
                        </a:cubicBezTo>
                        <a:close/>
                        <a:moveTo>
                          <a:pt x="121" y="34"/>
                        </a:moveTo>
                        <a:cubicBezTo>
                          <a:pt x="120" y="34"/>
                          <a:pt x="120" y="34"/>
                          <a:pt x="120" y="34"/>
                        </a:cubicBezTo>
                        <a:cubicBezTo>
                          <a:pt x="121" y="34"/>
                          <a:pt x="121" y="34"/>
                          <a:pt x="121" y="34"/>
                        </a:cubicBezTo>
                        <a:cubicBezTo>
                          <a:pt x="121" y="34"/>
                          <a:pt x="121" y="34"/>
                          <a:pt x="121" y="34"/>
                        </a:cubicBezTo>
                        <a:close/>
                        <a:moveTo>
                          <a:pt x="122" y="38"/>
                        </a:moveTo>
                        <a:cubicBezTo>
                          <a:pt x="122" y="38"/>
                          <a:pt x="121" y="38"/>
                          <a:pt x="121" y="38"/>
                        </a:cubicBezTo>
                        <a:cubicBezTo>
                          <a:pt x="121" y="38"/>
                          <a:pt x="122" y="38"/>
                          <a:pt x="122" y="38"/>
                        </a:cubicBezTo>
                        <a:close/>
                        <a:moveTo>
                          <a:pt x="120" y="32"/>
                        </a:moveTo>
                        <a:cubicBezTo>
                          <a:pt x="120" y="32"/>
                          <a:pt x="120" y="32"/>
                          <a:pt x="120" y="32"/>
                        </a:cubicBezTo>
                        <a:cubicBezTo>
                          <a:pt x="121" y="33"/>
                          <a:pt x="119" y="33"/>
                          <a:pt x="120" y="32"/>
                        </a:cubicBezTo>
                        <a:close/>
                        <a:moveTo>
                          <a:pt x="119" y="30"/>
                        </a:moveTo>
                        <a:cubicBezTo>
                          <a:pt x="119" y="30"/>
                          <a:pt x="119" y="30"/>
                          <a:pt x="120" y="30"/>
                        </a:cubicBezTo>
                        <a:cubicBezTo>
                          <a:pt x="119" y="30"/>
                          <a:pt x="119" y="30"/>
                          <a:pt x="119" y="30"/>
                        </a:cubicBezTo>
                        <a:cubicBezTo>
                          <a:pt x="119" y="30"/>
                          <a:pt x="119" y="30"/>
                          <a:pt x="119" y="30"/>
                        </a:cubicBezTo>
                        <a:close/>
                        <a:moveTo>
                          <a:pt x="120" y="39"/>
                        </a:moveTo>
                        <a:cubicBezTo>
                          <a:pt x="120" y="39"/>
                          <a:pt x="120" y="39"/>
                          <a:pt x="120" y="39"/>
                        </a:cubicBezTo>
                        <a:cubicBezTo>
                          <a:pt x="121" y="39"/>
                          <a:pt x="120" y="39"/>
                          <a:pt x="121" y="39"/>
                        </a:cubicBezTo>
                        <a:cubicBezTo>
                          <a:pt x="121" y="39"/>
                          <a:pt x="120" y="39"/>
                          <a:pt x="120" y="39"/>
                        </a:cubicBezTo>
                        <a:cubicBezTo>
                          <a:pt x="120" y="39"/>
                          <a:pt x="120" y="39"/>
                          <a:pt x="120" y="39"/>
                        </a:cubicBezTo>
                        <a:cubicBezTo>
                          <a:pt x="120" y="39"/>
                          <a:pt x="120" y="39"/>
                          <a:pt x="120" y="39"/>
                        </a:cubicBezTo>
                        <a:close/>
                        <a:moveTo>
                          <a:pt x="116" y="30"/>
                        </a:moveTo>
                        <a:cubicBezTo>
                          <a:pt x="117" y="30"/>
                          <a:pt x="117" y="30"/>
                          <a:pt x="118" y="30"/>
                        </a:cubicBezTo>
                        <a:cubicBezTo>
                          <a:pt x="118" y="30"/>
                          <a:pt x="117" y="30"/>
                          <a:pt x="116" y="30"/>
                        </a:cubicBezTo>
                        <a:close/>
                        <a:moveTo>
                          <a:pt x="116" y="31"/>
                        </a:moveTo>
                        <a:cubicBezTo>
                          <a:pt x="116" y="31"/>
                          <a:pt x="116" y="31"/>
                          <a:pt x="115" y="31"/>
                        </a:cubicBezTo>
                        <a:cubicBezTo>
                          <a:pt x="116" y="31"/>
                          <a:pt x="116" y="31"/>
                          <a:pt x="116" y="31"/>
                        </a:cubicBezTo>
                        <a:cubicBezTo>
                          <a:pt x="116" y="31"/>
                          <a:pt x="116" y="31"/>
                          <a:pt x="117" y="31"/>
                        </a:cubicBezTo>
                        <a:cubicBezTo>
                          <a:pt x="117" y="31"/>
                          <a:pt x="116" y="31"/>
                          <a:pt x="116" y="31"/>
                        </a:cubicBezTo>
                        <a:close/>
                        <a:moveTo>
                          <a:pt x="117" y="31"/>
                        </a:moveTo>
                        <a:cubicBezTo>
                          <a:pt x="117" y="31"/>
                          <a:pt x="116" y="31"/>
                          <a:pt x="117" y="31"/>
                        </a:cubicBezTo>
                        <a:cubicBezTo>
                          <a:pt x="116" y="31"/>
                          <a:pt x="116" y="31"/>
                          <a:pt x="116" y="31"/>
                        </a:cubicBezTo>
                        <a:cubicBezTo>
                          <a:pt x="116" y="31"/>
                          <a:pt x="116" y="31"/>
                          <a:pt x="117" y="31"/>
                        </a:cubicBezTo>
                        <a:close/>
                        <a:moveTo>
                          <a:pt x="115" y="31"/>
                        </a:moveTo>
                        <a:cubicBezTo>
                          <a:pt x="115" y="31"/>
                          <a:pt x="115" y="31"/>
                          <a:pt x="115" y="31"/>
                        </a:cubicBezTo>
                        <a:cubicBezTo>
                          <a:pt x="115" y="31"/>
                          <a:pt x="115" y="31"/>
                          <a:pt x="115" y="31"/>
                        </a:cubicBezTo>
                        <a:cubicBezTo>
                          <a:pt x="114" y="31"/>
                          <a:pt x="115" y="31"/>
                          <a:pt x="115" y="31"/>
                        </a:cubicBezTo>
                        <a:close/>
                        <a:moveTo>
                          <a:pt x="114" y="34"/>
                        </a:moveTo>
                        <a:cubicBezTo>
                          <a:pt x="114" y="34"/>
                          <a:pt x="115" y="34"/>
                          <a:pt x="115" y="34"/>
                        </a:cubicBezTo>
                        <a:cubicBezTo>
                          <a:pt x="115" y="34"/>
                          <a:pt x="115" y="34"/>
                          <a:pt x="114" y="34"/>
                        </a:cubicBezTo>
                        <a:cubicBezTo>
                          <a:pt x="114" y="34"/>
                          <a:pt x="114" y="34"/>
                          <a:pt x="114" y="34"/>
                        </a:cubicBezTo>
                        <a:close/>
                        <a:moveTo>
                          <a:pt x="114" y="31"/>
                        </a:moveTo>
                        <a:cubicBezTo>
                          <a:pt x="114" y="31"/>
                          <a:pt x="114" y="31"/>
                          <a:pt x="114" y="31"/>
                        </a:cubicBezTo>
                        <a:cubicBezTo>
                          <a:pt x="114" y="31"/>
                          <a:pt x="114" y="31"/>
                          <a:pt x="114" y="31"/>
                        </a:cubicBezTo>
                        <a:cubicBezTo>
                          <a:pt x="114" y="31"/>
                          <a:pt x="114" y="31"/>
                          <a:pt x="114" y="31"/>
                        </a:cubicBezTo>
                        <a:close/>
                        <a:moveTo>
                          <a:pt x="115" y="36"/>
                        </a:moveTo>
                        <a:cubicBezTo>
                          <a:pt x="114" y="36"/>
                          <a:pt x="114" y="36"/>
                          <a:pt x="115" y="36"/>
                        </a:cubicBezTo>
                        <a:cubicBezTo>
                          <a:pt x="114" y="36"/>
                          <a:pt x="114" y="36"/>
                          <a:pt x="114" y="36"/>
                        </a:cubicBezTo>
                        <a:cubicBezTo>
                          <a:pt x="114" y="36"/>
                          <a:pt x="114" y="36"/>
                          <a:pt x="115" y="36"/>
                        </a:cubicBezTo>
                        <a:close/>
                        <a:moveTo>
                          <a:pt x="111" y="42"/>
                        </a:moveTo>
                        <a:cubicBezTo>
                          <a:pt x="110" y="42"/>
                          <a:pt x="110" y="43"/>
                          <a:pt x="109" y="42"/>
                        </a:cubicBezTo>
                        <a:cubicBezTo>
                          <a:pt x="111" y="42"/>
                          <a:pt x="114" y="41"/>
                          <a:pt x="115" y="41"/>
                        </a:cubicBezTo>
                        <a:cubicBezTo>
                          <a:pt x="115" y="41"/>
                          <a:pt x="115" y="41"/>
                          <a:pt x="115" y="41"/>
                        </a:cubicBezTo>
                        <a:cubicBezTo>
                          <a:pt x="113" y="41"/>
                          <a:pt x="112" y="42"/>
                          <a:pt x="110" y="42"/>
                        </a:cubicBezTo>
                        <a:cubicBezTo>
                          <a:pt x="110" y="42"/>
                          <a:pt x="111" y="42"/>
                          <a:pt x="111" y="42"/>
                        </a:cubicBezTo>
                        <a:close/>
                        <a:moveTo>
                          <a:pt x="111" y="33"/>
                        </a:moveTo>
                        <a:cubicBezTo>
                          <a:pt x="111" y="33"/>
                          <a:pt x="112" y="33"/>
                          <a:pt x="112" y="33"/>
                        </a:cubicBezTo>
                        <a:cubicBezTo>
                          <a:pt x="112" y="33"/>
                          <a:pt x="111" y="33"/>
                          <a:pt x="111" y="33"/>
                        </a:cubicBezTo>
                        <a:cubicBezTo>
                          <a:pt x="111" y="33"/>
                          <a:pt x="111" y="33"/>
                          <a:pt x="111" y="33"/>
                        </a:cubicBezTo>
                        <a:cubicBezTo>
                          <a:pt x="111" y="33"/>
                          <a:pt x="111" y="33"/>
                          <a:pt x="111" y="33"/>
                        </a:cubicBezTo>
                        <a:cubicBezTo>
                          <a:pt x="111" y="33"/>
                          <a:pt x="111" y="33"/>
                          <a:pt x="112" y="33"/>
                        </a:cubicBezTo>
                        <a:cubicBezTo>
                          <a:pt x="112" y="33"/>
                          <a:pt x="112" y="33"/>
                          <a:pt x="113" y="33"/>
                        </a:cubicBezTo>
                        <a:cubicBezTo>
                          <a:pt x="112" y="33"/>
                          <a:pt x="112" y="33"/>
                          <a:pt x="112" y="33"/>
                        </a:cubicBezTo>
                        <a:cubicBezTo>
                          <a:pt x="112" y="33"/>
                          <a:pt x="112" y="33"/>
                          <a:pt x="113" y="33"/>
                        </a:cubicBezTo>
                        <a:cubicBezTo>
                          <a:pt x="113" y="33"/>
                          <a:pt x="111" y="34"/>
                          <a:pt x="111" y="33"/>
                        </a:cubicBezTo>
                        <a:close/>
                        <a:moveTo>
                          <a:pt x="110" y="34"/>
                        </a:moveTo>
                        <a:cubicBezTo>
                          <a:pt x="110" y="33"/>
                          <a:pt x="110" y="33"/>
                          <a:pt x="110" y="33"/>
                        </a:cubicBezTo>
                        <a:cubicBezTo>
                          <a:pt x="109" y="34"/>
                          <a:pt x="109" y="34"/>
                          <a:pt x="108" y="34"/>
                        </a:cubicBezTo>
                        <a:cubicBezTo>
                          <a:pt x="108" y="34"/>
                          <a:pt x="109" y="34"/>
                          <a:pt x="108" y="33"/>
                        </a:cubicBezTo>
                        <a:cubicBezTo>
                          <a:pt x="108" y="34"/>
                          <a:pt x="109" y="33"/>
                          <a:pt x="109" y="34"/>
                        </a:cubicBezTo>
                        <a:cubicBezTo>
                          <a:pt x="109" y="34"/>
                          <a:pt x="110" y="33"/>
                          <a:pt x="110" y="33"/>
                        </a:cubicBezTo>
                        <a:cubicBezTo>
                          <a:pt x="110" y="33"/>
                          <a:pt x="110" y="33"/>
                          <a:pt x="110" y="33"/>
                        </a:cubicBezTo>
                        <a:cubicBezTo>
                          <a:pt x="110" y="34"/>
                          <a:pt x="110" y="34"/>
                          <a:pt x="110" y="34"/>
                        </a:cubicBezTo>
                        <a:close/>
                        <a:moveTo>
                          <a:pt x="111" y="36"/>
                        </a:moveTo>
                        <a:cubicBezTo>
                          <a:pt x="111" y="36"/>
                          <a:pt x="111" y="37"/>
                          <a:pt x="110" y="37"/>
                        </a:cubicBezTo>
                        <a:cubicBezTo>
                          <a:pt x="110" y="37"/>
                          <a:pt x="110" y="37"/>
                          <a:pt x="109" y="37"/>
                        </a:cubicBezTo>
                        <a:cubicBezTo>
                          <a:pt x="110" y="36"/>
                          <a:pt x="110" y="36"/>
                          <a:pt x="111" y="36"/>
                        </a:cubicBezTo>
                        <a:close/>
                        <a:moveTo>
                          <a:pt x="110" y="34"/>
                        </a:moveTo>
                        <a:cubicBezTo>
                          <a:pt x="110" y="34"/>
                          <a:pt x="110" y="34"/>
                          <a:pt x="110" y="34"/>
                        </a:cubicBezTo>
                        <a:cubicBezTo>
                          <a:pt x="110" y="34"/>
                          <a:pt x="109" y="34"/>
                          <a:pt x="110" y="34"/>
                        </a:cubicBezTo>
                        <a:cubicBezTo>
                          <a:pt x="110" y="34"/>
                          <a:pt x="110" y="34"/>
                          <a:pt x="110" y="34"/>
                        </a:cubicBezTo>
                        <a:close/>
                        <a:moveTo>
                          <a:pt x="109" y="33"/>
                        </a:moveTo>
                        <a:cubicBezTo>
                          <a:pt x="108" y="33"/>
                          <a:pt x="109" y="33"/>
                          <a:pt x="109" y="33"/>
                        </a:cubicBezTo>
                        <a:cubicBezTo>
                          <a:pt x="110" y="33"/>
                          <a:pt x="109" y="33"/>
                          <a:pt x="109" y="33"/>
                        </a:cubicBezTo>
                        <a:close/>
                        <a:moveTo>
                          <a:pt x="108" y="33"/>
                        </a:moveTo>
                        <a:cubicBezTo>
                          <a:pt x="109" y="33"/>
                          <a:pt x="109" y="33"/>
                          <a:pt x="109" y="33"/>
                        </a:cubicBezTo>
                        <a:cubicBezTo>
                          <a:pt x="109" y="33"/>
                          <a:pt x="108" y="33"/>
                          <a:pt x="108" y="33"/>
                        </a:cubicBezTo>
                        <a:close/>
                        <a:moveTo>
                          <a:pt x="108" y="37"/>
                        </a:moveTo>
                        <a:cubicBezTo>
                          <a:pt x="108" y="37"/>
                          <a:pt x="108" y="37"/>
                          <a:pt x="108" y="37"/>
                        </a:cubicBezTo>
                        <a:cubicBezTo>
                          <a:pt x="108" y="37"/>
                          <a:pt x="108" y="36"/>
                          <a:pt x="108" y="37"/>
                        </a:cubicBezTo>
                        <a:cubicBezTo>
                          <a:pt x="108" y="37"/>
                          <a:pt x="108" y="37"/>
                          <a:pt x="108" y="37"/>
                        </a:cubicBezTo>
                        <a:close/>
                        <a:moveTo>
                          <a:pt x="106" y="33"/>
                        </a:moveTo>
                        <a:cubicBezTo>
                          <a:pt x="106" y="33"/>
                          <a:pt x="107" y="33"/>
                          <a:pt x="107" y="33"/>
                        </a:cubicBezTo>
                        <a:cubicBezTo>
                          <a:pt x="107" y="33"/>
                          <a:pt x="106" y="33"/>
                          <a:pt x="106" y="33"/>
                        </a:cubicBezTo>
                        <a:close/>
                        <a:moveTo>
                          <a:pt x="107" y="35"/>
                        </a:moveTo>
                        <a:cubicBezTo>
                          <a:pt x="107" y="35"/>
                          <a:pt x="107" y="35"/>
                          <a:pt x="107" y="35"/>
                        </a:cubicBezTo>
                        <a:cubicBezTo>
                          <a:pt x="107" y="35"/>
                          <a:pt x="107" y="35"/>
                          <a:pt x="107" y="35"/>
                        </a:cubicBezTo>
                        <a:cubicBezTo>
                          <a:pt x="107" y="35"/>
                          <a:pt x="107" y="35"/>
                          <a:pt x="107" y="35"/>
                        </a:cubicBezTo>
                        <a:close/>
                        <a:moveTo>
                          <a:pt x="106" y="33"/>
                        </a:moveTo>
                        <a:cubicBezTo>
                          <a:pt x="106" y="33"/>
                          <a:pt x="105" y="34"/>
                          <a:pt x="105" y="34"/>
                        </a:cubicBezTo>
                        <a:cubicBezTo>
                          <a:pt x="105" y="33"/>
                          <a:pt x="106" y="33"/>
                          <a:pt x="106" y="33"/>
                        </a:cubicBezTo>
                        <a:cubicBezTo>
                          <a:pt x="107" y="33"/>
                          <a:pt x="107" y="33"/>
                          <a:pt x="107" y="33"/>
                        </a:cubicBezTo>
                        <a:cubicBezTo>
                          <a:pt x="107" y="33"/>
                          <a:pt x="106" y="33"/>
                          <a:pt x="106" y="33"/>
                        </a:cubicBezTo>
                        <a:cubicBezTo>
                          <a:pt x="106" y="33"/>
                          <a:pt x="106" y="33"/>
                          <a:pt x="106" y="33"/>
                        </a:cubicBezTo>
                        <a:close/>
                        <a:moveTo>
                          <a:pt x="106" y="34"/>
                        </a:moveTo>
                        <a:cubicBezTo>
                          <a:pt x="106" y="34"/>
                          <a:pt x="106" y="34"/>
                          <a:pt x="107" y="33"/>
                        </a:cubicBezTo>
                        <a:cubicBezTo>
                          <a:pt x="107" y="34"/>
                          <a:pt x="106" y="34"/>
                          <a:pt x="106" y="34"/>
                        </a:cubicBezTo>
                        <a:close/>
                        <a:moveTo>
                          <a:pt x="107" y="38"/>
                        </a:moveTo>
                        <a:cubicBezTo>
                          <a:pt x="106" y="38"/>
                          <a:pt x="105" y="38"/>
                          <a:pt x="104" y="38"/>
                        </a:cubicBezTo>
                        <a:cubicBezTo>
                          <a:pt x="105" y="38"/>
                          <a:pt x="106" y="38"/>
                          <a:pt x="107" y="37"/>
                        </a:cubicBezTo>
                        <a:cubicBezTo>
                          <a:pt x="107" y="37"/>
                          <a:pt x="107" y="38"/>
                          <a:pt x="107" y="38"/>
                        </a:cubicBezTo>
                        <a:close/>
                        <a:moveTo>
                          <a:pt x="105" y="36"/>
                        </a:moveTo>
                        <a:cubicBezTo>
                          <a:pt x="105" y="36"/>
                          <a:pt x="106" y="36"/>
                          <a:pt x="105" y="36"/>
                        </a:cubicBezTo>
                        <a:cubicBezTo>
                          <a:pt x="106" y="36"/>
                          <a:pt x="106" y="36"/>
                          <a:pt x="106" y="36"/>
                        </a:cubicBezTo>
                        <a:cubicBezTo>
                          <a:pt x="106" y="36"/>
                          <a:pt x="106" y="36"/>
                          <a:pt x="105" y="37"/>
                        </a:cubicBezTo>
                        <a:cubicBezTo>
                          <a:pt x="105" y="36"/>
                          <a:pt x="105" y="36"/>
                          <a:pt x="105" y="36"/>
                        </a:cubicBezTo>
                        <a:close/>
                        <a:moveTo>
                          <a:pt x="105" y="36"/>
                        </a:moveTo>
                        <a:cubicBezTo>
                          <a:pt x="105" y="36"/>
                          <a:pt x="105" y="36"/>
                          <a:pt x="106" y="36"/>
                        </a:cubicBezTo>
                        <a:cubicBezTo>
                          <a:pt x="106" y="36"/>
                          <a:pt x="106" y="36"/>
                          <a:pt x="106" y="36"/>
                        </a:cubicBezTo>
                        <a:cubicBezTo>
                          <a:pt x="105" y="36"/>
                          <a:pt x="105" y="36"/>
                          <a:pt x="105" y="36"/>
                        </a:cubicBezTo>
                        <a:close/>
                        <a:moveTo>
                          <a:pt x="105" y="35"/>
                        </a:moveTo>
                        <a:cubicBezTo>
                          <a:pt x="105" y="36"/>
                          <a:pt x="104" y="36"/>
                          <a:pt x="104" y="36"/>
                        </a:cubicBezTo>
                        <a:cubicBezTo>
                          <a:pt x="104" y="36"/>
                          <a:pt x="105" y="36"/>
                          <a:pt x="105" y="35"/>
                        </a:cubicBezTo>
                        <a:close/>
                        <a:moveTo>
                          <a:pt x="103" y="36"/>
                        </a:moveTo>
                        <a:cubicBezTo>
                          <a:pt x="103" y="36"/>
                          <a:pt x="103" y="36"/>
                          <a:pt x="103" y="36"/>
                        </a:cubicBezTo>
                        <a:cubicBezTo>
                          <a:pt x="103" y="36"/>
                          <a:pt x="103" y="36"/>
                          <a:pt x="104" y="36"/>
                        </a:cubicBezTo>
                        <a:cubicBezTo>
                          <a:pt x="104" y="36"/>
                          <a:pt x="104" y="36"/>
                          <a:pt x="103" y="36"/>
                        </a:cubicBezTo>
                        <a:close/>
                        <a:moveTo>
                          <a:pt x="104" y="37"/>
                        </a:moveTo>
                        <a:cubicBezTo>
                          <a:pt x="103" y="37"/>
                          <a:pt x="104" y="37"/>
                          <a:pt x="104" y="37"/>
                        </a:cubicBezTo>
                        <a:cubicBezTo>
                          <a:pt x="103" y="37"/>
                          <a:pt x="103" y="37"/>
                          <a:pt x="103" y="37"/>
                        </a:cubicBezTo>
                        <a:cubicBezTo>
                          <a:pt x="103" y="37"/>
                          <a:pt x="103" y="37"/>
                          <a:pt x="103" y="37"/>
                        </a:cubicBezTo>
                        <a:cubicBezTo>
                          <a:pt x="103" y="37"/>
                          <a:pt x="101" y="38"/>
                          <a:pt x="101" y="38"/>
                        </a:cubicBezTo>
                        <a:cubicBezTo>
                          <a:pt x="100" y="38"/>
                          <a:pt x="99" y="38"/>
                          <a:pt x="99" y="38"/>
                        </a:cubicBezTo>
                        <a:cubicBezTo>
                          <a:pt x="100" y="38"/>
                          <a:pt x="102" y="37"/>
                          <a:pt x="104" y="37"/>
                        </a:cubicBezTo>
                        <a:cubicBezTo>
                          <a:pt x="104" y="37"/>
                          <a:pt x="104" y="37"/>
                          <a:pt x="104" y="37"/>
                        </a:cubicBezTo>
                        <a:close/>
                        <a:moveTo>
                          <a:pt x="103" y="34"/>
                        </a:moveTo>
                        <a:cubicBezTo>
                          <a:pt x="103" y="34"/>
                          <a:pt x="103" y="34"/>
                          <a:pt x="102" y="34"/>
                        </a:cubicBezTo>
                        <a:cubicBezTo>
                          <a:pt x="102" y="34"/>
                          <a:pt x="102" y="34"/>
                          <a:pt x="102" y="34"/>
                        </a:cubicBezTo>
                        <a:cubicBezTo>
                          <a:pt x="103" y="34"/>
                          <a:pt x="103" y="34"/>
                          <a:pt x="103" y="33"/>
                        </a:cubicBezTo>
                        <a:cubicBezTo>
                          <a:pt x="103" y="34"/>
                          <a:pt x="103" y="34"/>
                          <a:pt x="103" y="34"/>
                        </a:cubicBezTo>
                        <a:close/>
                        <a:moveTo>
                          <a:pt x="103" y="37"/>
                        </a:moveTo>
                        <a:cubicBezTo>
                          <a:pt x="103" y="37"/>
                          <a:pt x="103" y="36"/>
                          <a:pt x="104" y="36"/>
                        </a:cubicBezTo>
                        <a:cubicBezTo>
                          <a:pt x="104" y="36"/>
                          <a:pt x="103" y="37"/>
                          <a:pt x="103" y="37"/>
                        </a:cubicBezTo>
                        <a:close/>
                        <a:moveTo>
                          <a:pt x="103" y="35"/>
                        </a:moveTo>
                        <a:cubicBezTo>
                          <a:pt x="103" y="35"/>
                          <a:pt x="103" y="35"/>
                          <a:pt x="103" y="35"/>
                        </a:cubicBezTo>
                        <a:cubicBezTo>
                          <a:pt x="103" y="35"/>
                          <a:pt x="103" y="35"/>
                          <a:pt x="103" y="35"/>
                        </a:cubicBezTo>
                        <a:cubicBezTo>
                          <a:pt x="103" y="35"/>
                          <a:pt x="103" y="35"/>
                          <a:pt x="102" y="35"/>
                        </a:cubicBezTo>
                        <a:cubicBezTo>
                          <a:pt x="103" y="34"/>
                          <a:pt x="103" y="35"/>
                          <a:pt x="103" y="35"/>
                        </a:cubicBezTo>
                        <a:close/>
                        <a:moveTo>
                          <a:pt x="102" y="34"/>
                        </a:moveTo>
                        <a:cubicBezTo>
                          <a:pt x="102" y="34"/>
                          <a:pt x="102" y="34"/>
                          <a:pt x="103" y="34"/>
                        </a:cubicBezTo>
                        <a:cubicBezTo>
                          <a:pt x="103" y="34"/>
                          <a:pt x="102" y="34"/>
                          <a:pt x="102" y="34"/>
                        </a:cubicBezTo>
                        <a:close/>
                        <a:moveTo>
                          <a:pt x="104" y="40"/>
                        </a:moveTo>
                        <a:cubicBezTo>
                          <a:pt x="104" y="40"/>
                          <a:pt x="103" y="40"/>
                          <a:pt x="103" y="40"/>
                        </a:cubicBezTo>
                        <a:cubicBezTo>
                          <a:pt x="103" y="40"/>
                          <a:pt x="103" y="40"/>
                          <a:pt x="103" y="40"/>
                        </a:cubicBezTo>
                        <a:cubicBezTo>
                          <a:pt x="104" y="40"/>
                          <a:pt x="104" y="40"/>
                          <a:pt x="104" y="40"/>
                        </a:cubicBezTo>
                        <a:close/>
                        <a:moveTo>
                          <a:pt x="103" y="38"/>
                        </a:moveTo>
                        <a:cubicBezTo>
                          <a:pt x="103" y="38"/>
                          <a:pt x="103" y="38"/>
                          <a:pt x="103" y="38"/>
                        </a:cubicBezTo>
                        <a:cubicBezTo>
                          <a:pt x="103" y="38"/>
                          <a:pt x="103" y="38"/>
                          <a:pt x="103" y="38"/>
                        </a:cubicBezTo>
                        <a:cubicBezTo>
                          <a:pt x="104" y="38"/>
                          <a:pt x="103" y="38"/>
                          <a:pt x="103" y="38"/>
                        </a:cubicBezTo>
                        <a:close/>
                        <a:moveTo>
                          <a:pt x="101" y="34"/>
                        </a:moveTo>
                        <a:cubicBezTo>
                          <a:pt x="102" y="34"/>
                          <a:pt x="102" y="34"/>
                          <a:pt x="102" y="34"/>
                        </a:cubicBezTo>
                        <a:cubicBezTo>
                          <a:pt x="102" y="34"/>
                          <a:pt x="101" y="34"/>
                          <a:pt x="101" y="34"/>
                        </a:cubicBezTo>
                        <a:close/>
                        <a:moveTo>
                          <a:pt x="102" y="36"/>
                        </a:moveTo>
                        <a:cubicBezTo>
                          <a:pt x="102" y="37"/>
                          <a:pt x="102" y="37"/>
                          <a:pt x="102" y="37"/>
                        </a:cubicBezTo>
                        <a:cubicBezTo>
                          <a:pt x="102" y="37"/>
                          <a:pt x="101" y="37"/>
                          <a:pt x="101" y="37"/>
                        </a:cubicBezTo>
                        <a:cubicBezTo>
                          <a:pt x="102" y="36"/>
                          <a:pt x="102" y="36"/>
                          <a:pt x="102" y="36"/>
                        </a:cubicBezTo>
                        <a:close/>
                        <a:moveTo>
                          <a:pt x="100" y="36"/>
                        </a:moveTo>
                        <a:cubicBezTo>
                          <a:pt x="100" y="35"/>
                          <a:pt x="101" y="35"/>
                          <a:pt x="101" y="35"/>
                        </a:cubicBezTo>
                        <a:cubicBezTo>
                          <a:pt x="101" y="35"/>
                          <a:pt x="100" y="36"/>
                          <a:pt x="100" y="36"/>
                        </a:cubicBezTo>
                        <a:close/>
                        <a:moveTo>
                          <a:pt x="102" y="39"/>
                        </a:moveTo>
                        <a:cubicBezTo>
                          <a:pt x="102" y="39"/>
                          <a:pt x="102" y="39"/>
                          <a:pt x="102" y="39"/>
                        </a:cubicBezTo>
                        <a:cubicBezTo>
                          <a:pt x="102" y="39"/>
                          <a:pt x="101" y="39"/>
                          <a:pt x="101" y="39"/>
                        </a:cubicBezTo>
                        <a:cubicBezTo>
                          <a:pt x="101" y="39"/>
                          <a:pt x="102" y="39"/>
                          <a:pt x="102" y="39"/>
                        </a:cubicBezTo>
                        <a:close/>
                        <a:moveTo>
                          <a:pt x="102" y="40"/>
                        </a:moveTo>
                        <a:cubicBezTo>
                          <a:pt x="102" y="40"/>
                          <a:pt x="102" y="40"/>
                          <a:pt x="102" y="41"/>
                        </a:cubicBezTo>
                        <a:cubicBezTo>
                          <a:pt x="101" y="41"/>
                          <a:pt x="101" y="40"/>
                          <a:pt x="102" y="40"/>
                        </a:cubicBezTo>
                        <a:close/>
                        <a:moveTo>
                          <a:pt x="98" y="37"/>
                        </a:moveTo>
                        <a:cubicBezTo>
                          <a:pt x="98" y="37"/>
                          <a:pt x="98" y="37"/>
                          <a:pt x="98" y="37"/>
                        </a:cubicBezTo>
                        <a:cubicBezTo>
                          <a:pt x="98" y="37"/>
                          <a:pt x="98" y="37"/>
                          <a:pt x="98" y="37"/>
                        </a:cubicBezTo>
                        <a:close/>
                        <a:moveTo>
                          <a:pt x="99" y="41"/>
                        </a:moveTo>
                        <a:cubicBezTo>
                          <a:pt x="99" y="41"/>
                          <a:pt x="99" y="41"/>
                          <a:pt x="99" y="41"/>
                        </a:cubicBezTo>
                        <a:cubicBezTo>
                          <a:pt x="99" y="41"/>
                          <a:pt x="99" y="42"/>
                          <a:pt x="99" y="41"/>
                        </a:cubicBezTo>
                        <a:close/>
                        <a:moveTo>
                          <a:pt x="98" y="41"/>
                        </a:moveTo>
                        <a:cubicBezTo>
                          <a:pt x="98" y="41"/>
                          <a:pt x="98" y="41"/>
                          <a:pt x="98" y="41"/>
                        </a:cubicBezTo>
                        <a:cubicBezTo>
                          <a:pt x="98" y="41"/>
                          <a:pt x="98" y="41"/>
                          <a:pt x="98" y="41"/>
                        </a:cubicBezTo>
                        <a:close/>
                        <a:moveTo>
                          <a:pt x="96" y="41"/>
                        </a:moveTo>
                        <a:cubicBezTo>
                          <a:pt x="96" y="41"/>
                          <a:pt x="96" y="41"/>
                          <a:pt x="97" y="41"/>
                        </a:cubicBezTo>
                        <a:cubicBezTo>
                          <a:pt x="96" y="41"/>
                          <a:pt x="96" y="41"/>
                          <a:pt x="96" y="41"/>
                        </a:cubicBezTo>
                        <a:close/>
                        <a:moveTo>
                          <a:pt x="95" y="38"/>
                        </a:moveTo>
                        <a:cubicBezTo>
                          <a:pt x="95" y="38"/>
                          <a:pt x="95" y="38"/>
                          <a:pt x="95" y="38"/>
                        </a:cubicBezTo>
                        <a:cubicBezTo>
                          <a:pt x="95" y="38"/>
                          <a:pt x="95" y="38"/>
                          <a:pt x="95" y="38"/>
                        </a:cubicBezTo>
                        <a:close/>
                        <a:moveTo>
                          <a:pt x="94" y="43"/>
                        </a:moveTo>
                        <a:cubicBezTo>
                          <a:pt x="94" y="44"/>
                          <a:pt x="95" y="43"/>
                          <a:pt x="95" y="43"/>
                        </a:cubicBezTo>
                        <a:cubicBezTo>
                          <a:pt x="96" y="43"/>
                          <a:pt x="95" y="43"/>
                          <a:pt x="94" y="43"/>
                        </a:cubicBezTo>
                        <a:cubicBezTo>
                          <a:pt x="94" y="44"/>
                          <a:pt x="96" y="43"/>
                          <a:pt x="96" y="43"/>
                        </a:cubicBezTo>
                        <a:cubicBezTo>
                          <a:pt x="96" y="43"/>
                          <a:pt x="96" y="43"/>
                          <a:pt x="97" y="43"/>
                        </a:cubicBezTo>
                        <a:cubicBezTo>
                          <a:pt x="96" y="43"/>
                          <a:pt x="96" y="43"/>
                          <a:pt x="95" y="43"/>
                        </a:cubicBezTo>
                        <a:cubicBezTo>
                          <a:pt x="95" y="43"/>
                          <a:pt x="95" y="43"/>
                          <a:pt x="95" y="44"/>
                        </a:cubicBezTo>
                        <a:cubicBezTo>
                          <a:pt x="95" y="44"/>
                          <a:pt x="95" y="44"/>
                          <a:pt x="95" y="44"/>
                        </a:cubicBezTo>
                        <a:cubicBezTo>
                          <a:pt x="95" y="44"/>
                          <a:pt x="94" y="44"/>
                          <a:pt x="94" y="44"/>
                        </a:cubicBezTo>
                        <a:cubicBezTo>
                          <a:pt x="94" y="44"/>
                          <a:pt x="93" y="44"/>
                          <a:pt x="93" y="44"/>
                        </a:cubicBezTo>
                        <a:cubicBezTo>
                          <a:pt x="93" y="44"/>
                          <a:pt x="93" y="44"/>
                          <a:pt x="92" y="44"/>
                        </a:cubicBezTo>
                        <a:cubicBezTo>
                          <a:pt x="93" y="44"/>
                          <a:pt x="93" y="44"/>
                          <a:pt x="93" y="44"/>
                        </a:cubicBezTo>
                        <a:cubicBezTo>
                          <a:pt x="93" y="44"/>
                          <a:pt x="93" y="44"/>
                          <a:pt x="93" y="44"/>
                        </a:cubicBezTo>
                        <a:cubicBezTo>
                          <a:pt x="93" y="44"/>
                          <a:pt x="93" y="43"/>
                          <a:pt x="94" y="43"/>
                        </a:cubicBezTo>
                        <a:cubicBezTo>
                          <a:pt x="94" y="43"/>
                          <a:pt x="94" y="43"/>
                          <a:pt x="94" y="43"/>
                        </a:cubicBezTo>
                        <a:close/>
                        <a:moveTo>
                          <a:pt x="96" y="41"/>
                        </a:moveTo>
                        <a:cubicBezTo>
                          <a:pt x="96" y="41"/>
                          <a:pt x="95" y="41"/>
                          <a:pt x="95" y="41"/>
                        </a:cubicBezTo>
                        <a:lnTo>
                          <a:pt x="96" y="41"/>
                        </a:lnTo>
                        <a:close/>
                        <a:moveTo>
                          <a:pt x="94" y="42"/>
                        </a:moveTo>
                        <a:cubicBezTo>
                          <a:pt x="94" y="42"/>
                          <a:pt x="94" y="42"/>
                          <a:pt x="95" y="42"/>
                        </a:cubicBezTo>
                        <a:cubicBezTo>
                          <a:pt x="95" y="42"/>
                          <a:pt x="95" y="42"/>
                          <a:pt x="96" y="42"/>
                        </a:cubicBezTo>
                        <a:cubicBezTo>
                          <a:pt x="96" y="42"/>
                          <a:pt x="95" y="42"/>
                          <a:pt x="95" y="42"/>
                        </a:cubicBezTo>
                        <a:cubicBezTo>
                          <a:pt x="95" y="42"/>
                          <a:pt x="95" y="42"/>
                          <a:pt x="94" y="42"/>
                        </a:cubicBezTo>
                        <a:close/>
                        <a:moveTo>
                          <a:pt x="96" y="43"/>
                        </a:moveTo>
                        <a:cubicBezTo>
                          <a:pt x="96" y="43"/>
                          <a:pt x="95" y="43"/>
                          <a:pt x="95" y="43"/>
                        </a:cubicBezTo>
                        <a:cubicBezTo>
                          <a:pt x="95" y="43"/>
                          <a:pt x="95" y="43"/>
                          <a:pt x="96" y="43"/>
                        </a:cubicBezTo>
                        <a:close/>
                        <a:moveTo>
                          <a:pt x="96" y="43"/>
                        </a:moveTo>
                        <a:cubicBezTo>
                          <a:pt x="96" y="43"/>
                          <a:pt x="95" y="43"/>
                          <a:pt x="95" y="43"/>
                        </a:cubicBezTo>
                        <a:cubicBezTo>
                          <a:pt x="95" y="43"/>
                          <a:pt x="95" y="43"/>
                          <a:pt x="96" y="43"/>
                        </a:cubicBezTo>
                        <a:close/>
                        <a:moveTo>
                          <a:pt x="95" y="45"/>
                        </a:moveTo>
                        <a:cubicBezTo>
                          <a:pt x="96" y="44"/>
                          <a:pt x="96" y="44"/>
                          <a:pt x="96" y="44"/>
                        </a:cubicBezTo>
                        <a:cubicBezTo>
                          <a:pt x="96" y="44"/>
                          <a:pt x="96" y="44"/>
                          <a:pt x="96" y="45"/>
                        </a:cubicBezTo>
                        <a:cubicBezTo>
                          <a:pt x="96" y="45"/>
                          <a:pt x="96" y="44"/>
                          <a:pt x="95" y="45"/>
                        </a:cubicBezTo>
                        <a:close/>
                        <a:moveTo>
                          <a:pt x="96" y="45"/>
                        </a:moveTo>
                        <a:cubicBezTo>
                          <a:pt x="96" y="45"/>
                          <a:pt x="96" y="45"/>
                          <a:pt x="96" y="45"/>
                        </a:cubicBezTo>
                        <a:cubicBezTo>
                          <a:pt x="96" y="45"/>
                          <a:pt x="95" y="45"/>
                          <a:pt x="95" y="45"/>
                        </a:cubicBezTo>
                        <a:cubicBezTo>
                          <a:pt x="95" y="45"/>
                          <a:pt x="96" y="45"/>
                          <a:pt x="96" y="45"/>
                        </a:cubicBezTo>
                        <a:cubicBezTo>
                          <a:pt x="96" y="45"/>
                          <a:pt x="96" y="45"/>
                          <a:pt x="96" y="45"/>
                        </a:cubicBezTo>
                        <a:close/>
                        <a:moveTo>
                          <a:pt x="93" y="39"/>
                        </a:moveTo>
                        <a:cubicBezTo>
                          <a:pt x="93" y="39"/>
                          <a:pt x="94" y="39"/>
                          <a:pt x="94" y="39"/>
                        </a:cubicBezTo>
                        <a:cubicBezTo>
                          <a:pt x="94" y="39"/>
                          <a:pt x="93" y="39"/>
                          <a:pt x="93" y="39"/>
                        </a:cubicBezTo>
                        <a:close/>
                        <a:moveTo>
                          <a:pt x="95" y="43"/>
                        </a:moveTo>
                        <a:cubicBezTo>
                          <a:pt x="95" y="43"/>
                          <a:pt x="95" y="43"/>
                          <a:pt x="94" y="43"/>
                        </a:cubicBezTo>
                        <a:cubicBezTo>
                          <a:pt x="94" y="43"/>
                          <a:pt x="95" y="43"/>
                          <a:pt x="95" y="43"/>
                        </a:cubicBezTo>
                        <a:close/>
                        <a:moveTo>
                          <a:pt x="94" y="42"/>
                        </a:moveTo>
                        <a:cubicBezTo>
                          <a:pt x="94" y="42"/>
                          <a:pt x="94" y="42"/>
                          <a:pt x="94" y="42"/>
                        </a:cubicBezTo>
                        <a:cubicBezTo>
                          <a:pt x="94" y="42"/>
                          <a:pt x="94" y="42"/>
                          <a:pt x="94" y="42"/>
                        </a:cubicBezTo>
                        <a:close/>
                        <a:moveTo>
                          <a:pt x="92" y="36"/>
                        </a:moveTo>
                        <a:cubicBezTo>
                          <a:pt x="91" y="36"/>
                          <a:pt x="91" y="36"/>
                          <a:pt x="92" y="36"/>
                        </a:cubicBezTo>
                        <a:cubicBezTo>
                          <a:pt x="92" y="36"/>
                          <a:pt x="92" y="36"/>
                          <a:pt x="92" y="36"/>
                        </a:cubicBezTo>
                        <a:close/>
                        <a:moveTo>
                          <a:pt x="92" y="40"/>
                        </a:moveTo>
                        <a:cubicBezTo>
                          <a:pt x="93" y="40"/>
                          <a:pt x="93" y="40"/>
                          <a:pt x="93" y="40"/>
                        </a:cubicBezTo>
                        <a:cubicBezTo>
                          <a:pt x="92" y="40"/>
                          <a:pt x="92" y="40"/>
                          <a:pt x="92" y="40"/>
                        </a:cubicBezTo>
                        <a:cubicBezTo>
                          <a:pt x="92" y="40"/>
                          <a:pt x="92" y="40"/>
                          <a:pt x="92" y="40"/>
                        </a:cubicBezTo>
                        <a:close/>
                        <a:moveTo>
                          <a:pt x="90" y="36"/>
                        </a:moveTo>
                        <a:cubicBezTo>
                          <a:pt x="90" y="36"/>
                          <a:pt x="91" y="36"/>
                          <a:pt x="91" y="36"/>
                        </a:cubicBezTo>
                        <a:cubicBezTo>
                          <a:pt x="91" y="36"/>
                          <a:pt x="91" y="36"/>
                          <a:pt x="90" y="36"/>
                        </a:cubicBezTo>
                        <a:close/>
                        <a:moveTo>
                          <a:pt x="91" y="42"/>
                        </a:moveTo>
                        <a:cubicBezTo>
                          <a:pt x="92" y="42"/>
                          <a:pt x="92" y="42"/>
                          <a:pt x="92" y="42"/>
                        </a:cubicBezTo>
                        <a:cubicBezTo>
                          <a:pt x="92" y="42"/>
                          <a:pt x="92" y="42"/>
                          <a:pt x="92" y="42"/>
                        </a:cubicBezTo>
                        <a:cubicBezTo>
                          <a:pt x="92" y="42"/>
                          <a:pt x="92" y="42"/>
                          <a:pt x="92" y="42"/>
                        </a:cubicBezTo>
                        <a:cubicBezTo>
                          <a:pt x="92" y="42"/>
                          <a:pt x="91" y="42"/>
                          <a:pt x="91" y="42"/>
                        </a:cubicBezTo>
                        <a:cubicBezTo>
                          <a:pt x="91" y="42"/>
                          <a:pt x="91" y="42"/>
                          <a:pt x="91" y="42"/>
                        </a:cubicBezTo>
                        <a:close/>
                        <a:moveTo>
                          <a:pt x="92" y="45"/>
                        </a:moveTo>
                        <a:cubicBezTo>
                          <a:pt x="92" y="45"/>
                          <a:pt x="92" y="45"/>
                          <a:pt x="92" y="45"/>
                        </a:cubicBezTo>
                        <a:cubicBezTo>
                          <a:pt x="92" y="45"/>
                          <a:pt x="92" y="45"/>
                          <a:pt x="92" y="45"/>
                        </a:cubicBezTo>
                        <a:cubicBezTo>
                          <a:pt x="92" y="45"/>
                          <a:pt x="92" y="45"/>
                          <a:pt x="92" y="45"/>
                        </a:cubicBezTo>
                        <a:cubicBezTo>
                          <a:pt x="92" y="45"/>
                          <a:pt x="92" y="45"/>
                          <a:pt x="92" y="45"/>
                        </a:cubicBezTo>
                        <a:close/>
                        <a:moveTo>
                          <a:pt x="91" y="42"/>
                        </a:moveTo>
                        <a:cubicBezTo>
                          <a:pt x="91" y="42"/>
                          <a:pt x="91" y="42"/>
                          <a:pt x="91" y="42"/>
                        </a:cubicBezTo>
                        <a:cubicBezTo>
                          <a:pt x="91" y="42"/>
                          <a:pt x="91" y="42"/>
                          <a:pt x="91" y="41"/>
                        </a:cubicBezTo>
                        <a:cubicBezTo>
                          <a:pt x="91" y="41"/>
                          <a:pt x="91" y="41"/>
                          <a:pt x="91" y="41"/>
                        </a:cubicBezTo>
                        <a:cubicBezTo>
                          <a:pt x="91" y="41"/>
                          <a:pt x="91" y="42"/>
                          <a:pt x="91" y="42"/>
                        </a:cubicBezTo>
                        <a:close/>
                        <a:moveTo>
                          <a:pt x="91" y="45"/>
                        </a:moveTo>
                        <a:cubicBezTo>
                          <a:pt x="91" y="45"/>
                          <a:pt x="91" y="45"/>
                          <a:pt x="91" y="45"/>
                        </a:cubicBezTo>
                        <a:cubicBezTo>
                          <a:pt x="91" y="45"/>
                          <a:pt x="91" y="45"/>
                          <a:pt x="90" y="45"/>
                        </a:cubicBezTo>
                        <a:cubicBezTo>
                          <a:pt x="90" y="45"/>
                          <a:pt x="90" y="45"/>
                          <a:pt x="90" y="45"/>
                        </a:cubicBezTo>
                        <a:cubicBezTo>
                          <a:pt x="90" y="45"/>
                          <a:pt x="91" y="45"/>
                          <a:pt x="91" y="45"/>
                        </a:cubicBezTo>
                        <a:cubicBezTo>
                          <a:pt x="92" y="45"/>
                          <a:pt x="92" y="45"/>
                          <a:pt x="92" y="45"/>
                        </a:cubicBezTo>
                        <a:cubicBezTo>
                          <a:pt x="92" y="45"/>
                          <a:pt x="92" y="45"/>
                          <a:pt x="91" y="45"/>
                        </a:cubicBezTo>
                        <a:cubicBezTo>
                          <a:pt x="91" y="45"/>
                          <a:pt x="91" y="45"/>
                          <a:pt x="91" y="45"/>
                        </a:cubicBezTo>
                        <a:close/>
                        <a:moveTo>
                          <a:pt x="92" y="46"/>
                        </a:moveTo>
                        <a:cubicBezTo>
                          <a:pt x="91" y="46"/>
                          <a:pt x="92" y="46"/>
                          <a:pt x="92" y="46"/>
                        </a:cubicBezTo>
                        <a:cubicBezTo>
                          <a:pt x="92" y="46"/>
                          <a:pt x="92" y="46"/>
                          <a:pt x="92" y="46"/>
                        </a:cubicBezTo>
                        <a:cubicBezTo>
                          <a:pt x="92" y="46"/>
                          <a:pt x="92" y="46"/>
                          <a:pt x="92" y="46"/>
                        </a:cubicBezTo>
                        <a:close/>
                        <a:moveTo>
                          <a:pt x="91" y="44"/>
                        </a:moveTo>
                        <a:cubicBezTo>
                          <a:pt x="92" y="44"/>
                          <a:pt x="91" y="44"/>
                          <a:pt x="92" y="44"/>
                        </a:cubicBezTo>
                        <a:cubicBezTo>
                          <a:pt x="92" y="44"/>
                          <a:pt x="92" y="44"/>
                          <a:pt x="92" y="44"/>
                        </a:cubicBezTo>
                        <a:cubicBezTo>
                          <a:pt x="91" y="44"/>
                          <a:pt x="91" y="44"/>
                          <a:pt x="91" y="44"/>
                        </a:cubicBezTo>
                        <a:cubicBezTo>
                          <a:pt x="91" y="44"/>
                          <a:pt x="91" y="44"/>
                          <a:pt x="91" y="44"/>
                        </a:cubicBezTo>
                        <a:close/>
                        <a:moveTo>
                          <a:pt x="89" y="41"/>
                        </a:moveTo>
                        <a:cubicBezTo>
                          <a:pt x="89" y="40"/>
                          <a:pt x="89" y="40"/>
                          <a:pt x="89" y="40"/>
                        </a:cubicBezTo>
                        <a:cubicBezTo>
                          <a:pt x="90" y="40"/>
                          <a:pt x="90" y="40"/>
                          <a:pt x="90" y="40"/>
                        </a:cubicBezTo>
                        <a:cubicBezTo>
                          <a:pt x="90" y="40"/>
                          <a:pt x="90" y="40"/>
                          <a:pt x="90" y="40"/>
                        </a:cubicBezTo>
                        <a:cubicBezTo>
                          <a:pt x="91" y="40"/>
                          <a:pt x="90" y="40"/>
                          <a:pt x="89" y="41"/>
                        </a:cubicBezTo>
                        <a:close/>
                        <a:moveTo>
                          <a:pt x="91" y="44"/>
                        </a:moveTo>
                        <a:cubicBezTo>
                          <a:pt x="91" y="44"/>
                          <a:pt x="90" y="44"/>
                          <a:pt x="90" y="44"/>
                        </a:cubicBezTo>
                        <a:cubicBezTo>
                          <a:pt x="90" y="44"/>
                          <a:pt x="91" y="44"/>
                          <a:pt x="91" y="44"/>
                        </a:cubicBezTo>
                        <a:close/>
                        <a:moveTo>
                          <a:pt x="91" y="44"/>
                        </a:moveTo>
                        <a:cubicBezTo>
                          <a:pt x="90" y="45"/>
                          <a:pt x="90" y="44"/>
                          <a:pt x="89" y="45"/>
                        </a:cubicBezTo>
                        <a:cubicBezTo>
                          <a:pt x="90" y="44"/>
                          <a:pt x="90" y="44"/>
                          <a:pt x="91" y="44"/>
                        </a:cubicBezTo>
                        <a:close/>
                        <a:moveTo>
                          <a:pt x="89" y="42"/>
                        </a:moveTo>
                        <a:cubicBezTo>
                          <a:pt x="89" y="42"/>
                          <a:pt x="89" y="42"/>
                          <a:pt x="89" y="42"/>
                        </a:cubicBezTo>
                        <a:cubicBezTo>
                          <a:pt x="89" y="42"/>
                          <a:pt x="88" y="42"/>
                          <a:pt x="88" y="42"/>
                        </a:cubicBezTo>
                        <a:cubicBezTo>
                          <a:pt x="88" y="42"/>
                          <a:pt x="88" y="42"/>
                          <a:pt x="88" y="42"/>
                        </a:cubicBezTo>
                        <a:cubicBezTo>
                          <a:pt x="88" y="42"/>
                          <a:pt x="88" y="42"/>
                          <a:pt x="88" y="42"/>
                        </a:cubicBezTo>
                        <a:cubicBezTo>
                          <a:pt x="88" y="42"/>
                          <a:pt x="88" y="42"/>
                          <a:pt x="88" y="42"/>
                        </a:cubicBezTo>
                        <a:cubicBezTo>
                          <a:pt x="88" y="42"/>
                          <a:pt x="88" y="42"/>
                          <a:pt x="87" y="42"/>
                        </a:cubicBezTo>
                        <a:cubicBezTo>
                          <a:pt x="87" y="42"/>
                          <a:pt x="87" y="42"/>
                          <a:pt x="88" y="42"/>
                        </a:cubicBezTo>
                        <a:cubicBezTo>
                          <a:pt x="88" y="42"/>
                          <a:pt x="88" y="42"/>
                          <a:pt x="88" y="42"/>
                        </a:cubicBezTo>
                        <a:cubicBezTo>
                          <a:pt x="88" y="42"/>
                          <a:pt x="88" y="42"/>
                          <a:pt x="88" y="42"/>
                        </a:cubicBezTo>
                        <a:cubicBezTo>
                          <a:pt x="88" y="42"/>
                          <a:pt x="88" y="42"/>
                          <a:pt x="88" y="42"/>
                        </a:cubicBezTo>
                        <a:cubicBezTo>
                          <a:pt x="89" y="42"/>
                          <a:pt x="89" y="42"/>
                          <a:pt x="89" y="42"/>
                        </a:cubicBezTo>
                        <a:cubicBezTo>
                          <a:pt x="89" y="42"/>
                          <a:pt x="89" y="42"/>
                          <a:pt x="88" y="42"/>
                        </a:cubicBezTo>
                        <a:cubicBezTo>
                          <a:pt x="88" y="42"/>
                          <a:pt x="89" y="42"/>
                          <a:pt x="89" y="42"/>
                        </a:cubicBezTo>
                        <a:cubicBezTo>
                          <a:pt x="89" y="42"/>
                          <a:pt x="90" y="42"/>
                          <a:pt x="90" y="42"/>
                        </a:cubicBezTo>
                        <a:cubicBezTo>
                          <a:pt x="90" y="42"/>
                          <a:pt x="89" y="42"/>
                          <a:pt x="89" y="42"/>
                        </a:cubicBezTo>
                        <a:close/>
                        <a:moveTo>
                          <a:pt x="88" y="45"/>
                        </a:moveTo>
                        <a:cubicBezTo>
                          <a:pt x="88" y="45"/>
                          <a:pt x="89" y="45"/>
                          <a:pt x="90" y="45"/>
                        </a:cubicBezTo>
                        <a:cubicBezTo>
                          <a:pt x="89" y="45"/>
                          <a:pt x="88" y="45"/>
                          <a:pt x="88" y="45"/>
                        </a:cubicBezTo>
                        <a:close/>
                        <a:moveTo>
                          <a:pt x="89" y="43"/>
                        </a:moveTo>
                        <a:cubicBezTo>
                          <a:pt x="89" y="43"/>
                          <a:pt x="89" y="43"/>
                          <a:pt x="90" y="43"/>
                        </a:cubicBezTo>
                        <a:cubicBezTo>
                          <a:pt x="89" y="43"/>
                          <a:pt x="89" y="43"/>
                          <a:pt x="89" y="43"/>
                        </a:cubicBezTo>
                        <a:close/>
                        <a:moveTo>
                          <a:pt x="89" y="47"/>
                        </a:moveTo>
                        <a:cubicBezTo>
                          <a:pt x="89" y="46"/>
                          <a:pt x="89" y="46"/>
                          <a:pt x="90" y="46"/>
                        </a:cubicBezTo>
                        <a:cubicBezTo>
                          <a:pt x="90" y="47"/>
                          <a:pt x="89" y="47"/>
                          <a:pt x="89" y="47"/>
                        </a:cubicBezTo>
                        <a:close/>
                        <a:moveTo>
                          <a:pt x="87" y="42"/>
                        </a:moveTo>
                        <a:cubicBezTo>
                          <a:pt x="87" y="42"/>
                          <a:pt x="88" y="42"/>
                          <a:pt x="88" y="42"/>
                        </a:cubicBezTo>
                        <a:cubicBezTo>
                          <a:pt x="88" y="42"/>
                          <a:pt x="87" y="42"/>
                          <a:pt x="87" y="42"/>
                        </a:cubicBezTo>
                        <a:close/>
                        <a:moveTo>
                          <a:pt x="88" y="44"/>
                        </a:moveTo>
                        <a:cubicBezTo>
                          <a:pt x="88" y="44"/>
                          <a:pt x="88" y="44"/>
                          <a:pt x="87" y="44"/>
                        </a:cubicBezTo>
                        <a:cubicBezTo>
                          <a:pt x="87" y="43"/>
                          <a:pt x="88" y="43"/>
                          <a:pt x="88" y="43"/>
                        </a:cubicBezTo>
                        <a:cubicBezTo>
                          <a:pt x="88" y="43"/>
                          <a:pt x="88" y="43"/>
                          <a:pt x="88" y="43"/>
                        </a:cubicBezTo>
                        <a:cubicBezTo>
                          <a:pt x="88" y="44"/>
                          <a:pt x="88" y="44"/>
                          <a:pt x="88" y="44"/>
                        </a:cubicBezTo>
                        <a:close/>
                        <a:moveTo>
                          <a:pt x="88" y="45"/>
                        </a:moveTo>
                        <a:cubicBezTo>
                          <a:pt x="88" y="45"/>
                          <a:pt x="88" y="45"/>
                          <a:pt x="88" y="45"/>
                        </a:cubicBezTo>
                        <a:cubicBezTo>
                          <a:pt x="88" y="44"/>
                          <a:pt x="88" y="44"/>
                          <a:pt x="87" y="45"/>
                        </a:cubicBezTo>
                        <a:cubicBezTo>
                          <a:pt x="87" y="44"/>
                          <a:pt x="88" y="44"/>
                          <a:pt x="88" y="44"/>
                        </a:cubicBezTo>
                        <a:cubicBezTo>
                          <a:pt x="88" y="45"/>
                          <a:pt x="88" y="44"/>
                          <a:pt x="88" y="45"/>
                        </a:cubicBezTo>
                        <a:close/>
                        <a:moveTo>
                          <a:pt x="88" y="47"/>
                        </a:moveTo>
                        <a:cubicBezTo>
                          <a:pt x="88" y="47"/>
                          <a:pt x="88" y="47"/>
                          <a:pt x="88" y="47"/>
                        </a:cubicBezTo>
                        <a:cubicBezTo>
                          <a:pt x="88" y="47"/>
                          <a:pt x="88" y="47"/>
                          <a:pt x="88" y="47"/>
                        </a:cubicBezTo>
                        <a:cubicBezTo>
                          <a:pt x="88" y="47"/>
                          <a:pt x="88" y="47"/>
                          <a:pt x="88" y="47"/>
                        </a:cubicBezTo>
                        <a:close/>
                        <a:moveTo>
                          <a:pt x="88" y="47"/>
                        </a:moveTo>
                        <a:cubicBezTo>
                          <a:pt x="87" y="47"/>
                          <a:pt x="87" y="47"/>
                          <a:pt x="87" y="47"/>
                        </a:cubicBezTo>
                        <a:cubicBezTo>
                          <a:pt x="87" y="47"/>
                          <a:pt x="87" y="47"/>
                          <a:pt x="88" y="47"/>
                        </a:cubicBezTo>
                        <a:close/>
                        <a:moveTo>
                          <a:pt x="88" y="47"/>
                        </a:moveTo>
                        <a:cubicBezTo>
                          <a:pt x="87" y="47"/>
                          <a:pt x="87" y="47"/>
                          <a:pt x="87" y="47"/>
                        </a:cubicBezTo>
                        <a:cubicBezTo>
                          <a:pt x="87" y="47"/>
                          <a:pt x="87" y="47"/>
                          <a:pt x="88" y="47"/>
                        </a:cubicBezTo>
                        <a:cubicBezTo>
                          <a:pt x="88" y="47"/>
                          <a:pt x="88" y="47"/>
                          <a:pt x="88" y="47"/>
                        </a:cubicBezTo>
                        <a:close/>
                        <a:moveTo>
                          <a:pt x="85" y="41"/>
                        </a:moveTo>
                        <a:cubicBezTo>
                          <a:pt x="85" y="41"/>
                          <a:pt x="86" y="41"/>
                          <a:pt x="86" y="41"/>
                        </a:cubicBezTo>
                        <a:cubicBezTo>
                          <a:pt x="86" y="41"/>
                          <a:pt x="85" y="41"/>
                          <a:pt x="85" y="41"/>
                        </a:cubicBezTo>
                        <a:close/>
                        <a:moveTo>
                          <a:pt x="85" y="42"/>
                        </a:moveTo>
                        <a:cubicBezTo>
                          <a:pt x="85" y="42"/>
                          <a:pt x="85" y="42"/>
                          <a:pt x="85" y="42"/>
                        </a:cubicBezTo>
                        <a:cubicBezTo>
                          <a:pt x="85" y="42"/>
                          <a:pt x="85" y="42"/>
                          <a:pt x="86" y="42"/>
                        </a:cubicBezTo>
                        <a:cubicBezTo>
                          <a:pt x="86" y="42"/>
                          <a:pt x="85" y="42"/>
                          <a:pt x="85" y="42"/>
                        </a:cubicBezTo>
                        <a:cubicBezTo>
                          <a:pt x="85" y="42"/>
                          <a:pt x="86" y="42"/>
                          <a:pt x="86" y="42"/>
                        </a:cubicBezTo>
                        <a:cubicBezTo>
                          <a:pt x="86" y="42"/>
                          <a:pt x="85" y="42"/>
                          <a:pt x="85" y="42"/>
                        </a:cubicBezTo>
                        <a:close/>
                        <a:moveTo>
                          <a:pt x="84" y="42"/>
                        </a:moveTo>
                        <a:cubicBezTo>
                          <a:pt x="84" y="42"/>
                          <a:pt x="86" y="41"/>
                          <a:pt x="85" y="42"/>
                        </a:cubicBezTo>
                        <a:cubicBezTo>
                          <a:pt x="85" y="42"/>
                          <a:pt x="85" y="42"/>
                          <a:pt x="85" y="42"/>
                        </a:cubicBezTo>
                        <a:cubicBezTo>
                          <a:pt x="85" y="42"/>
                          <a:pt x="85" y="42"/>
                          <a:pt x="84" y="42"/>
                        </a:cubicBezTo>
                        <a:close/>
                        <a:moveTo>
                          <a:pt x="85" y="42"/>
                        </a:moveTo>
                        <a:cubicBezTo>
                          <a:pt x="85" y="42"/>
                          <a:pt x="85" y="42"/>
                          <a:pt x="85" y="42"/>
                        </a:cubicBezTo>
                        <a:cubicBezTo>
                          <a:pt x="85" y="42"/>
                          <a:pt x="85" y="42"/>
                          <a:pt x="85" y="42"/>
                        </a:cubicBezTo>
                        <a:cubicBezTo>
                          <a:pt x="85" y="42"/>
                          <a:pt x="85" y="42"/>
                          <a:pt x="85" y="42"/>
                        </a:cubicBezTo>
                        <a:cubicBezTo>
                          <a:pt x="85" y="42"/>
                          <a:pt x="85" y="42"/>
                          <a:pt x="85" y="42"/>
                        </a:cubicBezTo>
                        <a:close/>
                        <a:moveTo>
                          <a:pt x="84" y="39"/>
                        </a:moveTo>
                        <a:cubicBezTo>
                          <a:pt x="84" y="39"/>
                          <a:pt x="84" y="39"/>
                          <a:pt x="84" y="39"/>
                        </a:cubicBezTo>
                        <a:cubicBezTo>
                          <a:pt x="85" y="39"/>
                          <a:pt x="85" y="39"/>
                          <a:pt x="84" y="39"/>
                        </a:cubicBezTo>
                        <a:close/>
                        <a:moveTo>
                          <a:pt x="86" y="46"/>
                        </a:moveTo>
                        <a:cubicBezTo>
                          <a:pt x="86" y="46"/>
                          <a:pt x="85" y="46"/>
                          <a:pt x="86" y="46"/>
                        </a:cubicBezTo>
                        <a:cubicBezTo>
                          <a:pt x="86" y="46"/>
                          <a:pt x="86" y="46"/>
                          <a:pt x="86" y="46"/>
                        </a:cubicBezTo>
                        <a:cubicBezTo>
                          <a:pt x="86" y="46"/>
                          <a:pt x="86" y="46"/>
                          <a:pt x="85" y="46"/>
                        </a:cubicBezTo>
                        <a:cubicBezTo>
                          <a:pt x="86" y="46"/>
                          <a:pt x="86" y="46"/>
                          <a:pt x="86" y="46"/>
                        </a:cubicBezTo>
                        <a:close/>
                        <a:moveTo>
                          <a:pt x="86" y="48"/>
                        </a:moveTo>
                        <a:cubicBezTo>
                          <a:pt x="86" y="48"/>
                          <a:pt x="85" y="48"/>
                          <a:pt x="85" y="48"/>
                        </a:cubicBezTo>
                        <a:cubicBezTo>
                          <a:pt x="85" y="48"/>
                          <a:pt x="86" y="48"/>
                          <a:pt x="86" y="47"/>
                        </a:cubicBezTo>
                        <a:lnTo>
                          <a:pt x="86" y="48"/>
                        </a:lnTo>
                        <a:close/>
                        <a:moveTo>
                          <a:pt x="86" y="47"/>
                        </a:moveTo>
                        <a:cubicBezTo>
                          <a:pt x="86" y="47"/>
                          <a:pt x="85" y="48"/>
                          <a:pt x="85" y="48"/>
                        </a:cubicBezTo>
                        <a:cubicBezTo>
                          <a:pt x="85" y="47"/>
                          <a:pt x="86" y="47"/>
                          <a:pt x="86" y="47"/>
                        </a:cubicBezTo>
                        <a:close/>
                        <a:moveTo>
                          <a:pt x="85" y="46"/>
                        </a:moveTo>
                        <a:cubicBezTo>
                          <a:pt x="85" y="46"/>
                          <a:pt x="85" y="46"/>
                          <a:pt x="84" y="46"/>
                        </a:cubicBezTo>
                        <a:cubicBezTo>
                          <a:pt x="84" y="46"/>
                          <a:pt x="85" y="46"/>
                          <a:pt x="85" y="46"/>
                        </a:cubicBezTo>
                        <a:close/>
                        <a:moveTo>
                          <a:pt x="85" y="47"/>
                        </a:moveTo>
                        <a:cubicBezTo>
                          <a:pt x="85" y="47"/>
                          <a:pt x="85" y="47"/>
                          <a:pt x="85" y="47"/>
                        </a:cubicBezTo>
                        <a:cubicBezTo>
                          <a:pt x="85" y="47"/>
                          <a:pt x="85" y="47"/>
                          <a:pt x="84" y="47"/>
                        </a:cubicBezTo>
                        <a:cubicBezTo>
                          <a:pt x="85" y="47"/>
                          <a:pt x="85" y="47"/>
                          <a:pt x="86" y="47"/>
                        </a:cubicBezTo>
                        <a:cubicBezTo>
                          <a:pt x="85" y="47"/>
                          <a:pt x="86" y="47"/>
                          <a:pt x="85" y="47"/>
                        </a:cubicBezTo>
                        <a:close/>
                        <a:moveTo>
                          <a:pt x="82" y="43"/>
                        </a:moveTo>
                        <a:cubicBezTo>
                          <a:pt x="82" y="43"/>
                          <a:pt x="81" y="43"/>
                          <a:pt x="81" y="43"/>
                        </a:cubicBezTo>
                        <a:cubicBezTo>
                          <a:pt x="82" y="43"/>
                          <a:pt x="82" y="42"/>
                          <a:pt x="83" y="42"/>
                        </a:cubicBezTo>
                        <a:cubicBezTo>
                          <a:pt x="83" y="43"/>
                          <a:pt x="82" y="43"/>
                          <a:pt x="82" y="43"/>
                        </a:cubicBezTo>
                        <a:cubicBezTo>
                          <a:pt x="82" y="43"/>
                          <a:pt x="82" y="43"/>
                          <a:pt x="82" y="43"/>
                        </a:cubicBezTo>
                        <a:close/>
                        <a:moveTo>
                          <a:pt x="81" y="43"/>
                        </a:moveTo>
                        <a:cubicBezTo>
                          <a:pt x="81" y="43"/>
                          <a:pt x="81" y="43"/>
                          <a:pt x="81" y="43"/>
                        </a:cubicBezTo>
                        <a:cubicBezTo>
                          <a:pt x="81" y="43"/>
                          <a:pt x="81" y="43"/>
                          <a:pt x="81" y="43"/>
                        </a:cubicBezTo>
                        <a:cubicBezTo>
                          <a:pt x="81" y="43"/>
                          <a:pt x="81" y="43"/>
                          <a:pt x="82" y="43"/>
                        </a:cubicBezTo>
                        <a:cubicBezTo>
                          <a:pt x="82" y="43"/>
                          <a:pt x="81" y="43"/>
                          <a:pt x="81" y="43"/>
                        </a:cubicBezTo>
                        <a:close/>
                        <a:moveTo>
                          <a:pt x="80" y="46"/>
                        </a:moveTo>
                        <a:cubicBezTo>
                          <a:pt x="81" y="45"/>
                          <a:pt x="81" y="45"/>
                          <a:pt x="81" y="45"/>
                        </a:cubicBezTo>
                        <a:cubicBezTo>
                          <a:pt x="81" y="46"/>
                          <a:pt x="81" y="45"/>
                          <a:pt x="80" y="46"/>
                        </a:cubicBezTo>
                        <a:close/>
                        <a:moveTo>
                          <a:pt x="79" y="40"/>
                        </a:moveTo>
                        <a:cubicBezTo>
                          <a:pt x="79" y="40"/>
                          <a:pt x="79" y="40"/>
                          <a:pt x="79" y="40"/>
                        </a:cubicBezTo>
                        <a:cubicBezTo>
                          <a:pt x="80" y="40"/>
                          <a:pt x="79" y="40"/>
                          <a:pt x="79" y="40"/>
                        </a:cubicBezTo>
                        <a:close/>
                        <a:moveTo>
                          <a:pt x="80" y="43"/>
                        </a:moveTo>
                        <a:cubicBezTo>
                          <a:pt x="80" y="43"/>
                          <a:pt x="80" y="43"/>
                          <a:pt x="80" y="43"/>
                        </a:cubicBezTo>
                        <a:cubicBezTo>
                          <a:pt x="79" y="43"/>
                          <a:pt x="79" y="44"/>
                          <a:pt x="79" y="43"/>
                        </a:cubicBezTo>
                        <a:lnTo>
                          <a:pt x="80" y="43"/>
                        </a:lnTo>
                        <a:close/>
                        <a:moveTo>
                          <a:pt x="78" y="44"/>
                        </a:moveTo>
                        <a:cubicBezTo>
                          <a:pt x="78" y="43"/>
                          <a:pt x="79" y="43"/>
                          <a:pt x="79" y="43"/>
                        </a:cubicBezTo>
                        <a:cubicBezTo>
                          <a:pt x="79" y="43"/>
                          <a:pt x="78" y="43"/>
                          <a:pt x="78" y="44"/>
                        </a:cubicBezTo>
                        <a:cubicBezTo>
                          <a:pt x="78" y="44"/>
                          <a:pt x="78" y="44"/>
                          <a:pt x="78" y="44"/>
                        </a:cubicBezTo>
                        <a:close/>
                        <a:moveTo>
                          <a:pt x="76" y="41"/>
                        </a:moveTo>
                        <a:cubicBezTo>
                          <a:pt x="76" y="41"/>
                          <a:pt x="76" y="41"/>
                          <a:pt x="76" y="41"/>
                        </a:cubicBezTo>
                        <a:cubicBezTo>
                          <a:pt x="76" y="40"/>
                          <a:pt x="76" y="41"/>
                          <a:pt x="77" y="40"/>
                        </a:cubicBezTo>
                        <a:cubicBezTo>
                          <a:pt x="77" y="40"/>
                          <a:pt x="76" y="41"/>
                          <a:pt x="76" y="41"/>
                        </a:cubicBezTo>
                        <a:close/>
                        <a:moveTo>
                          <a:pt x="78" y="44"/>
                        </a:moveTo>
                        <a:cubicBezTo>
                          <a:pt x="78" y="44"/>
                          <a:pt x="77" y="44"/>
                          <a:pt x="77" y="44"/>
                        </a:cubicBezTo>
                        <a:cubicBezTo>
                          <a:pt x="77" y="44"/>
                          <a:pt x="78" y="44"/>
                          <a:pt x="78" y="44"/>
                        </a:cubicBezTo>
                        <a:close/>
                        <a:moveTo>
                          <a:pt x="78" y="43"/>
                        </a:moveTo>
                        <a:cubicBezTo>
                          <a:pt x="77" y="43"/>
                          <a:pt x="77" y="44"/>
                          <a:pt x="77" y="44"/>
                        </a:cubicBezTo>
                        <a:cubicBezTo>
                          <a:pt x="77" y="43"/>
                          <a:pt x="77" y="43"/>
                          <a:pt x="78" y="43"/>
                        </a:cubicBezTo>
                        <a:close/>
                        <a:moveTo>
                          <a:pt x="77" y="44"/>
                        </a:moveTo>
                        <a:cubicBezTo>
                          <a:pt x="77" y="44"/>
                          <a:pt x="76" y="44"/>
                          <a:pt x="77" y="44"/>
                        </a:cubicBezTo>
                        <a:close/>
                        <a:moveTo>
                          <a:pt x="75" y="40"/>
                        </a:moveTo>
                        <a:cubicBezTo>
                          <a:pt x="75" y="40"/>
                          <a:pt x="75" y="40"/>
                          <a:pt x="75" y="40"/>
                        </a:cubicBezTo>
                        <a:cubicBezTo>
                          <a:pt x="76" y="40"/>
                          <a:pt x="74" y="40"/>
                          <a:pt x="75" y="40"/>
                        </a:cubicBezTo>
                        <a:close/>
                        <a:moveTo>
                          <a:pt x="76" y="46"/>
                        </a:moveTo>
                        <a:cubicBezTo>
                          <a:pt x="76" y="46"/>
                          <a:pt x="76" y="46"/>
                          <a:pt x="76" y="46"/>
                        </a:cubicBezTo>
                        <a:cubicBezTo>
                          <a:pt x="76" y="46"/>
                          <a:pt x="76" y="46"/>
                          <a:pt x="76" y="46"/>
                        </a:cubicBezTo>
                        <a:close/>
                        <a:moveTo>
                          <a:pt x="73" y="48"/>
                        </a:moveTo>
                        <a:cubicBezTo>
                          <a:pt x="73" y="48"/>
                          <a:pt x="74" y="48"/>
                          <a:pt x="74" y="48"/>
                        </a:cubicBezTo>
                        <a:cubicBezTo>
                          <a:pt x="74" y="48"/>
                          <a:pt x="74" y="48"/>
                          <a:pt x="73" y="48"/>
                        </a:cubicBezTo>
                        <a:close/>
                        <a:moveTo>
                          <a:pt x="72" y="43"/>
                        </a:moveTo>
                        <a:cubicBezTo>
                          <a:pt x="72" y="43"/>
                          <a:pt x="72" y="43"/>
                          <a:pt x="72" y="43"/>
                        </a:cubicBezTo>
                        <a:cubicBezTo>
                          <a:pt x="72" y="43"/>
                          <a:pt x="72" y="44"/>
                          <a:pt x="72" y="43"/>
                        </a:cubicBezTo>
                        <a:close/>
                        <a:moveTo>
                          <a:pt x="71" y="45"/>
                        </a:moveTo>
                        <a:cubicBezTo>
                          <a:pt x="71" y="45"/>
                          <a:pt x="72" y="45"/>
                          <a:pt x="72" y="45"/>
                        </a:cubicBezTo>
                        <a:cubicBezTo>
                          <a:pt x="72" y="45"/>
                          <a:pt x="71" y="45"/>
                          <a:pt x="71" y="45"/>
                        </a:cubicBezTo>
                        <a:close/>
                        <a:moveTo>
                          <a:pt x="72" y="49"/>
                        </a:moveTo>
                        <a:cubicBezTo>
                          <a:pt x="73" y="49"/>
                          <a:pt x="73" y="49"/>
                          <a:pt x="73" y="49"/>
                        </a:cubicBezTo>
                        <a:cubicBezTo>
                          <a:pt x="73" y="49"/>
                          <a:pt x="73" y="49"/>
                          <a:pt x="73" y="49"/>
                        </a:cubicBezTo>
                        <a:cubicBezTo>
                          <a:pt x="73" y="49"/>
                          <a:pt x="73" y="49"/>
                          <a:pt x="72" y="49"/>
                        </a:cubicBezTo>
                        <a:close/>
                        <a:moveTo>
                          <a:pt x="72" y="48"/>
                        </a:moveTo>
                        <a:cubicBezTo>
                          <a:pt x="72" y="48"/>
                          <a:pt x="72" y="48"/>
                          <a:pt x="71" y="48"/>
                        </a:cubicBezTo>
                        <a:cubicBezTo>
                          <a:pt x="71" y="48"/>
                          <a:pt x="72" y="48"/>
                          <a:pt x="72" y="48"/>
                        </a:cubicBezTo>
                        <a:close/>
                        <a:moveTo>
                          <a:pt x="72" y="50"/>
                        </a:moveTo>
                        <a:cubicBezTo>
                          <a:pt x="72" y="50"/>
                          <a:pt x="72" y="50"/>
                          <a:pt x="72" y="50"/>
                        </a:cubicBezTo>
                        <a:cubicBezTo>
                          <a:pt x="72" y="50"/>
                          <a:pt x="72" y="50"/>
                          <a:pt x="72" y="50"/>
                        </a:cubicBezTo>
                        <a:cubicBezTo>
                          <a:pt x="72" y="50"/>
                          <a:pt x="72" y="50"/>
                          <a:pt x="72" y="50"/>
                        </a:cubicBezTo>
                        <a:close/>
                        <a:moveTo>
                          <a:pt x="69" y="44"/>
                        </a:moveTo>
                        <a:cubicBezTo>
                          <a:pt x="70" y="44"/>
                          <a:pt x="70" y="44"/>
                          <a:pt x="70" y="44"/>
                        </a:cubicBezTo>
                        <a:cubicBezTo>
                          <a:pt x="70" y="44"/>
                          <a:pt x="69" y="44"/>
                          <a:pt x="69" y="44"/>
                        </a:cubicBezTo>
                        <a:close/>
                        <a:moveTo>
                          <a:pt x="70" y="51"/>
                        </a:moveTo>
                        <a:cubicBezTo>
                          <a:pt x="70" y="52"/>
                          <a:pt x="71" y="51"/>
                          <a:pt x="71" y="51"/>
                        </a:cubicBezTo>
                        <a:cubicBezTo>
                          <a:pt x="71" y="51"/>
                          <a:pt x="70" y="52"/>
                          <a:pt x="70" y="51"/>
                        </a:cubicBezTo>
                        <a:close/>
                        <a:moveTo>
                          <a:pt x="70" y="49"/>
                        </a:moveTo>
                        <a:cubicBezTo>
                          <a:pt x="70" y="49"/>
                          <a:pt x="70" y="49"/>
                          <a:pt x="70" y="49"/>
                        </a:cubicBezTo>
                        <a:cubicBezTo>
                          <a:pt x="70" y="49"/>
                          <a:pt x="70" y="49"/>
                          <a:pt x="70" y="49"/>
                        </a:cubicBezTo>
                        <a:close/>
                        <a:moveTo>
                          <a:pt x="63" y="46"/>
                        </a:moveTo>
                        <a:cubicBezTo>
                          <a:pt x="63" y="47"/>
                          <a:pt x="62" y="47"/>
                          <a:pt x="62" y="47"/>
                        </a:cubicBezTo>
                        <a:cubicBezTo>
                          <a:pt x="62" y="46"/>
                          <a:pt x="63" y="46"/>
                          <a:pt x="63" y="46"/>
                        </a:cubicBezTo>
                        <a:close/>
                        <a:moveTo>
                          <a:pt x="56" y="53"/>
                        </a:moveTo>
                        <a:cubicBezTo>
                          <a:pt x="56" y="53"/>
                          <a:pt x="55" y="53"/>
                          <a:pt x="55" y="53"/>
                        </a:cubicBezTo>
                        <a:cubicBezTo>
                          <a:pt x="55" y="53"/>
                          <a:pt x="55" y="53"/>
                          <a:pt x="56" y="53"/>
                        </a:cubicBezTo>
                        <a:close/>
                        <a:moveTo>
                          <a:pt x="54" y="49"/>
                        </a:moveTo>
                        <a:cubicBezTo>
                          <a:pt x="54" y="49"/>
                          <a:pt x="53" y="49"/>
                          <a:pt x="53" y="49"/>
                        </a:cubicBezTo>
                        <a:cubicBezTo>
                          <a:pt x="53" y="49"/>
                          <a:pt x="53" y="49"/>
                          <a:pt x="54" y="49"/>
                        </a:cubicBezTo>
                        <a:close/>
                        <a:moveTo>
                          <a:pt x="53" y="54"/>
                        </a:moveTo>
                        <a:cubicBezTo>
                          <a:pt x="53" y="54"/>
                          <a:pt x="53" y="54"/>
                          <a:pt x="53" y="54"/>
                        </a:cubicBezTo>
                        <a:cubicBezTo>
                          <a:pt x="53" y="54"/>
                          <a:pt x="53" y="54"/>
                          <a:pt x="53" y="53"/>
                        </a:cubicBezTo>
                        <a:cubicBezTo>
                          <a:pt x="53" y="53"/>
                          <a:pt x="53" y="54"/>
                          <a:pt x="53" y="53"/>
                        </a:cubicBezTo>
                        <a:cubicBezTo>
                          <a:pt x="53" y="54"/>
                          <a:pt x="53" y="54"/>
                          <a:pt x="53" y="54"/>
                        </a:cubicBezTo>
                        <a:close/>
                        <a:moveTo>
                          <a:pt x="47" y="55"/>
                        </a:moveTo>
                        <a:cubicBezTo>
                          <a:pt x="47" y="55"/>
                          <a:pt x="46" y="55"/>
                          <a:pt x="46" y="55"/>
                        </a:cubicBezTo>
                        <a:cubicBezTo>
                          <a:pt x="46" y="55"/>
                          <a:pt x="47" y="55"/>
                          <a:pt x="47" y="55"/>
                        </a:cubicBezTo>
                        <a:close/>
                        <a:moveTo>
                          <a:pt x="45" y="57"/>
                        </a:moveTo>
                        <a:cubicBezTo>
                          <a:pt x="44" y="57"/>
                          <a:pt x="44" y="57"/>
                          <a:pt x="44" y="57"/>
                        </a:cubicBezTo>
                        <a:cubicBezTo>
                          <a:pt x="44" y="57"/>
                          <a:pt x="44" y="57"/>
                          <a:pt x="45" y="57"/>
                        </a:cubicBezTo>
                        <a:close/>
                        <a:moveTo>
                          <a:pt x="42" y="57"/>
                        </a:moveTo>
                        <a:cubicBezTo>
                          <a:pt x="42" y="57"/>
                          <a:pt x="42" y="57"/>
                          <a:pt x="42" y="58"/>
                        </a:cubicBezTo>
                        <a:cubicBezTo>
                          <a:pt x="41" y="58"/>
                          <a:pt x="41" y="57"/>
                          <a:pt x="42" y="57"/>
                        </a:cubicBezTo>
                        <a:close/>
                        <a:moveTo>
                          <a:pt x="41" y="57"/>
                        </a:moveTo>
                        <a:cubicBezTo>
                          <a:pt x="41" y="58"/>
                          <a:pt x="41" y="58"/>
                          <a:pt x="41" y="58"/>
                        </a:cubicBezTo>
                        <a:cubicBezTo>
                          <a:pt x="41" y="58"/>
                          <a:pt x="41" y="58"/>
                          <a:pt x="41" y="58"/>
                        </a:cubicBezTo>
                        <a:cubicBezTo>
                          <a:pt x="40" y="58"/>
                          <a:pt x="41" y="57"/>
                          <a:pt x="41" y="57"/>
                        </a:cubicBezTo>
                        <a:close/>
                        <a:moveTo>
                          <a:pt x="40" y="57"/>
                        </a:moveTo>
                        <a:cubicBezTo>
                          <a:pt x="40" y="57"/>
                          <a:pt x="40" y="57"/>
                          <a:pt x="40" y="57"/>
                        </a:cubicBezTo>
                        <a:cubicBezTo>
                          <a:pt x="40" y="57"/>
                          <a:pt x="40" y="57"/>
                          <a:pt x="41" y="57"/>
                        </a:cubicBezTo>
                        <a:cubicBezTo>
                          <a:pt x="41" y="57"/>
                          <a:pt x="40" y="57"/>
                          <a:pt x="40" y="57"/>
                        </a:cubicBezTo>
                        <a:close/>
                        <a:moveTo>
                          <a:pt x="38" y="55"/>
                        </a:moveTo>
                        <a:cubicBezTo>
                          <a:pt x="38" y="55"/>
                          <a:pt x="38" y="55"/>
                          <a:pt x="38" y="55"/>
                        </a:cubicBezTo>
                        <a:cubicBezTo>
                          <a:pt x="38" y="55"/>
                          <a:pt x="38" y="55"/>
                          <a:pt x="38" y="55"/>
                        </a:cubicBezTo>
                        <a:close/>
                        <a:moveTo>
                          <a:pt x="35" y="59"/>
                        </a:moveTo>
                        <a:cubicBezTo>
                          <a:pt x="34" y="59"/>
                          <a:pt x="34" y="59"/>
                          <a:pt x="35" y="59"/>
                        </a:cubicBezTo>
                        <a:cubicBezTo>
                          <a:pt x="36" y="59"/>
                          <a:pt x="37" y="58"/>
                          <a:pt x="38" y="58"/>
                        </a:cubicBezTo>
                        <a:cubicBezTo>
                          <a:pt x="37" y="59"/>
                          <a:pt x="36" y="59"/>
                          <a:pt x="35" y="59"/>
                        </a:cubicBezTo>
                        <a:close/>
                        <a:moveTo>
                          <a:pt x="35" y="56"/>
                        </a:moveTo>
                        <a:cubicBezTo>
                          <a:pt x="36" y="56"/>
                          <a:pt x="36" y="55"/>
                          <a:pt x="36" y="56"/>
                        </a:cubicBezTo>
                        <a:cubicBezTo>
                          <a:pt x="36" y="56"/>
                          <a:pt x="36" y="56"/>
                          <a:pt x="35" y="56"/>
                        </a:cubicBezTo>
                        <a:close/>
                        <a:moveTo>
                          <a:pt x="34" y="59"/>
                        </a:moveTo>
                        <a:cubicBezTo>
                          <a:pt x="34" y="60"/>
                          <a:pt x="33" y="59"/>
                          <a:pt x="32" y="60"/>
                        </a:cubicBezTo>
                        <a:cubicBezTo>
                          <a:pt x="32" y="59"/>
                          <a:pt x="34" y="59"/>
                          <a:pt x="34" y="59"/>
                        </a:cubicBezTo>
                        <a:close/>
                        <a:moveTo>
                          <a:pt x="29" y="61"/>
                        </a:moveTo>
                        <a:cubicBezTo>
                          <a:pt x="29" y="61"/>
                          <a:pt x="29" y="61"/>
                          <a:pt x="30" y="61"/>
                        </a:cubicBezTo>
                        <a:cubicBezTo>
                          <a:pt x="30" y="61"/>
                          <a:pt x="30" y="61"/>
                          <a:pt x="30" y="61"/>
                        </a:cubicBezTo>
                        <a:cubicBezTo>
                          <a:pt x="30" y="61"/>
                          <a:pt x="29" y="61"/>
                          <a:pt x="29" y="61"/>
                        </a:cubicBezTo>
                        <a:close/>
                        <a:moveTo>
                          <a:pt x="29" y="61"/>
                        </a:moveTo>
                        <a:cubicBezTo>
                          <a:pt x="29" y="61"/>
                          <a:pt x="28" y="61"/>
                          <a:pt x="28" y="61"/>
                        </a:cubicBezTo>
                        <a:cubicBezTo>
                          <a:pt x="28" y="61"/>
                          <a:pt x="29" y="61"/>
                          <a:pt x="29" y="61"/>
                        </a:cubicBezTo>
                        <a:close/>
                        <a:moveTo>
                          <a:pt x="28" y="60"/>
                        </a:moveTo>
                        <a:cubicBezTo>
                          <a:pt x="28" y="60"/>
                          <a:pt x="28" y="60"/>
                          <a:pt x="28" y="60"/>
                        </a:cubicBezTo>
                        <a:cubicBezTo>
                          <a:pt x="28" y="60"/>
                          <a:pt x="28" y="60"/>
                          <a:pt x="28" y="60"/>
                        </a:cubicBezTo>
                        <a:cubicBezTo>
                          <a:pt x="28" y="60"/>
                          <a:pt x="28" y="60"/>
                          <a:pt x="28" y="60"/>
                        </a:cubicBezTo>
                        <a:cubicBezTo>
                          <a:pt x="28" y="60"/>
                          <a:pt x="28" y="60"/>
                          <a:pt x="28" y="60"/>
                        </a:cubicBezTo>
                        <a:cubicBezTo>
                          <a:pt x="28" y="60"/>
                          <a:pt x="28" y="60"/>
                          <a:pt x="28" y="60"/>
                        </a:cubicBezTo>
                        <a:close/>
                        <a:moveTo>
                          <a:pt x="27" y="56"/>
                        </a:moveTo>
                        <a:cubicBezTo>
                          <a:pt x="27" y="55"/>
                          <a:pt x="27" y="55"/>
                          <a:pt x="27" y="55"/>
                        </a:cubicBezTo>
                        <a:cubicBezTo>
                          <a:pt x="27" y="56"/>
                          <a:pt x="27" y="56"/>
                          <a:pt x="27" y="56"/>
                        </a:cubicBezTo>
                        <a:close/>
                        <a:moveTo>
                          <a:pt x="26" y="60"/>
                        </a:moveTo>
                        <a:cubicBezTo>
                          <a:pt x="26" y="59"/>
                          <a:pt x="27" y="59"/>
                          <a:pt x="27" y="59"/>
                        </a:cubicBezTo>
                        <a:cubicBezTo>
                          <a:pt x="27" y="59"/>
                          <a:pt x="27" y="60"/>
                          <a:pt x="26" y="60"/>
                        </a:cubicBezTo>
                        <a:close/>
                        <a:moveTo>
                          <a:pt x="28" y="61"/>
                        </a:move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8" y="60"/>
                          <a:pt x="28" y="61"/>
                        </a:cubicBezTo>
                        <a:close/>
                        <a:moveTo>
                          <a:pt x="27" y="60"/>
                        </a:moveTo>
                        <a:cubicBezTo>
                          <a:pt x="27" y="60"/>
                          <a:pt x="27" y="60"/>
                          <a:pt x="27" y="60"/>
                        </a:cubicBezTo>
                        <a:cubicBezTo>
                          <a:pt x="27" y="61"/>
                          <a:pt x="26" y="61"/>
                          <a:pt x="26" y="61"/>
                        </a:cubicBezTo>
                        <a:cubicBezTo>
                          <a:pt x="26" y="60"/>
                          <a:pt x="27" y="61"/>
                          <a:pt x="27" y="60"/>
                        </a:cubicBezTo>
                        <a:close/>
                        <a:moveTo>
                          <a:pt x="24" y="60"/>
                        </a:moveTo>
                        <a:cubicBezTo>
                          <a:pt x="25" y="60"/>
                          <a:pt x="25" y="60"/>
                          <a:pt x="25" y="60"/>
                        </a:cubicBezTo>
                        <a:cubicBezTo>
                          <a:pt x="25" y="60"/>
                          <a:pt x="25" y="60"/>
                          <a:pt x="24" y="60"/>
                        </a:cubicBezTo>
                        <a:close/>
                        <a:moveTo>
                          <a:pt x="25" y="60"/>
                        </a:moveTo>
                        <a:cubicBezTo>
                          <a:pt x="25" y="60"/>
                          <a:pt x="25" y="60"/>
                          <a:pt x="25" y="60"/>
                        </a:cubicBezTo>
                        <a:cubicBezTo>
                          <a:pt x="25" y="60"/>
                          <a:pt x="25" y="60"/>
                          <a:pt x="25" y="60"/>
                        </a:cubicBezTo>
                        <a:close/>
                        <a:moveTo>
                          <a:pt x="25" y="61"/>
                        </a:moveTo>
                        <a:cubicBezTo>
                          <a:pt x="24" y="61"/>
                          <a:pt x="25" y="61"/>
                          <a:pt x="25" y="61"/>
                        </a:cubicBezTo>
                        <a:cubicBezTo>
                          <a:pt x="25" y="61"/>
                          <a:pt x="25" y="61"/>
                          <a:pt x="25" y="61"/>
                        </a:cubicBezTo>
                        <a:cubicBezTo>
                          <a:pt x="25" y="61"/>
                          <a:pt x="25" y="61"/>
                          <a:pt x="25" y="61"/>
                        </a:cubicBezTo>
                        <a:cubicBezTo>
                          <a:pt x="25" y="61"/>
                          <a:pt x="25" y="61"/>
                          <a:pt x="25" y="61"/>
                        </a:cubicBezTo>
                        <a:close/>
                        <a:moveTo>
                          <a:pt x="24" y="62"/>
                        </a:moveTo>
                        <a:cubicBezTo>
                          <a:pt x="24" y="62"/>
                          <a:pt x="24" y="62"/>
                          <a:pt x="24" y="62"/>
                        </a:cubicBezTo>
                        <a:cubicBezTo>
                          <a:pt x="24" y="62"/>
                          <a:pt x="24" y="62"/>
                          <a:pt x="24" y="62"/>
                        </a:cubicBezTo>
                        <a:close/>
                        <a:moveTo>
                          <a:pt x="22" y="57"/>
                        </a:moveTo>
                        <a:cubicBezTo>
                          <a:pt x="22" y="56"/>
                          <a:pt x="22" y="56"/>
                          <a:pt x="22" y="56"/>
                        </a:cubicBezTo>
                        <a:cubicBezTo>
                          <a:pt x="22" y="56"/>
                          <a:pt x="22" y="56"/>
                          <a:pt x="22" y="57"/>
                        </a:cubicBezTo>
                        <a:close/>
                        <a:moveTo>
                          <a:pt x="19" y="57"/>
                        </a:moveTo>
                        <a:cubicBezTo>
                          <a:pt x="19" y="57"/>
                          <a:pt x="20" y="57"/>
                          <a:pt x="20" y="57"/>
                        </a:cubicBezTo>
                        <a:cubicBezTo>
                          <a:pt x="20" y="57"/>
                          <a:pt x="19" y="57"/>
                          <a:pt x="19" y="57"/>
                        </a:cubicBezTo>
                        <a:close/>
                        <a:moveTo>
                          <a:pt x="20" y="62"/>
                        </a:moveTo>
                        <a:cubicBezTo>
                          <a:pt x="19" y="63"/>
                          <a:pt x="17" y="63"/>
                          <a:pt x="16" y="63"/>
                        </a:cubicBezTo>
                        <a:cubicBezTo>
                          <a:pt x="15" y="63"/>
                          <a:pt x="13" y="64"/>
                          <a:pt x="12" y="64"/>
                        </a:cubicBezTo>
                        <a:cubicBezTo>
                          <a:pt x="14" y="63"/>
                          <a:pt x="17" y="63"/>
                          <a:pt x="20" y="62"/>
                        </a:cubicBezTo>
                        <a:close/>
                        <a:moveTo>
                          <a:pt x="19" y="64"/>
                        </a:moveTo>
                        <a:cubicBezTo>
                          <a:pt x="18" y="64"/>
                          <a:pt x="18" y="64"/>
                          <a:pt x="18" y="64"/>
                        </a:cubicBezTo>
                        <a:cubicBezTo>
                          <a:pt x="18" y="64"/>
                          <a:pt x="19" y="63"/>
                          <a:pt x="19" y="64"/>
                        </a:cubicBezTo>
                        <a:close/>
                        <a:moveTo>
                          <a:pt x="17" y="61"/>
                        </a:moveTo>
                        <a:cubicBezTo>
                          <a:pt x="17" y="61"/>
                          <a:pt x="17" y="62"/>
                          <a:pt x="18" y="61"/>
                        </a:cubicBezTo>
                        <a:cubicBezTo>
                          <a:pt x="17" y="62"/>
                          <a:pt x="17" y="62"/>
                          <a:pt x="17" y="62"/>
                        </a:cubicBezTo>
                        <a:cubicBezTo>
                          <a:pt x="17" y="61"/>
                          <a:pt x="17" y="61"/>
                          <a:pt x="17" y="61"/>
                        </a:cubicBezTo>
                        <a:close/>
                        <a:moveTo>
                          <a:pt x="18" y="64"/>
                        </a:moveTo>
                        <a:cubicBezTo>
                          <a:pt x="18" y="64"/>
                          <a:pt x="18" y="64"/>
                          <a:pt x="18" y="64"/>
                        </a:cubicBezTo>
                        <a:cubicBezTo>
                          <a:pt x="18" y="64"/>
                          <a:pt x="18" y="64"/>
                          <a:pt x="18" y="64"/>
                        </a:cubicBezTo>
                        <a:close/>
                        <a:moveTo>
                          <a:pt x="16" y="64"/>
                        </a:moveTo>
                        <a:cubicBezTo>
                          <a:pt x="17" y="64"/>
                          <a:pt x="17" y="64"/>
                          <a:pt x="18" y="63"/>
                        </a:cubicBezTo>
                        <a:cubicBezTo>
                          <a:pt x="17" y="64"/>
                          <a:pt x="17" y="64"/>
                          <a:pt x="16" y="64"/>
                        </a:cubicBezTo>
                        <a:close/>
                        <a:moveTo>
                          <a:pt x="17" y="64"/>
                        </a:moveTo>
                        <a:cubicBezTo>
                          <a:pt x="17" y="64"/>
                          <a:pt x="16" y="64"/>
                          <a:pt x="16" y="64"/>
                        </a:cubicBezTo>
                        <a:cubicBezTo>
                          <a:pt x="16" y="64"/>
                          <a:pt x="16" y="64"/>
                          <a:pt x="16" y="64"/>
                        </a:cubicBezTo>
                        <a:cubicBezTo>
                          <a:pt x="16" y="64"/>
                          <a:pt x="17" y="64"/>
                          <a:pt x="17" y="64"/>
                        </a:cubicBezTo>
                        <a:close/>
                        <a:moveTo>
                          <a:pt x="15" y="62"/>
                        </a:moveTo>
                        <a:cubicBezTo>
                          <a:pt x="15" y="62"/>
                          <a:pt x="16" y="62"/>
                          <a:pt x="16" y="62"/>
                        </a:cubicBezTo>
                        <a:cubicBezTo>
                          <a:pt x="16" y="62"/>
                          <a:pt x="16" y="62"/>
                          <a:pt x="15" y="62"/>
                        </a:cubicBezTo>
                        <a:close/>
                        <a:moveTo>
                          <a:pt x="13" y="57"/>
                        </a:moveTo>
                        <a:cubicBezTo>
                          <a:pt x="13" y="58"/>
                          <a:pt x="13" y="58"/>
                          <a:pt x="12" y="58"/>
                        </a:cubicBezTo>
                        <a:cubicBezTo>
                          <a:pt x="12" y="58"/>
                          <a:pt x="13" y="58"/>
                          <a:pt x="13" y="57"/>
                        </a:cubicBezTo>
                        <a:close/>
                        <a:moveTo>
                          <a:pt x="12" y="62"/>
                        </a:moveTo>
                        <a:cubicBezTo>
                          <a:pt x="12" y="62"/>
                          <a:pt x="12" y="62"/>
                          <a:pt x="12" y="62"/>
                        </a:cubicBezTo>
                        <a:cubicBezTo>
                          <a:pt x="12" y="62"/>
                          <a:pt x="13" y="62"/>
                          <a:pt x="13" y="62"/>
                        </a:cubicBezTo>
                        <a:cubicBezTo>
                          <a:pt x="13" y="62"/>
                          <a:pt x="13" y="62"/>
                          <a:pt x="12" y="62"/>
                        </a:cubicBezTo>
                        <a:close/>
                        <a:moveTo>
                          <a:pt x="12" y="62"/>
                        </a:moveTo>
                        <a:cubicBezTo>
                          <a:pt x="12" y="62"/>
                          <a:pt x="12" y="62"/>
                          <a:pt x="12" y="63"/>
                        </a:cubicBezTo>
                        <a:cubicBezTo>
                          <a:pt x="12" y="63"/>
                          <a:pt x="12" y="63"/>
                          <a:pt x="12" y="63"/>
                        </a:cubicBezTo>
                        <a:cubicBezTo>
                          <a:pt x="12" y="63"/>
                          <a:pt x="12" y="63"/>
                          <a:pt x="11" y="63"/>
                        </a:cubicBezTo>
                        <a:cubicBezTo>
                          <a:pt x="11" y="63"/>
                          <a:pt x="12" y="63"/>
                          <a:pt x="12" y="62"/>
                        </a:cubicBezTo>
                        <a:close/>
                        <a:moveTo>
                          <a:pt x="11" y="63"/>
                        </a:moveTo>
                        <a:cubicBezTo>
                          <a:pt x="11" y="63"/>
                          <a:pt x="11" y="63"/>
                          <a:pt x="11" y="63"/>
                        </a:cubicBezTo>
                        <a:cubicBezTo>
                          <a:pt x="11" y="63"/>
                          <a:pt x="11" y="63"/>
                          <a:pt x="10" y="63"/>
                        </a:cubicBezTo>
                        <a:cubicBezTo>
                          <a:pt x="11" y="63"/>
                          <a:pt x="11" y="63"/>
                          <a:pt x="11" y="63"/>
                        </a:cubicBezTo>
                        <a:close/>
                        <a:moveTo>
                          <a:pt x="11" y="66"/>
                        </a:moveTo>
                        <a:cubicBezTo>
                          <a:pt x="11" y="66"/>
                          <a:pt x="12" y="65"/>
                          <a:pt x="12" y="65"/>
                        </a:cubicBezTo>
                        <a:cubicBezTo>
                          <a:pt x="12" y="66"/>
                          <a:pt x="11" y="66"/>
                          <a:pt x="11" y="66"/>
                        </a:cubicBezTo>
                        <a:close/>
                        <a:moveTo>
                          <a:pt x="8" y="59"/>
                        </a:moveTo>
                        <a:cubicBezTo>
                          <a:pt x="8" y="59"/>
                          <a:pt x="9" y="58"/>
                          <a:pt x="9" y="58"/>
                        </a:cubicBezTo>
                        <a:cubicBezTo>
                          <a:pt x="9" y="59"/>
                          <a:pt x="9" y="59"/>
                          <a:pt x="8" y="59"/>
                        </a:cubicBezTo>
                        <a:close/>
                        <a:moveTo>
                          <a:pt x="10" y="63"/>
                        </a:moveTo>
                        <a:cubicBezTo>
                          <a:pt x="10" y="64"/>
                          <a:pt x="10" y="64"/>
                          <a:pt x="9" y="64"/>
                        </a:cubicBezTo>
                        <a:cubicBezTo>
                          <a:pt x="9" y="64"/>
                          <a:pt x="9" y="64"/>
                          <a:pt x="10" y="63"/>
                        </a:cubicBezTo>
                        <a:cubicBezTo>
                          <a:pt x="10" y="63"/>
                          <a:pt x="10" y="63"/>
                          <a:pt x="10" y="63"/>
                        </a:cubicBezTo>
                        <a:cubicBezTo>
                          <a:pt x="10" y="63"/>
                          <a:pt x="10" y="63"/>
                          <a:pt x="10" y="63"/>
                        </a:cubicBezTo>
                        <a:cubicBezTo>
                          <a:pt x="10" y="63"/>
                          <a:pt x="10" y="63"/>
                          <a:pt x="10" y="63"/>
                        </a:cubicBezTo>
                        <a:close/>
                        <a:moveTo>
                          <a:pt x="11" y="66"/>
                        </a:moveTo>
                        <a:cubicBezTo>
                          <a:pt x="10" y="66"/>
                          <a:pt x="9" y="66"/>
                          <a:pt x="9" y="66"/>
                        </a:cubicBezTo>
                        <a:cubicBezTo>
                          <a:pt x="9" y="66"/>
                          <a:pt x="10" y="66"/>
                          <a:pt x="11" y="66"/>
                        </a:cubicBezTo>
                        <a:close/>
                        <a:moveTo>
                          <a:pt x="10" y="64"/>
                        </a:moveTo>
                        <a:cubicBezTo>
                          <a:pt x="10" y="64"/>
                          <a:pt x="10" y="65"/>
                          <a:pt x="9" y="64"/>
                        </a:cubicBezTo>
                        <a:cubicBezTo>
                          <a:pt x="9" y="64"/>
                          <a:pt x="10" y="64"/>
                          <a:pt x="10" y="64"/>
                        </a:cubicBezTo>
                        <a:close/>
                        <a:moveTo>
                          <a:pt x="8" y="59"/>
                        </a:moveTo>
                        <a:cubicBezTo>
                          <a:pt x="8" y="59"/>
                          <a:pt x="7" y="59"/>
                          <a:pt x="7" y="59"/>
                        </a:cubicBezTo>
                        <a:cubicBezTo>
                          <a:pt x="7" y="59"/>
                          <a:pt x="8" y="59"/>
                          <a:pt x="8" y="59"/>
                        </a:cubicBezTo>
                        <a:close/>
                        <a:moveTo>
                          <a:pt x="8" y="62"/>
                        </a:moveTo>
                        <a:cubicBezTo>
                          <a:pt x="8" y="62"/>
                          <a:pt x="8" y="62"/>
                          <a:pt x="9" y="62"/>
                        </a:cubicBezTo>
                        <a:cubicBezTo>
                          <a:pt x="9" y="62"/>
                          <a:pt x="8" y="62"/>
                          <a:pt x="8" y="62"/>
                        </a:cubicBezTo>
                        <a:close/>
                        <a:moveTo>
                          <a:pt x="9" y="63"/>
                        </a:moveTo>
                        <a:cubicBezTo>
                          <a:pt x="8" y="64"/>
                          <a:pt x="8" y="64"/>
                          <a:pt x="7" y="64"/>
                        </a:cubicBezTo>
                        <a:cubicBezTo>
                          <a:pt x="8" y="64"/>
                          <a:pt x="8" y="63"/>
                          <a:pt x="9" y="63"/>
                        </a:cubicBezTo>
                        <a:close/>
                        <a:moveTo>
                          <a:pt x="8" y="66"/>
                        </a:moveTo>
                        <a:cubicBezTo>
                          <a:pt x="8" y="66"/>
                          <a:pt x="8" y="66"/>
                          <a:pt x="8" y="66"/>
                        </a:cubicBezTo>
                        <a:cubicBezTo>
                          <a:pt x="8" y="66"/>
                          <a:pt x="8" y="66"/>
                          <a:pt x="8" y="66"/>
                        </a:cubicBezTo>
                        <a:close/>
                        <a:moveTo>
                          <a:pt x="6" y="62"/>
                        </a:moveTo>
                        <a:cubicBezTo>
                          <a:pt x="6" y="62"/>
                          <a:pt x="7" y="62"/>
                          <a:pt x="7" y="62"/>
                        </a:cubicBezTo>
                        <a:cubicBezTo>
                          <a:pt x="7" y="62"/>
                          <a:pt x="6" y="62"/>
                          <a:pt x="6" y="62"/>
                        </a:cubicBezTo>
                        <a:close/>
                        <a:moveTo>
                          <a:pt x="6" y="59"/>
                        </a:moveTo>
                        <a:cubicBezTo>
                          <a:pt x="6" y="59"/>
                          <a:pt x="6" y="59"/>
                          <a:pt x="6" y="59"/>
                        </a:cubicBezTo>
                        <a:cubicBezTo>
                          <a:pt x="6" y="59"/>
                          <a:pt x="6" y="59"/>
                          <a:pt x="6" y="59"/>
                        </a:cubicBezTo>
                        <a:close/>
                        <a:moveTo>
                          <a:pt x="5" y="67"/>
                        </a:moveTo>
                        <a:cubicBezTo>
                          <a:pt x="5" y="67"/>
                          <a:pt x="6" y="67"/>
                          <a:pt x="6" y="66"/>
                        </a:cubicBezTo>
                        <a:cubicBezTo>
                          <a:pt x="6" y="66"/>
                          <a:pt x="6" y="66"/>
                          <a:pt x="6" y="66"/>
                        </a:cubicBezTo>
                        <a:cubicBezTo>
                          <a:pt x="6" y="66"/>
                          <a:pt x="6" y="66"/>
                          <a:pt x="6" y="66"/>
                        </a:cubicBezTo>
                        <a:cubicBezTo>
                          <a:pt x="7" y="66"/>
                          <a:pt x="7" y="66"/>
                          <a:pt x="8" y="66"/>
                        </a:cubicBezTo>
                        <a:cubicBezTo>
                          <a:pt x="7" y="66"/>
                          <a:pt x="6" y="67"/>
                          <a:pt x="5" y="67"/>
                        </a:cubicBezTo>
                        <a:close/>
                        <a:moveTo>
                          <a:pt x="3" y="59"/>
                        </a:moveTo>
                        <a:cubicBezTo>
                          <a:pt x="4" y="59"/>
                          <a:pt x="4" y="59"/>
                          <a:pt x="4" y="59"/>
                        </a:cubicBezTo>
                        <a:cubicBezTo>
                          <a:pt x="4" y="59"/>
                          <a:pt x="5" y="59"/>
                          <a:pt x="5" y="59"/>
                        </a:cubicBezTo>
                        <a:cubicBezTo>
                          <a:pt x="5" y="59"/>
                          <a:pt x="4" y="59"/>
                          <a:pt x="4" y="59"/>
                        </a:cubicBezTo>
                        <a:cubicBezTo>
                          <a:pt x="4" y="59"/>
                          <a:pt x="4" y="59"/>
                          <a:pt x="3" y="59"/>
                        </a:cubicBezTo>
                        <a:close/>
                        <a:moveTo>
                          <a:pt x="5" y="64"/>
                        </a:moveTo>
                        <a:cubicBezTo>
                          <a:pt x="5" y="64"/>
                          <a:pt x="6" y="64"/>
                          <a:pt x="6" y="64"/>
                        </a:cubicBezTo>
                        <a:cubicBezTo>
                          <a:pt x="6" y="64"/>
                          <a:pt x="6" y="64"/>
                          <a:pt x="5" y="64"/>
                        </a:cubicBezTo>
                        <a:close/>
                        <a:moveTo>
                          <a:pt x="5" y="64"/>
                        </a:moveTo>
                        <a:cubicBezTo>
                          <a:pt x="5" y="64"/>
                          <a:pt x="6" y="64"/>
                          <a:pt x="6" y="64"/>
                        </a:cubicBezTo>
                        <a:cubicBezTo>
                          <a:pt x="6" y="64"/>
                          <a:pt x="5" y="64"/>
                          <a:pt x="5" y="64"/>
                        </a:cubicBezTo>
                        <a:close/>
                        <a:moveTo>
                          <a:pt x="3" y="60"/>
                        </a:moveTo>
                        <a:cubicBezTo>
                          <a:pt x="3" y="60"/>
                          <a:pt x="4" y="59"/>
                          <a:pt x="4" y="59"/>
                        </a:cubicBezTo>
                        <a:cubicBezTo>
                          <a:pt x="4" y="60"/>
                          <a:pt x="3" y="60"/>
                          <a:pt x="3" y="60"/>
                        </a:cubicBezTo>
                        <a:close/>
                        <a:moveTo>
                          <a:pt x="3" y="59"/>
                        </a:moveTo>
                        <a:cubicBezTo>
                          <a:pt x="3" y="59"/>
                          <a:pt x="3" y="59"/>
                          <a:pt x="3" y="59"/>
                        </a:cubicBezTo>
                        <a:cubicBezTo>
                          <a:pt x="3" y="59"/>
                          <a:pt x="3" y="59"/>
                          <a:pt x="3" y="59"/>
                        </a:cubicBezTo>
                        <a:cubicBezTo>
                          <a:pt x="3" y="60"/>
                          <a:pt x="3" y="59"/>
                          <a:pt x="3" y="59"/>
                        </a:cubicBezTo>
                        <a:close/>
                        <a:moveTo>
                          <a:pt x="2" y="63"/>
                        </a:moveTo>
                        <a:cubicBezTo>
                          <a:pt x="2" y="63"/>
                          <a:pt x="3" y="63"/>
                          <a:pt x="3" y="63"/>
                        </a:cubicBezTo>
                        <a:cubicBezTo>
                          <a:pt x="3" y="63"/>
                          <a:pt x="3" y="63"/>
                          <a:pt x="3" y="63"/>
                        </a:cubicBezTo>
                        <a:cubicBezTo>
                          <a:pt x="2" y="63"/>
                          <a:pt x="2" y="63"/>
                          <a:pt x="2" y="63"/>
                        </a:cubicBezTo>
                        <a:close/>
                        <a:moveTo>
                          <a:pt x="1" y="60"/>
                        </a:moveTo>
                        <a:cubicBezTo>
                          <a:pt x="1" y="60"/>
                          <a:pt x="1" y="60"/>
                          <a:pt x="1" y="60"/>
                        </a:cubicBezTo>
                        <a:cubicBezTo>
                          <a:pt x="1" y="60"/>
                          <a:pt x="1" y="60"/>
                          <a:pt x="1" y="60"/>
                        </a:cubicBezTo>
                        <a:close/>
                        <a:moveTo>
                          <a:pt x="2" y="67"/>
                        </a:moveTo>
                        <a:cubicBezTo>
                          <a:pt x="3" y="67"/>
                          <a:pt x="3" y="67"/>
                          <a:pt x="3" y="67"/>
                        </a:cubicBezTo>
                        <a:cubicBezTo>
                          <a:pt x="3" y="67"/>
                          <a:pt x="2" y="67"/>
                          <a:pt x="3" y="67"/>
                        </a:cubicBezTo>
                        <a:cubicBezTo>
                          <a:pt x="3" y="67"/>
                          <a:pt x="2" y="67"/>
                          <a:pt x="2" y="67"/>
                        </a:cubicBezTo>
                        <a:close/>
                        <a:moveTo>
                          <a:pt x="0" y="67"/>
                        </a:moveTo>
                        <a:cubicBezTo>
                          <a:pt x="0" y="66"/>
                          <a:pt x="1" y="67"/>
                          <a:pt x="1" y="66"/>
                        </a:cubicBezTo>
                        <a:cubicBezTo>
                          <a:pt x="1" y="67"/>
                          <a:pt x="0" y="67"/>
                          <a:pt x="0" y="67"/>
                        </a:cubicBezTo>
                        <a:close/>
                        <a:moveTo>
                          <a:pt x="179" y="22"/>
                        </a:moveTo>
                        <a:cubicBezTo>
                          <a:pt x="179" y="22"/>
                          <a:pt x="179" y="22"/>
                          <a:pt x="179" y="22"/>
                        </a:cubicBezTo>
                        <a:cubicBezTo>
                          <a:pt x="179" y="22"/>
                          <a:pt x="179" y="22"/>
                          <a:pt x="179" y="22"/>
                        </a:cubicBezTo>
                        <a:close/>
                        <a:moveTo>
                          <a:pt x="226" y="17"/>
                        </a:moveTo>
                        <a:cubicBezTo>
                          <a:pt x="225" y="18"/>
                          <a:pt x="224" y="18"/>
                          <a:pt x="223" y="18"/>
                        </a:cubicBezTo>
                        <a:cubicBezTo>
                          <a:pt x="223" y="18"/>
                          <a:pt x="223" y="18"/>
                          <a:pt x="223" y="18"/>
                        </a:cubicBezTo>
                        <a:cubicBezTo>
                          <a:pt x="223" y="18"/>
                          <a:pt x="222" y="18"/>
                          <a:pt x="222" y="18"/>
                        </a:cubicBezTo>
                        <a:cubicBezTo>
                          <a:pt x="221" y="19"/>
                          <a:pt x="220" y="19"/>
                          <a:pt x="218" y="19"/>
                        </a:cubicBezTo>
                        <a:cubicBezTo>
                          <a:pt x="218" y="19"/>
                          <a:pt x="219" y="19"/>
                          <a:pt x="219" y="19"/>
                        </a:cubicBezTo>
                        <a:cubicBezTo>
                          <a:pt x="218" y="19"/>
                          <a:pt x="217" y="20"/>
                          <a:pt x="216" y="19"/>
                        </a:cubicBezTo>
                        <a:cubicBezTo>
                          <a:pt x="215" y="19"/>
                          <a:pt x="215" y="20"/>
                          <a:pt x="215" y="20"/>
                        </a:cubicBezTo>
                        <a:cubicBezTo>
                          <a:pt x="215" y="20"/>
                          <a:pt x="215" y="20"/>
                          <a:pt x="215" y="20"/>
                        </a:cubicBezTo>
                        <a:cubicBezTo>
                          <a:pt x="215" y="19"/>
                          <a:pt x="215" y="19"/>
                          <a:pt x="216" y="19"/>
                        </a:cubicBezTo>
                        <a:cubicBezTo>
                          <a:pt x="215" y="19"/>
                          <a:pt x="214" y="19"/>
                          <a:pt x="213" y="20"/>
                        </a:cubicBezTo>
                        <a:cubicBezTo>
                          <a:pt x="212" y="20"/>
                          <a:pt x="212" y="20"/>
                          <a:pt x="212" y="20"/>
                        </a:cubicBezTo>
                        <a:cubicBezTo>
                          <a:pt x="212" y="20"/>
                          <a:pt x="213" y="20"/>
                          <a:pt x="213" y="20"/>
                        </a:cubicBezTo>
                        <a:cubicBezTo>
                          <a:pt x="213" y="20"/>
                          <a:pt x="212" y="20"/>
                          <a:pt x="213" y="20"/>
                        </a:cubicBezTo>
                        <a:cubicBezTo>
                          <a:pt x="212" y="19"/>
                          <a:pt x="212" y="20"/>
                          <a:pt x="211" y="20"/>
                        </a:cubicBezTo>
                        <a:cubicBezTo>
                          <a:pt x="211" y="20"/>
                          <a:pt x="211" y="20"/>
                          <a:pt x="211" y="20"/>
                        </a:cubicBezTo>
                        <a:cubicBezTo>
                          <a:pt x="210" y="20"/>
                          <a:pt x="211" y="20"/>
                          <a:pt x="211" y="20"/>
                        </a:cubicBezTo>
                        <a:cubicBezTo>
                          <a:pt x="210" y="20"/>
                          <a:pt x="210" y="20"/>
                          <a:pt x="210" y="20"/>
                        </a:cubicBezTo>
                        <a:cubicBezTo>
                          <a:pt x="210" y="20"/>
                          <a:pt x="210" y="20"/>
                          <a:pt x="210" y="20"/>
                        </a:cubicBezTo>
                        <a:cubicBezTo>
                          <a:pt x="210" y="20"/>
                          <a:pt x="210" y="20"/>
                          <a:pt x="209" y="20"/>
                        </a:cubicBezTo>
                        <a:cubicBezTo>
                          <a:pt x="209" y="20"/>
                          <a:pt x="210" y="20"/>
                          <a:pt x="210" y="20"/>
                        </a:cubicBezTo>
                        <a:cubicBezTo>
                          <a:pt x="209" y="20"/>
                          <a:pt x="208" y="20"/>
                          <a:pt x="207" y="20"/>
                        </a:cubicBezTo>
                        <a:cubicBezTo>
                          <a:pt x="207" y="20"/>
                          <a:pt x="207" y="20"/>
                          <a:pt x="207" y="20"/>
                        </a:cubicBezTo>
                        <a:cubicBezTo>
                          <a:pt x="206" y="20"/>
                          <a:pt x="206" y="20"/>
                          <a:pt x="206" y="20"/>
                        </a:cubicBezTo>
                        <a:cubicBezTo>
                          <a:pt x="205" y="20"/>
                          <a:pt x="204" y="21"/>
                          <a:pt x="204" y="21"/>
                        </a:cubicBezTo>
                        <a:cubicBezTo>
                          <a:pt x="203" y="21"/>
                          <a:pt x="203" y="21"/>
                          <a:pt x="203" y="21"/>
                        </a:cubicBezTo>
                        <a:cubicBezTo>
                          <a:pt x="203" y="21"/>
                          <a:pt x="203" y="21"/>
                          <a:pt x="203" y="21"/>
                        </a:cubicBezTo>
                        <a:cubicBezTo>
                          <a:pt x="203" y="21"/>
                          <a:pt x="203" y="21"/>
                          <a:pt x="203" y="21"/>
                        </a:cubicBezTo>
                        <a:cubicBezTo>
                          <a:pt x="202" y="21"/>
                          <a:pt x="202" y="21"/>
                          <a:pt x="201" y="21"/>
                        </a:cubicBezTo>
                        <a:cubicBezTo>
                          <a:pt x="201" y="21"/>
                          <a:pt x="201" y="21"/>
                          <a:pt x="201" y="21"/>
                        </a:cubicBezTo>
                        <a:cubicBezTo>
                          <a:pt x="201" y="21"/>
                          <a:pt x="201" y="21"/>
                          <a:pt x="201" y="21"/>
                        </a:cubicBezTo>
                        <a:cubicBezTo>
                          <a:pt x="200" y="21"/>
                          <a:pt x="201" y="21"/>
                          <a:pt x="201" y="21"/>
                        </a:cubicBezTo>
                        <a:cubicBezTo>
                          <a:pt x="200" y="21"/>
                          <a:pt x="200" y="21"/>
                          <a:pt x="200" y="21"/>
                        </a:cubicBezTo>
                        <a:cubicBezTo>
                          <a:pt x="200" y="21"/>
                          <a:pt x="200" y="21"/>
                          <a:pt x="200" y="21"/>
                        </a:cubicBezTo>
                        <a:cubicBezTo>
                          <a:pt x="200" y="21"/>
                          <a:pt x="200" y="21"/>
                          <a:pt x="200" y="21"/>
                        </a:cubicBezTo>
                        <a:cubicBezTo>
                          <a:pt x="200" y="21"/>
                          <a:pt x="200" y="21"/>
                          <a:pt x="200" y="21"/>
                        </a:cubicBezTo>
                        <a:cubicBezTo>
                          <a:pt x="199" y="21"/>
                          <a:pt x="200" y="21"/>
                          <a:pt x="200" y="21"/>
                        </a:cubicBezTo>
                        <a:cubicBezTo>
                          <a:pt x="200" y="21"/>
                          <a:pt x="199" y="21"/>
                          <a:pt x="199" y="21"/>
                        </a:cubicBezTo>
                        <a:cubicBezTo>
                          <a:pt x="198" y="21"/>
                          <a:pt x="197" y="22"/>
                          <a:pt x="196" y="22"/>
                        </a:cubicBezTo>
                        <a:cubicBezTo>
                          <a:pt x="196" y="22"/>
                          <a:pt x="197" y="22"/>
                          <a:pt x="197" y="22"/>
                        </a:cubicBezTo>
                        <a:cubicBezTo>
                          <a:pt x="197" y="22"/>
                          <a:pt x="196" y="22"/>
                          <a:pt x="196" y="22"/>
                        </a:cubicBezTo>
                        <a:cubicBezTo>
                          <a:pt x="196" y="22"/>
                          <a:pt x="196" y="22"/>
                          <a:pt x="196" y="21"/>
                        </a:cubicBezTo>
                        <a:cubicBezTo>
                          <a:pt x="196" y="22"/>
                          <a:pt x="196" y="22"/>
                          <a:pt x="195" y="22"/>
                        </a:cubicBezTo>
                        <a:cubicBezTo>
                          <a:pt x="195" y="22"/>
                          <a:pt x="194" y="22"/>
                          <a:pt x="195" y="22"/>
                        </a:cubicBezTo>
                        <a:cubicBezTo>
                          <a:pt x="194" y="22"/>
                          <a:pt x="194" y="22"/>
                          <a:pt x="194" y="22"/>
                        </a:cubicBezTo>
                        <a:cubicBezTo>
                          <a:pt x="194" y="22"/>
                          <a:pt x="194" y="22"/>
                          <a:pt x="194" y="22"/>
                        </a:cubicBezTo>
                        <a:cubicBezTo>
                          <a:pt x="194" y="22"/>
                          <a:pt x="194" y="22"/>
                          <a:pt x="194" y="22"/>
                        </a:cubicBezTo>
                        <a:cubicBezTo>
                          <a:pt x="194" y="22"/>
                          <a:pt x="194" y="22"/>
                          <a:pt x="194" y="22"/>
                        </a:cubicBezTo>
                        <a:cubicBezTo>
                          <a:pt x="193" y="23"/>
                          <a:pt x="193" y="23"/>
                          <a:pt x="193" y="23"/>
                        </a:cubicBezTo>
                        <a:cubicBezTo>
                          <a:pt x="193" y="22"/>
                          <a:pt x="193" y="22"/>
                          <a:pt x="193" y="22"/>
                        </a:cubicBezTo>
                        <a:cubicBezTo>
                          <a:pt x="193" y="22"/>
                          <a:pt x="193" y="22"/>
                          <a:pt x="194" y="22"/>
                        </a:cubicBezTo>
                        <a:cubicBezTo>
                          <a:pt x="193" y="22"/>
                          <a:pt x="193" y="22"/>
                          <a:pt x="193" y="22"/>
                        </a:cubicBezTo>
                        <a:cubicBezTo>
                          <a:pt x="193" y="22"/>
                          <a:pt x="192" y="22"/>
                          <a:pt x="191" y="22"/>
                        </a:cubicBezTo>
                        <a:cubicBezTo>
                          <a:pt x="191" y="22"/>
                          <a:pt x="192" y="22"/>
                          <a:pt x="192" y="22"/>
                        </a:cubicBezTo>
                        <a:cubicBezTo>
                          <a:pt x="191" y="22"/>
                          <a:pt x="191" y="23"/>
                          <a:pt x="190" y="23"/>
                        </a:cubicBezTo>
                        <a:cubicBezTo>
                          <a:pt x="191" y="23"/>
                          <a:pt x="190" y="23"/>
                          <a:pt x="190" y="23"/>
                        </a:cubicBezTo>
                        <a:cubicBezTo>
                          <a:pt x="189" y="23"/>
                          <a:pt x="189" y="23"/>
                          <a:pt x="189" y="23"/>
                        </a:cubicBezTo>
                        <a:cubicBezTo>
                          <a:pt x="189" y="23"/>
                          <a:pt x="189" y="23"/>
                          <a:pt x="189" y="23"/>
                        </a:cubicBezTo>
                        <a:cubicBezTo>
                          <a:pt x="189" y="23"/>
                          <a:pt x="188" y="23"/>
                          <a:pt x="188" y="23"/>
                        </a:cubicBezTo>
                        <a:cubicBezTo>
                          <a:pt x="190" y="23"/>
                          <a:pt x="192" y="22"/>
                          <a:pt x="193" y="22"/>
                        </a:cubicBezTo>
                        <a:cubicBezTo>
                          <a:pt x="193" y="22"/>
                          <a:pt x="193" y="22"/>
                          <a:pt x="193" y="22"/>
                        </a:cubicBezTo>
                        <a:cubicBezTo>
                          <a:pt x="193" y="22"/>
                          <a:pt x="193" y="22"/>
                          <a:pt x="193" y="22"/>
                        </a:cubicBezTo>
                        <a:cubicBezTo>
                          <a:pt x="193" y="22"/>
                          <a:pt x="193" y="22"/>
                          <a:pt x="193" y="22"/>
                        </a:cubicBezTo>
                        <a:cubicBezTo>
                          <a:pt x="193" y="22"/>
                          <a:pt x="192" y="22"/>
                          <a:pt x="192" y="22"/>
                        </a:cubicBezTo>
                        <a:cubicBezTo>
                          <a:pt x="192" y="22"/>
                          <a:pt x="192" y="22"/>
                          <a:pt x="192" y="22"/>
                        </a:cubicBezTo>
                        <a:cubicBezTo>
                          <a:pt x="192" y="22"/>
                          <a:pt x="191" y="22"/>
                          <a:pt x="191" y="22"/>
                        </a:cubicBezTo>
                        <a:cubicBezTo>
                          <a:pt x="191" y="22"/>
                          <a:pt x="192" y="22"/>
                          <a:pt x="191" y="22"/>
                        </a:cubicBezTo>
                        <a:cubicBezTo>
                          <a:pt x="191" y="22"/>
                          <a:pt x="191" y="22"/>
                          <a:pt x="191" y="22"/>
                        </a:cubicBezTo>
                        <a:cubicBezTo>
                          <a:pt x="190" y="22"/>
                          <a:pt x="190" y="22"/>
                          <a:pt x="190" y="22"/>
                        </a:cubicBezTo>
                        <a:cubicBezTo>
                          <a:pt x="190" y="22"/>
                          <a:pt x="190" y="22"/>
                          <a:pt x="189" y="22"/>
                        </a:cubicBezTo>
                        <a:cubicBezTo>
                          <a:pt x="189" y="22"/>
                          <a:pt x="189" y="22"/>
                          <a:pt x="189" y="22"/>
                        </a:cubicBezTo>
                        <a:cubicBezTo>
                          <a:pt x="189" y="22"/>
                          <a:pt x="188" y="22"/>
                          <a:pt x="188" y="23"/>
                        </a:cubicBezTo>
                        <a:cubicBezTo>
                          <a:pt x="188" y="23"/>
                          <a:pt x="188" y="22"/>
                          <a:pt x="188" y="23"/>
                        </a:cubicBezTo>
                        <a:cubicBezTo>
                          <a:pt x="188" y="23"/>
                          <a:pt x="188" y="23"/>
                          <a:pt x="188" y="22"/>
                        </a:cubicBezTo>
                        <a:cubicBezTo>
                          <a:pt x="187" y="22"/>
                          <a:pt x="187" y="23"/>
                          <a:pt x="187" y="23"/>
                        </a:cubicBezTo>
                        <a:cubicBezTo>
                          <a:pt x="187" y="23"/>
                          <a:pt x="188" y="23"/>
                          <a:pt x="188" y="23"/>
                        </a:cubicBezTo>
                        <a:cubicBezTo>
                          <a:pt x="188" y="23"/>
                          <a:pt x="187" y="23"/>
                          <a:pt x="188" y="23"/>
                        </a:cubicBezTo>
                        <a:cubicBezTo>
                          <a:pt x="188" y="23"/>
                          <a:pt x="187" y="23"/>
                          <a:pt x="187" y="23"/>
                        </a:cubicBezTo>
                        <a:cubicBezTo>
                          <a:pt x="187" y="23"/>
                          <a:pt x="187" y="23"/>
                          <a:pt x="186" y="23"/>
                        </a:cubicBezTo>
                        <a:cubicBezTo>
                          <a:pt x="186" y="23"/>
                          <a:pt x="187" y="23"/>
                          <a:pt x="186" y="23"/>
                        </a:cubicBezTo>
                        <a:cubicBezTo>
                          <a:pt x="186" y="23"/>
                          <a:pt x="186" y="23"/>
                          <a:pt x="186" y="23"/>
                        </a:cubicBezTo>
                        <a:cubicBezTo>
                          <a:pt x="186" y="23"/>
                          <a:pt x="186" y="23"/>
                          <a:pt x="185" y="23"/>
                        </a:cubicBezTo>
                        <a:cubicBezTo>
                          <a:pt x="186" y="23"/>
                          <a:pt x="186" y="23"/>
                          <a:pt x="186" y="23"/>
                        </a:cubicBezTo>
                        <a:cubicBezTo>
                          <a:pt x="186" y="24"/>
                          <a:pt x="188" y="23"/>
                          <a:pt x="188" y="23"/>
                        </a:cubicBezTo>
                        <a:cubicBezTo>
                          <a:pt x="186" y="23"/>
                          <a:pt x="185" y="24"/>
                          <a:pt x="184" y="24"/>
                        </a:cubicBezTo>
                        <a:cubicBezTo>
                          <a:pt x="184" y="24"/>
                          <a:pt x="184" y="24"/>
                          <a:pt x="184" y="24"/>
                        </a:cubicBezTo>
                        <a:cubicBezTo>
                          <a:pt x="184" y="24"/>
                          <a:pt x="184" y="24"/>
                          <a:pt x="183" y="24"/>
                        </a:cubicBezTo>
                        <a:cubicBezTo>
                          <a:pt x="184" y="24"/>
                          <a:pt x="183" y="24"/>
                          <a:pt x="183" y="24"/>
                        </a:cubicBezTo>
                        <a:cubicBezTo>
                          <a:pt x="183" y="24"/>
                          <a:pt x="183" y="24"/>
                          <a:pt x="183" y="24"/>
                        </a:cubicBezTo>
                        <a:cubicBezTo>
                          <a:pt x="183" y="24"/>
                          <a:pt x="183" y="24"/>
                          <a:pt x="183" y="24"/>
                        </a:cubicBezTo>
                        <a:cubicBezTo>
                          <a:pt x="183" y="24"/>
                          <a:pt x="183" y="24"/>
                          <a:pt x="183" y="24"/>
                        </a:cubicBezTo>
                        <a:cubicBezTo>
                          <a:pt x="183" y="24"/>
                          <a:pt x="182" y="24"/>
                          <a:pt x="182" y="24"/>
                        </a:cubicBezTo>
                        <a:cubicBezTo>
                          <a:pt x="182" y="24"/>
                          <a:pt x="182" y="24"/>
                          <a:pt x="182" y="24"/>
                        </a:cubicBezTo>
                        <a:cubicBezTo>
                          <a:pt x="182" y="24"/>
                          <a:pt x="182" y="24"/>
                          <a:pt x="182" y="24"/>
                        </a:cubicBezTo>
                        <a:cubicBezTo>
                          <a:pt x="182" y="24"/>
                          <a:pt x="181" y="24"/>
                          <a:pt x="181" y="25"/>
                        </a:cubicBezTo>
                        <a:cubicBezTo>
                          <a:pt x="181" y="25"/>
                          <a:pt x="182" y="24"/>
                          <a:pt x="182" y="25"/>
                        </a:cubicBezTo>
                        <a:cubicBezTo>
                          <a:pt x="181" y="25"/>
                          <a:pt x="181" y="25"/>
                          <a:pt x="181" y="25"/>
                        </a:cubicBezTo>
                        <a:cubicBezTo>
                          <a:pt x="181" y="25"/>
                          <a:pt x="181" y="25"/>
                          <a:pt x="181" y="25"/>
                        </a:cubicBezTo>
                        <a:cubicBezTo>
                          <a:pt x="181" y="24"/>
                          <a:pt x="181" y="25"/>
                          <a:pt x="181" y="24"/>
                        </a:cubicBezTo>
                        <a:cubicBezTo>
                          <a:pt x="181" y="25"/>
                          <a:pt x="181" y="25"/>
                          <a:pt x="181" y="25"/>
                        </a:cubicBezTo>
                        <a:cubicBezTo>
                          <a:pt x="180" y="25"/>
                          <a:pt x="180" y="25"/>
                          <a:pt x="180" y="24"/>
                        </a:cubicBezTo>
                        <a:cubicBezTo>
                          <a:pt x="181" y="25"/>
                          <a:pt x="181" y="24"/>
                          <a:pt x="181" y="24"/>
                        </a:cubicBezTo>
                        <a:cubicBezTo>
                          <a:pt x="182" y="24"/>
                          <a:pt x="181" y="24"/>
                          <a:pt x="181" y="24"/>
                        </a:cubicBezTo>
                        <a:cubicBezTo>
                          <a:pt x="181" y="24"/>
                          <a:pt x="181" y="24"/>
                          <a:pt x="180" y="24"/>
                        </a:cubicBezTo>
                        <a:cubicBezTo>
                          <a:pt x="180" y="24"/>
                          <a:pt x="180" y="24"/>
                          <a:pt x="180" y="24"/>
                        </a:cubicBezTo>
                        <a:cubicBezTo>
                          <a:pt x="180" y="24"/>
                          <a:pt x="179" y="24"/>
                          <a:pt x="179" y="25"/>
                        </a:cubicBezTo>
                        <a:cubicBezTo>
                          <a:pt x="179" y="25"/>
                          <a:pt x="178" y="25"/>
                          <a:pt x="178" y="25"/>
                        </a:cubicBezTo>
                        <a:cubicBezTo>
                          <a:pt x="178" y="25"/>
                          <a:pt x="178" y="25"/>
                          <a:pt x="178" y="25"/>
                        </a:cubicBezTo>
                        <a:cubicBezTo>
                          <a:pt x="178" y="25"/>
                          <a:pt x="178" y="25"/>
                          <a:pt x="178" y="25"/>
                        </a:cubicBezTo>
                        <a:cubicBezTo>
                          <a:pt x="177" y="25"/>
                          <a:pt x="178" y="25"/>
                          <a:pt x="177" y="25"/>
                        </a:cubicBezTo>
                        <a:cubicBezTo>
                          <a:pt x="177" y="25"/>
                          <a:pt x="176" y="25"/>
                          <a:pt x="175" y="25"/>
                        </a:cubicBezTo>
                        <a:cubicBezTo>
                          <a:pt x="175" y="25"/>
                          <a:pt x="175" y="25"/>
                          <a:pt x="175" y="25"/>
                        </a:cubicBezTo>
                        <a:cubicBezTo>
                          <a:pt x="175" y="26"/>
                          <a:pt x="175" y="25"/>
                          <a:pt x="175" y="26"/>
                        </a:cubicBezTo>
                        <a:cubicBezTo>
                          <a:pt x="175" y="25"/>
                          <a:pt x="174" y="26"/>
                          <a:pt x="174" y="25"/>
                        </a:cubicBezTo>
                        <a:cubicBezTo>
                          <a:pt x="173" y="26"/>
                          <a:pt x="172" y="26"/>
                          <a:pt x="172" y="26"/>
                        </a:cubicBezTo>
                        <a:cubicBezTo>
                          <a:pt x="171" y="26"/>
                          <a:pt x="171" y="26"/>
                          <a:pt x="171" y="26"/>
                        </a:cubicBezTo>
                        <a:cubicBezTo>
                          <a:pt x="171" y="27"/>
                          <a:pt x="171" y="27"/>
                          <a:pt x="171" y="27"/>
                        </a:cubicBezTo>
                        <a:cubicBezTo>
                          <a:pt x="170" y="27"/>
                          <a:pt x="171" y="27"/>
                          <a:pt x="171" y="27"/>
                        </a:cubicBezTo>
                        <a:cubicBezTo>
                          <a:pt x="169" y="27"/>
                          <a:pt x="168" y="27"/>
                          <a:pt x="167" y="27"/>
                        </a:cubicBezTo>
                        <a:cubicBezTo>
                          <a:pt x="167" y="27"/>
                          <a:pt x="167" y="27"/>
                          <a:pt x="167" y="27"/>
                        </a:cubicBezTo>
                        <a:cubicBezTo>
                          <a:pt x="166" y="27"/>
                          <a:pt x="166" y="27"/>
                          <a:pt x="166" y="28"/>
                        </a:cubicBezTo>
                        <a:cubicBezTo>
                          <a:pt x="166" y="27"/>
                          <a:pt x="167" y="27"/>
                          <a:pt x="167" y="27"/>
                        </a:cubicBezTo>
                        <a:cubicBezTo>
                          <a:pt x="168" y="27"/>
                          <a:pt x="168" y="27"/>
                          <a:pt x="168" y="27"/>
                        </a:cubicBezTo>
                        <a:cubicBezTo>
                          <a:pt x="168" y="27"/>
                          <a:pt x="168" y="27"/>
                          <a:pt x="168" y="27"/>
                        </a:cubicBezTo>
                        <a:cubicBezTo>
                          <a:pt x="171" y="26"/>
                          <a:pt x="172" y="26"/>
                          <a:pt x="175" y="25"/>
                        </a:cubicBezTo>
                        <a:cubicBezTo>
                          <a:pt x="175" y="25"/>
                          <a:pt x="175" y="25"/>
                          <a:pt x="175" y="25"/>
                        </a:cubicBezTo>
                        <a:cubicBezTo>
                          <a:pt x="175" y="25"/>
                          <a:pt x="175" y="25"/>
                          <a:pt x="175" y="25"/>
                        </a:cubicBezTo>
                        <a:cubicBezTo>
                          <a:pt x="176" y="25"/>
                          <a:pt x="175" y="25"/>
                          <a:pt x="176" y="25"/>
                        </a:cubicBezTo>
                        <a:cubicBezTo>
                          <a:pt x="176" y="25"/>
                          <a:pt x="176" y="25"/>
                          <a:pt x="176" y="25"/>
                        </a:cubicBezTo>
                        <a:cubicBezTo>
                          <a:pt x="176" y="25"/>
                          <a:pt x="176" y="25"/>
                          <a:pt x="176" y="25"/>
                        </a:cubicBezTo>
                        <a:cubicBezTo>
                          <a:pt x="176" y="25"/>
                          <a:pt x="177" y="25"/>
                          <a:pt x="177" y="25"/>
                        </a:cubicBezTo>
                        <a:cubicBezTo>
                          <a:pt x="177" y="25"/>
                          <a:pt x="177" y="25"/>
                          <a:pt x="177" y="25"/>
                        </a:cubicBezTo>
                        <a:cubicBezTo>
                          <a:pt x="177" y="25"/>
                          <a:pt x="177" y="25"/>
                          <a:pt x="178" y="25"/>
                        </a:cubicBezTo>
                        <a:cubicBezTo>
                          <a:pt x="178" y="25"/>
                          <a:pt x="178" y="25"/>
                          <a:pt x="178" y="25"/>
                        </a:cubicBezTo>
                        <a:cubicBezTo>
                          <a:pt x="178" y="24"/>
                          <a:pt x="178" y="25"/>
                          <a:pt x="177" y="25"/>
                        </a:cubicBezTo>
                        <a:cubicBezTo>
                          <a:pt x="178" y="24"/>
                          <a:pt x="178" y="25"/>
                          <a:pt x="178" y="24"/>
                        </a:cubicBezTo>
                        <a:cubicBezTo>
                          <a:pt x="178" y="24"/>
                          <a:pt x="178" y="24"/>
                          <a:pt x="178" y="24"/>
                        </a:cubicBezTo>
                        <a:cubicBezTo>
                          <a:pt x="179" y="25"/>
                          <a:pt x="179" y="24"/>
                          <a:pt x="179" y="24"/>
                        </a:cubicBezTo>
                        <a:cubicBezTo>
                          <a:pt x="179" y="24"/>
                          <a:pt x="179" y="24"/>
                          <a:pt x="179" y="24"/>
                        </a:cubicBezTo>
                        <a:cubicBezTo>
                          <a:pt x="179" y="24"/>
                          <a:pt x="179" y="24"/>
                          <a:pt x="179" y="24"/>
                        </a:cubicBezTo>
                        <a:cubicBezTo>
                          <a:pt x="180" y="24"/>
                          <a:pt x="180" y="24"/>
                          <a:pt x="180" y="24"/>
                        </a:cubicBezTo>
                        <a:cubicBezTo>
                          <a:pt x="180" y="24"/>
                          <a:pt x="180" y="24"/>
                          <a:pt x="180" y="24"/>
                        </a:cubicBezTo>
                        <a:cubicBezTo>
                          <a:pt x="180" y="24"/>
                          <a:pt x="180" y="24"/>
                          <a:pt x="180" y="24"/>
                        </a:cubicBezTo>
                        <a:cubicBezTo>
                          <a:pt x="180" y="24"/>
                          <a:pt x="180" y="24"/>
                          <a:pt x="180" y="24"/>
                        </a:cubicBezTo>
                        <a:cubicBezTo>
                          <a:pt x="179" y="24"/>
                          <a:pt x="178" y="24"/>
                          <a:pt x="178" y="24"/>
                        </a:cubicBezTo>
                        <a:cubicBezTo>
                          <a:pt x="178" y="24"/>
                          <a:pt x="178" y="24"/>
                          <a:pt x="178" y="24"/>
                        </a:cubicBezTo>
                        <a:cubicBezTo>
                          <a:pt x="178" y="24"/>
                          <a:pt x="178" y="24"/>
                          <a:pt x="178" y="24"/>
                        </a:cubicBezTo>
                        <a:cubicBezTo>
                          <a:pt x="178" y="24"/>
                          <a:pt x="178" y="24"/>
                          <a:pt x="178" y="24"/>
                        </a:cubicBezTo>
                        <a:cubicBezTo>
                          <a:pt x="178" y="24"/>
                          <a:pt x="178" y="24"/>
                          <a:pt x="177" y="24"/>
                        </a:cubicBezTo>
                        <a:cubicBezTo>
                          <a:pt x="177" y="24"/>
                          <a:pt x="177" y="24"/>
                          <a:pt x="177" y="24"/>
                        </a:cubicBezTo>
                        <a:cubicBezTo>
                          <a:pt x="177" y="24"/>
                          <a:pt x="177" y="24"/>
                          <a:pt x="177" y="25"/>
                        </a:cubicBezTo>
                        <a:cubicBezTo>
                          <a:pt x="177" y="24"/>
                          <a:pt x="177" y="24"/>
                          <a:pt x="177" y="24"/>
                        </a:cubicBezTo>
                        <a:cubicBezTo>
                          <a:pt x="176" y="24"/>
                          <a:pt x="177" y="24"/>
                          <a:pt x="177" y="25"/>
                        </a:cubicBezTo>
                        <a:cubicBezTo>
                          <a:pt x="176" y="25"/>
                          <a:pt x="176" y="25"/>
                          <a:pt x="175" y="25"/>
                        </a:cubicBezTo>
                        <a:cubicBezTo>
                          <a:pt x="176" y="24"/>
                          <a:pt x="176" y="25"/>
                          <a:pt x="176" y="25"/>
                        </a:cubicBezTo>
                        <a:cubicBezTo>
                          <a:pt x="176" y="25"/>
                          <a:pt x="176" y="24"/>
                          <a:pt x="176" y="24"/>
                        </a:cubicBezTo>
                        <a:cubicBezTo>
                          <a:pt x="176" y="24"/>
                          <a:pt x="176" y="24"/>
                          <a:pt x="176" y="24"/>
                        </a:cubicBezTo>
                        <a:cubicBezTo>
                          <a:pt x="176" y="24"/>
                          <a:pt x="176" y="24"/>
                          <a:pt x="175" y="25"/>
                        </a:cubicBezTo>
                        <a:cubicBezTo>
                          <a:pt x="175" y="25"/>
                          <a:pt x="175" y="24"/>
                          <a:pt x="175" y="24"/>
                        </a:cubicBezTo>
                        <a:cubicBezTo>
                          <a:pt x="175" y="24"/>
                          <a:pt x="174" y="24"/>
                          <a:pt x="173" y="25"/>
                        </a:cubicBezTo>
                        <a:cubicBezTo>
                          <a:pt x="173" y="24"/>
                          <a:pt x="174" y="24"/>
                          <a:pt x="174" y="24"/>
                        </a:cubicBezTo>
                        <a:cubicBezTo>
                          <a:pt x="174" y="24"/>
                          <a:pt x="174" y="24"/>
                          <a:pt x="174" y="24"/>
                        </a:cubicBezTo>
                        <a:cubicBezTo>
                          <a:pt x="174" y="24"/>
                          <a:pt x="174" y="24"/>
                          <a:pt x="174" y="24"/>
                        </a:cubicBezTo>
                        <a:cubicBezTo>
                          <a:pt x="175" y="24"/>
                          <a:pt x="176" y="24"/>
                          <a:pt x="178" y="23"/>
                        </a:cubicBezTo>
                        <a:cubicBezTo>
                          <a:pt x="178" y="24"/>
                          <a:pt x="177" y="24"/>
                          <a:pt x="177" y="24"/>
                        </a:cubicBezTo>
                        <a:cubicBezTo>
                          <a:pt x="177" y="24"/>
                          <a:pt x="177" y="24"/>
                          <a:pt x="177" y="24"/>
                        </a:cubicBezTo>
                        <a:cubicBezTo>
                          <a:pt x="178" y="23"/>
                          <a:pt x="179" y="23"/>
                          <a:pt x="179" y="23"/>
                        </a:cubicBezTo>
                        <a:cubicBezTo>
                          <a:pt x="179" y="23"/>
                          <a:pt x="179" y="23"/>
                          <a:pt x="179" y="23"/>
                        </a:cubicBezTo>
                        <a:cubicBezTo>
                          <a:pt x="179" y="23"/>
                          <a:pt x="180" y="23"/>
                          <a:pt x="180" y="23"/>
                        </a:cubicBezTo>
                        <a:cubicBezTo>
                          <a:pt x="180" y="23"/>
                          <a:pt x="180" y="23"/>
                          <a:pt x="180" y="23"/>
                        </a:cubicBezTo>
                        <a:cubicBezTo>
                          <a:pt x="181" y="23"/>
                          <a:pt x="182" y="23"/>
                          <a:pt x="183" y="22"/>
                        </a:cubicBezTo>
                        <a:cubicBezTo>
                          <a:pt x="182" y="23"/>
                          <a:pt x="181" y="23"/>
                          <a:pt x="180" y="23"/>
                        </a:cubicBezTo>
                        <a:cubicBezTo>
                          <a:pt x="180" y="23"/>
                          <a:pt x="179" y="23"/>
                          <a:pt x="178" y="24"/>
                        </a:cubicBezTo>
                        <a:cubicBezTo>
                          <a:pt x="179" y="24"/>
                          <a:pt x="180" y="23"/>
                          <a:pt x="181" y="23"/>
                        </a:cubicBezTo>
                        <a:cubicBezTo>
                          <a:pt x="181" y="23"/>
                          <a:pt x="181" y="24"/>
                          <a:pt x="181" y="24"/>
                        </a:cubicBezTo>
                        <a:cubicBezTo>
                          <a:pt x="181" y="24"/>
                          <a:pt x="180" y="24"/>
                          <a:pt x="180" y="24"/>
                        </a:cubicBezTo>
                        <a:cubicBezTo>
                          <a:pt x="180" y="24"/>
                          <a:pt x="181" y="24"/>
                          <a:pt x="181" y="24"/>
                        </a:cubicBezTo>
                        <a:cubicBezTo>
                          <a:pt x="181" y="24"/>
                          <a:pt x="181" y="24"/>
                          <a:pt x="181" y="23"/>
                        </a:cubicBezTo>
                        <a:cubicBezTo>
                          <a:pt x="182" y="23"/>
                          <a:pt x="182" y="23"/>
                          <a:pt x="182" y="23"/>
                        </a:cubicBezTo>
                        <a:cubicBezTo>
                          <a:pt x="182" y="23"/>
                          <a:pt x="182" y="23"/>
                          <a:pt x="182" y="23"/>
                        </a:cubicBezTo>
                        <a:cubicBezTo>
                          <a:pt x="182" y="23"/>
                          <a:pt x="182" y="23"/>
                          <a:pt x="182" y="24"/>
                        </a:cubicBezTo>
                        <a:cubicBezTo>
                          <a:pt x="183" y="23"/>
                          <a:pt x="183" y="23"/>
                          <a:pt x="183" y="23"/>
                        </a:cubicBezTo>
                        <a:cubicBezTo>
                          <a:pt x="182" y="23"/>
                          <a:pt x="183" y="23"/>
                          <a:pt x="182" y="23"/>
                        </a:cubicBezTo>
                        <a:cubicBezTo>
                          <a:pt x="182" y="23"/>
                          <a:pt x="183" y="23"/>
                          <a:pt x="183" y="23"/>
                        </a:cubicBezTo>
                        <a:cubicBezTo>
                          <a:pt x="184" y="23"/>
                          <a:pt x="184" y="23"/>
                          <a:pt x="184" y="23"/>
                        </a:cubicBezTo>
                        <a:cubicBezTo>
                          <a:pt x="184" y="23"/>
                          <a:pt x="184" y="23"/>
                          <a:pt x="184" y="23"/>
                        </a:cubicBezTo>
                        <a:cubicBezTo>
                          <a:pt x="184" y="23"/>
                          <a:pt x="184" y="22"/>
                          <a:pt x="184" y="23"/>
                        </a:cubicBezTo>
                        <a:cubicBezTo>
                          <a:pt x="186" y="23"/>
                          <a:pt x="187" y="22"/>
                          <a:pt x="188" y="22"/>
                        </a:cubicBezTo>
                        <a:cubicBezTo>
                          <a:pt x="188" y="22"/>
                          <a:pt x="188" y="22"/>
                          <a:pt x="188" y="22"/>
                        </a:cubicBezTo>
                        <a:cubicBezTo>
                          <a:pt x="188" y="22"/>
                          <a:pt x="189" y="22"/>
                          <a:pt x="189" y="22"/>
                        </a:cubicBezTo>
                        <a:cubicBezTo>
                          <a:pt x="189" y="22"/>
                          <a:pt x="189" y="22"/>
                          <a:pt x="189" y="22"/>
                        </a:cubicBezTo>
                        <a:cubicBezTo>
                          <a:pt x="189" y="21"/>
                          <a:pt x="189" y="22"/>
                          <a:pt x="190" y="21"/>
                        </a:cubicBezTo>
                        <a:cubicBezTo>
                          <a:pt x="190" y="22"/>
                          <a:pt x="189" y="22"/>
                          <a:pt x="189" y="22"/>
                        </a:cubicBezTo>
                        <a:cubicBezTo>
                          <a:pt x="189" y="22"/>
                          <a:pt x="190" y="22"/>
                          <a:pt x="190" y="22"/>
                        </a:cubicBezTo>
                        <a:cubicBezTo>
                          <a:pt x="190" y="21"/>
                          <a:pt x="191" y="21"/>
                          <a:pt x="192" y="21"/>
                        </a:cubicBezTo>
                        <a:cubicBezTo>
                          <a:pt x="192" y="21"/>
                          <a:pt x="192" y="21"/>
                          <a:pt x="192" y="21"/>
                        </a:cubicBezTo>
                        <a:cubicBezTo>
                          <a:pt x="192" y="21"/>
                          <a:pt x="192" y="21"/>
                          <a:pt x="192" y="21"/>
                        </a:cubicBezTo>
                        <a:cubicBezTo>
                          <a:pt x="193" y="21"/>
                          <a:pt x="192" y="21"/>
                          <a:pt x="192" y="21"/>
                        </a:cubicBezTo>
                        <a:cubicBezTo>
                          <a:pt x="192" y="21"/>
                          <a:pt x="192" y="21"/>
                          <a:pt x="192" y="21"/>
                        </a:cubicBezTo>
                        <a:cubicBezTo>
                          <a:pt x="192" y="21"/>
                          <a:pt x="193" y="21"/>
                          <a:pt x="192" y="21"/>
                        </a:cubicBezTo>
                        <a:cubicBezTo>
                          <a:pt x="193" y="21"/>
                          <a:pt x="193" y="21"/>
                          <a:pt x="193" y="21"/>
                        </a:cubicBezTo>
                        <a:cubicBezTo>
                          <a:pt x="193" y="21"/>
                          <a:pt x="194" y="21"/>
                          <a:pt x="193" y="21"/>
                        </a:cubicBezTo>
                        <a:cubicBezTo>
                          <a:pt x="194" y="21"/>
                          <a:pt x="194" y="21"/>
                          <a:pt x="193" y="21"/>
                        </a:cubicBezTo>
                        <a:cubicBezTo>
                          <a:pt x="194" y="21"/>
                          <a:pt x="194" y="21"/>
                          <a:pt x="194" y="21"/>
                        </a:cubicBezTo>
                        <a:cubicBezTo>
                          <a:pt x="194" y="21"/>
                          <a:pt x="194" y="21"/>
                          <a:pt x="194" y="21"/>
                        </a:cubicBezTo>
                        <a:cubicBezTo>
                          <a:pt x="195" y="21"/>
                          <a:pt x="195" y="21"/>
                          <a:pt x="196" y="20"/>
                        </a:cubicBezTo>
                        <a:cubicBezTo>
                          <a:pt x="196" y="21"/>
                          <a:pt x="197" y="20"/>
                          <a:pt x="197" y="20"/>
                        </a:cubicBezTo>
                        <a:cubicBezTo>
                          <a:pt x="198" y="20"/>
                          <a:pt x="199" y="20"/>
                          <a:pt x="199" y="19"/>
                        </a:cubicBezTo>
                        <a:cubicBezTo>
                          <a:pt x="200" y="19"/>
                          <a:pt x="201" y="19"/>
                          <a:pt x="201" y="19"/>
                        </a:cubicBezTo>
                        <a:cubicBezTo>
                          <a:pt x="201" y="19"/>
                          <a:pt x="200" y="19"/>
                          <a:pt x="200" y="19"/>
                        </a:cubicBezTo>
                        <a:cubicBezTo>
                          <a:pt x="200" y="19"/>
                          <a:pt x="200" y="19"/>
                          <a:pt x="200" y="19"/>
                        </a:cubicBezTo>
                        <a:cubicBezTo>
                          <a:pt x="200" y="19"/>
                          <a:pt x="200" y="19"/>
                          <a:pt x="199" y="19"/>
                        </a:cubicBezTo>
                        <a:cubicBezTo>
                          <a:pt x="199" y="19"/>
                          <a:pt x="199" y="19"/>
                          <a:pt x="199" y="19"/>
                        </a:cubicBezTo>
                        <a:cubicBezTo>
                          <a:pt x="199" y="20"/>
                          <a:pt x="199" y="19"/>
                          <a:pt x="199" y="19"/>
                        </a:cubicBezTo>
                        <a:cubicBezTo>
                          <a:pt x="199" y="20"/>
                          <a:pt x="199" y="20"/>
                          <a:pt x="199" y="20"/>
                        </a:cubicBezTo>
                        <a:cubicBezTo>
                          <a:pt x="199" y="20"/>
                          <a:pt x="199" y="20"/>
                          <a:pt x="198" y="20"/>
                        </a:cubicBezTo>
                        <a:cubicBezTo>
                          <a:pt x="199" y="19"/>
                          <a:pt x="198" y="20"/>
                          <a:pt x="198" y="20"/>
                        </a:cubicBezTo>
                        <a:cubicBezTo>
                          <a:pt x="197" y="20"/>
                          <a:pt x="197" y="20"/>
                          <a:pt x="196" y="20"/>
                        </a:cubicBezTo>
                        <a:cubicBezTo>
                          <a:pt x="196" y="20"/>
                          <a:pt x="195" y="20"/>
                          <a:pt x="194" y="21"/>
                        </a:cubicBezTo>
                        <a:cubicBezTo>
                          <a:pt x="194" y="20"/>
                          <a:pt x="194" y="20"/>
                          <a:pt x="194" y="20"/>
                        </a:cubicBezTo>
                        <a:cubicBezTo>
                          <a:pt x="194" y="20"/>
                          <a:pt x="194" y="20"/>
                          <a:pt x="194" y="20"/>
                        </a:cubicBezTo>
                        <a:cubicBezTo>
                          <a:pt x="194" y="20"/>
                          <a:pt x="194" y="20"/>
                          <a:pt x="194" y="20"/>
                        </a:cubicBezTo>
                        <a:cubicBezTo>
                          <a:pt x="194" y="20"/>
                          <a:pt x="193" y="20"/>
                          <a:pt x="193" y="20"/>
                        </a:cubicBezTo>
                        <a:cubicBezTo>
                          <a:pt x="193" y="20"/>
                          <a:pt x="193" y="20"/>
                          <a:pt x="193" y="20"/>
                        </a:cubicBezTo>
                        <a:cubicBezTo>
                          <a:pt x="193" y="20"/>
                          <a:pt x="193" y="20"/>
                          <a:pt x="193" y="21"/>
                        </a:cubicBezTo>
                        <a:cubicBezTo>
                          <a:pt x="192" y="21"/>
                          <a:pt x="192" y="21"/>
                          <a:pt x="192" y="21"/>
                        </a:cubicBezTo>
                        <a:cubicBezTo>
                          <a:pt x="192" y="21"/>
                          <a:pt x="192" y="21"/>
                          <a:pt x="192" y="21"/>
                        </a:cubicBezTo>
                        <a:cubicBezTo>
                          <a:pt x="191" y="21"/>
                          <a:pt x="191" y="21"/>
                          <a:pt x="191" y="21"/>
                        </a:cubicBezTo>
                        <a:cubicBezTo>
                          <a:pt x="191" y="21"/>
                          <a:pt x="191" y="21"/>
                          <a:pt x="191" y="21"/>
                        </a:cubicBezTo>
                        <a:cubicBezTo>
                          <a:pt x="190" y="21"/>
                          <a:pt x="190" y="21"/>
                          <a:pt x="190" y="21"/>
                        </a:cubicBezTo>
                        <a:cubicBezTo>
                          <a:pt x="190" y="21"/>
                          <a:pt x="189" y="21"/>
                          <a:pt x="190" y="21"/>
                        </a:cubicBezTo>
                        <a:cubicBezTo>
                          <a:pt x="190" y="21"/>
                          <a:pt x="189" y="21"/>
                          <a:pt x="189" y="21"/>
                        </a:cubicBezTo>
                        <a:cubicBezTo>
                          <a:pt x="189" y="21"/>
                          <a:pt x="189" y="21"/>
                          <a:pt x="188" y="21"/>
                        </a:cubicBezTo>
                        <a:cubicBezTo>
                          <a:pt x="188" y="21"/>
                          <a:pt x="188" y="21"/>
                          <a:pt x="188" y="21"/>
                        </a:cubicBezTo>
                        <a:cubicBezTo>
                          <a:pt x="188" y="21"/>
                          <a:pt x="188" y="21"/>
                          <a:pt x="187" y="21"/>
                        </a:cubicBezTo>
                        <a:cubicBezTo>
                          <a:pt x="187" y="21"/>
                          <a:pt x="187" y="21"/>
                          <a:pt x="188" y="21"/>
                        </a:cubicBezTo>
                        <a:cubicBezTo>
                          <a:pt x="188" y="21"/>
                          <a:pt x="187" y="21"/>
                          <a:pt x="187" y="21"/>
                        </a:cubicBezTo>
                        <a:cubicBezTo>
                          <a:pt x="187" y="21"/>
                          <a:pt x="187" y="21"/>
                          <a:pt x="187" y="21"/>
                        </a:cubicBezTo>
                        <a:cubicBezTo>
                          <a:pt x="187" y="21"/>
                          <a:pt x="186" y="21"/>
                          <a:pt x="186" y="21"/>
                        </a:cubicBezTo>
                        <a:cubicBezTo>
                          <a:pt x="186" y="21"/>
                          <a:pt x="186" y="21"/>
                          <a:pt x="186" y="21"/>
                        </a:cubicBezTo>
                        <a:cubicBezTo>
                          <a:pt x="187" y="21"/>
                          <a:pt x="187" y="21"/>
                          <a:pt x="187" y="21"/>
                        </a:cubicBezTo>
                        <a:cubicBezTo>
                          <a:pt x="187" y="21"/>
                          <a:pt x="188" y="20"/>
                          <a:pt x="188" y="21"/>
                        </a:cubicBezTo>
                        <a:cubicBezTo>
                          <a:pt x="189" y="21"/>
                          <a:pt x="188" y="20"/>
                          <a:pt x="188" y="20"/>
                        </a:cubicBezTo>
                        <a:cubicBezTo>
                          <a:pt x="189" y="20"/>
                          <a:pt x="190" y="20"/>
                          <a:pt x="190" y="20"/>
                        </a:cubicBezTo>
                        <a:cubicBezTo>
                          <a:pt x="190" y="20"/>
                          <a:pt x="190" y="20"/>
                          <a:pt x="190" y="20"/>
                        </a:cubicBezTo>
                        <a:cubicBezTo>
                          <a:pt x="190" y="20"/>
                          <a:pt x="188" y="20"/>
                          <a:pt x="188" y="21"/>
                        </a:cubicBezTo>
                        <a:cubicBezTo>
                          <a:pt x="187" y="21"/>
                          <a:pt x="188" y="20"/>
                          <a:pt x="188" y="20"/>
                        </a:cubicBezTo>
                        <a:cubicBezTo>
                          <a:pt x="188" y="20"/>
                          <a:pt x="188" y="20"/>
                          <a:pt x="188" y="20"/>
                        </a:cubicBezTo>
                        <a:cubicBezTo>
                          <a:pt x="188" y="20"/>
                          <a:pt x="188" y="20"/>
                          <a:pt x="188" y="20"/>
                        </a:cubicBezTo>
                        <a:cubicBezTo>
                          <a:pt x="188" y="20"/>
                          <a:pt x="188" y="20"/>
                          <a:pt x="188" y="20"/>
                        </a:cubicBezTo>
                        <a:cubicBezTo>
                          <a:pt x="187" y="20"/>
                          <a:pt x="187" y="20"/>
                          <a:pt x="187" y="20"/>
                        </a:cubicBezTo>
                        <a:cubicBezTo>
                          <a:pt x="187" y="20"/>
                          <a:pt x="187" y="20"/>
                          <a:pt x="187" y="20"/>
                        </a:cubicBezTo>
                        <a:cubicBezTo>
                          <a:pt x="187" y="21"/>
                          <a:pt x="187" y="20"/>
                          <a:pt x="187" y="21"/>
                        </a:cubicBezTo>
                        <a:cubicBezTo>
                          <a:pt x="187" y="20"/>
                          <a:pt x="187" y="21"/>
                          <a:pt x="186" y="21"/>
                        </a:cubicBezTo>
                        <a:cubicBezTo>
                          <a:pt x="186" y="20"/>
                          <a:pt x="187" y="20"/>
                          <a:pt x="187" y="20"/>
                        </a:cubicBezTo>
                        <a:cubicBezTo>
                          <a:pt x="187" y="20"/>
                          <a:pt x="187" y="20"/>
                          <a:pt x="186" y="20"/>
                        </a:cubicBezTo>
                        <a:cubicBezTo>
                          <a:pt x="186" y="20"/>
                          <a:pt x="186" y="20"/>
                          <a:pt x="186" y="20"/>
                        </a:cubicBezTo>
                        <a:cubicBezTo>
                          <a:pt x="186" y="20"/>
                          <a:pt x="185" y="21"/>
                          <a:pt x="185" y="21"/>
                        </a:cubicBezTo>
                        <a:cubicBezTo>
                          <a:pt x="185" y="20"/>
                          <a:pt x="184" y="20"/>
                          <a:pt x="183" y="20"/>
                        </a:cubicBezTo>
                        <a:cubicBezTo>
                          <a:pt x="183" y="20"/>
                          <a:pt x="183" y="20"/>
                          <a:pt x="183" y="20"/>
                        </a:cubicBezTo>
                        <a:cubicBezTo>
                          <a:pt x="183" y="20"/>
                          <a:pt x="183" y="20"/>
                          <a:pt x="184" y="20"/>
                        </a:cubicBezTo>
                        <a:cubicBezTo>
                          <a:pt x="184" y="21"/>
                          <a:pt x="184" y="20"/>
                          <a:pt x="184" y="21"/>
                        </a:cubicBezTo>
                        <a:cubicBezTo>
                          <a:pt x="184" y="21"/>
                          <a:pt x="183" y="21"/>
                          <a:pt x="183" y="21"/>
                        </a:cubicBezTo>
                        <a:cubicBezTo>
                          <a:pt x="183" y="21"/>
                          <a:pt x="183" y="21"/>
                          <a:pt x="183" y="21"/>
                        </a:cubicBezTo>
                        <a:cubicBezTo>
                          <a:pt x="183" y="21"/>
                          <a:pt x="183" y="21"/>
                          <a:pt x="183" y="21"/>
                        </a:cubicBezTo>
                        <a:cubicBezTo>
                          <a:pt x="183" y="21"/>
                          <a:pt x="182" y="21"/>
                          <a:pt x="182" y="21"/>
                        </a:cubicBezTo>
                        <a:cubicBezTo>
                          <a:pt x="182" y="21"/>
                          <a:pt x="182" y="21"/>
                          <a:pt x="182" y="21"/>
                        </a:cubicBezTo>
                        <a:cubicBezTo>
                          <a:pt x="182" y="21"/>
                          <a:pt x="182" y="21"/>
                          <a:pt x="182" y="21"/>
                        </a:cubicBezTo>
                        <a:cubicBezTo>
                          <a:pt x="182" y="20"/>
                          <a:pt x="182" y="20"/>
                          <a:pt x="183" y="20"/>
                        </a:cubicBezTo>
                        <a:cubicBezTo>
                          <a:pt x="183" y="20"/>
                          <a:pt x="182" y="21"/>
                          <a:pt x="181" y="20"/>
                        </a:cubicBezTo>
                        <a:cubicBezTo>
                          <a:pt x="181" y="21"/>
                          <a:pt x="181" y="21"/>
                          <a:pt x="181" y="21"/>
                        </a:cubicBezTo>
                        <a:cubicBezTo>
                          <a:pt x="181" y="21"/>
                          <a:pt x="181" y="21"/>
                          <a:pt x="181" y="21"/>
                        </a:cubicBezTo>
                        <a:cubicBezTo>
                          <a:pt x="181" y="21"/>
                          <a:pt x="181" y="21"/>
                          <a:pt x="180" y="21"/>
                        </a:cubicBezTo>
                        <a:cubicBezTo>
                          <a:pt x="181" y="21"/>
                          <a:pt x="181" y="21"/>
                          <a:pt x="181" y="21"/>
                        </a:cubicBezTo>
                        <a:cubicBezTo>
                          <a:pt x="181" y="21"/>
                          <a:pt x="180" y="21"/>
                          <a:pt x="180" y="21"/>
                        </a:cubicBezTo>
                        <a:cubicBezTo>
                          <a:pt x="180" y="21"/>
                          <a:pt x="180" y="21"/>
                          <a:pt x="180" y="21"/>
                        </a:cubicBezTo>
                        <a:cubicBezTo>
                          <a:pt x="180" y="21"/>
                          <a:pt x="180" y="21"/>
                          <a:pt x="180" y="21"/>
                        </a:cubicBezTo>
                        <a:cubicBezTo>
                          <a:pt x="180" y="21"/>
                          <a:pt x="179" y="21"/>
                          <a:pt x="179" y="21"/>
                        </a:cubicBezTo>
                        <a:cubicBezTo>
                          <a:pt x="179" y="21"/>
                          <a:pt x="179" y="21"/>
                          <a:pt x="179" y="21"/>
                        </a:cubicBezTo>
                        <a:cubicBezTo>
                          <a:pt x="179" y="22"/>
                          <a:pt x="180" y="21"/>
                          <a:pt x="181" y="21"/>
                        </a:cubicBezTo>
                        <a:cubicBezTo>
                          <a:pt x="181" y="22"/>
                          <a:pt x="180" y="22"/>
                          <a:pt x="180" y="22"/>
                        </a:cubicBezTo>
                        <a:cubicBezTo>
                          <a:pt x="181" y="22"/>
                          <a:pt x="181" y="22"/>
                          <a:pt x="182" y="22"/>
                        </a:cubicBezTo>
                        <a:cubicBezTo>
                          <a:pt x="182" y="22"/>
                          <a:pt x="181" y="22"/>
                          <a:pt x="181" y="22"/>
                        </a:cubicBezTo>
                        <a:cubicBezTo>
                          <a:pt x="181" y="22"/>
                          <a:pt x="182" y="22"/>
                          <a:pt x="182" y="22"/>
                        </a:cubicBezTo>
                        <a:cubicBezTo>
                          <a:pt x="182" y="22"/>
                          <a:pt x="181" y="22"/>
                          <a:pt x="181" y="22"/>
                        </a:cubicBezTo>
                        <a:cubicBezTo>
                          <a:pt x="181" y="22"/>
                          <a:pt x="181" y="22"/>
                          <a:pt x="181" y="22"/>
                        </a:cubicBezTo>
                        <a:cubicBezTo>
                          <a:pt x="181" y="22"/>
                          <a:pt x="181" y="22"/>
                          <a:pt x="180" y="22"/>
                        </a:cubicBezTo>
                        <a:cubicBezTo>
                          <a:pt x="180" y="22"/>
                          <a:pt x="180" y="22"/>
                          <a:pt x="180" y="22"/>
                        </a:cubicBezTo>
                        <a:cubicBezTo>
                          <a:pt x="180" y="22"/>
                          <a:pt x="180" y="22"/>
                          <a:pt x="180" y="22"/>
                        </a:cubicBezTo>
                        <a:cubicBezTo>
                          <a:pt x="180" y="22"/>
                          <a:pt x="180" y="22"/>
                          <a:pt x="180" y="22"/>
                        </a:cubicBezTo>
                        <a:cubicBezTo>
                          <a:pt x="180" y="22"/>
                          <a:pt x="179" y="22"/>
                          <a:pt x="179" y="22"/>
                        </a:cubicBezTo>
                        <a:cubicBezTo>
                          <a:pt x="179" y="22"/>
                          <a:pt x="180" y="22"/>
                          <a:pt x="180" y="22"/>
                        </a:cubicBezTo>
                        <a:cubicBezTo>
                          <a:pt x="179" y="22"/>
                          <a:pt x="179" y="22"/>
                          <a:pt x="179" y="23"/>
                        </a:cubicBezTo>
                        <a:cubicBezTo>
                          <a:pt x="179" y="22"/>
                          <a:pt x="178" y="22"/>
                          <a:pt x="179" y="22"/>
                        </a:cubicBezTo>
                        <a:cubicBezTo>
                          <a:pt x="178" y="22"/>
                          <a:pt x="178" y="23"/>
                          <a:pt x="177" y="23"/>
                        </a:cubicBezTo>
                        <a:cubicBezTo>
                          <a:pt x="177" y="23"/>
                          <a:pt x="176" y="23"/>
                          <a:pt x="177" y="23"/>
                        </a:cubicBezTo>
                        <a:cubicBezTo>
                          <a:pt x="175" y="23"/>
                          <a:pt x="175" y="23"/>
                          <a:pt x="174" y="23"/>
                        </a:cubicBezTo>
                        <a:cubicBezTo>
                          <a:pt x="174" y="23"/>
                          <a:pt x="174" y="23"/>
                          <a:pt x="174" y="23"/>
                        </a:cubicBezTo>
                        <a:cubicBezTo>
                          <a:pt x="174" y="23"/>
                          <a:pt x="174" y="23"/>
                          <a:pt x="174" y="23"/>
                        </a:cubicBezTo>
                        <a:cubicBezTo>
                          <a:pt x="174" y="23"/>
                          <a:pt x="174" y="23"/>
                          <a:pt x="174" y="23"/>
                        </a:cubicBezTo>
                        <a:cubicBezTo>
                          <a:pt x="174" y="23"/>
                          <a:pt x="174" y="24"/>
                          <a:pt x="173" y="24"/>
                        </a:cubicBezTo>
                        <a:cubicBezTo>
                          <a:pt x="173" y="24"/>
                          <a:pt x="173" y="24"/>
                          <a:pt x="173" y="24"/>
                        </a:cubicBezTo>
                        <a:cubicBezTo>
                          <a:pt x="173" y="24"/>
                          <a:pt x="173" y="24"/>
                          <a:pt x="172" y="24"/>
                        </a:cubicBezTo>
                        <a:cubicBezTo>
                          <a:pt x="172" y="24"/>
                          <a:pt x="172" y="24"/>
                          <a:pt x="172" y="23"/>
                        </a:cubicBezTo>
                        <a:cubicBezTo>
                          <a:pt x="172" y="23"/>
                          <a:pt x="172" y="24"/>
                          <a:pt x="172" y="24"/>
                        </a:cubicBezTo>
                        <a:cubicBezTo>
                          <a:pt x="172" y="24"/>
                          <a:pt x="171" y="24"/>
                          <a:pt x="171" y="24"/>
                        </a:cubicBezTo>
                        <a:cubicBezTo>
                          <a:pt x="171" y="24"/>
                          <a:pt x="171" y="24"/>
                          <a:pt x="171" y="24"/>
                        </a:cubicBezTo>
                        <a:cubicBezTo>
                          <a:pt x="171" y="24"/>
                          <a:pt x="170" y="24"/>
                          <a:pt x="170" y="24"/>
                        </a:cubicBezTo>
                        <a:cubicBezTo>
                          <a:pt x="170" y="24"/>
                          <a:pt x="171" y="24"/>
                          <a:pt x="171" y="23"/>
                        </a:cubicBezTo>
                        <a:cubicBezTo>
                          <a:pt x="171" y="23"/>
                          <a:pt x="171" y="24"/>
                          <a:pt x="171" y="24"/>
                        </a:cubicBezTo>
                        <a:cubicBezTo>
                          <a:pt x="171" y="24"/>
                          <a:pt x="172" y="23"/>
                          <a:pt x="172" y="23"/>
                        </a:cubicBezTo>
                        <a:cubicBezTo>
                          <a:pt x="172" y="23"/>
                          <a:pt x="172" y="23"/>
                          <a:pt x="173" y="23"/>
                        </a:cubicBezTo>
                        <a:cubicBezTo>
                          <a:pt x="173" y="23"/>
                          <a:pt x="173" y="23"/>
                          <a:pt x="173" y="23"/>
                        </a:cubicBezTo>
                        <a:cubicBezTo>
                          <a:pt x="173" y="23"/>
                          <a:pt x="173" y="23"/>
                          <a:pt x="173" y="23"/>
                        </a:cubicBezTo>
                        <a:cubicBezTo>
                          <a:pt x="173" y="23"/>
                          <a:pt x="174" y="23"/>
                          <a:pt x="174" y="23"/>
                        </a:cubicBezTo>
                        <a:cubicBezTo>
                          <a:pt x="174" y="23"/>
                          <a:pt x="175" y="23"/>
                          <a:pt x="174" y="23"/>
                        </a:cubicBezTo>
                        <a:cubicBezTo>
                          <a:pt x="174" y="22"/>
                          <a:pt x="175" y="23"/>
                          <a:pt x="175" y="23"/>
                        </a:cubicBezTo>
                        <a:cubicBezTo>
                          <a:pt x="175" y="23"/>
                          <a:pt x="175" y="23"/>
                          <a:pt x="174" y="23"/>
                        </a:cubicBezTo>
                        <a:cubicBezTo>
                          <a:pt x="175" y="23"/>
                          <a:pt x="175" y="23"/>
                          <a:pt x="175" y="23"/>
                        </a:cubicBezTo>
                        <a:cubicBezTo>
                          <a:pt x="175" y="23"/>
                          <a:pt x="175" y="23"/>
                          <a:pt x="175" y="22"/>
                        </a:cubicBezTo>
                        <a:cubicBezTo>
                          <a:pt x="175" y="22"/>
                          <a:pt x="175" y="22"/>
                          <a:pt x="175" y="22"/>
                        </a:cubicBezTo>
                        <a:cubicBezTo>
                          <a:pt x="176" y="22"/>
                          <a:pt x="176" y="23"/>
                          <a:pt x="177" y="22"/>
                        </a:cubicBezTo>
                        <a:cubicBezTo>
                          <a:pt x="177" y="22"/>
                          <a:pt x="177" y="22"/>
                          <a:pt x="177" y="22"/>
                        </a:cubicBezTo>
                        <a:cubicBezTo>
                          <a:pt x="177" y="22"/>
                          <a:pt x="177" y="22"/>
                          <a:pt x="176" y="22"/>
                        </a:cubicBezTo>
                        <a:cubicBezTo>
                          <a:pt x="176" y="22"/>
                          <a:pt x="176" y="22"/>
                          <a:pt x="176" y="22"/>
                        </a:cubicBezTo>
                        <a:cubicBezTo>
                          <a:pt x="177" y="22"/>
                          <a:pt x="177" y="22"/>
                          <a:pt x="178" y="22"/>
                        </a:cubicBezTo>
                        <a:cubicBezTo>
                          <a:pt x="178" y="22"/>
                          <a:pt x="178" y="22"/>
                          <a:pt x="178" y="22"/>
                        </a:cubicBezTo>
                        <a:cubicBezTo>
                          <a:pt x="178" y="22"/>
                          <a:pt x="178" y="22"/>
                          <a:pt x="179" y="22"/>
                        </a:cubicBezTo>
                        <a:cubicBezTo>
                          <a:pt x="179" y="22"/>
                          <a:pt x="179" y="22"/>
                          <a:pt x="180" y="22"/>
                        </a:cubicBezTo>
                        <a:cubicBezTo>
                          <a:pt x="179" y="22"/>
                          <a:pt x="179" y="22"/>
                          <a:pt x="179" y="22"/>
                        </a:cubicBezTo>
                        <a:cubicBezTo>
                          <a:pt x="179" y="22"/>
                          <a:pt x="179" y="22"/>
                          <a:pt x="179" y="22"/>
                        </a:cubicBezTo>
                        <a:cubicBezTo>
                          <a:pt x="179" y="22"/>
                          <a:pt x="178" y="21"/>
                          <a:pt x="178" y="22"/>
                        </a:cubicBezTo>
                        <a:cubicBezTo>
                          <a:pt x="178" y="22"/>
                          <a:pt x="179" y="21"/>
                          <a:pt x="179" y="21"/>
                        </a:cubicBezTo>
                        <a:cubicBezTo>
                          <a:pt x="179" y="21"/>
                          <a:pt x="179" y="21"/>
                          <a:pt x="178" y="21"/>
                        </a:cubicBezTo>
                        <a:cubicBezTo>
                          <a:pt x="178" y="21"/>
                          <a:pt x="178" y="21"/>
                          <a:pt x="178" y="22"/>
                        </a:cubicBezTo>
                        <a:cubicBezTo>
                          <a:pt x="177" y="21"/>
                          <a:pt x="178" y="21"/>
                          <a:pt x="178" y="21"/>
                        </a:cubicBezTo>
                        <a:cubicBezTo>
                          <a:pt x="178" y="21"/>
                          <a:pt x="177" y="21"/>
                          <a:pt x="177" y="21"/>
                        </a:cubicBezTo>
                        <a:cubicBezTo>
                          <a:pt x="177" y="21"/>
                          <a:pt x="177" y="21"/>
                          <a:pt x="177" y="21"/>
                        </a:cubicBezTo>
                        <a:cubicBezTo>
                          <a:pt x="177" y="21"/>
                          <a:pt x="178" y="21"/>
                          <a:pt x="178" y="21"/>
                        </a:cubicBezTo>
                        <a:cubicBezTo>
                          <a:pt x="179" y="21"/>
                          <a:pt x="178" y="21"/>
                          <a:pt x="178" y="21"/>
                        </a:cubicBezTo>
                        <a:cubicBezTo>
                          <a:pt x="179" y="20"/>
                          <a:pt x="179" y="20"/>
                          <a:pt x="180" y="20"/>
                        </a:cubicBezTo>
                        <a:cubicBezTo>
                          <a:pt x="180" y="20"/>
                          <a:pt x="180" y="21"/>
                          <a:pt x="180" y="20"/>
                        </a:cubicBezTo>
                        <a:cubicBezTo>
                          <a:pt x="180" y="20"/>
                          <a:pt x="181" y="20"/>
                          <a:pt x="181" y="20"/>
                        </a:cubicBezTo>
                        <a:cubicBezTo>
                          <a:pt x="181" y="20"/>
                          <a:pt x="182" y="20"/>
                          <a:pt x="182" y="20"/>
                        </a:cubicBezTo>
                        <a:cubicBezTo>
                          <a:pt x="182" y="20"/>
                          <a:pt x="182" y="20"/>
                          <a:pt x="182" y="20"/>
                        </a:cubicBezTo>
                        <a:cubicBezTo>
                          <a:pt x="182" y="20"/>
                          <a:pt x="183" y="20"/>
                          <a:pt x="183" y="20"/>
                        </a:cubicBezTo>
                        <a:cubicBezTo>
                          <a:pt x="183" y="20"/>
                          <a:pt x="183" y="20"/>
                          <a:pt x="183" y="20"/>
                        </a:cubicBezTo>
                        <a:cubicBezTo>
                          <a:pt x="183" y="20"/>
                          <a:pt x="183" y="20"/>
                          <a:pt x="183" y="20"/>
                        </a:cubicBezTo>
                        <a:cubicBezTo>
                          <a:pt x="183" y="20"/>
                          <a:pt x="183" y="20"/>
                          <a:pt x="183" y="20"/>
                        </a:cubicBezTo>
                        <a:cubicBezTo>
                          <a:pt x="183" y="20"/>
                          <a:pt x="183" y="20"/>
                          <a:pt x="183" y="20"/>
                        </a:cubicBezTo>
                        <a:cubicBezTo>
                          <a:pt x="183" y="20"/>
                          <a:pt x="183" y="20"/>
                          <a:pt x="183" y="20"/>
                        </a:cubicBezTo>
                        <a:cubicBezTo>
                          <a:pt x="183" y="20"/>
                          <a:pt x="183" y="20"/>
                          <a:pt x="183" y="20"/>
                        </a:cubicBezTo>
                        <a:cubicBezTo>
                          <a:pt x="183" y="20"/>
                          <a:pt x="184" y="20"/>
                          <a:pt x="184" y="20"/>
                        </a:cubicBezTo>
                        <a:cubicBezTo>
                          <a:pt x="184" y="20"/>
                          <a:pt x="184" y="20"/>
                          <a:pt x="185" y="20"/>
                        </a:cubicBezTo>
                        <a:cubicBezTo>
                          <a:pt x="184" y="20"/>
                          <a:pt x="185" y="20"/>
                          <a:pt x="185" y="20"/>
                        </a:cubicBezTo>
                        <a:cubicBezTo>
                          <a:pt x="185" y="20"/>
                          <a:pt x="185" y="19"/>
                          <a:pt x="184" y="20"/>
                        </a:cubicBezTo>
                        <a:cubicBezTo>
                          <a:pt x="184" y="20"/>
                          <a:pt x="185" y="20"/>
                          <a:pt x="185" y="19"/>
                        </a:cubicBezTo>
                        <a:cubicBezTo>
                          <a:pt x="185" y="20"/>
                          <a:pt x="185" y="20"/>
                          <a:pt x="185" y="20"/>
                        </a:cubicBezTo>
                        <a:cubicBezTo>
                          <a:pt x="185" y="19"/>
                          <a:pt x="185" y="19"/>
                          <a:pt x="186" y="19"/>
                        </a:cubicBezTo>
                        <a:cubicBezTo>
                          <a:pt x="186" y="19"/>
                          <a:pt x="186" y="19"/>
                          <a:pt x="186" y="19"/>
                        </a:cubicBezTo>
                        <a:cubicBezTo>
                          <a:pt x="186" y="19"/>
                          <a:pt x="185" y="19"/>
                          <a:pt x="185" y="19"/>
                        </a:cubicBezTo>
                        <a:cubicBezTo>
                          <a:pt x="185" y="19"/>
                          <a:pt x="187" y="19"/>
                          <a:pt x="187" y="19"/>
                        </a:cubicBezTo>
                        <a:cubicBezTo>
                          <a:pt x="187" y="19"/>
                          <a:pt x="187" y="19"/>
                          <a:pt x="187" y="18"/>
                        </a:cubicBezTo>
                        <a:cubicBezTo>
                          <a:pt x="188" y="18"/>
                          <a:pt x="188" y="19"/>
                          <a:pt x="188" y="19"/>
                        </a:cubicBezTo>
                        <a:cubicBezTo>
                          <a:pt x="188" y="18"/>
                          <a:pt x="189" y="18"/>
                          <a:pt x="189" y="18"/>
                        </a:cubicBezTo>
                        <a:cubicBezTo>
                          <a:pt x="189" y="18"/>
                          <a:pt x="189" y="18"/>
                          <a:pt x="189" y="18"/>
                        </a:cubicBezTo>
                        <a:cubicBezTo>
                          <a:pt x="190" y="18"/>
                          <a:pt x="190" y="18"/>
                          <a:pt x="190" y="18"/>
                        </a:cubicBezTo>
                        <a:cubicBezTo>
                          <a:pt x="190" y="18"/>
                          <a:pt x="190" y="18"/>
                          <a:pt x="190" y="18"/>
                        </a:cubicBezTo>
                        <a:cubicBezTo>
                          <a:pt x="190" y="18"/>
                          <a:pt x="190" y="18"/>
                          <a:pt x="190" y="18"/>
                        </a:cubicBezTo>
                        <a:cubicBezTo>
                          <a:pt x="190" y="18"/>
                          <a:pt x="190" y="18"/>
                          <a:pt x="190" y="18"/>
                        </a:cubicBezTo>
                        <a:cubicBezTo>
                          <a:pt x="190" y="18"/>
                          <a:pt x="191" y="18"/>
                          <a:pt x="191" y="18"/>
                        </a:cubicBezTo>
                        <a:cubicBezTo>
                          <a:pt x="191" y="18"/>
                          <a:pt x="191" y="18"/>
                          <a:pt x="192" y="18"/>
                        </a:cubicBezTo>
                        <a:cubicBezTo>
                          <a:pt x="192" y="18"/>
                          <a:pt x="190" y="18"/>
                          <a:pt x="191" y="18"/>
                        </a:cubicBezTo>
                        <a:cubicBezTo>
                          <a:pt x="191" y="18"/>
                          <a:pt x="191" y="18"/>
                          <a:pt x="191" y="18"/>
                        </a:cubicBezTo>
                        <a:cubicBezTo>
                          <a:pt x="191" y="18"/>
                          <a:pt x="192" y="18"/>
                          <a:pt x="193" y="18"/>
                        </a:cubicBezTo>
                        <a:cubicBezTo>
                          <a:pt x="193" y="18"/>
                          <a:pt x="193" y="18"/>
                          <a:pt x="193" y="18"/>
                        </a:cubicBezTo>
                        <a:cubicBezTo>
                          <a:pt x="193" y="18"/>
                          <a:pt x="193" y="18"/>
                          <a:pt x="193" y="18"/>
                        </a:cubicBezTo>
                        <a:cubicBezTo>
                          <a:pt x="192" y="18"/>
                          <a:pt x="192" y="18"/>
                          <a:pt x="192" y="18"/>
                        </a:cubicBezTo>
                        <a:cubicBezTo>
                          <a:pt x="192" y="18"/>
                          <a:pt x="192" y="18"/>
                          <a:pt x="192" y="18"/>
                        </a:cubicBezTo>
                        <a:cubicBezTo>
                          <a:pt x="192" y="18"/>
                          <a:pt x="192" y="18"/>
                          <a:pt x="192" y="18"/>
                        </a:cubicBezTo>
                        <a:cubicBezTo>
                          <a:pt x="192" y="18"/>
                          <a:pt x="192" y="18"/>
                          <a:pt x="193" y="17"/>
                        </a:cubicBezTo>
                        <a:cubicBezTo>
                          <a:pt x="193" y="17"/>
                          <a:pt x="193" y="18"/>
                          <a:pt x="193" y="18"/>
                        </a:cubicBezTo>
                        <a:cubicBezTo>
                          <a:pt x="193" y="18"/>
                          <a:pt x="193" y="18"/>
                          <a:pt x="193" y="18"/>
                        </a:cubicBezTo>
                        <a:cubicBezTo>
                          <a:pt x="193" y="17"/>
                          <a:pt x="193" y="18"/>
                          <a:pt x="193" y="17"/>
                        </a:cubicBezTo>
                        <a:cubicBezTo>
                          <a:pt x="193" y="17"/>
                          <a:pt x="193" y="17"/>
                          <a:pt x="193" y="17"/>
                        </a:cubicBezTo>
                        <a:cubicBezTo>
                          <a:pt x="193" y="17"/>
                          <a:pt x="193" y="17"/>
                          <a:pt x="193" y="17"/>
                        </a:cubicBezTo>
                        <a:cubicBezTo>
                          <a:pt x="193" y="17"/>
                          <a:pt x="193" y="17"/>
                          <a:pt x="193" y="17"/>
                        </a:cubicBezTo>
                        <a:cubicBezTo>
                          <a:pt x="193" y="17"/>
                          <a:pt x="193" y="17"/>
                          <a:pt x="193" y="16"/>
                        </a:cubicBezTo>
                        <a:cubicBezTo>
                          <a:pt x="194" y="16"/>
                          <a:pt x="194" y="16"/>
                          <a:pt x="194" y="17"/>
                        </a:cubicBezTo>
                        <a:cubicBezTo>
                          <a:pt x="194" y="16"/>
                          <a:pt x="194" y="16"/>
                          <a:pt x="194" y="16"/>
                        </a:cubicBezTo>
                        <a:cubicBezTo>
                          <a:pt x="194" y="16"/>
                          <a:pt x="194" y="16"/>
                          <a:pt x="194" y="16"/>
                        </a:cubicBezTo>
                        <a:cubicBezTo>
                          <a:pt x="194" y="16"/>
                          <a:pt x="194" y="16"/>
                          <a:pt x="194" y="16"/>
                        </a:cubicBezTo>
                        <a:cubicBezTo>
                          <a:pt x="194" y="16"/>
                          <a:pt x="194" y="16"/>
                          <a:pt x="194" y="16"/>
                        </a:cubicBezTo>
                        <a:cubicBezTo>
                          <a:pt x="194" y="16"/>
                          <a:pt x="194" y="16"/>
                          <a:pt x="194" y="16"/>
                        </a:cubicBezTo>
                        <a:cubicBezTo>
                          <a:pt x="194" y="16"/>
                          <a:pt x="194" y="16"/>
                          <a:pt x="194" y="16"/>
                        </a:cubicBezTo>
                        <a:cubicBezTo>
                          <a:pt x="194" y="16"/>
                          <a:pt x="194" y="16"/>
                          <a:pt x="195" y="16"/>
                        </a:cubicBezTo>
                        <a:cubicBezTo>
                          <a:pt x="195" y="16"/>
                          <a:pt x="195" y="16"/>
                          <a:pt x="195" y="16"/>
                        </a:cubicBezTo>
                        <a:cubicBezTo>
                          <a:pt x="195" y="16"/>
                          <a:pt x="194" y="16"/>
                          <a:pt x="193" y="16"/>
                        </a:cubicBezTo>
                        <a:cubicBezTo>
                          <a:pt x="193" y="16"/>
                          <a:pt x="194" y="16"/>
                          <a:pt x="194" y="16"/>
                        </a:cubicBezTo>
                        <a:cubicBezTo>
                          <a:pt x="194" y="15"/>
                          <a:pt x="194" y="16"/>
                          <a:pt x="194" y="15"/>
                        </a:cubicBezTo>
                        <a:cubicBezTo>
                          <a:pt x="195" y="15"/>
                          <a:pt x="195" y="15"/>
                          <a:pt x="195" y="15"/>
                        </a:cubicBezTo>
                        <a:cubicBezTo>
                          <a:pt x="195" y="15"/>
                          <a:pt x="195" y="15"/>
                          <a:pt x="194" y="15"/>
                        </a:cubicBezTo>
                        <a:cubicBezTo>
                          <a:pt x="195" y="16"/>
                          <a:pt x="195" y="15"/>
                          <a:pt x="195" y="15"/>
                        </a:cubicBezTo>
                        <a:cubicBezTo>
                          <a:pt x="196" y="15"/>
                          <a:pt x="196" y="15"/>
                          <a:pt x="196" y="15"/>
                        </a:cubicBezTo>
                        <a:cubicBezTo>
                          <a:pt x="195" y="15"/>
                          <a:pt x="195" y="16"/>
                          <a:pt x="196" y="16"/>
                        </a:cubicBezTo>
                        <a:cubicBezTo>
                          <a:pt x="195" y="16"/>
                          <a:pt x="195" y="16"/>
                          <a:pt x="195" y="16"/>
                        </a:cubicBezTo>
                        <a:cubicBezTo>
                          <a:pt x="195" y="16"/>
                          <a:pt x="195" y="16"/>
                          <a:pt x="195" y="16"/>
                        </a:cubicBezTo>
                        <a:cubicBezTo>
                          <a:pt x="195" y="16"/>
                          <a:pt x="195" y="16"/>
                          <a:pt x="194" y="16"/>
                        </a:cubicBezTo>
                        <a:cubicBezTo>
                          <a:pt x="195" y="17"/>
                          <a:pt x="195" y="16"/>
                          <a:pt x="195" y="16"/>
                        </a:cubicBezTo>
                        <a:cubicBezTo>
                          <a:pt x="195" y="16"/>
                          <a:pt x="195" y="16"/>
                          <a:pt x="195" y="16"/>
                        </a:cubicBezTo>
                        <a:cubicBezTo>
                          <a:pt x="196" y="16"/>
                          <a:pt x="196" y="16"/>
                          <a:pt x="196" y="16"/>
                        </a:cubicBezTo>
                        <a:cubicBezTo>
                          <a:pt x="196" y="16"/>
                          <a:pt x="196" y="16"/>
                          <a:pt x="196" y="16"/>
                        </a:cubicBezTo>
                        <a:cubicBezTo>
                          <a:pt x="196" y="16"/>
                          <a:pt x="196" y="16"/>
                          <a:pt x="196" y="16"/>
                        </a:cubicBezTo>
                        <a:cubicBezTo>
                          <a:pt x="196" y="16"/>
                          <a:pt x="196" y="16"/>
                          <a:pt x="196" y="16"/>
                        </a:cubicBezTo>
                        <a:cubicBezTo>
                          <a:pt x="197" y="16"/>
                          <a:pt x="196" y="16"/>
                          <a:pt x="196" y="16"/>
                        </a:cubicBezTo>
                        <a:cubicBezTo>
                          <a:pt x="197" y="16"/>
                          <a:pt x="197" y="16"/>
                          <a:pt x="197" y="16"/>
                        </a:cubicBezTo>
                        <a:cubicBezTo>
                          <a:pt x="198" y="16"/>
                          <a:pt x="197" y="15"/>
                          <a:pt x="197" y="15"/>
                        </a:cubicBezTo>
                        <a:cubicBezTo>
                          <a:pt x="198" y="15"/>
                          <a:pt x="197" y="16"/>
                          <a:pt x="198" y="16"/>
                        </a:cubicBezTo>
                        <a:cubicBezTo>
                          <a:pt x="198" y="16"/>
                          <a:pt x="197" y="16"/>
                          <a:pt x="197" y="16"/>
                        </a:cubicBezTo>
                        <a:cubicBezTo>
                          <a:pt x="197" y="16"/>
                          <a:pt x="197" y="16"/>
                          <a:pt x="197" y="16"/>
                        </a:cubicBezTo>
                        <a:cubicBezTo>
                          <a:pt x="197" y="16"/>
                          <a:pt x="198" y="15"/>
                          <a:pt x="198" y="16"/>
                        </a:cubicBezTo>
                        <a:cubicBezTo>
                          <a:pt x="198" y="16"/>
                          <a:pt x="198" y="15"/>
                          <a:pt x="198" y="15"/>
                        </a:cubicBezTo>
                        <a:cubicBezTo>
                          <a:pt x="199" y="15"/>
                          <a:pt x="198" y="15"/>
                          <a:pt x="198" y="15"/>
                        </a:cubicBezTo>
                        <a:cubicBezTo>
                          <a:pt x="198" y="15"/>
                          <a:pt x="198" y="15"/>
                          <a:pt x="197" y="15"/>
                        </a:cubicBezTo>
                        <a:cubicBezTo>
                          <a:pt x="197" y="15"/>
                          <a:pt x="197" y="15"/>
                          <a:pt x="197" y="16"/>
                        </a:cubicBezTo>
                        <a:cubicBezTo>
                          <a:pt x="197" y="15"/>
                          <a:pt x="197" y="16"/>
                          <a:pt x="196" y="15"/>
                        </a:cubicBezTo>
                        <a:cubicBezTo>
                          <a:pt x="196" y="15"/>
                          <a:pt x="197" y="15"/>
                          <a:pt x="197" y="15"/>
                        </a:cubicBezTo>
                        <a:cubicBezTo>
                          <a:pt x="197" y="15"/>
                          <a:pt x="197" y="15"/>
                          <a:pt x="196" y="15"/>
                        </a:cubicBezTo>
                        <a:cubicBezTo>
                          <a:pt x="196" y="15"/>
                          <a:pt x="196" y="15"/>
                          <a:pt x="196" y="15"/>
                        </a:cubicBezTo>
                        <a:cubicBezTo>
                          <a:pt x="196" y="15"/>
                          <a:pt x="196" y="15"/>
                          <a:pt x="197" y="15"/>
                        </a:cubicBezTo>
                        <a:cubicBezTo>
                          <a:pt x="197" y="15"/>
                          <a:pt x="197" y="15"/>
                          <a:pt x="197" y="15"/>
                        </a:cubicBezTo>
                        <a:cubicBezTo>
                          <a:pt x="197" y="15"/>
                          <a:pt x="197" y="15"/>
                          <a:pt x="197" y="15"/>
                        </a:cubicBezTo>
                        <a:cubicBezTo>
                          <a:pt x="196" y="15"/>
                          <a:pt x="196" y="15"/>
                          <a:pt x="196" y="15"/>
                        </a:cubicBezTo>
                        <a:cubicBezTo>
                          <a:pt x="196" y="15"/>
                          <a:pt x="196" y="15"/>
                          <a:pt x="195" y="15"/>
                        </a:cubicBezTo>
                        <a:cubicBezTo>
                          <a:pt x="195" y="15"/>
                          <a:pt x="195" y="15"/>
                          <a:pt x="195" y="15"/>
                        </a:cubicBezTo>
                        <a:cubicBezTo>
                          <a:pt x="195" y="15"/>
                          <a:pt x="195" y="15"/>
                          <a:pt x="195" y="15"/>
                        </a:cubicBezTo>
                        <a:cubicBezTo>
                          <a:pt x="196" y="15"/>
                          <a:pt x="196" y="14"/>
                          <a:pt x="196" y="14"/>
                        </a:cubicBezTo>
                        <a:cubicBezTo>
                          <a:pt x="196" y="14"/>
                          <a:pt x="196" y="14"/>
                          <a:pt x="195" y="14"/>
                        </a:cubicBezTo>
                        <a:cubicBezTo>
                          <a:pt x="195" y="14"/>
                          <a:pt x="196" y="14"/>
                          <a:pt x="196" y="14"/>
                        </a:cubicBezTo>
                        <a:cubicBezTo>
                          <a:pt x="195" y="14"/>
                          <a:pt x="195" y="14"/>
                          <a:pt x="195" y="14"/>
                        </a:cubicBezTo>
                        <a:cubicBezTo>
                          <a:pt x="195" y="14"/>
                          <a:pt x="196" y="14"/>
                          <a:pt x="195" y="14"/>
                        </a:cubicBezTo>
                        <a:cubicBezTo>
                          <a:pt x="194" y="15"/>
                          <a:pt x="194" y="15"/>
                          <a:pt x="194" y="15"/>
                        </a:cubicBezTo>
                        <a:cubicBezTo>
                          <a:pt x="194" y="15"/>
                          <a:pt x="195" y="15"/>
                          <a:pt x="195" y="15"/>
                        </a:cubicBezTo>
                        <a:cubicBezTo>
                          <a:pt x="195" y="15"/>
                          <a:pt x="195" y="15"/>
                          <a:pt x="195" y="15"/>
                        </a:cubicBezTo>
                        <a:cubicBezTo>
                          <a:pt x="194" y="15"/>
                          <a:pt x="194" y="15"/>
                          <a:pt x="193" y="15"/>
                        </a:cubicBezTo>
                        <a:cubicBezTo>
                          <a:pt x="193" y="15"/>
                          <a:pt x="193" y="16"/>
                          <a:pt x="193" y="16"/>
                        </a:cubicBezTo>
                        <a:cubicBezTo>
                          <a:pt x="193" y="16"/>
                          <a:pt x="193" y="16"/>
                          <a:pt x="193" y="16"/>
                        </a:cubicBezTo>
                        <a:cubicBezTo>
                          <a:pt x="192" y="16"/>
                          <a:pt x="193" y="16"/>
                          <a:pt x="193" y="16"/>
                        </a:cubicBezTo>
                        <a:cubicBezTo>
                          <a:pt x="193" y="16"/>
                          <a:pt x="193" y="16"/>
                          <a:pt x="193" y="16"/>
                        </a:cubicBezTo>
                        <a:cubicBezTo>
                          <a:pt x="193" y="16"/>
                          <a:pt x="193" y="16"/>
                          <a:pt x="192" y="16"/>
                        </a:cubicBezTo>
                        <a:cubicBezTo>
                          <a:pt x="192" y="16"/>
                          <a:pt x="192" y="16"/>
                          <a:pt x="192" y="16"/>
                        </a:cubicBezTo>
                        <a:cubicBezTo>
                          <a:pt x="192" y="16"/>
                          <a:pt x="192" y="16"/>
                          <a:pt x="192" y="16"/>
                        </a:cubicBezTo>
                        <a:cubicBezTo>
                          <a:pt x="192" y="16"/>
                          <a:pt x="192" y="16"/>
                          <a:pt x="191" y="16"/>
                        </a:cubicBezTo>
                        <a:cubicBezTo>
                          <a:pt x="192" y="16"/>
                          <a:pt x="191" y="16"/>
                          <a:pt x="190" y="16"/>
                        </a:cubicBezTo>
                        <a:cubicBezTo>
                          <a:pt x="191" y="16"/>
                          <a:pt x="191" y="16"/>
                          <a:pt x="191" y="16"/>
                        </a:cubicBezTo>
                        <a:cubicBezTo>
                          <a:pt x="191" y="16"/>
                          <a:pt x="191" y="16"/>
                          <a:pt x="191" y="16"/>
                        </a:cubicBezTo>
                        <a:cubicBezTo>
                          <a:pt x="190" y="16"/>
                          <a:pt x="190" y="16"/>
                          <a:pt x="190" y="16"/>
                        </a:cubicBezTo>
                        <a:cubicBezTo>
                          <a:pt x="190" y="16"/>
                          <a:pt x="189" y="16"/>
                          <a:pt x="189" y="17"/>
                        </a:cubicBezTo>
                        <a:cubicBezTo>
                          <a:pt x="189" y="16"/>
                          <a:pt x="189" y="16"/>
                          <a:pt x="189" y="16"/>
                        </a:cubicBezTo>
                        <a:cubicBezTo>
                          <a:pt x="188" y="17"/>
                          <a:pt x="188" y="17"/>
                          <a:pt x="187" y="17"/>
                        </a:cubicBezTo>
                        <a:cubicBezTo>
                          <a:pt x="187" y="17"/>
                          <a:pt x="187" y="17"/>
                          <a:pt x="188" y="17"/>
                        </a:cubicBezTo>
                        <a:cubicBezTo>
                          <a:pt x="188" y="17"/>
                          <a:pt x="187" y="17"/>
                          <a:pt x="187" y="17"/>
                        </a:cubicBezTo>
                        <a:cubicBezTo>
                          <a:pt x="188" y="17"/>
                          <a:pt x="188" y="17"/>
                          <a:pt x="188" y="17"/>
                        </a:cubicBezTo>
                        <a:cubicBezTo>
                          <a:pt x="188" y="17"/>
                          <a:pt x="187" y="17"/>
                          <a:pt x="187" y="17"/>
                        </a:cubicBezTo>
                        <a:cubicBezTo>
                          <a:pt x="187" y="17"/>
                          <a:pt x="187" y="17"/>
                          <a:pt x="187" y="17"/>
                        </a:cubicBezTo>
                        <a:cubicBezTo>
                          <a:pt x="187" y="17"/>
                          <a:pt x="187" y="17"/>
                          <a:pt x="187" y="17"/>
                        </a:cubicBezTo>
                        <a:cubicBezTo>
                          <a:pt x="186" y="17"/>
                          <a:pt x="187" y="17"/>
                          <a:pt x="186" y="17"/>
                        </a:cubicBezTo>
                        <a:cubicBezTo>
                          <a:pt x="186" y="17"/>
                          <a:pt x="186" y="17"/>
                          <a:pt x="187" y="17"/>
                        </a:cubicBezTo>
                        <a:cubicBezTo>
                          <a:pt x="186" y="17"/>
                          <a:pt x="186" y="17"/>
                          <a:pt x="185" y="18"/>
                        </a:cubicBezTo>
                        <a:cubicBezTo>
                          <a:pt x="185" y="17"/>
                          <a:pt x="186" y="17"/>
                          <a:pt x="186" y="17"/>
                        </a:cubicBezTo>
                        <a:cubicBezTo>
                          <a:pt x="186" y="17"/>
                          <a:pt x="185" y="17"/>
                          <a:pt x="185" y="17"/>
                        </a:cubicBezTo>
                        <a:cubicBezTo>
                          <a:pt x="185" y="17"/>
                          <a:pt x="185" y="17"/>
                          <a:pt x="185" y="17"/>
                        </a:cubicBezTo>
                        <a:cubicBezTo>
                          <a:pt x="184" y="17"/>
                          <a:pt x="185" y="17"/>
                          <a:pt x="185" y="17"/>
                        </a:cubicBezTo>
                        <a:cubicBezTo>
                          <a:pt x="184" y="17"/>
                          <a:pt x="184" y="18"/>
                          <a:pt x="183" y="17"/>
                        </a:cubicBezTo>
                        <a:cubicBezTo>
                          <a:pt x="183" y="18"/>
                          <a:pt x="182" y="18"/>
                          <a:pt x="183" y="18"/>
                        </a:cubicBezTo>
                        <a:cubicBezTo>
                          <a:pt x="182" y="18"/>
                          <a:pt x="182" y="18"/>
                          <a:pt x="182" y="18"/>
                        </a:cubicBezTo>
                        <a:cubicBezTo>
                          <a:pt x="182" y="17"/>
                          <a:pt x="181" y="18"/>
                          <a:pt x="181" y="18"/>
                        </a:cubicBezTo>
                        <a:cubicBezTo>
                          <a:pt x="181" y="18"/>
                          <a:pt x="181" y="18"/>
                          <a:pt x="181" y="17"/>
                        </a:cubicBezTo>
                        <a:cubicBezTo>
                          <a:pt x="183" y="17"/>
                          <a:pt x="186" y="16"/>
                          <a:pt x="187" y="16"/>
                        </a:cubicBezTo>
                        <a:cubicBezTo>
                          <a:pt x="187" y="16"/>
                          <a:pt x="187" y="16"/>
                          <a:pt x="187" y="16"/>
                        </a:cubicBezTo>
                        <a:cubicBezTo>
                          <a:pt x="187" y="16"/>
                          <a:pt x="187" y="17"/>
                          <a:pt x="187" y="16"/>
                        </a:cubicBezTo>
                        <a:cubicBezTo>
                          <a:pt x="187" y="16"/>
                          <a:pt x="188" y="16"/>
                          <a:pt x="188" y="16"/>
                        </a:cubicBezTo>
                        <a:cubicBezTo>
                          <a:pt x="188" y="16"/>
                          <a:pt x="188" y="16"/>
                          <a:pt x="189" y="16"/>
                        </a:cubicBezTo>
                        <a:cubicBezTo>
                          <a:pt x="189" y="16"/>
                          <a:pt x="189" y="16"/>
                          <a:pt x="189" y="16"/>
                        </a:cubicBezTo>
                        <a:cubicBezTo>
                          <a:pt x="189" y="16"/>
                          <a:pt x="189" y="16"/>
                          <a:pt x="189" y="16"/>
                        </a:cubicBezTo>
                        <a:cubicBezTo>
                          <a:pt x="189" y="16"/>
                          <a:pt x="189" y="16"/>
                          <a:pt x="189" y="16"/>
                        </a:cubicBezTo>
                        <a:cubicBezTo>
                          <a:pt x="189" y="16"/>
                          <a:pt x="189" y="16"/>
                          <a:pt x="190" y="16"/>
                        </a:cubicBezTo>
                        <a:cubicBezTo>
                          <a:pt x="190" y="16"/>
                          <a:pt x="190" y="15"/>
                          <a:pt x="190" y="16"/>
                        </a:cubicBezTo>
                        <a:cubicBezTo>
                          <a:pt x="190" y="16"/>
                          <a:pt x="190" y="16"/>
                          <a:pt x="190" y="16"/>
                        </a:cubicBezTo>
                        <a:cubicBezTo>
                          <a:pt x="190" y="16"/>
                          <a:pt x="191" y="15"/>
                          <a:pt x="191" y="15"/>
                        </a:cubicBez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1" y="15"/>
                          <a:pt x="192" y="15"/>
                          <a:pt x="192" y="15"/>
                        </a:cubicBezTo>
                        <a:cubicBezTo>
                          <a:pt x="192" y="15"/>
                          <a:pt x="192" y="15"/>
                          <a:pt x="192" y="15"/>
                        </a:cubicBezTo>
                        <a:cubicBezTo>
                          <a:pt x="192" y="15"/>
                          <a:pt x="192" y="15"/>
                          <a:pt x="193" y="15"/>
                        </a:cubicBezTo>
                        <a:cubicBezTo>
                          <a:pt x="192" y="15"/>
                          <a:pt x="192" y="15"/>
                          <a:pt x="192" y="15"/>
                        </a:cubicBezTo>
                        <a:cubicBezTo>
                          <a:pt x="193" y="15"/>
                          <a:pt x="194" y="14"/>
                          <a:pt x="194" y="15"/>
                        </a:cubicBezTo>
                        <a:cubicBezTo>
                          <a:pt x="194" y="14"/>
                          <a:pt x="193" y="14"/>
                          <a:pt x="193" y="15"/>
                        </a:cubicBezTo>
                        <a:cubicBezTo>
                          <a:pt x="193" y="14"/>
                          <a:pt x="193" y="14"/>
                          <a:pt x="193" y="14"/>
                        </a:cubicBezTo>
                        <a:cubicBezTo>
                          <a:pt x="194" y="14"/>
                          <a:pt x="194" y="14"/>
                          <a:pt x="194" y="14"/>
                        </a:cubicBezTo>
                        <a:cubicBezTo>
                          <a:pt x="194" y="14"/>
                          <a:pt x="194" y="14"/>
                          <a:pt x="194" y="14"/>
                        </a:cubicBezTo>
                        <a:cubicBezTo>
                          <a:pt x="195" y="13"/>
                          <a:pt x="193" y="14"/>
                          <a:pt x="193" y="13"/>
                        </a:cubicBezTo>
                        <a:cubicBezTo>
                          <a:pt x="193" y="14"/>
                          <a:pt x="193" y="14"/>
                          <a:pt x="192" y="14"/>
                        </a:cubicBezTo>
                        <a:cubicBezTo>
                          <a:pt x="192" y="14"/>
                          <a:pt x="192" y="14"/>
                          <a:pt x="192" y="14"/>
                        </a:cubicBezTo>
                        <a:cubicBezTo>
                          <a:pt x="192" y="14"/>
                          <a:pt x="192" y="14"/>
                          <a:pt x="191" y="14"/>
                        </a:cubicBezTo>
                        <a:cubicBezTo>
                          <a:pt x="192" y="13"/>
                          <a:pt x="193" y="14"/>
                          <a:pt x="193" y="13"/>
                        </a:cubicBezTo>
                        <a:cubicBezTo>
                          <a:pt x="193" y="13"/>
                          <a:pt x="194" y="13"/>
                          <a:pt x="194" y="13"/>
                        </a:cubicBezTo>
                        <a:cubicBezTo>
                          <a:pt x="194" y="13"/>
                          <a:pt x="194" y="13"/>
                          <a:pt x="194" y="13"/>
                        </a:cubicBezTo>
                        <a:cubicBezTo>
                          <a:pt x="194" y="13"/>
                          <a:pt x="194" y="13"/>
                          <a:pt x="195" y="13"/>
                        </a:cubicBezTo>
                        <a:cubicBezTo>
                          <a:pt x="195" y="13"/>
                          <a:pt x="195" y="13"/>
                          <a:pt x="195" y="13"/>
                        </a:cubicBezTo>
                        <a:cubicBezTo>
                          <a:pt x="195" y="13"/>
                          <a:pt x="195" y="13"/>
                          <a:pt x="195" y="13"/>
                        </a:cubicBezTo>
                        <a:cubicBezTo>
                          <a:pt x="195" y="13"/>
                          <a:pt x="195" y="12"/>
                          <a:pt x="195" y="12"/>
                        </a:cubicBezTo>
                        <a:cubicBezTo>
                          <a:pt x="196" y="12"/>
                          <a:pt x="196" y="13"/>
                          <a:pt x="196" y="12"/>
                        </a:cubicBezTo>
                        <a:cubicBezTo>
                          <a:pt x="196" y="12"/>
                          <a:pt x="196" y="12"/>
                          <a:pt x="196" y="12"/>
                        </a:cubicBezTo>
                        <a:cubicBezTo>
                          <a:pt x="196" y="12"/>
                          <a:pt x="196" y="12"/>
                          <a:pt x="197" y="12"/>
                        </a:cubicBezTo>
                        <a:cubicBezTo>
                          <a:pt x="197" y="12"/>
                          <a:pt x="196" y="12"/>
                          <a:pt x="196" y="12"/>
                        </a:cubicBezTo>
                        <a:cubicBezTo>
                          <a:pt x="197" y="12"/>
                          <a:pt x="197" y="12"/>
                          <a:pt x="197" y="12"/>
                        </a:cubicBezTo>
                        <a:cubicBezTo>
                          <a:pt x="197" y="12"/>
                          <a:pt x="197" y="12"/>
                          <a:pt x="197" y="12"/>
                        </a:cubicBezTo>
                        <a:cubicBezTo>
                          <a:pt x="197" y="12"/>
                          <a:pt x="196" y="12"/>
                          <a:pt x="195" y="12"/>
                        </a:cubicBezTo>
                        <a:cubicBezTo>
                          <a:pt x="195" y="12"/>
                          <a:pt x="195" y="12"/>
                          <a:pt x="195" y="13"/>
                        </a:cubicBezTo>
                        <a:cubicBezTo>
                          <a:pt x="195" y="13"/>
                          <a:pt x="195" y="13"/>
                          <a:pt x="195" y="13"/>
                        </a:cubicBezTo>
                        <a:cubicBezTo>
                          <a:pt x="195" y="13"/>
                          <a:pt x="195" y="13"/>
                          <a:pt x="195" y="13"/>
                        </a:cubicBezTo>
                        <a:cubicBezTo>
                          <a:pt x="195" y="13"/>
                          <a:pt x="195" y="13"/>
                          <a:pt x="195" y="13"/>
                        </a:cubicBezTo>
                        <a:cubicBezTo>
                          <a:pt x="194" y="13"/>
                          <a:pt x="194" y="13"/>
                          <a:pt x="194" y="13"/>
                        </a:cubicBezTo>
                        <a:cubicBezTo>
                          <a:pt x="194" y="13"/>
                          <a:pt x="194" y="13"/>
                          <a:pt x="194" y="13"/>
                        </a:cubicBezTo>
                        <a:cubicBezTo>
                          <a:pt x="194" y="13"/>
                          <a:pt x="194" y="13"/>
                          <a:pt x="195" y="12"/>
                        </a:cubicBezTo>
                        <a:cubicBezTo>
                          <a:pt x="195" y="12"/>
                          <a:pt x="194" y="13"/>
                          <a:pt x="194" y="12"/>
                        </a:cubicBezTo>
                        <a:cubicBezTo>
                          <a:pt x="194" y="12"/>
                          <a:pt x="193" y="13"/>
                          <a:pt x="193" y="13"/>
                        </a:cubicBezTo>
                        <a:cubicBezTo>
                          <a:pt x="193" y="12"/>
                          <a:pt x="194" y="12"/>
                          <a:pt x="194" y="12"/>
                        </a:cubicBezTo>
                        <a:cubicBezTo>
                          <a:pt x="194" y="12"/>
                          <a:pt x="194" y="12"/>
                          <a:pt x="194" y="12"/>
                        </a:cubicBezTo>
                        <a:cubicBezTo>
                          <a:pt x="194" y="12"/>
                          <a:pt x="194" y="12"/>
                          <a:pt x="194" y="12"/>
                        </a:cubicBezTo>
                        <a:cubicBezTo>
                          <a:pt x="195" y="12"/>
                          <a:pt x="195" y="12"/>
                          <a:pt x="195" y="12"/>
                        </a:cubicBezTo>
                        <a:cubicBezTo>
                          <a:pt x="195" y="12"/>
                          <a:pt x="195" y="12"/>
                          <a:pt x="195" y="12"/>
                        </a:cubicBezTo>
                        <a:cubicBezTo>
                          <a:pt x="195" y="12"/>
                          <a:pt x="196" y="12"/>
                          <a:pt x="196" y="12"/>
                        </a:cubicBezTo>
                        <a:cubicBezTo>
                          <a:pt x="196" y="11"/>
                          <a:pt x="196" y="11"/>
                          <a:pt x="196" y="11"/>
                        </a:cubicBezTo>
                        <a:cubicBezTo>
                          <a:pt x="196" y="11"/>
                          <a:pt x="196" y="11"/>
                          <a:pt x="196" y="11"/>
                        </a:cubicBezTo>
                        <a:cubicBezTo>
                          <a:pt x="196" y="11"/>
                          <a:pt x="197" y="11"/>
                          <a:pt x="196" y="11"/>
                        </a:cubicBezTo>
                        <a:cubicBezTo>
                          <a:pt x="196" y="11"/>
                          <a:pt x="196" y="11"/>
                          <a:pt x="197" y="11"/>
                        </a:cubicBezTo>
                        <a:cubicBezTo>
                          <a:pt x="196" y="11"/>
                          <a:pt x="196" y="12"/>
                          <a:pt x="197" y="11"/>
                        </a:cubicBezTo>
                        <a:cubicBezTo>
                          <a:pt x="197" y="11"/>
                          <a:pt x="197" y="11"/>
                          <a:pt x="197" y="11"/>
                        </a:cubicBezTo>
                        <a:cubicBezTo>
                          <a:pt x="197" y="11"/>
                          <a:pt x="197" y="11"/>
                          <a:pt x="197" y="11"/>
                        </a:cubicBezTo>
                        <a:cubicBezTo>
                          <a:pt x="197" y="11"/>
                          <a:pt x="197" y="11"/>
                          <a:pt x="197" y="11"/>
                        </a:cubicBezTo>
                        <a:cubicBezTo>
                          <a:pt x="198" y="11"/>
                          <a:pt x="198" y="11"/>
                          <a:pt x="198" y="11"/>
                        </a:cubicBezTo>
                        <a:cubicBezTo>
                          <a:pt x="198" y="11"/>
                          <a:pt x="198" y="11"/>
                          <a:pt x="197" y="11"/>
                        </a:cubicBezTo>
                        <a:cubicBezTo>
                          <a:pt x="197" y="11"/>
                          <a:pt x="198" y="11"/>
                          <a:pt x="198" y="11"/>
                        </a:cubicBezTo>
                        <a:cubicBezTo>
                          <a:pt x="198" y="11"/>
                          <a:pt x="199" y="11"/>
                          <a:pt x="199" y="11"/>
                        </a:cubicBezTo>
                        <a:cubicBezTo>
                          <a:pt x="199" y="10"/>
                          <a:pt x="198" y="11"/>
                          <a:pt x="199" y="10"/>
                        </a:cubicBezTo>
                        <a:cubicBezTo>
                          <a:pt x="199" y="10"/>
                          <a:pt x="199" y="10"/>
                          <a:pt x="199" y="10"/>
                        </a:cubicBezTo>
                        <a:cubicBezTo>
                          <a:pt x="199" y="10"/>
                          <a:pt x="199" y="10"/>
                          <a:pt x="200" y="10"/>
                        </a:cubicBezTo>
                        <a:cubicBezTo>
                          <a:pt x="200" y="10"/>
                          <a:pt x="200" y="10"/>
                          <a:pt x="201" y="10"/>
                        </a:cubicBezTo>
                        <a:cubicBezTo>
                          <a:pt x="201" y="10"/>
                          <a:pt x="200" y="10"/>
                          <a:pt x="200" y="10"/>
                        </a:cubicBezTo>
                        <a:cubicBezTo>
                          <a:pt x="200" y="10"/>
                          <a:pt x="200" y="10"/>
                          <a:pt x="200" y="10"/>
                        </a:cubicBezTo>
                        <a:cubicBezTo>
                          <a:pt x="200" y="10"/>
                          <a:pt x="200" y="10"/>
                          <a:pt x="200" y="11"/>
                        </a:cubicBezTo>
                        <a:cubicBezTo>
                          <a:pt x="200" y="11"/>
                          <a:pt x="200" y="10"/>
                          <a:pt x="200" y="10"/>
                        </a:cubicBezTo>
                        <a:cubicBezTo>
                          <a:pt x="200" y="10"/>
                          <a:pt x="200" y="10"/>
                          <a:pt x="200" y="10"/>
                        </a:cubicBezTo>
                        <a:cubicBezTo>
                          <a:pt x="201" y="10"/>
                          <a:pt x="200" y="10"/>
                          <a:pt x="201" y="10"/>
                        </a:cubicBezTo>
                        <a:cubicBezTo>
                          <a:pt x="201" y="10"/>
                          <a:pt x="201" y="10"/>
                          <a:pt x="202" y="10"/>
                        </a:cubicBezTo>
                        <a:cubicBezTo>
                          <a:pt x="201" y="10"/>
                          <a:pt x="201" y="10"/>
                          <a:pt x="201" y="10"/>
                        </a:cubicBezTo>
                        <a:cubicBezTo>
                          <a:pt x="201" y="10"/>
                          <a:pt x="201" y="10"/>
                          <a:pt x="202" y="9"/>
                        </a:cubicBezTo>
                        <a:cubicBezTo>
                          <a:pt x="202" y="10"/>
                          <a:pt x="202" y="10"/>
                          <a:pt x="202" y="10"/>
                        </a:cubicBezTo>
                        <a:cubicBezTo>
                          <a:pt x="202" y="10"/>
                          <a:pt x="203" y="10"/>
                          <a:pt x="202" y="9"/>
                        </a:cubicBezTo>
                        <a:cubicBezTo>
                          <a:pt x="203" y="9"/>
                          <a:pt x="203" y="9"/>
                          <a:pt x="204" y="9"/>
                        </a:cubicBezTo>
                        <a:cubicBezTo>
                          <a:pt x="204" y="9"/>
                          <a:pt x="203" y="9"/>
                          <a:pt x="204" y="9"/>
                        </a:cubicBezTo>
                        <a:cubicBezTo>
                          <a:pt x="204" y="9"/>
                          <a:pt x="205" y="9"/>
                          <a:pt x="205" y="9"/>
                        </a:cubicBezTo>
                        <a:cubicBezTo>
                          <a:pt x="205" y="9"/>
                          <a:pt x="205" y="9"/>
                          <a:pt x="205" y="8"/>
                        </a:cubicBezTo>
                        <a:cubicBezTo>
                          <a:pt x="205" y="8"/>
                          <a:pt x="205" y="8"/>
                          <a:pt x="205" y="8"/>
                        </a:cubicBezTo>
                        <a:cubicBezTo>
                          <a:pt x="205" y="8"/>
                          <a:pt x="205" y="8"/>
                          <a:pt x="205" y="8"/>
                        </a:cubicBezTo>
                        <a:cubicBezTo>
                          <a:pt x="205" y="8"/>
                          <a:pt x="205" y="8"/>
                          <a:pt x="205" y="8"/>
                        </a:cubicBezTo>
                        <a:cubicBezTo>
                          <a:pt x="206" y="8"/>
                          <a:pt x="206" y="8"/>
                          <a:pt x="206" y="8"/>
                        </a:cubicBezTo>
                        <a:cubicBezTo>
                          <a:pt x="206" y="8"/>
                          <a:pt x="206" y="8"/>
                          <a:pt x="206" y="7"/>
                        </a:cubicBezTo>
                        <a:cubicBezTo>
                          <a:pt x="206" y="8"/>
                          <a:pt x="206" y="8"/>
                          <a:pt x="205" y="8"/>
                        </a:cubicBezTo>
                        <a:cubicBezTo>
                          <a:pt x="205" y="8"/>
                          <a:pt x="206" y="8"/>
                          <a:pt x="206" y="8"/>
                        </a:cubicBezTo>
                        <a:cubicBezTo>
                          <a:pt x="205" y="8"/>
                          <a:pt x="205" y="8"/>
                          <a:pt x="205" y="8"/>
                        </a:cubicBezTo>
                        <a:cubicBezTo>
                          <a:pt x="205" y="8"/>
                          <a:pt x="205" y="8"/>
                          <a:pt x="205" y="8"/>
                        </a:cubicBezTo>
                        <a:cubicBezTo>
                          <a:pt x="204" y="8"/>
                          <a:pt x="205" y="8"/>
                          <a:pt x="205" y="8"/>
                        </a:cubicBezTo>
                        <a:cubicBezTo>
                          <a:pt x="204" y="8"/>
                          <a:pt x="204" y="8"/>
                          <a:pt x="204" y="8"/>
                        </a:cubicBezTo>
                        <a:cubicBezTo>
                          <a:pt x="203" y="8"/>
                          <a:pt x="203" y="8"/>
                          <a:pt x="203" y="8"/>
                        </a:cubicBezTo>
                        <a:cubicBezTo>
                          <a:pt x="203" y="8"/>
                          <a:pt x="203" y="8"/>
                          <a:pt x="203" y="8"/>
                        </a:cubicBezTo>
                        <a:cubicBezTo>
                          <a:pt x="203" y="8"/>
                          <a:pt x="203" y="8"/>
                          <a:pt x="204" y="8"/>
                        </a:cubicBezTo>
                        <a:cubicBezTo>
                          <a:pt x="204" y="8"/>
                          <a:pt x="203" y="8"/>
                          <a:pt x="203" y="8"/>
                        </a:cubicBezTo>
                        <a:cubicBezTo>
                          <a:pt x="203" y="8"/>
                          <a:pt x="204" y="7"/>
                          <a:pt x="204" y="7"/>
                        </a:cubicBezTo>
                        <a:cubicBezTo>
                          <a:pt x="204" y="8"/>
                          <a:pt x="204" y="7"/>
                          <a:pt x="204" y="8"/>
                        </a:cubicBezTo>
                        <a:cubicBezTo>
                          <a:pt x="204" y="8"/>
                          <a:pt x="204" y="7"/>
                          <a:pt x="204" y="7"/>
                        </a:cubicBezTo>
                        <a:cubicBezTo>
                          <a:pt x="204" y="7"/>
                          <a:pt x="204" y="7"/>
                          <a:pt x="204" y="8"/>
                        </a:cubicBezTo>
                        <a:cubicBezTo>
                          <a:pt x="204" y="8"/>
                          <a:pt x="204" y="7"/>
                          <a:pt x="205" y="7"/>
                        </a:cubicBezTo>
                        <a:cubicBezTo>
                          <a:pt x="204" y="7"/>
                          <a:pt x="204" y="7"/>
                          <a:pt x="204" y="7"/>
                        </a:cubicBezTo>
                        <a:cubicBezTo>
                          <a:pt x="205" y="7"/>
                          <a:pt x="205" y="7"/>
                          <a:pt x="205" y="7"/>
                        </a:cubicBezTo>
                        <a:cubicBezTo>
                          <a:pt x="205" y="7"/>
                          <a:pt x="206" y="7"/>
                          <a:pt x="207" y="7"/>
                        </a:cubicBezTo>
                        <a:cubicBezTo>
                          <a:pt x="207" y="7"/>
                          <a:pt x="206" y="7"/>
                          <a:pt x="207" y="7"/>
                        </a:cubicBezTo>
                        <a:cubicBezTo>
                          <a:pt x="207" y="7"/>
                          <a:pt x="207" y="7"/>
                          <a:pt x="207" y="7"/>
                        </a:cubicBezTo>
                        <a:cubicBezTo>
                          <a:pt x="207" y="6"/>
                          <a:pt x="207" y="7"/>
                          <a:pt x="207" y="7"/>
                        </a:cubicBezTo>
                        <a:cubicBezTo>
                          <a:pt x="207" y="7"/>
                          <a:pt x="207" y="6"/>
                          <a:pt x="208" y="6"/>
                        </a:cubicBezTo>
                        <a:cubicBezTo>
                          <a:pt x="207" y="6"/>
                          <a:pt x="207" y="7"/>
                          <a:pt x="207" y="6"/>
                        </a:cubicBezTo>
                        <a:cubicBezTo>
                          <a:pt x="207" y="6"/>
                          <a:pt x="208" y="6"/>
                          <a:pt x="208" y="6"/>
                        </a:cubicBezTo>
                        <a:cubicBezTo>
                          <a:pt x="208" y="6"/>
                          <a:pt x="208" y="6"/>
                          <a:pt x="208" y="6"/>
                        </a:cubicBezTo>
                        <a:cubicBezTo>
                          <a:pt x="208" y="6"/>
                          <a:pt x="208" y="6"/>
                          <a:pt x="209" y="6"/>
                        </a:cubicBezTo>
                        <a:cubicBezTo>
                          <a:pt x="209" y="6"/>
                          <a:pt x="209" y="6"/>
                          <a:pt x="209" y="6"/>
                        </a:cubicBezTo>
                        <a:cubicBezTo>
                          <a:pt x="209" y="6"/>
                          <a:pt x="209" y="6"/>
                          <a:pt x="209" y="6"/>
                        </a:cubicBezTo>
                        <a:cubicBezTo>
                          <a:pt x="210" y="5"/>
                          <a:pt x="210" y="5"/>
                          <a:pt x="211" y="5"/>
                        </a:cubicBezTo>
                        <a:cubicBezTo>
                          <a:pt x="211" y="5"/>
                          <a:pt x="211" y="5"/>
                          <a:pt x="211" y="5"/>
                        </a:cubicBezTo>
                        <a:cubicBezTo>
                          <a:pt x="211" y="5"/>
                          <a:pt x="211" y="5"/>
                          <a:pt x="212" y="4"/>
                        </a:cubicBezTo>
                        <a:cubicBezTo>
                          <a:pt x="212" y="4"/>
                          <a:pt x="212" y="4"/>
                          <a:pt x="212" y="4"/>
                        </a:cubicBezTo>
                        <a:cubicBezTo>
                          <a:pt x="212" y="4"/>
                          <a:pt x="212" y="4"/>
                          <a:pt x="212" y="4"/>
                        </a:cubicBezTo>
                        <a:cubicBezTo>
                          <a:pt x="212" y="4"/>
                          <a:pt x="212" y="4"/>
                          <a:pt x="212" y="4"/>
                        </a:cubicBezTo>
                        <a:cubicBezTo>
                          <a:pt x="212" y="4"/>
                          <a:pt x="212" y="4"/>
                          <a:pt x="212" y="4"/>
                        </a:cubicBezTo>
                        <a:cubicBezTo>
                          <a:pt x="212" y="4"/>
                          <a:pt x="213" y="4"/>
                          <a:pt x="213" y="4"/>
                        </a:cubicBezTo>
                        <a:cubicBezTo>
                          <a:pt x="213" y="4"/>
                          <a:pt x="212" y="4"/>
                          <a:pt x="212" y="4"/>
                        </a:cubicBezTo>
                        <a:cubicBezTo>
                          <a:pt x="213" y="4"/>
                          <a:pt x="213" y="4"/>
                          <a:pt x="213" y="4"/>
                        </a:cubicBezTo>
                        <a:cubicBezTo>
                          <a:pt x="213" y="4"/>
                          <a:pt x="213" y="4"/>
                          <a:pt x="213" y="4"/>
                        </a:cubicBezTo>
                        <a:cubicBezTo>
                          <a:pt x="213" y="4"/>
                          <a:pt x="213" y="4"/>
                          <a:pt x="214" y="4"/>
                        </a:cubicBezTo>
                        <a:cubicBezTo>
                          <a:pt x="214" y="4"/>
                          <a:pt x="215" y="3"/>
                          <a:pt x="216" y="4"/>
                        </a:cubicBezTo>
                        <a:cubicBezTo>
                          <a:pt x="216" y="4"/>
                          <a:pt x="217" y="4"/>
                          <a:pt x="217" y="4"/>
                        </a:cubicBezTo>
                        <a:cubicBezTo>
                          <a:pt x="217" y="4"/>
                          <a:pt x="217" y="4"/>
                          <a:pt x="217" y="4"/>
                        </a:cubicBezTo>
                        <a:cubicBezTo>
                          <a:pt x="217" y="3"/>
                          <a:pt x="217" y="4"/>
                          <a:pt x="217" y="4"/>
                        </a:cubicBezTo>
                        <a:cubicBezTo>
                          <a:pt x="217" y="3"/>
                          <a:pt x="217" y="3"/>
                          <a:pt x="217" y="3"/>
                        </a:cubicBezTo>
                        <a:cubicBezTo>
                          <a:pt x="217" y="4"/>
                          <a:pt x="218" y="4"/>
                          <a:pt x="219" y="3"/>
                        </a:cubicBezTo>
                        <a:cubicBezTo>
                          <a:pt x="219" y="3"/>
                          <a:pt x="218" y="3"/>
                          <a:pt x="218" y="3"/>
                        </a:cubicBezTo>
                        <a:cubicBezTo>
                          <a:pt x="219" y="3"/>
                          <a:pt x="219" y="3"/>
                          <a:pt x="219" y="3"/>
                        </a:cubicBezTo>
                        <a:cubicBezTo>
                          <a:pt x="219" y="3"/>
                          <a:pt x="220" y="3"/>
                          <a:pt x="220" y="3"/>
                        </a:cubicBezTo>
                        <a:cubicBezTo>
                          <a:pt x="220" y="3"/>
                          <a:pt x="220" y="3"/>
                          <a:pt x="220" y="4"/>
                        </a:cubicBezTo>
                        <a:cubicBezTo>
                          <a:pt x="221" y="4"/>
                          <a:pt x="222" y="4"/>
                          <a:pt x="222" y="3"/>
                        </a:cubicBezTo>
                        <a:cubicBezTo>
                          <a:pt x="222" y="4"/>
                          <a:pt x="222" y="3"/>
                          <a:pt x="223" y="4"/>
                        </a:cubicBezTo>
                        <a:cubicBezTo>
                          <a:pt x="223" y="3"/>
                          <a:pt x="223" y="3"/>
                          <a:pt x="223" y="3"/>
                        </a:cubicBezTo>
                        <a:cubicBezTo>
                          <a:pt x="222" y="3"/>
                          <a:pt x="222" y="3"/>
                          <a:pt x="221" y="3"/>
                        </a:cubicBezTo>
                        <a:cubicBezTo>
                          <a:pt x="221" y="3"/>
                          <a:pt x="221" y="4"/>
                          <a:pt x="221" y="3"/>
                        </a:cubicBezTo>
                        <a:cubicBezTo>
                          <a:pt x="221" y="3"/>
                          <a:pt x="221" y="3"/>
                          <a:pt x="221" y="3"/>
                        </a:cubicBezTo>
                        <a:cubicBezTo>
                          <a:pt x="221" y="3"/>
                          <a:pt x="221" y="3"/>
                          <a:pt x="221" y="3"/>
                        </a:cubicBezTo>
                        <a:cubicBezTo>
                          <a:pt x="221" y="3"/>
                          <a:pt x="221" y="3"/>
                          <a:pt x="221" y="3"/>
                        </a:cubicBezTo>
                        <a:cubicBezTo>
                          <a:pt x="222" y="3"/>
                          <a:pt x="221" y="3"/>
                          <a:pt x="222" y="3"/>
                        </a:cubicBezTo>
                        <a:cubicBezTo>
                          <a:pt x="221" y="3"/>
                          <a:pt x="222" y="3"/>
                          <a:pt x="222" y="3"/>
                        </a:cubicBezTo>
                        <a:cubicBezTo>
                          <a:pt x="223" y="3"/>
                          <a:pt x="223" y="3"/>
                          <a:pt x="224" y="3"/>
                        </a:cubicBezTo>
                        <a:cubicBezTo>
                          <a:pt x="224" y="3"/>
                          <a:pt x="224" y="3"/>
                          <a:pt x="224" y="3"/>
                        </a:cubicBezTo>
                        <a:cubicBezTo>
                          <a:pt x="224" y="3"/>
                          <a:pt x="223" y="3"/>
                          <a:pt x="224" y="2"/>
                        </a:cubicBezTo>
                        <a:cubicBezTo>
                          <a:pt x="224" y="2"/>
                          <a:pt x="225" y="2"/>
                          <a:pt x="225" y="2"/>
                        </a:cubicBezTo>
                        <a:cubicBezTo>
                          <a:pt x="226" y="2"/>
                          <a:pt x="228" y="2"/>
                          <a:pt x="228" y="2"/>
                        </a:cubicBezTo>
                        <a:cubicBezTo>
                          <a:pt x="229" y="2"/>
                          <a:pt x="228" y="2"/>
                          <a:pt x="229" y="2"/>
                        </a:cubicBezTo>
                        <a:cubicBezTo>
                          <a:pt x="228" y="2"/>
                          <a:pt x="228" y="2"/>
                          <a:pt x="228" y="2"/>
                        </a:cubicBezTo>
                        <a:cubicBezTo>
                          <a:pt x="228" y="1"/>
                          <a:pt x="229" y="1"/>
                          <a:pt x="229" y="1"/>
                        </a:cubicBezTo>
                        <a:cubicBezTo>
                          <a:pt x="229" y="1"/>
                          <a:pt x="229" y="1"/>
                          <a:pt x="229" y="1"/>
                        </a:cubicBezTo>
                        <a:cubicBezTo>
                          <a:pt x="229" y="1"/>
                          <a:pt x="230" y="1"/>
                          <a:pt x="230" y="1"/>
                        </a:cubicBezTo>
                        <a:cubicBezTo>
                          <a:pt x="230" y="1"/>
                          <a:pt x="230" y="1"/>
                          <a:pt x="230" y="1"/>
                        </a:cubicBezTo>
                        <a:cubicBezTo>
                          <a:pt x="229" y="1"/>
                          <a:pt x="230" y="1"/>
                          <a:pt x="230" y="2"/>
                        </a:cubicBezTo>
                        <a:cubicBezTo>
                          <a:pt x="230" y="1"/>
                          <a:pt x="231" y="2"/>
                          <a:pt x="231" y="1"/>
                        </a:cubicBezTo>
                        <a:cubicBezTo>
                          <a:pt x="231" y="1"/>
                          <a:pt x="231" y="1"/>
                          <a:pt x="230" y="1"/>
                        </a:cubicBezTo>
                        <a:cubicBezTo>
                          <a:pt x="231" y="1"/>
                          <a:pt x="231" y="1"/>
                          <a:pt x="231" y="1"/>
                        </a:cubicBezTo>
                        <a:cubicBezTo>
                          <a:pt x="231" y="1"/>
                          <a:pt x="231" y="1"/>
                          <a:pt x="230" y="1"/>
                        </a:cubicBezTo>
                        <a:cubicBezTo>
                          <a:pt x="231" y="0"/>
                          <a:pt x="232" y="0"/>
                          <a:pt x="232" y="1"/>
                        </a:cubicBezTo>
                        <a:cubicBezTo>
                          <a:pt x="232" y="1"/>
                          <a:pt x="233" y="1"/>
                          <a:pt x="233" y="1"/>
                        </a:cubicBezTo>
                        <a:cubicBezTo>
                          <a:pt x="233" y="1"/>
                          <a:pt x="233" y="1"/>
                          <a:pt x="233" y="1"/>
                        </a:cubicBezTo>
                        <a:cubicBezTo>
                          <a:pt x="233" y="1"/>
                          <a:pt x="233" y="1"/>
                          <a:pt x="233" y="1"/>
                        </a:cubicBezTo>
                        <a:cubicBezTo>
                          <a:pt x="233" y="1"/>
                          <a:pt x="233" y="0"/>
                          <a:pt x="233" y="0"/>
                        </a:cubicBezTo>
                        <a:cubicBezTo>
                          <a:pt x="233" y="0"/>
                          <a:pt x="233" y="0"/>
                          <a:pt x="234" y="0"/>
                        </a:cubicBezTo>
                        <a:cubicBezTo>
                          <a:pt x="233" y="1"/>
                          <a:pt x="234" y="0"/>
                          <a:pt x="234" y="0"/>
                        </a:cubicBezTo>
                        <a:cubicBezTo>
                          <a:pt x="234" y="1"/>
                          <a:pt x="234" y="0"/>
                          <a:pt x="234" y="0"/>
                        </a:cubicBezTo>
                        <a:cubicBezTo>
                          <a:pt x="235" y="0"/>
                          <a:pt x="235" y="0"/>
                          <a:pt x="235" y="0"/>
                        </a:cubicBezTo>
                        <a:cubicBezTo>
                          <a:pt x="235" y="0"/>
                          <a:pt x="236" y="0"/>
                          <a:pt x="237" y="0"/>
                        </a:cubicBezTo>
                        <a:cubicBezTo>
                          <a:pt x="237" y="0"/>
                          <a:pt x="238" y="0"/>
                          <a:pt x="238" y="0"/>
                        </a:cubicBezTo>
                        <a:cubicBezTo>
                          <a:pt x="238" y="0"/>
                          <a:pt x="238" y="0"/>
                          <a:pt x="239" y="0"/>
                        </a:cubicBezTo>
                        <a:cubicBezTo>
                          <a:pt x="240" y="0"/>
                          <a:pt x="241" y="0"/>
                          <a:pt x="242" y="0"/>
                        </a:cubicBezTo>
                        <a:cubicBezTo>
                          <a:pt x="242" y="0"/>
                          <a:pt x="242" y="0"/>
                          <a:pt x="243" y="0"/>
                        </a:cubicBezTo>
                        <a:cubicBezTo>
                          <a:pt x="245" y="0"/>
                          <a:pt x="247" y="0"/>
                          <a:pt x="248" y="2"/>
                        </a:cubicBezTo>
                        <a:cubicBezTo>
                          <a:pt x="248" y="2"/>
                          <a:pt x="248" y="2"/>
                          <a:pt x="249" y="2"/>
                        </a:cubicBezTo>
                        <a:cubicBezTo>
                          <a:pt x="249" y="2"/>
                          <a:pt x="249" y="2"/>
                          <a:pt x="249" y="2"/>
                        </a:cubicBezTo>
                        <a:cubicBezTo>
                          <a:pt x="250" y="2"/>
                          <a:pt x="250" y="2"/>
                          <a:pt x="250" y="3"/>
                        </a:cubicBezTo>
                        <a:cubicBezTo>
                          <a:pt x="250" y="3"/>
                          <a:pt x="250" y="4"/>
                          <a:pt x="250" y="4"/>
                        </a:cubicBezTo>
                        <a:cubicBezTo>
                          <a:pt x="250" y="4"/>
                          <a:pt x="250" y="5"/>
                          <a:pt x="250" y="5"/>
                        </a:cubicBezTo>
                        <a:cubicBezTo>
                          <a:pt x="249" y="5"/>
                          <a:pt x="249" y="5"/>
                          <a:pt x="249" y="5"/>
                        </a:cubicBezTo>
                        <a:cubicBezTo>
                          <a:pt x="251" y="5"/>
                          <a:pt x="249" y="6"/>
                          <a:pt x="249" y="7"/>
                        </a:cubicBezTo>
                        <a:cubicBezTo>
                          <a:pt x="249" y="7"/>
                          <a:pt x="249" y="7"/>
                          <a:pt x="248" y="7"/>
                        </a:cubicBezTo>
                        <a:cubicBezTo>
                          <a:pt x="248" y="8"/>
                          <a:pt x="246" y="9"/>
                          <a:pt x="245" y="10"/>
                        </a:cubicBezTo>
                        <a:cubicBezTo>
                          <a:pt x="246" y="10"/>
                          <a:pt x="246" y="10"/>
                          <a:pt x="246" y="10"/>
                        </a:cubicBezTo>
                        <a:cubicBezTo>
                          <a:pt x="246" y="10"/>
                          <a:pt x="246" y="10"/>
                          <a:pt x="245" y="10"/>
                        </a:cubicBezTo>
                        <a:cubicBezTo>
                          <a:pt x="245" y="11"/>
                          <a:pt x="244" y="11"/>
                          <a:pt x="244" y="11"/>
                        </a:cubicBezTo>
                        <a:cubicBezTo>
                          <a:pt x="242" y="12"/>
                          <a:pt x="242" y="13"/>
                          <a:pt x="239" y="13"/>
                        </a:cubicBezTo>
                        <a:cubicBezTo>
                          <a:pt x="239" y="14"/>
                          <a:pt x="239" y="14"/>
                          <a:pt x="239" y="14"/>
                        </a:cubicBezTo>
                        <a:cubicBezTo>
                          <a:pt x="238" y="14"/>
                          <a:pt x="237" y="14"/>
                          <a:pt x="236" y="15"/>
                        </a:cubicBezTo>
                        <a:cubicBezTo>
                          <a:pt x="236" y="15"/>
                          <a:pt x="235" y="15"/>
                          <a:pt x="234" y="15"/>
                        </a:cubicBezTo>
                        <a:cubicBezTo>
                          <a:pt x="233" y="15"/>
                          <a:pt x="233" y="15"/>
                          <a:pt x="232" y="16"/>
                        </a:cubicBezTo>
                        <a:cubicBezTo>
                          <a:pt x="232" y="16"/>
                          <a:pt x="232" y="16"/>
                          <a:pt x="232" y="16"/>
                        </a:cubicBezTo>
                        <a:cubicBezTo>
                          <a:pt x="230" y="16"/>
                          <a:pt x="228" y="17"/>
                          <a:pt x="226" y="17"/>
                        </a:cubicBezTo>
                        <a:cubicBezTo>
                          <a:pt x="226" y="17"/>
                          <a:pt x="226" y="17"/>
                          <a:pt x="226" y="17"/>
                        </a:cubicBezTo>
                        <a:close/>
                        <a:moveTo>
                          <a:pt x="210" y="6"/>
                        </a:moveTo>
                        <a:cubicBezTo>
                          <a:pt x="210" y="6"/>
                          <a:pt x="210" y="5"/>
                          <a:pt x="209" y="6"/>
                        </a:cubicBezTo>
                        <a:cubicBezTo>
                          <a:pt x="209" y="6"/>
                          <a:pt x="210" y="6"/>
                          <a:pt x="210" y="6"/>
                        </a:cubicBezTo>
                        <a:close/>
                        <a:moveTo>
                          <a:pt x="210" y="6"/>
                        </a:moveTo>
                        <a:cubicBezTo>
                          <a:pt x="210" y="6"/>
                          <a:pt x="210" y="6"/>
                          <a:pt x="210" y="6"/>
                        </a:cubicBezTo>
                        <a:cubicBezTo>
                          <a:pt x="210" y="6"/>
                          <a:pt x="210" y="6"/>
                          <a:pt x="210" y="6"/>
                        </a:cubicBezTo>
                        <a:close/>
                        <a:moveTo>
                          <a:pt x="204" y="8"/>
                        </a:moveTo>
                        <a:cubicBezTo>
                          <a:pt x="205" y="8"/>
                          <a:pt x="205" y="8"/>
                          <a:pt x="205" y="8"/>
                        </a:cubicBezTo>
                        <a:cubicBezTo>
                          <a:pt x="205" y="8"/>
                          <a:pt x="205" y="8"/>
                          <a:pt x="205" y="8"/>
                        </a:cubicBezTo>
                        <a:cubicBezTo>
                          <a:pt x="204" y="8"/>
                          <a:pt x="204" y="8"/>
                          <a:pt x="204" y="8"/>
                        </a:cubicBezTo>
                        <a:close/>
                        <a:moveTo>
                          <a:pt x="209" y="7"/>
                        </a:moveTo>
                        <a:cubicBezTo>
                          <a:pt x="209" y="7"/>
                          <a:pt x="209" y="7"/>
                          <a:pt x="209" y="7"/>
                        </a:cubicBezTo>
                        <a:cubicBezTo>
                          <a:pt x="209" y="7"/>
                          <a:pt x="209" y="7"/>
                          <a:pt x="209" y="7"/>
                        </a:cubicBezTo>
                        <a:cubicBezTo>
                          <a:pt x="209" y="7"/>
                          <a:pt x="209" y="7"/>
                          <a:pt x="209" y="7"/>
                        </a:cubicBezTo>
                        <a:close/>
                        <a:moveTo>
                          <a:pt x="207" y="7"/>
                        </a:moveTo>
                        <a:cubicBezTo>
                          <a:pt x="208" y="7"/>
                          <a:pt x="208" y="7"/>
                          <a:pt x="207" y="8"/>
                        </a:cubicBezTo>
                        <a:cubicBezTo>
                          <a:pt x="208" y="8"/>
                          <a:pt x="208" y="7"/>
                          <a:pt x="208" y="7"/>
                        </a:cubicBezTo>
                        <a:cubicBezTo>
                          <a:pt x="208" y="7"/>
                          <a:pt x="208" y="7"/>
                          <a:pt x="208" y="7"/>
                        </a:cubicBezTo>
                        <a:cubicBezTo>
                          <a:pt x="208" y="7"/>
                          <a:pt x="207" y="7"/>
                          <a:pt x="207" y="7"/>
                        </a:cubicBezTo>
                        <a:cubicBezTo>
                          <a:pt x="208" y="7"/>
                          <a:pt x="207" y="7"/>
                          <a:pt x="207" y="7"/>
                        </a:cubicBezTo>
                        <a:close/>
                        <a:moveTo>
                          <a:pt x="207" y="8"/>
                        </a:moveTo>
                        <a:cubicBezTo>
                          <a:pt x="207" y="8"/>
                          <a:pt x="208" y="7"/>
                          <a:pt x="207" y="7"/>
                        </a:cubicBezTo>
                        <a:cubicBezTo>
                          <a:pt x="207" y="8"/>
                          <a:pt x="206" y="8"/>
                          <a:pt x="207" y="8"/>
                        </a:cubicBezTo>
                        <a:close/>
                        <a:moveTo>
                          <a:pt x="206" y="8"/>
                        </a:moveTo>
                        <a:cubicBezTo>
                          <a:pt x="206" y="8"/>
                          <a:pt x="206" y="8"/>
                          <a:pt x="206" y="8"/>
                        </a:cubicBezTo>
                        <a:cubicBezTo>
                          <a:pt x="206" y="8"/>
                          <a:pt x="206" y="8"/>
                          <a:pt x="206" y="8"/>
                        </a:cubicBezTo>
                        <a:cubicBezTo>
                          <a:pt x="206" y="8"/>
                          <a:pt x="206" y="8"/>
                          <a:pt x="206" y="8"/>
                        </a:cubicBezTo>
                        <a:cubicBezTo>
                          <a:pt x="206" y="8"/>
                          <a:pt x="206" y="8"/>
                          <a:pt x="206" y="8"/>
                        </a:cubicBezTo>
                        <a:close/>
                        <a:moveTo>
                          <a:pt x="208" y="8"/>
                        </a:moveTo>
                        <a:cubicBezTo>
                          <a:pt x="209" y="8"/>
                          <a:pt x="209" y="8"/>
                          <a:pt x="209" y="8"/>
                        </a:cubicBezTo>
                        <a:cubicBezTo>
                          <a:pt x="209" y="7"/>
                          <a:pt x="209" y="8"/>
                          <a:pt x="209" y="7"/>
                        </a:cubicBezTo>
                        <a:cubicBezTo>
                          <a:pt x="209" y="7"/>
                          <a:pt x="209" y="7"/>
                          <a:pt x="209" y="7"/>
                        </a:cubicBezTo>
                        <a:cubicBezTo>
                          <a:pt x="208" y="7"/>
                          <a:pt x="209" y="7"/>
                          <a:pt x="208" y="8"/>
                        </a:cubicBezTo>
                        <a:close/>
                        <a:moveTo>
                          <a:pt x="205" y="9"/>
                        </a:moveTo>
                        <a:cubicBezTo>
                          <a:pt x="205" y="9"/>
                          <a:pt x="205" y="9"/>
                          <a:pt x="205" y="9"/>
                        </a:cubicBezTo>
                        <a:cubicBezTo>
                          <a:pt x="206" y="8"/>
                          <a:pt x="206" y="8"/>
                          <a:pt x="206" y="8"/>
                        </a:cubicBezTo>
                        <a:cubicBezTo>
                          <a:pt x="205" y="8"/>
                          <a:pt x="205" y="8"/>
                          <a:pt x="205" y="9"/>
                        </a:cubicBezTo>
                        <a:close/>
                        <a:moveTo>
                          <a:pt x="208" y="8"/>
                        </a:moveTo>
                        <a:cubicBezTo>
                          <a:pt x="208" y="8"/>
                          <a:pt x="208" y="8"/>
                          <a:pt x="208" y="8"/>
                        </a:cubicBezTo>
                        <a:cubicBezTo>
                          <a:pt x="208" y="8"/>
                          <a:pt x="208" y="8"/>
                          <a:pt x="208" y="8"/>
                        </a:cubicBezTo>
                        <a:cubicBezTo>
                          <a:pt x="208" y="8"/>
                          <a:pt x="208" y="8"/>
                          <a:pt x="208" y="8"/>
                        </a:cubicBezTo>
                        <a:close/>
                        <a:moveTo>
                          <a:pt x="204" y="9"/>
                        </a:moveTo>
                        <a:cubicBezTo>
                          <a:pt x="204" y="9"/>
                          <a:pt x="204" y="9"/>
                          <a:pt x="204" y="9"/>
                        </a:cubicBezTo>
                        <a:cubicBezTo>
                          <a:pt x="204" y="9"/>
                          <a:pt x="205" y="9"/>
                          <a:pt x="204" y="9"/>
                        </a:cubicBezTo>
                        <a:cubicBezTo>
                          <a:pt x="204" y="9"/>
                          <a:pt x="204" y="9"/>
                          <a:pt x="204" y="9"/>
                        </a:cubicBezTo>
                        <a:cubicBezTo>
                          <a:pt x="204" y="9"/>
                          <a:pt x="204" y="9"/>
                          <a:pt x="204" y="9"/>
                        </a:cubicBezTo>
                        <a:close/>
                        <a:moveTo>
                          <a:pt x="203" y="10"/>
                        </a:moveTo>
                        <a:cubicBezTo>
                          <a:pt x="203" y="10"/>
                          <a:pt x="203" y="9"/>
                          <a:pt x="202" y="10"/>
                        </a:cubicBezTo>
                        <a:cubicBezTo>
                          <a:pt x="203" y="10"/>
                          <a:pt x="203" y="10"/>
                          <a:pt x="203" y="10"/>
                        </a:cubicBezTo>
                        <a:close/>
                        <a:moveTo>
                          <a:pt x="201" y="10"/>
                        </a:moveTo>
                        <a:cubicBezTo>
                          <a:pt x="202" y="10"/>
                          <a:pt x="202" y="10"/>
                          <a:pt x="202" y="10"/>
                        </a:cubicBezTo>
                        <a:cubicBezTo>
                          <a:pt x="202" y="10"/>
                          <a:pt x="202" y="10"/>
                          <a:pt x="202" y="10"/>
                        </a:cubicBezTo>
                        <a:cubicBezTo>
                          <a:pt x="202" y="10"/>
                          <a:pt x="201" y="10"/>
                          <a:pt x="201" y="10"/>
                        </a:cubicBezTo>
                        <a:cubicBezTo>
                          <a:pt x="201" y="10"/>
                          <a:pt x="201" y="10"/>
                          <a:pt x="201" y="10"/>
                        </a:cubicBezTo>
                        <a:close/>
                        <a:moveTo>
                          <a:pt x="199" y="11"/>
                        </a:moveTo>
                        <a:cubicBezTo>
                          <a:pt x="199" y="11"/>
                          <a:pt x="199" y="11"/>
                          <a:pt x="198" y="11"/>
                        </a:cubicBezTo>
                        <a:cubicBezTo>
                          <a:pt x="198" y="11"/>
                          <a:pt x="199" y="11"/>
                          <a:pt x="199" y="11"/>
                        </a:cubicBezTo>
                        <a:close/>
                        <a:moveTo>
                          <a:pt x="201" y="11"/>
                        </a:moveTo>
                        <a:cubicBezTo>
                          <a:pt x="201" y="11"/>
                          <a:pt x="202" y="11"/>
                          <a:pt x="202" y="11"/>
                        </a:cubicBezTo>
                        <a:cubicBezTo>
                          <a:pt x="202" y="11"/>
                          <a:pt x="202" y="11"/>
                          <a:pt x="202" y="11"/>
                        </a:cubicBezTo>
                        <a:cubicBezTo>
                          <a:pt x="202" y="11"/>
                          <a:pt x="201" y="11"/>
                          <a:pt x="201" y="11"/>
                        </a:cubicBezTo>
                        <a:close/>
                        <a:moveTo>
                          <a:pt x="201" y="11"/>
                        </a:moveTo>
                        <a:cubicBezTo>
                          <a:pt x="202" y="11"/>
                          <a:pt x="201" y="11"/>
                          <a:pt x="201" y="11"/>
                        </a:cubicBezTo>
                        <a:cubicBezTo>
                          <a:pt x="201" y="11"/>
                          <a:pt x="202" y="11"/>
                          <a:pt x="202" y="11"/>
                        </a:cubicBezTo>
                        <a:cubicBezTo>
                          <a:pt x="202" y="11"/>
                          <a:pt x="202" y="11"/>
                          <a:pt x="201" y="11"/>
                        </a:cubicBezTo>
                        <a:cubicBezTo>
                          <a:pt x="202" y="11"/>
                          <a:pt x="201" y="11"/>
                          <a:pt x="201" y="11"/>
                        </a:cubicBezTo>
                        <a:close/>
                        <a:moveTo>
                          <a:pt x="200" y="11"/>
                        </a:moveTo>
                        <a:cubicBezTo>
                          <a:pt x="200" y="11"/>
                          <a:pt x="200" y="11"/>
                          <a:pt x="200" y="11"/>
                        </a:cubicBezTo>
                        <a:cubicBezTo>
                          <a:pt x="200" y="11"/>
                          <a:pt x="200" y="11"/>
                          <a:pt x="200" y="11"/>
                        </a:cubicBezTo>
                        <a:close/>
                        <a:moveTo>
                          <a:pt x="200" y="11"/>
                        </a:moveTo>
                        <a:cubicBezTo>
                          <a:pt x="200" y="11"/>
                          <a:pt x="200" y="11"/>
                          <a:pt x="200" y="11"/>
                        </a:cubicBezTo>
                        <a:cubicBezTo>
                          <a:pt x="200" y="11"/>
                          <a:pt x="199" y="11"/>
                          <a:pt x="199" y="11"/>
                        </a:cubicBezTo>
                        <a:cubicBezTo>
                          <a:pt x="199" y="11"/>
                          <a:pt x="200" y="11"/>
                          <a:pt x="200" y="11"/>
                        </a:cubicBezTo>
                        <a:cubicBezTo>
                          <a:pt x="200" y="11"/>
                          <a:pt x="199" y="12"/>
                          <a:pt x="199" y="12"/>
                        </a:cubicBezTo>
                        <a:cubicBezTo>
                          <a:pt x="200" y="12"/>
                          <a:pt x="200" y="11"/>
                          <a:pt x="200" y="11"/>
                        </a:cubicBezTo>
                        <a:close/>
                        <a:moveTo>
                          <a:pt x="198" y="12"/>
                        </a:moveTo>
                        <a:cubicBezTo>
                          <a:pt x="198" y="12"/>
                          <a:pt x="198" y="12"/>
                          <a:pt x="199" y="12"/>
                        </a:cubicBezTo>
                        <a:cubicBezTo>
                          <a:pt x="198" y="12"/>
                          <a:pt x="198" y="12"/>
                          <a:pt x="198" y="12"/>
                        </a:cubicBezTo>
                        <a:cubicBezTo>
                          <a:pt x="198" y="12"/>
                          <a:pt x="198" y="12"/>
                          <a:pt x="198" y="12"/>
                        </a:cubicBezTo>
                        <a:close/>
                        <a:moveTo>
                          <a:pt x="194" y="14"/>
                        </a:moveTo>
                        <a:cubicBezTo>
                          <a:pt x="194" y="14"/>
                          <a:pt x="195" y="14"/>
                          <a:pt x="194" y="14"/>
                        </a:cubicBezTo>
                        <a:cubicBezTo>
                          <a:pt x="194" y="14"/>
                          <a:pt x="194" y="14"/>
                          <a:pt x="194" y="14"/>
                        </a:cubicBezTo>
                        <a:cubicBezTo>
                          <a:pt x="194" y="14"/>
                          <a:pt x="194" y="14"/>
                          <a:pt x="194" y="14"/>
                        </a:cubicBezTo>
                        <a:cubicBezTo>
                          <a:pt x="194" y="14"/>
                          <a:pt x="194" y="14"/>
                          <a:pt x="194" y="14"/>
                        </a:cubicBezTo>
                        <a:cubicBezTo>
                          <a:pt x="194" y="14"/>
                          <a:pt x="194" y="14"/>
                          <a:pt x="194" y="14"/>
                        </a:cubicBezTo>
                        <a:close/>
                        <a:moveTo>
                          <a:pt x="195" y="14"/>
                        </a:moveTo>
                        <a:cubicBezTo>
                          <a:pt x="195" y="14"/>
                          <a:pt x="195" y="14"/>
                          <a:pt x="196" y="14"/>
                        </a:cubicBezTo>
                        <a:cubicBezTo>
                          <a:pt x="195" y="14"/>
                          <a:pt x="195" y="13"/>
                          <a:pt x="195" y="13"/>
                        </a:cubicBezTo>
                        <a:cubicBezTo>
                          <a:pt x="195" y="14"/>
                          <a:pt x="195" y="13"/>
                          <a:pt x="195" y="14"/>
                        </a:cubicBezTo>
                        <a:cubicBezTo>
                          <a:pt x="195" y="14"/>
                          <a:pt x="195" y="14"/>
                          <a:pt x="195" y="14"/>
                        </a:cubicBezTo>
                        <a:cubicBezTo>
                          <a:pt x="195" y="14"/>
                          <a:pt x="195" y="14"/>
                          <a:pt x="195" y="14"/>
                        </a:cubicBezTo>
                        <a:close/>
                        <a:moveTo>
                          <a:pt x="191" y="16"/>
                        </a:moveTo>
                        <a:cubicBezTo>
                          <a:pt x="191" y="16"/>
                          <a:pt x="191" y="16"/>
                          <a:pt x="191" y="16"/>
                        </a:cubicBezTo>
                        <a:cubicBezTo>
                          <a:pt x="191" y="16"/>
                          <a:pt x="191" y="15"/>
                          <a:pt x="191" y="15"/>
                        </a:cubicBezTo>
                        <a:cubicBezTo>
                          <a:pt x="191" y="16"/>
                          <a:pt x="191" y="15"/>
                          <a:pt x="191" y="16"/>
                        </a:cubicBezTo>
                        <a:close/>
                        <a:moveTo>
                          <a:pt x="190" y="16"/>
                        </a:moveTo>
                        <a:cubicBezTo>
                          <a:pt x="191" y="16"/>
                          <a:pt x="191" y="16"/>
                          <a:pt x="191" y="16"/>
                        </a:cubicBezTo>
                        <a:cubicBezTo>
                          <a:pt x="191" y="16"/>
                          <a:pt x="190" y="16"/>
                          <a:pt x="190" y="16"/>
                        </a:cubicBezTo>
                        <a:close/>
                        <a:moveTo>
                          <a:pt x="188" y="16"/>
                        </a:moveTo>
                        <a:cubicBezTo>
                          <a:pt x="188" y="16"/>
                          <a:pt x="188" y="16"/>
                          <a:pt x="188" y="16"/>
                        </a:cubicBezTo>
                        <a:cubicBezTo>
                          <a:pt x="188" y="16"/>
                          <a:pt x="188" y="16"/>
                          <a:pt x="188" y="16"/>
                        </a:cubicBezTo>
                        <a:cubicBezTo>
                          <a:pt x="188" y="16"/>
                          <a:pt x="188" y="17"/>
                          <a:pt x="188" y="16"/>
                        </a:cubicBezTo>
                        <a:close/>
                        <a:moveTo>
                          <a:pt x="192" y="15"/>
                        </a:moveTo>
                        <a:cubicBezTo>
                          <a:pt x="192" y="15"/>
                          <a:pt x="192" y="16"/>
                          <a:pt x="193" y="16"/>
                        </a:cubicBezTo>
                        <a:cubicBezTo>
                          <a:pt x="193" y="15"/>
                          <a:pt x="192" y="15"/>
                          <a:pt x="192" y="15"/>
                        </a:cubicBezTo>
                        <a:close/>
                        <a:moveTo>
                          <a:pt x="192" y="15"/>
                        </a:moveTo>
                        <a:cubicBezTo>
                          <a:pt x="191" y="15"/>
                          <a:pt x="192" y="15"/>
                          <a:pt x="192" y="15"/>
                        </a:cubicBezTo>
                        <a:cubicBezTo>
                          <a:pt x="192" y="15"/>
                          <a:pt x="192" y="15"/>
                          <a:pt x="192" y="15"/>
                        </a:cubicBezTo>
                        <a:close/>
                        <a:moveTo>
                          <a:pt x="192" y="15"/>
                        </a:move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2" y="15"/>
                          <a:pt x="192" y="15"/>
                          <a:pt x="192" y="15"/>
                        </a:cubicBezTo>
                        <a:close/>
                        <a:moveTo>
                          <a:pt x="199" y="13"/>
                        </a:moveTo>
                        <a:cubicBezTo>
                          <a:pt x="199" y="13"/>
                          <a:pt x="198" y="14"/>
                          <a:pt x="198" y="14"/>
                        </a:cubicBezTo>
                        <a:cubicBezTo>
                          <a:pt x="198" y="14"/>
                          <a:pt x="199" y="14"/>
                          <a:pt x="199" y="13"/>
                        </a:cubicBezTo>
                        <a:close/>
                        <a:moveTo>
                          <a:pt x="215" y="10"/>
                        </a:moveTo>
                        <a:cubicBezTo>
                          <a:pt x="214" y="10"/>
                          <a:pt x="214" y="10"/>
                          <a:pt x="214" y="11"/>
                        </a:cubicBezTo>
                        <a:cubicBezTo>
                          <a:pt x="214" y="10"/>
                          <a:pt x="215" y="10"/>
                          <a:pt x="215" y="10"/>
                        </a:cubicBezTo>
                        <a:close/>
                        <a:moveTo>
                          <a:pt x="200" y="15"/>
                        </a:moveTo>
                        <a:cubicBezTo>
                          <a:pt x="200" y="15"/>
                          <a:pt x="201" y="15"/>
                          <a:pt x="200" y="15"/>
                        </a:cubicBezTo>
                        <a:cubicBezTo>
                          <a:pt x="200" y="15"/>
                          <a:pt x="201" y="15"/>
                          <a:pt x="201" y="15"/>
                        </a:cubicBezTo>
                        <a:cubicBezTo>
                          <a:pt x="200" y="14"/>
                          <a:pt x="201" y="15"/>
                          <a:pt x="201" y="14"/>
                        </a:cubicBezTo>
                        <a:cubicBezTo>
                          <a:pt x="201" y="14"/>
                          <a:pt x="200" y="14"/>
                          <a:pt x="200" y="14"/>
                        </a:cubicBezTo>
                        <a:cubicBezTo>
                          <a:pt x="200" y="15"/>
                          <a:pt x="200" y="15"/>
                          <a:pt x="200" y="15"/>
                        </a:cubicBezTo>
                        <a:cubicBezTo>
                          <a:pt x="200" y="15"/>
                          <a:pt x="200" y="15"/>
                          <a:pt x="200" y="15"/>
                        </a:cubicBezTo>
                        <a:close/>
                        <a:moveTo>
                          <a:pt x="201" y="14"/>
                        </a:moveTo>
                        <a:cubicBezTo>
                          <a:pt x="202" y="14"/>
                          <a:pt x="201" y="14"/>
                          <a:pt x="201" y="15"/>
                        </a:cubicBezTo>
                        <a:cubicBezTo>
                          <a:pt x="201" y="14"/>
                          <a:pt x="202" y="15"/>
                          <a:pt x="202" y="14"/>
                        </a:cubicBezTo>
                        <a:cubicBezTo>
                          <a:pt x="201" y="14"/>
                          <a:pt x="202" y="14"/>
                          <a:pt x="202" y="14"/>
                        </a:cubicBezTo>
                        <a:cubicBezTo>
                          <a:pt x="202" y="14"/>
                          <a:pt x="201" y="14"/>
                          <a:pt x="201" y="14"/>
                        </a:cubicBezTo>
                        <a:cubicBezTo>
                          <a:pt x="202" y="14"/>
                          <a:pt x="202" y="14"/>
                          <a:pt x="202" y="14"/>
                        </a:cubicBezTo>
                        <a:cubicBezTo>
                          <a:pt x="202" y="14"/>
                          <a:pt x="201" y="14"/>
                          <a:pt x="201" y="14"/>
                        </a:cubicBezTo>
                        <a:close/>
                        <a:moveTo>
                          <a:pt x="200" y="14"/>
                        </a:moveTo>
                        <a:cubicBezTo>
                          <a:pt x="200" y="14"/>
                          <a:pt x="200" y="14"/>
                          <a:pt x="199" y="15"/>
                        </a:cubicBezTo>
                        <a:cubicBezTo>
                          <a:pt x="199" y="15"/>
                          <a:pt x="200" y="14"/>
                          <a:pt x="200" y="14"/>
                        </a:cubicBezTo>
                        <a:cubicBezTo>
                          <a:pt x="200" y="14"/>
                          <a:pt x="200" y="14"/>
                          <a:pt x="200" y="14"/>
                        </a:cubicBezTo>
                        <a:cubicBezTo>
                          <a:pt x="200" y="14"/>
                          <a:pt x="200" y="14"/>
                          <a:pt x="200" y="14"/>
                        </a:cubicBezTo>
                        <a:cubicBezTo>
                          <a:pt x="200" y="14"/>
                          <a:pt x="201" y="14"/>
                          <a:pt x="201" y="14"/>
                        </a:cubicBezTo>
                        <a:cubicBezTo>
                          <a:pt x="201" y="14"/>
                          <a:pt x="200" y="14"/>
                          <a:pt x="200" y="14"/>
                        </a:cubicBezTo>
                        <a:close/>
                        <a:moveTo>
                          <a:pt x="199" y="14"/>
                        </a:moveTo>
                        <a:cubicBezTo>
                          <a:pt x="199" y="14"/>
                          <a:pt x="199" y="14"/>
                          <a:pt x="199" y="14"/>
                        </a:cubicBezTo>
                        <a:cubicBezTo>
                          <a:pt x="199" y="15"/>
                          <a:pt x="199" y="15"/>
                          <a:pt x="199" y="15"/>
                        </a:cubicBezTo>
                        <a:cubicBezTo>
                          <a:pt x="199" y="15"/>
                          <a:pt x="199" y="14"/>
                          <a:pt x="199" y="14"/>
                        </a:cubicBezTo>
                        <a:close/>
                        <a:moveTo>
                          <a:pt x="203" y="13"/>
                        </a:moveTo>
                        <a:cubicBezTo>
                          <a:pt x="204" y="13"/>
                          <a:pt x="203" y="13"/>
                          <a:pt x="203" y="13"/>
                        </a:cubicBezTo>
                        <a:cubicBezTo>
                          <a:pt x="203" y="13"/>
                          <a:pt x="204" y="13"/>
                          <a:pt x="204" y="13"/>
                        </a:cubicBezTo>
                        <a:cubicBezTo>
                          <a:pt x="204" y="13"/>
                          <a:pt x="203" y="13"/>
                          <a:pt x="203" y="13"/>
                        </a:cubicBezTo>
                        <a:close/>
                        <a:moveTo>
                          <a:pt x="198" y="15"/>
                        </a:moveTo>
                        <a:cubicBezTo>
                          <a:pt x="198" y="15"/>
                          <a:pt x="198" y="15"/>
                          <a:pt x="199" y="15"/>
                        </a:cubicBezTo>
                        <a:cubicBezTo>
                          <a:pt x="198" y="15"/>
                          <a:pt x="198" y="15"/>
                          <a:pt x="198" y="15"/>
                        </a:cubicBezTo>
                        <a:cubicBezTo>
                          <a:pt x="198" y="14"/>
                          <a:pt x="199" y="14"/>
                          <a:pt x="199" y="14"/>
                        </a:cubicBezTo>
                        <a:cubicBezTo>
                          <a:pt x="198" y="14"/>
                          <a:pt x="198" y="14"/>
                          <a:pt x="198" y="15"/>
                        </a:cubicBezTo>
                        <a:cubicBezTo>
                          <a:pt x="198" y="14"/>
                          <a:pt x="197" y="15"/>
                          <a:pt x="197" y="15"/>
                        </a:cubicBezTo>
                        <a:cubicBezTo>
                          <a:pt x="197" y="15"/>
                          <a:pt x="197" y="15"/>
                          <a:pt x="197" y="15"/>
                        </a:cubicBezTo>
                        <a:cubicBezTo>
                          <a:pt x="197" y="15"/>
                          <a:pt x="198" y="15"/>
                          <a:pt x="198" y="15"/>
                        </a:cubicBezTo>
                        <a:cubicBezTo>
                          <a:pt x="198" y="15"/>
                          <a:pt x="197" y="15"/>
                          <a:pt x="197" y="15"/>
                        </a:cubicBezTo>
                        <a:cubicBezTo>
                          <a:pt x="197" y="15"/>
                          <a:pt x="197" y="15"/>
                          <a:pt x="198" y="15"/>
                        </a:cubicBezTo>
                        <a:cubicBezTo>
                          <a:pt x="198" y="15"/>
                          <a:pt x="198" y="15"/>
                          <a:pt x="198" y="15"/>
                        </a:cubicBezTo>
                        <a:cubicBezTo>
                          <a:pt x="198" y="15"/>
                          <a:pt x="198" y="15"/>
                          <a:pt x="198" y="15"/>
                        </a:cubicBezTo>
                        <a:cubicBezTo>
                          <a:pt x="198" y="15"/>
                          <a:pt x="198" y="15"/>
                          <a:pt x="198" y="15"/>
                        </a:cubicBezTo>
                        <a:close/>
                        <a:moveTo>
                          <a:pt x="199" y="15"/>
                        </a:moveTo>
                        <a:cubicBezTo>
                          <a:pt x="199" y="15"/>
                          <a:pt x="198" y="15"/>
                          <a:pt x="199" y="15"/>
                        </a:cubicBezTo>
                        <a:cubicBezTo>
                          <a:pt x="199" y="15"/>
                          <a:pt x="199" y="15"/>
                          <a:pt x="199" y="15"/>
                        </a:cubicBezTo>
                        <a:close/>
                        <a:moveTo>
                          <a:pt x="200" y="15"/>
                        </a:moveTo>
                        <a:cubicBezTo>
                          <a:pt x="199" y="15"/>
                          <a:pt x="200" y="15"/>
                          <a:pt x="200" y="15"/>
                        </a:cubicBezTo>
                        <a:cubicBezTo>
                          <a:pt x="200" y="15"/>
                          <a:pt x="200" y="15"/>
                          <a:pt x="200" y="15"/>
                        </a:cubicBezTo>
                        <a:cubicBezTo>
                          <a:pt x="200" y="15"/>
                          <a:pt x="199" y="15"/>
                          <a:pt x="200" y="15"/>
                        </a:cubicBezTo>
                        <a:close/>
                        <a:moveTo>
                          <a:pt x="199" y="15"/>
                        </a:moveTo>
                        <a:cubicBezTo>
                          <a:pt x="199" y="15"/>
                          <a:pt x="200" y="15"/>
                          <a:pt x="200" y="15"/>
                        </a:cubicBezTo>
                        <a:cubicBezTo>
                          <a:pt x="199" y="15"/>
                          <a:pt x="199" y="15"/>
                          <a:pt x="199" y="15"/>
                        </a:cubicBezTo>
                        <a:cubicBezTo>
                          <a:pt x="199" y="15"/>
                          <a:pt x="199" y="15"/>
                          <a:pt x="199" y="15"/>
                        </a:cubicBezTo>
                        <a:cubicBezTo>
                          <a:pt x="200" y="15"/>
                          <a:pt x="199" y="15"/>
                          <a:pt x="199" y="15"/>
                        </a:cubicBezTo>
                        <a:close/>
                        <a:moveTo>
                          <a:pt x="200" y="15"/>
                        </a:moveTo>
                        <a:cubicBezTo>
                          <a:pt x="200" y="15"/>
                          <a:pt x="200" y="15"/>
                          <a:pt x="200" y="15"/>
                        </a:cubicBezTo>
                        <a:cubicBezTo>
                          <a:pt x="200" y="15"/>
                          <a:pt x="200" y="16"/>
                          <a:pt x="200" y="16"/>
                        </a:cubicBezTo>
                        <a:cubicBezTo>
                          <a:pt x="200" y="16"/>
                          <a:pt x="200" y="15"/>
                          <a:pt x="200" y="15"/>
                        </a:cubicBezTo>
                        <a:close/>
                        <a:moveTo>
                          <a:pt x="203" y="15"/>
                        </a:moveTo>
                        <a:cubicBezTo>
                          <a:pt x="204" y="14"/>
                          <a:pt x="204" y="15"/>
                          <a:pt x="204" y="14"/>
                        </a:cubicBezTo>
                        <a:cubicBezTo>
                          <a:pt x="204" y="14"/>
                          <a:pt x="204" y="14"/>
                          <a:pt x="204" y="14"/>
                        </a:cubicBezTo>
                        <a:cubicBezTo>
                          <a:pt x="204" y="15"/>
                          <a:pt x="203" y="15"/>
                          <a:pt x="203" y="15"/>
                        </a:cubicBezTo>
                        <a:close/>
                        <a:moveTo>
                          <a:pt x="197" y="16"/>
                        </a:moveTo>
                        <a:cubicBezTo>
                          <a:pt x="198" y="16"/>
                          <a:pt x="197" y="16"/>
                          <a:pt x="197" y="16"/>
                        </a:cubicBezTo>
                        <a:cubicBezTo>
                          <a:pt x="198" y="16"/>
                          <a:pt x="198" y="16"/>
                          <a:pt x="198" y="16"/>
                        </a:cubicBezTo>
                        <a:cubicBezTo>
                          <a:pt x="198" y="16"/>
                          <a:pt x="198" y="16"/>
                          <a:pt x="198" y="16"/>
                        </a:cubicBezTo>
                        <a:cubicBezTo>
                          <a:pt x="198" y="16"/>
                          <a:pt x="198" y="16"/>
                          <a:pt x="197" y="16"/>
                        </a:cubicBezTo>
                        <a:close/>
                        <a:moveTo>
                          <a:pt x="195" y="17"/>
                        </a:moveTo>
                        <a:cubicBezTo>
                          <a:pt x="195" y="17"/>
                          <a:pt x="195" y="17"/>
                          <a:pt x="195" y="17"/>
                        </a:cubicBezTo>
                        <a:cubicBezTo>
                          <a:pt x="195" y="17"/>
                          <a:pt x="194" y="17"/>
                          <a:pt x="194" y="17"/>
                        </a:cubicBezTo>
                        <a:cubicBezTo>
                          <a:pt x="194" y="17"/>
                          <a:pt x="195" y="17"/>
                          <a:pt x="195" y="17"/>
                        </a:cubicBezTo>
                        <a:close/>
                        <a:moveTo>
                          <a:pt x="194" y="17"/>
                        </a:moveTo>
                        <a:cubicBezTo>
                          <a:pt x="194" y="17"/>
                          <a:pt x="194" y="17"/>
                          <a:pt x="194" y="17"/>
                        </a:cubicBezTo>
                        <a:cubicBezTo>
                          <a:pt x="194" y="17"/>
                          <a:pt x="194" y="17"/>
                          <a:pt x="194" y="17"/>
                        </a:cubicBezTo>
                        <a:cubicBezTo>
                          <a:pt x="194" y="17"/>
                          <a:pt x="194" y="17"/>
                          <a:pt x="194" y="17"/>
                        </a:cubicBezTo>
                        <a:close/>
                        <a:moveTo>
                          <a:pt x="196" y="17"/>
                        </a:moveTo>
                        <a:cubicBezTo>
                          <a:pt x="196" y="17"/>
                          <a:pt x="196" y="17"/>
                          <a:pt x="196" y="16"/>
                        </a:cubicBezTo>
                        <a:cubicBezTo>
                          <a:pt x="196" y="16"/>
                          <a:pt x="196" y="17"/>
                          <a:pt x="196" y="17"/>
                        </a:cubicBezTo>
                        <a:close/>
                        <a:moveTo>
                          <a:pt x="173" y="23"/>
                        </a:moveTo>
                        <a:cubicBezTo>
                          <a:pt x="173" y="23"/>
                          <a:pt x="174" y="23"/>
                          <a:pt x="173" y="23"/>
                        </a:cubicBezTo>
                        <a:cubicBezTo>
                          <a:pt x="173" y="23"/>
                          <a:pt x="173" y="23"/>
                          <a:pt x="173" y="23"/>
                        </a:cubicBezTo>
                        <a:cubicBezTo>
                          <a:pt x="173" y="23"/>
                          <a:pt x="173" y="23"/>
                          <a:pt x="173" y="23"/>
                        </a:cubicBezTo>
                        <a:close/>
                        <a:moveTo>
                          <a:pt x="178" y="22"/>
                        </a:moveTo>
                        <a:cubicBezTo>
                          <a:pt x="178" y="22"/>
                          <a:pt x="178" y="22"/>
                          <a:pt x="178" y="22"/>
                        </a:cubicBezTo>
                        <a:cubicBezTo>
                          <a:pt x="178" y="22"/>
                          <a:pt x="177" y="22"/>
                          <a:pt x="178" y="22"/>
                        </a:cubicBezTo>
                        <a:close/>
                        <a:moveTo>
                          <a:pt x="180" y="21"/>
                        </a:moveTo>
                        <a:cubicBezTo>
                          <a:pt x="181" y="21"/>
                          <a:pt x="181" y="20"/>
                          <a:pt x="181" y="20"/>
                        </a:cubicBezTo>
                        <a:cubicBezTo>
                          <a:pt x="181" y="21"/>
                          <a:pt x="181" y="21"/>
                          <a:pt x="180" y="21"/>
                        </a:cubicBezTo>
                        <a:cubicBezTo>
                          <a:pt x="180" y="21"/>
                          <a:pt x="180" y="21"/>
                          <a:pt x="180" y="21"/>
                        </a:cubicBezTo>
                        <a:close/>
                        <a:moveTo>
                          <a:pt x="195" y="17"/>
                        </a:moveTo>
                        <a:cubicBezTo>
                          <a:pt x="195" y="17"/>
                          <a:pt x="195" y="17"/>
                          <a:pt x="195" y="17"/>
                        </a:cubicBezTo>
                        <a:cubicBezTo>
                          <a:pt x="195" y="17"/>
                          <a:pt x="194" y="17"/>
                          <a:pt x="195" y="17"/>
                        </a:cubicBezTo>
                        <a:cubicBezTo>
                          <a:pt x="195" y="17"/>
                          <a:pt x="195" y="17"/>
                          <a:pt x="195" y="17"/>
                        </a:cubicBezTo>
                        <a:cubicBezTo>
                          <a:pt x="195" y="17"/>
                          <a:pt x="195" y="17"/>
                          <a:pt x="195" y="17"/>
                        </a:cubicBezTo>
                        <a:close/>
                        <a:moveTo>
                          <a:pt x="189" y="18"/>
                        </a:moveTo>
                        <a:cubicBezTo>
                          <a:pt x="189" y="19"/>
                          <a:pt x="189" y="19"/>
                          <a:pt x="189" y="19"/>
                        </a:cubicBezTo>
                        <a:cubicBezTo>
                          <a:pt x="189" y="19"/>
                          <a:pt x="190" y="18"/>
                          <a:pt x="189" y="18"/>
                        </a:cubicBezTo>
                        <a:close/>
                        <a:moveTo>
                          <a:pt x="187" y="19"/>
                        </a:moveTo>
                        <a:cubicBezTo>
                          <a:pt x="187" y="19"/>
                          <a:pt x="186" y="19"/>
                          <a:pt x="186" y="19"/>
                        </a:cubicBezTo>
                        <a:cubicBezTo>
                          <a:pt x="186" y="20"/>
                          <a:pt x="187" y="19"/>
                          <a:pt x="187" y="19"/>
                        </a:cubicBezTo>
                        <a:close/>
                        <a:moveTo>
                          <a:pt x="186" y="20"/>
                        </a:moveTo>
                        <a:cubicBezTo>
                          <a:pt x="186" y="20"/>
                          <a:pt x="186" y="20"/>
                          <a:pt x="186" y="20"/>
                        </a:cubicBezTo>
                        <a:cubicBezTo>
                          <a:pt x="186" y="20"/>
                          <a:pt x="185" y="20"/>
                          <a:pt x="185" y="20"/>
                        </a:cubicBezTo>
                        <a:cubicBezTo>
                          <a:pt x="185" y="20"/>
                          <a:pt x="185" y="20"/>
                          <a:pt x="185" y="20"/>
                        </a:cubicBezTo>
                        <a:cubicBezTo>
                          <a:pt x="186" y="20"/>
                          <a:pt x="186" y="20"/>
                          <a:pt x="186" y="20"/>
                        </a:cubicBezTo>
                        <a:close/>
                        <a:moveTo>
                          <a:pt x="187" y="20"/>
                        </a:moveTo>
                        <a:cubicBezTo>
                          <a:pt x="187" y="20"/>
                          <a:pt x="187" y="20"/>
                          <a:pt x="187" y="20"/>
                        </a:cubicBezTo>
                        <a:cubicBezTo>
                          <a:pt x="187" y="20"/>
                          <a:pt x="188" y="19"/>
                          <a:pt x="188" y="19"/>
                        </a:cubicBezTo>
                        <a:cubicBezTo>
                          <a:pt x="188" y="19"/>
                          <a:pt x="188" y="19"/>
                          <a:pt x="188" y="19"/>
                        </a:cubicBezTo>
                        <a:cubicBezTo>
                          <a:pt x="188" y="19"/>
                          <a:pt x="188" y="19"/>
                          <a:pt x="188" y="19"/>
                        </a:cubicBezTo>
                        <a:cubicBezTo>
                          <a:pt x="188" y="19"/>
                          <a:pt x="188" y="19"/>
                          <a:pt x="188" y="19"/>
                        </a:cubicBezTo>
                        <a:cubicBezTo>
                          <a:pt x="188" y="19"/>
                          <a:pt x="189" y="19"/>
                          <a:pt x="188" y="19"/>
                        </a:cubicBezTo>
                        <a:cubicBezTo>
                          <a:pt x="189" y="19"/>
                          <a:pt x="189" y="19"/>
                          <a:pt x="189" y="19"/>
                        </a:cubicBezTo>
                        <a:cubicBezTo>
                          <a:pt x="189" y="19"/>
                          <a:pt x="189" y="19"/>
                          <a:pt x="189" y="19"/>
                        </a:cubicBezTo>
                        <a:cubicBezTo>
                          <a:pt x="188" y="19"/>
                          <a:pt x="188" y="19"/>
                          <a:pt x="188" y="19"/>
                        </a:cubicBezTo>
                        <a:cubicBezTo>
                          <a:pt x="188" y="19"/>
                          <a:pt x="188" y="19"/>
                          <a:pt x="188" y="19"/>
                        </a:cubicBezTo>
                        <a:cubicBezTo>
                          <a:pt x="188" y="19"/>
                          <a:pt x="187" y="19"/>
                          <a:pt x="187" y="19"/>
                        </a:cubicBezTo>
                        <a:cubicBezTo>
                          <a:pt x="187" y="20"/>
                          <a:pt x="187" y="20"/>
                          <a:pt x="187" y="20"/>
                        </a:cubicBezTo>
                        <a:close/>
                        <a:moveTo>
                          <a:pt x="192" y="19"/>
                        </a:moveTo>
                        <a:cubicBezTo>
                          <a:pt x="192" y="19"/>
                          <a:pt x="191" y="19"/>
                          <a:pt x="191" y="19"/>
                        </a:cubicBezTo>
                        <a:cubicBezTo>
                          <a:pt x="191" y="19"/>
                          <a:pt x="192" y="19"/>
                          <a:pt x="192" y="19"/>
                        </a:cubicBezTo>
                        <a:close/>
                        <a:moveTo>
                          <a:pt x="193" y="19"/>
                        </a:moveTo>
                        <a:cubicBezTo>
                          <a:pt x="193" y="19"/>
                          <a:pt x="193" y="19"/>
                          <a:pt x="193" y="19"/>
                        </a:cubicBezTo>
                        <a:cubicBezTo>
                          <a:pt x="193" y="19"/>
                          <a:pt x="193" y="19"/>
                          <a:pt x="193" y="19"/>
                        </a:cubicBezTo>
                        <a:close/>
                        <a:moveTo>
                          <a:pt x="191" y="20"/>
                        </a:moveTo>
                        <a:cubicBezTo>
                          <a:pt x="191" y="20"/>
                          <a:pt x="191" y="20"/>
                          <a:pt x="191" y="20"/>
                        </a:cubicBezTo>
                        <a:cubicBezTo>
                          <a:pt x="191" y="20"/>
                          <a:pt x="191" y="20"/>
                          <a:pt x="191" y="20"/>
                        </a:cubicBezTo>
                        <a:cubicBezTo>
                          <a:pt x="191" y="20"/>
                          <a:pt x="191" y="20"/>
                          <a:pt x="191" y="20"/>
                        </a:cubicBezTo>
                        <a:cubicBezTo>
                          <a:pt x="191" y="20"/>
                          <a:pt x="191" y="20"/>
                          <a:pt x="190" y="20"/>
                        </a:cubicBezTo>
                        <a:cubicBezTo>
                          <a:pt x="190" y="20"/>
                          <a:pt x="191" y="20"/>
                          <a:pt x="191" y="20"/>
                        </a:cubicBezTo>
                        <a:close/>
                        <a:moveTo>
                          <a:pt x="204" y="18"/>
                        </a:moveTo>
                        <a:cubicBezTo>
                          <a:pt x="204" y="18"/>
                          <a:pt x="204" y="18"/>
                          <a:pt x="204" y="18"/>
                        </a:cubicBezTo>
                        <a:cubicBezTo>
                          <a:pt x="204" y="18"/>
                          <a:pt x="204" y="18"/>
                          <a:pt x="204" y="18"/>
                        </a:cubicBezTo>
                        <a:close/>
                        <a:moveTo>
                          <a:pt x="200" y="19"/>
                        </a:moveTo>
                        <a:cubicBezTo>
                          <a:pt x="200" y="19"/>
                          <a:pt x="200" y="19"/>
                          <a:pt x="200" y="19"/>
                        </a:cubicBezTo>
                        <a:cubicBezTo>
                          <a:pt x="200" y="19"/>
                          <a:pt x="200" y="19"/>
                          <a:pt x="200" y="19"/>
                        </a:cubicBezTo>
                        <a:cubicBezTo>
                          <a:pt x="200" y="19"/>
                          <a:pt x="200" y="19"/>
                          <a:pt x="200" y="19"/>
                        </a:cubicBezTo>
                        <a:cubicBezTo>
                          <a:pt x="200" y="19"/>
                          <a:pt x="200" y="19"/>
                          <a:pt x="200" y="19"/>
                        </a:cubicBezTo>
                        <a:close/>
                        <a:moveTo>
                          <a:pt x="199" y="19"/>
                        </a:moveTo>
                        <a:cubicBezTo>
                          <a:pt x="199" y="19"/>
                          <a:pt x="199" y="19"/>
                          <a:pt x="198" y="19"/>
                        </a:cubicBezTo>
                        <a:cubicBezTo>
                          <a:pt x="198" y="19"/>
                          <a:pt x="198" y="19"/>
                          <a:pt x="198" y="19"/>
                        </a:cubicBezTo>
                        <a:cubicBezTo>
                          <a:pt x="198" y="19"/>
                          <a:pt x="199" y="19"/>
                          <a:pt x="199" y="19"/>
                        </a:cubicBezTo>
                        <a:cubicBezTo>
                          <a:pt x="199" y="19"/>
                          <a:pt x="199" y="19"/>
                          <a:pt x="199" y="19"/>
                        </a:cubicBezTo>
                        <a:close/>
                        <a:moveTo>
                          <a:pt x="202" y="18"/>
                        </a:moveTo>
                        <a:cubicBezTo>
                          <a:pt x="202" y="18"/>
                          <a:pt x="202" y="18"/>
                          <a:pt x="202" y="18"/>
                        </a:cubicBezTo>
                        <a:cubicBezTo>
                          <a:pt x="202" y="18"/>
                          <a:pt x="202" y="18"/>
                          <a:pt x="202" y="18"/>
                        </a:cubicBezTo>
                        <a:cubicBezTo>
                          <a:pt x="202" y="18"/>
                          <a:pt x="203" y="18"/>
                          <a:pt x="203" y="18"/>
                        </a:cubicBezTo>
                        <a:cubicBezTo>
                          <a:pt x="203" y="18"/>
                          <a:pt x="202" y="18"/>
                          <a:pt x="202" y="18"/>
                        </a:cubicBezTo>
                        <a:close/>
                        <a:moveTo>
                          <a:pt x="201" y="18"/>
                        </a:moveTo>
                        <a:cubicBezTo>
                          <a:pt x="201" y="18"/>
                          <a:pt x="201" y="19"/>
                          <a:pt x="201" y="19"/>
                        </a:cubicBezTo>
                        <a:cubicBezTo>
                          <a:pt x="202" y="18"/>
                          <a:pt x="201" y="18"/>
                          <a:pt x="201" y="18"/>
                        </a:cubicBezTo>
                        <a:close/>
                        <a:moveTo>
                          <a:pt x="200" y="18"/>
                        </a:moveTo>
                        <a:cubicBezTo>
                          <a:pt x="200" y="19"/>
                          <a:pt x="200" y="19"/>
                          <a:pt x="200" y="19"/>
                        </a:cubicBezTo>
                        <a:cubicBezTo>
                          <a:pt x="201" y="18"/>
                          <a:pt x="201" y="19"/>
                          <a:pt x="201" y="19"/>
                        </a:cubicBezTo>
                        <a:cubicBezTo>
                          <a:pt x="201" y="19"/>
                          <a:pt x="201" y="19"/>
                          <a:pt x="201" y="19"/>
                        </a:cubicBezTo>
                        <a:cubicBezTo>
                          <a:pt x="201" y="18"/>
                          <a:pt x="201" y="18"/>
                          <a:pt x="200" y="18"/>
                        </a:cubicBezTo>
                        <a:close/>
                        <a:moveTo>
                          <a:pt x="200" y="18"/>
                        </a:moveTo>
                        <a:cubicBezTo>
                          <a:pt x="200" y="19"/>
                          <a:pt x="200" y="19"/>
                          <a:pt x="200" y="19"/>
                        </a:cubicBezTo>
                        <a:cubicBezTo>
                          <a:pt x="200" y="19"/>
                          <a:pt x="200" y="19"/>
                          <a:pt x="200" y="19"/>
                        </a:cubicBezTo>
                        <a:cubicBezTo>
                          <a:pt x="200" y="19"/>
                          <a:pt x="200" y="18"/>
                          <a:pt x="200" y="18"/>
                        </a:cubicBezTo>
                        <a:close/>
                        <a:moveTo>
                          <a:pt x="194" y="20"/>
                        </a:moveTo>
                        <a:cubicBezTo>
                          <a:pt x="194" y="20"/>
                          <a:pt x="195" y="20"/>
                          <a:pt x="195" y="20"/>
                        </a:cubicBezTo>
                        <a:cubicBezTo>
                          <a:pt x="195" y="20"/>
                          <a:pt x="194" y="20"/>
                          <a:pt x="194" y="20"/>
                        </a:cubicBezTo>
                        <a:close/>
                        <a:moveTo>
                          <a:pt x="191" y="20"/>
                        </a:moveTo>
                        <a:cubicBezTo>
                          <a:pt x="191" y="21"/>
                          <a:pt x="193" y="20"/>
                          <a:pt x="193" y="20"/>
                        </a:cubicBezTo>
                        <a:cubicBezTo>
                          <a:pt x="192" y="20"/>
                          <a:pt x="192" y="20"/>
                          <a:pt x="191" y="20"/>
                        </a:cubicBezTo>
                        <a:close/>
                        <a:moveTo>
                          <a:pt x="191" y="20"/>
                        </a:moveTo>
                        <a:cubicBezTo>
                          <a:pt x="191" y="20"/>
                          <a:pt x="192" y="20"/>
                          <a:pt x="192" y="20"/>
                        </a:cubicBezTo>
                        <a:cubicBezTo>
                          <a:pt x="192" y="20"/>
                          <a:pt x="192" y="20"/>
                          <a:pt x="192" y="20"/>
                        </a:cubicBezTo>
                        <a:cubicBezTo>
                          <a:pt x="191" y="20"/>
                          <a:pt x="191" y="20"/>
                          <a:pt x="191" y="20"/>
                        </a:cubicBezTo>
                        <a:cubicBezTo>
                          <a:pt x="191" y="20"/>
                          <a:pt x="191" y="20"/>
                          <a:pt x="191" y="20"/>
                        </a:cubicBezTo>
                        <a:close/>
                        <a:moveTo>
                          <a:pt x="190" y="21"/>
                        </a:moveTo>
                        <a:cubicBezTo>
                          <a:pt x="191" y="21"/>
                          <a:pt x="190" y="21"/>
                          <a:pt x="190" y="21"/>
                        </a:cubicBezTo>
                        <a:cubicBezTo>
                          <a:pt x="190" y="21"/>
                          <a:pt x="190" y="21"/>
                          <a:pt x="190" y="21"/>
                        </a:cubicBezTo>
                        <a:close/>
                        <a:moveTo>
                          <a:pt x="199" y="19"/>
                        </a:moveTo>
                        <a:cubicBezTo>
                          <a:pt x="199" y="19"/>
                          <a:pt x="199" y="19"/>
                          <a:pt x="199" y="19"/>
                        </a:cubicBezTo>
                        <a:cubicBezTo>
                          <a:pt x="199" y="19"/>
                          <a:pt x="199" y="19"/>
                          <a:pt x="199" y="19"/>
                        </a:cubicBezTo>
                        <a:cubicBezTo>
                          <a:pt x="199" y="19"/>
                          <a:pt x="199" y="19"/>
                          <a:pt x="199" y="19"/>
                        </a:cubicBezTo>
                        <a:cubicBezTo>
                          <a:pt x="199" y="19"/>
                          <a:pt x="199" y="19"/>
                          <a:pt x="199" y="19"/>
                        </a:cubicBezTo>
                        <a:cubicBezTo>
                          <a:pt x="199" y="19"/>
                          <a:pt x="199" y="19"/>
                          <a:pt x="199" y="19"/>
                        </a:cubicBezTo>
                        <a:close/>
                        <a:moveTo>
                          <a:pt x="198" y="19"/>
                        </a:moveTo>
                        <a:cubicBezTo>
                          <a:pt x="198" y="19"/>
                          <a:pt x="198" y="19"/>
                          <a:pt x="199" y="19"/>
                        </a:cubicBezTo>
                        <a:cubicBezTo>
                          <a:pt x="198" y="19"/>
                          <a:pt x="198" y="19"/>
                          <a:pt x="198" y="19"/>
                        </a:cubicBezTo>
                        <a:close/>
                        <a:moveTo>
                          <a:pt x="195" y="20"/>
                        </a:moveTo>
                        <a:cubicBezTo>
                          <a:pt x="195" y="20"/>
                          <a:pt x="195" y="20"/>
                          <a:pt x="195" y="20"/>
                        </a:cubicBezTo>
                        <a:cubicBezTo>
                          <a:pt x="194" y="20"/>
                          <a:pt x="194" y="20"/>
                          <a:pt x="194" y="20"/>
                        </a:cubicBezTo>
                        <a:cubicBezTo>
                          <a:pt x="194" y="20"/>
                          <a:pt x="194" y="20"/>
                          <a:pt x="195" y="20"/>
                        </a:cubicBezTo>
                        <a:close/>
                        <a:moveTo>
                          <a:pt x="196" y="20"/>
                        </a:moveTo>
                        <a:cubicBezTo>
                          <a:pt x="196" y="20"/>
                          <a:pt x="196" y="20"/>
                          <a:pt x="196" y="20"/>
                        </a:cubicBezTo>
                        <a:cubicBezTo>
                          <a:pt x="196" y="20"/>
                          <a:pt x="196" y="20"/>
                          <a:pt x="196" y="20"/>
                        </a:cubicBezTo>
                        <a:cubicBezTo>
                          <a:pt x="196" y="20"/>
                          <a:pt x="196" y="20"/>
                          <a:pt x="196" y="20"/>
                        </a:cubicBezTo>
                        <a:cubicBezTo>
                          <a:pt x="196" y="20"/>
                          <a:pt x="196" y="20"/>
                          <a:pt x="196" y="20"/>
                        </a:cubicBezTo>
                        <a:cubicBezTo>
                          <a:pt x="196" y="20"/>
                          <a:pt x="196" y="20"/>
                          <a:pt x="196" y="20"/>
                        </a:cubicBezTo>
                        <a:cubicBezTo>
                          <a:pt x="196" y="20"/>
                          <a:pt x="196" y="20"/>
                          <a:pt x="196" y="20"/>
                        </a:cubicBezTo>
                        <a:cubicBezTo>
                          <a:pt x="196" y="20"/>
                          <a:pt x="196" y="20"/>
                          <a:pt x="196" y="20"/>
                        </a:cubicBezTo>
                        <a:close/>
                        <a:moveTo>
                          <a:pt x="205" y="18"/>
                        </a:moveTo>
                        <a:cubicBezTo>
                          <a:pt x="205" y="18"/>
                          <a:pt x="205" y="18"/>
                          <a:pt x="205" y="18"/>
                        </a:cubicBezTo>
                        <a:cubicBezTo>
                          <a:pt x="205" y="18"/>
                          <a:pt x="205" y="18"/>
                          <a:pt x="205" y="18"/>
                        </a:cubicBezTo>
                        <a:close/>
                        <a:moveTo>
                          <a:pt x="203" y="18"/>
                        </a:moveTo>
                        <a:cubicBezTo>
                          <a:pt x="203" y="19"/>
                          <a:pt x="203" y="19"/>
                          <a:pt x="203" y="19"/>
                        </a:cubicBezTo>
                        <a:cubicBezTo>
                          <a:pt x="204" y="19"/>
                          <a:pt x="204" y="18"/>
                          <a:pt x="204" y="18"/>
                        </a:cubicBezTo>
                        <a:lnTo>
                          <a:pt x="203" y="18"/>
                        </a:lnTo>
                        <a:close/>
                        <a:moveTo>
                          <a:pt x="202" y="19"/>
                        </a:moveTo>
                        <a:cubicBezTo>
                          <a:pt x="202" y="19"/>
                          <a:pt x="201" y="19"/>
                          <a:pt x="201" y="19"/>
                        </a:cubicBezTo>
                        <a:cubicBezTo>
                          <a:pt x="202" y="19"/>
                          <a:pt x="202" y="19"/>
                          <a:pt x="202" y="19"/>
                        </a:cubicBezTo>
                        <a:cubicBezTo>
                          <a:pt x="201" y="19"/>
                          <a:pt x="201" y="19"/>
                          <a:pt x="201" y="19"/>
                        </a:cubicBezTo>
                        <a:cubicBezTo>
                          <a:pt x="201" y="19"/>
                          <a:pt x="201" y="19"/>
                          <a:pt x="201" y="19"/>
                        </a:cubicBezTo>
                        <a:cubicBezTo>
                          <a:pt x="201" y="19"/>
                          <a:pt x="202" y="19"/>
                          <a:pt x="202" y="19"/>
                        </a:cubicBezTo>
                        <a:close/>
                        <a:moveTo>
                          <a:pt x="177" y="24"/>
                        </a:moveTo>
                        <a:cubicBezTo>
                          <a:pt x="177" y="24"/>
                          <a:pt x="178" y="24"/>
                          <a:pt x="178" y="24"/>
                        </a:cubicBezTo>
                        <a:cubicBezTo>
                          <a:pt x="178" y="24"/>
                          <a:pt x="178" y="24"/>
                          <a:pt x="178" y="24"/>
                        </a:cubicBezTo>
                        <a:cubicBezTo>
                          <a:pt x="177" y="24"/>
                          <a:pt x="177" y="24"/>
                          <a:pt x="176" y="24"/>
                        </a:cubicBezTo>
                        <a:cubicBezTo>
                          <a:pt x="177" y="24"/>
                          <a:pt x="177" y="24"/>
                          <a:pt x="177" y="24"/>
                        </a:cubicBezTo>
                        <a:close/>
                        <a:moveTo>
                          <a:pt x="184" y="23"/>
                        </a:moveTo>
                        <a:cubicBezTo>
                          <a:pt x="184" y="23"/>
                          <a:pt x="184" y="23"/>
                          <a:pt x="184" y="23"/>
                        </a:cubicBezTo>
                        <a:cubicBezTo>
                          <a:pt x="184" y="23"/>
                          <a:pt x="184" y="23"/>
                          <a:pt x="184" y="23"/>
                        </a:cubicBezTo>
                        <a:close/>
                        <a:moveTo>
                          <a:pt x="183" y="24"/>
                        </a:moveTo>
                        <a:cubicBezTo>
                          <a:pt x="183" y="24"/>
                          <a:pt x="183" y="23"/>
                          <a:pt x="183" y="23"/>
                        </a:cubicBezTo>
                        <a:cubicBezTo>
                          <a:pt x="183" y="23"/>
                          <a:pt x="183" y="23"/>
                          <a:pt x="183" y="24"/>
                        </a:cubicBezTo>
                        <a:close/>
                        <a:moveTo>
                          <a:pt x="184" y="24"/>
                        </a:moveTo>
                        <a:cubicBezTo>
                          <a:pt x="183" y="24"/>
                          <a:pt x="183" y="24"/>
                          <a:pt x="183" y="24"/>
                        </a:cubicBezTo>
                        <a:cubicBezTo>
                          <a:pt x="183" y="24"/>
                          <a:pt x="183" y="24"/>
                          <a:pt x="183" y="24"/>
                        </a:cubicBezTo>
                        <a:cubicBezTo>
                          <a:pt x="183" y="24"/>
                          <a:pt x="184" y="24"/>
                          <a:pt x="184" y="24"/>
                        </a:cubicBezTo>
                        <a:cubicBezTo>
                          <a:pt x="185" y="24"/>
                          <a:pt x="185" y="24"/>
                          <a:pt x="185" y="23"/>
                        </a:cubicBezTo>
                        <a:cubicBezTo>
                          <a:pt x="185" y="23"/>
                          <a:pt x="185" y="23"/>
                          <a:pt x="185" y="23"/>
                        </a:cubicBezTo>
                        <a:cubicBezTo>
                          <a:pt x="185" y="23"/>
                          <a:pt x="184" y="24"/>
                          <a:pt x="184" y="23"/>
                        </a:cubicBezTo>
                        <a:cubicBezTo>
                          <a:pt x="184" y="23"/>
                          <a:pt x="184" y="24"/>
                          <a:pt x="184" y="24"/>
                        </a:cubicBezTo>
                        <a:close/>
                        <a:moveTo>
                          <a:pt x="185" y="23"/>
                        </a:moveTo>
                        <a:cubicBezTo>
                          <a:pt x="185" y="23"/>
                          <a:pt x="185" y="23"/>
                          <a:pt x="185" y="23"/>
                        </a:cubicBezTo>
                        <a:cubicBezTo>
                          <a:pt x="185" y="23"/>
                          <a:pt x="185" y="23"/>
                          <a:pt x="185" y="23"/>
                        </a:cubicBezTo>
                        <a:cubicBezTo>
                          <a:pt x="185" y="23"/>
                          <a:pt x="185" y="23"/>
                          <a:pt x="185" y="23"/>
                        </a:cubicBezTo>
                        <a:close/>
                        <a:moveTo>
                          <a:pt x="197" y="20"/>
                        </a:moveTo>
                        <a:cubicBezTo>
                          <a:pt x="197" y="21"/>
                          <a:pt x="198" y="20"/>
                          <a:pt x="198" y="20"/>
                        </a:cubicBezTo>
                        <a:cubicBezTo>
                          <a:pt x="198" y="21"/>
                          <a:pt x="198" y="21"/>
                          <a:pt x="198" y="21"/>
                        </a:cubicBezTo>
                        <a:cubicBezTo>
                          <a:pt x="198" y="21"/>
                          <a:pt x="197" y="21"/>
                          <a:pt x="197" y="21"/>
                        </a:cubicBezTo>
                        <a:cubicBezTo>
                          <a:pt x="197" y="21"/>
                          <a:pt x="198" y="21"/>
                          <a:pt x="198" y="21"/>
                        </a:cubicBezTo>
                        <a:cubicBezTo>
                          <a:pt x="197" y="21"/>
                          <a:pt x="198" y="20"/>
                          <a:pt x="198" y="20"/>
                        </a:cubicBezTo>
                        <a:cubicBezTo>
                          <a:pt x="198" y="20"/>
                          <a:pt x="198" y="20"/>
                          <a:pt x="197" y="20"/>
                        </a:cubicBezTo>
                        <a:close/>
                        <a:moveTo>
                          <a:pt x="197" y="20"/>
                        </a:moveTo>
                        <a:cubicBezTo>
                          <a:pt x="197" y="21"/>
                          <a:pt x="196" y="21"/>
                          <a:pt x="196" y="21"/>
                        </a:cubicBezTo>
                        <a:cubicBezTo>
                          <a:pt x="197" y="21"/>
                          <a:pt x="197" y="21"/>
                          <a:pt x="197" y="21"/>
                        </a:cubicBezTo>
                        <a:cubicBezTo>
                          <a:pt x="197" y="21"/>
                          <a:pt x="197" y="21"/>
                          <a:pt x="197" y="21"/>
                        </a:cubicBezTo>
                        <a:cubicBezTo>
                          <a:pt x="197" y="20"/>
                          <a:pt x="197" y="21"/>
                          <a:pt x="197" y="20"/>
                        </a:cubicBezTo>
                        <a:cubicBezTo>
                          <a:pt x="197" y="20"/>
                          <a:pt x="197" y="20"/>
                          <a:pt x="197" y="20"/>
                        </a:cubicBezTo>
                        <a:close/>
                        <a:moveTo>
                          <a:pt x="195" y="21"/>
                        </a:moveTo>
                        <a:cubicBezTo>
                          <a:pt x="195" y="21"/>
                          <a:pt x="195" y="21"/>
                          <a:pt x="195" y="21"/>
                        </a:cubicBezTo>
                        <a:cubicBezTo>
                          <a:pt x="195" y="21"/>
                          <a:pt x="196" y="21"/>
                          <a:pt x="196" y="21"/>
                        </a:cubicBezTo>
                        <a:cubicBezTo>
                          <a:pt x="196" y="21"/>
                          <a:pt x="196" y="21"/>
                          <a:pt x="196" y="21"/>
                        </a:cubicBezTo>
                        <a:cubicBezTo>
                          <a:pt x="196" y="21"/>
                          <a:pt x="196" y="21"/>
                          <a:pt x="196" y="21"/>
                        </a:cubicBezTo>
                        <a:cubicBezTo>
                          <a:pt x="196" y="21"/>
                          <a:pt x="196" y="21"/>
                          <a:pt x="195" y="21"/>
                        </a:cubicBezTo>
                        <a:close/>
                        <a:moveTo>
                          <a:pt x="194" y="21"/>
                        </a:moveTo>
                        <a:cubicBezTo>
                          <a:pt x="194" y="21"/>
                          <a:pt x="193" y="21"/>
                          <a:pt x="193" y="21"/>
                        </a:cubicBezTo>
                        <a:cubicBezTo>
                          <a:pt x="193" y="21"/>
                          <a:pt x="194" y="21"/>
                          <a:pt x="194" y="21"/>
                        </a:cubicBezTo>
                        <a:close/>
                        <a:moveTo>
                          <a:pt x="197" y="21"/>
                        </a:moveTo>
                        <a:cubicBezTo>
                          <a:pt x="197" y="21"/>
                          <a:pt x="197" y="21"/>
                          <a:pt x="197" y="21"/>
                        </a:cubicBezTo>
                        <a:cubicBezTo>
                          <a:pt x="196" y="21"/>
                          <a:pt x="196" y="21"/>
                          <a:pt x="196" y="21"/>
                        </a:cubicBezTo>
                        <a:cubicBezTo>
                          <a:pt x="196" y="21"/>
                          <a:pt x="195" y="21"/>
                          <a:pt x="195" y="21"/>
                        </a:cubicBezTo>
                        <a:cubicBezTo>
                          <a:pt x="195" y="21"/>
                          <a:pt x="197" y="21"/>
                          <a:pt x="197" y="21"/>
                        </a:cubicBezTo>
                        <a:close/>
                        <a:moveTo>
                          <a:pt x="195" y="21"/>
                        </a:moveTo>
                        <a:cubicBezTo>
                          <a:pt x="194" y="21"/>
                          <a:pt x="195" y="21"/>
                          <a:pt x="195" y="21"/>
                        </a:cubicBezTo>
                        <a:cubicBezTo>
                          <a:pt x="195" y="21"/>
                          <a:pt x="195" y="21"/>
                          <a:pt x="194" y="21"/>
                        </a:cubicBezTo>
                        <a:cubicBezTo>
                          <a:pt x="194" y="21"/>
                          <a:pt x="194" y="22"/>
                          <a:pt x="194" y="22"/>
                        </a:cubicBezTo>
                        <a:cubicBezTo>
                          <a:pt x="194" y="21"/>
                          <a:pt x="195" y="22"/>
                          <a:pt x="195" y="21"/>
                        </a:cubicBezTo>
                        <a:close/>
                        <a:moveTo>
                          <a:pt x="199" y="20"/>
                        </a:moveTo>
                        <a:cubicBezTo>
                          <a:pt x="199" y="20"/>
                          <a:pt x="199" y="20"/>
                          <a:pt x="199" y="20"/>
                        </a:cubicBezTo>
                        <a:cubicBezTo>
                          <a:pt x="199" y="21"/>
                          <a:pt x="200" y="20"/>
                          <a:pt x="200" y="20"/>
                        </a:cubicBezTo>
                        <a:cubicBezTo>
                          <a:pt x="200" y="20"/>
                          <a:pt x="200" y="20"/>
                          <a:pt x="200" y="20"/>
                        </a:cubicBezTo>
                        <a:cubicBezTo>
                          <a:pt x="200" y="20"/>
                          <a:pt x="200" y="20"/>
                          <a:pt x="200" y="20"/>
                        </a:cubicBezTo>
                        <a:cubicBezTo>
                          <a:pt x="200" y="20"/>
                          <a:pt x="200" y="20"/>
                          <a:pt x="200" y="20"/>
                        </a:cubicBezTo>
                        <a:cubicBezTo>
                          <a:pt x="200" y="20"/>
                          <a:pt x="200" y="20"/>
                          <a:pt x="200" y="20"/>
                        </a:cubicBezTo>
                        <a:cubicBezTo>
                          <a:pt x="200" y="20"/>
                          <a:pt x="200" y="20"/>
                          <a:pt x="200" y="20"/>
                        </a:cubicBezTo>
                        <a:cubicBezTo>
                          <a:pt x="200" y="20"/>
                          <a:pt x="200" y="20"/>
                          <a:pt x="200" y="20"/>
                        </a:cubicBezTo>
                        <a:cubicBezTo>
                          <a:pt x="200" y="20"/>
                          <a:pt x="199" y="20"/>
                          <a:pt x="199" y="20"/>
                        </a:cubicBezTo>
                        <a:cubicBezTo>
                          <a:pt x="199" y="20"/>
                          <a:pt x="200" y="20"/>
                          <a:pt x="200" y="20"/>
                        </a:cubicBezTo>
                        <a:cubicBezTo>
                          <a:pt x="199" y="20"/>
                          <a:pt x="199" y="20"/>
                          <a:pt x="198" y="21"/>
                        </a:cubicBezTo>
                        <a:cubicBezTo>
                          <a:pt x="198" y="21"/>
                          <a:pt x="198" y="21"/>
                          <a:pt x="198" y="21"/>
                        </a:cubicBezTo>
                        <a:cubicBezTo>
                          <a:pt x="199" y="21"/>
                          <a:pt x="199" y="20"/>
                          <a:pt x="199" y="20"/>
                        </a:cubicBezTo>
                        <a:close/>
                        <a:moveTo>
                          <a:pt x="196" y="21"/>
                        </a:moveTo>
                        <a:cubicBezTo>
                          <a:pt x="195" y="21"/>
                          <a:pt x="195" y="21"/>
                          <a:pt x="195" y="22"/>
                        </a:cubicBezTo>
                        <a:cubicBezTo>
                          <a:pt x="195" y="22"/>
                          <a:pt x="196" y="22"/>
                          <a:pt x="196" y="21"/>
                        </a:cubicBezTo>
                        <a:close/>
                        <a:moveTo>
                          <a:pt x="197" y="21"/>
                        </a:moveTo>
                        <a:cubicBezTo>
                          <a:pt x="198" y="21"/>
                          <a:pt x="198" y="21"/>
                          <a:pt x="198" y="21"/>
                        </a:cubicBezTo>
                        <a:cubicBezTo>
                          <a:pt x="198" y="21"/>
                          <a:pt x="197" y="21"/>
                          <a:pt x="197" y="21"/>
                        </a:cubicBezTo>
                        <a:cubicBezTo>
                          <a:pt x="197" y="21"/>
                          <a:pt x="197" y="21"/>
                          <a:pt x="197" y="21"/>
                        </a:cubicBezTo>
                        <a:close/>
                        <a:moveTo>
                          <a:pt x="204" y="20"/>
                        </a:moveTo>
                        <a:cubicBezTo>
                          <a:pt x="203" y="20"/>
                          <a:pt x="203" y="20"/>
                          <a:pt x="203" y="20"/>
                        </a:cubicBezTo>
                        <a:cubicBezTo>
                          <a:pt x="203" y="20"/>
                          <a:pt x="204" y="20"/>
                          <a:pt x="204" y="20"/>
                        </a:cubicBezTo>
                        <a:close/>
                        <a:moveTo>
                          <a:pt x="211" y="20"/>
                        </a:moveTo>
                        <a:cubicBezTo>
                          <a:pt x="211" y="19"/>
                          <a:pt x="213" y="20"/>
                          <a:pt x="212" y="19"/>
                        </a:cubicBezTo>
                        <a:cubicBezTo>
                          <a:pt x="212" y="20"/>
                          <a:pt x="212" y="19"/>
                          <a:pt x="212" y="19"/>
                        </a:cubicBezTo>
                        <a:cubicBezTo>
                          <a:pt x="212" y="19"/>
                          <a:pt x="211" y="20"/>
                          <a:pt x="211" y="20"/>
                        </a:cubicBezTo>
                        <a:close/>
                        <a:moveTo>
                          <a:pt x="215" y="19"/>
                        </a:moveTo>
                        <a:cubicBezTo>
                          <a:pt x="215" y="19"/>
                          <a:pt x="215" y="19"/>
                          <a:pt x="215" y="19"/>
                        </a:cubicBezTo>
                        <a:cubicBezTo>
                          <a:pt x="215" y="19"/>
                          <a:pt x="215" y="19"/>
                          <a:pt x="215" y="19"/>
                        </a:cubicBezTo>
                        <a:cubicBezTo>
                          <a:pt x="215" y="19"/>
                          <a:pt x="215" y="19"/>
                          <a:pt x="215" y="19"/>
                        </a:cubicBezTo>
                        <a:cubicBezTo>
                          <a:pt x="215" y="19"/>
                          <a:pt x="215" y="18"/>
                          <a:pt x="215" y="19"/>
                        </a:cubicBezTo>
                        <a:cubicBezTo>
                          <a:pt x="214" y="19"/>
                          <a:pt x="214" y="19"/>
                          <a:pt x="214" y="19"/>
                        </a:cubicBezTo>
                        <a:cubicBezTo>
                          <a:pt x="214" y="19"/>
                          <a:pt x="214" y="19"/>
                          <a:pt x="214" y="19"/>
                        </a:cubicBezTo>
                        <a:cubicBezTo>
                          <a:pt x="214" y="19"/>
                          <a:pt x="215" y="19"/>
                          <a:pt x="215" y="19"/>
                        </a:cubicBezTo>
                        <a:cubicBezTo>
                          <a:pt x="215" y="19"/>
                          <a:pt x="215" y="19"/>
                          <a:pt x="215" y="19"/>
                        </a:cubicBezTo>
                        <a:close/>
                        <a:moveTo>
                          <a:pt x="193" y="13"/>
                        </a:moveTo>
                        <a:cubicBezTo>
                          <a:pt x="193" y="13"/>
                          <a:pt x="193" y="13"/>
                          <a:pt x="193" y="13"/>
                        </a:cubicBezTo>
                        <a:cubicBezTo>
                          <a:pt x="193" y="13"/>
                          <a:pt x="193" y="13"/>
                          <a:pt x="193" y="13"/>
                        </a:cubicBezTo>
                        <a:cubicBezTo>
                          <a:pt x="193" y="13"/>
                          <a:pt x="193" y="13"/>
                          <a:pt x="192" y="13"/>
                        </a:cubicBezTo>
                        <a:cubicBezTo>
                          <a:pt x="192" y="13"/>
                          <a:pt x="193" y="13"/>
                          <a:pt x="193" y="13"/>
                        </a:cubicBezTo>
                        <a:close/>
                        <a:moveTo>
                          <a:pt x="191" y="21"/>
                        </a:moveTo>
                        <a:cubicBezTo>
                          <a:pt x="192" y="21"/>
                          <a:pt x="191" y="21"/>
                          <a:pt x="192" y="21"/>
                        </a:cubicBezTo>
                        <a:cubicBezTo>
                          <a:pt x="191" y="21"/>
                          <a:pt x="193" y="21"/>
                          <a:pt x="192" y="21"/>
                        </a:cubicBezTo>
                        <a:cubicBezTo>
                          <a:pt x="192" y="21"/>
                          <a:pt x="192" y="21"/>
                          <a:pt x="192" y="21"/>
                        </a:cubicBezTo>
                        <a:cubicBezTo>
                          <a:pt x="192" y="21"/>
                          <a:pt x="191" y="21"/>
                          <a:pt x="191" y="21"/>
                        </a:cubicBezTo>
                        <a:cubicBezTo>
                          <a:pt x="191" y="21"/>
                          <a:pt x="191" y="21"/>
                          <a:pt x="191" y="21"/>
                        </a:cubicBezTo>
                        <a:cubicBezTo>
                          <a:pt x="191" y="21"/>
                          <a:pt x="191" y="21"/>
                          <a:pt x="191" y="21"/>
                        </a:cubicBezTo>
                        <a:cubicBezTo>
                          <a:pt x="191" y="21"/>
                          <a:pt x="191" y="21"/>
                          <a:pt x="191" y="21"/>
                        </a:cubicBezTo>
                        <a:cubicBezTo>
                          <a:pt x="191" y="21"/>
                          <a:pt x="191" y="21"/>
                          <a:pt x="191" y="21"/>
                        </a:cubicBezTo>
                        <a:close/>
                        <a:moveTo>
                          <a:pt x="249" y="8"/>
                        </a:moveTo>
                        <a:cubicBezTo>
                          <a:pt x="249" y="8"/>
                          <a:pt x="249" y="7"/>
                          <a:pt x="249" y="7"/>
                        </a:cubicBezTo>
                        <a:cubicBezTo>
                          <a:pt x="250" y="7"/>
                          <a:pt x="250" y="7"/>
                          <a:pt x="250" y="7"/>
                        </a:cubicBezTo>
                        <a:cubicBezTo>
                          <a:pt x="250" y="7"/>
                          <a:pt x="249" y="7"/>
                          <a:pt x="249" y="7"/>
                        </a:cubicBezTo>
                        <a:cubicBezTo>
                          <a:pt x="249" y="8"/>
                          <a:pt x="249" y="8"/>
                          <a:pt x="249" y="8"/>
                        </a:cubicBezTo>
                        <a:cubicBezTo>
                          <a:pt x="249" y="8"/>
                          <a:pt x="249" y="8"/>
                          <a:pt x="249" y="8"/>
                        </a:cubicBezTo>
                        <a:close/>
                        <a:moveTo>
                          <a:pt x="196" y="9"/>
                        </a:moveTo>
                        <a:cubicBezTo>
                          <a:pt x="196" y="9"/>
                          <a:pt x="195" y="9"/>
                          <a:pt x="195" y="9"/>
                        </a:cubicBezTo>
                        <a:cubicBezTo>
                          <a:pt x="195" y="9"/>
                          <a:pt x="196" y="9"/>
                          <a:pt x="196" y="9"/>
                        </a:cubicBezTo>
                        <a:cubicBezTo>
                          <a:pt x="196" y="9"/>
                          <a:pt x="196" y="9"/>
                          <a:pt x="196" y="9"/>
                        </a:cubicBezTo>
                        <a:cubicBezTo>
                          <a:pt x="196" y="9"/>
                          <a:pt x="196" y="9"/>
                          <a:pt x="196" y="9"/>
                        </a:cubicBezTo>
                        <a:close/>
                        <a:moveTo>
                          <a:pt x="192" y="13"/>
                        </a:moveTo>
                        <a:cubicBezTo>
                          <a:pt x="191" y="13"/>
                          <a:pt x="191" y="13"/>
                          <a:pt x="191" y="13"/>
                        </a:cubicBezTo>
                        <a:cubicBezTo>
                          <a:pt x="191" y="13"/>
                          <a:pt x="192" y="13"/>
                          <a:pt x="192" y="13"/>
                        </a:cubicBezTo>
                        <a:cubicBezTo>
                          <a:pt x="192" y="13"/>
                          <a:pt x="192" y="13"/>
                          <a:pt x="192" y="13"/>
                        </a:cubicBezTo>
                        <a:cubicBezTo>
                          <a:pt x="192" y="13"/>
                          <a:pt x="192" y="13"/>
                          <a:pt x="192" y="13"/>
                        </a:cubicBezTo>
                        <a:cubicBezTo>
                          <a:pt x="192" y="13"/>
                          <a:pt x="192" y="13"/>
                          <a:pt x="192" y="13"/>
                        </a:cubicBezTo>
                        <a:close/>
                        <a:moveTo>
                          <a:pt x="192" y="14"/>
                        </a:move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1" y="14"/>
                          <a:pt x="192" y="14"/>
                          <a:pt x="192" y="14"/>
                        </a:cubicBezTo>
                        <a:cubicBezTo>
                          <a:pt x="192" y="14"/>
                          <a:pt x="192" y="14"/>
                          <a:pt x="192" y="14"/>
                        </a:cubicBezTo>
                        <a:close/>
                        <a:moveTo>
                          <a:pt x="190" y="14"/>
                        </a:moveTo>
                        <a:cubicBezTo>
                          <a:pt x="190" y="15"/>
                          <a:pt x="190" y="14"/>
                          <a:pt x="190" y="14"/>
                        </a:cubicBezTo>
                        <a:cubicBezTo>
                          <a:pt x="189" y="15"/>
                          <a:pt x="188" y="15"/>
                          <a:pt x="187" y="15"/>
                        </a:cubicBezTo>
                        <a:cubicBezTo>
                          <a:pt x="187" y="15"/>
                          <a:pt x="188" y="14"/>
                          <a:pt x="188" y="14"/>
                        </a:cubicBezTo>
                        <a:cubicBezTo>
                          <a:pt x="189" y="14"/>
                          <a:pt x="189" y="14"/>
                          <a:pt x="189" y="14"/>
                        </a:cubicBezTo>
                        <a:cubicBezTo>
                          <a:pt x="189" y="14"/>
                          <a:pt x="189" y="14"/>
                          <a:pt x="190" y="14"/>
                        </a:cubicBezTo>
                        <a:cubicBezTo>
                          <a:pt x="190" y="14"/>
                          <a:pt x="189" y="14"/>
                          <a:pt x="189" y="14"/>
                        </a:cubicBezTo>
                        <a:cubicBezTo>
                          <a:pt x="189" y="14"/>
                          <a:pt x="190" y="14"/>
                          <a:pt x="190" y="14"/>
                        </a:cubicBezTo>
                        <a:cubicBezTo>
                          <a:pt x="190" y="14"/>
                          <a:pt x="190" y="14"/>
                          <a:pt x="190" y="14"/>
                        </a:cubicBezTo>
                        <a:close/>
                        <a:moveTo>
                          <a:pt x="190" y="15"/>
                        </a:moveTo>
                        <a:cubicBezTo>
                          <a:pt x="190" y="15"/>
                          <a:pt x="190" y="15"/>
                          <a:pt x="189" y="15"/>
                        </a:cubicBezTo>
                        <a:cubicBezTo>
                          <a:pt x="189" y="15"/>
                          <a:pt x="190" y="15"/>
                          <a:pt x="189" y="15"/>
                        </a:cubicBezTo>
                        <a:cubicBezTo>
                          <a:pt x="189" y="15"/>
                          <a:pt x="190" y="15"/>
                          <a:pt x="190" y="15"/>
                        </a:cubicBezTo>
                        <a:close/>
                        <a:moveTo>
                          <a:pt x="189" y="15"/>
                        </a:moveTo>
                        <a:cubicBezTo>
                          <a:pt x="189" y="15"/>
                          <a:pt x="189" y="15"/>
                          <a:pt x="189" y="15"/>
                        </a:cubicBezTo>
                        <a:cubicBezTo>
                          <a:pt x="189" y="15"/>
                          <a:pt x="189" y="15"/>
                          <a:pt x="189" y="15"/>
                        </a:cubicBezTo>
                        <a:cubicBezTo>
                          <a:pt x="189" y="15"/>
                          <a:pt x="189" y="15"/>
                          <a:pt x="189" y="15"/>
                        </a:cubicBezTo>
                        <a:cubicBezTo>
                          <a:pt x="189" y="15"/>
                          <a:pt x="189" y="15"/>
                          <a:pt x="188" y="15"/>
                        </a:cubicBezTo>
                        <a:cubicBezTo>
                          <a:pt x="188" y="15"/>
                          <a:pt x="189" y="15"/>
                          <a:pt x="189" y="15"/>
                        </a:cubicBezTo>
                        <a:close/>
                        <a:moveTo>
                          <a:pt x="189" y="14"/>
                        </a:moveTo>
                        <a:cubicBezTo>
                          <a:pt x="188" y="14"/>
                          <a:pt x="188" y="14"/>
                          <a:pt x="188" y="14"/>
                        </a:cubicBezTo>
                        <a:cubicBezTo>
                          <a:pt x="188" y="14"/>
                          <a:pt x="189" y="13"/>
                          <a:pt x="188" y="13"/>
                        </a:cubicBezTo>
                        <a:cubicBezTo>
                          <a:pt x="189" y="13"/>
                          <a:pt x="188" y="13"/>
                          <a:pt x="189" y="14"/>
                        </a:cubicBezTo>
                        <a:close/>
                        <a:moveTo>
                          <a:pt x="187" y="14"/>
                        </a:moveTo>
                        <a:cubicBezTo>
                          <a:pt x="187" y="14"/>
                          <a:pt x="187" y="15"/>
                          <a:pt x="187" y="15"/>
                        </a:cubicBezTo>
                        <a:cubicBezTo>
                          <a:pt x="186" y="15"/>
                          <a:pt x="186" y="15"/>
                          <a:pt x="185" y="15"/>
                        </a:cubicBezTo>
                        <a:cubicBezTo>
                          <a:pt x="185" y="15"/>
                          <a:pt x="187" y="14"/>
                          <a:pt x="187" y="14"/>
                        </a:cubicBezTo>
                        <a:cubicBezTo>
                          <a:pt x="187" y="14"/>
                          <a:pt x="187" y="15"/>
                          <a:pt x="187" y="14"/>
                        </a:cubicBezTo>
                        <a:close/>
                        <a:moveTo>
                          <a:pt x="187" y="15"/>
                        </a:moveTo>
                        <a:cubicBezTo>
                          <a:pt x="187" y="15"/>
                          <a:pt x="187" y="15"/>
                          <a:pt x="187" y="15"/>
                        </a:cubicBezTo>
                        <a:cubicBezTo>
                          <a:pt x="187" y="15"/>
                          <a:pt x="187" y="15"/>
                          <a:pt x="187" y="15"/>
                        </a:cubicBezTo>
                        <a:cubicBezTo>
                          <a:pt x="187" y="15"/>
                          <a:pt x="187" y="15"/>
                          <a:pt x="187" y="15"/>
                        </a:cubicBezTo>
                        <a:cubicBezTo>
                          <a:pt x="187" y="15"/>
                          <a:pt x="187" y="15"/>
                          <a:pt x="187" y="15"/>
                        </a:cubicBezTo>
                        <a:cubicBezTo>
                          <a:pt x="187" y="15"/>
                          <a:pt x="187" y="15"/>
                          <a:pt x="187" y="15"/>
                        </a:cubicBezTo>
                        <a:close/>
                        <a:moveTo>
                          <a:pt x="185" y="18"/>
                        </a:moveTo>
                        <a:cubicBezTo>
                          <a:pt x="186" y="18"/>
                          <a:pt x="186" y="18"/>
                          <a:pt x="187" y="18"/>
                        </a:cubicBezTo>
                        <a:cubicBezTo>
                          <a:pt x="187" y="18"/>
                          <a:pt x="187" y="17"/>
                          <a:pt x="188" y="17"/>
                        </a:cubicBezTo>
                        <a:cubicBezTo>
                          <a:pt x="188" y="18"/>
                          <a:pt x="187" y="18"/>
                          <a:pt x="187" y="18"/>
                        </a:cubicBezTo>
                        <a:cubicBezTo>
                          <a:pt x="187" y="18"/>
                          <a:pt x="186" y="18"/>
                          <a:pt x="187" y="18"/>
                        </a:cubicBezTo>
                        <a:cubicBezTo>
                          <a:pt x="186" y="18"/>
                          <a:pt x="185" y="18"/>
                          <a:pt x="185" y="18"/>
                        </a:cubicBezTo>
                        <a:cubicBezTo>
                          <a:pt x="185" y="18"/>
                          <a:pt x="185" y="18"/>
                          <a:pt x="185" y="18"/>
                        </a:cubicBezTo>
                        <a:close/>
                        <a:moveTo>
                          <a:pt x="188" y="18"/>
                        </a:moveTo>
                        <a:cubicBezTo>
                          <a:pt x="188" y="18"/>
                          <a:pt x="188" y="18"/>
                          <a:pt x="187" y="18"/>
                        </a:cubicBezTo>
                        <a:cubicBezTo>
                          <a:pt x="187" y="18"/>
                          <a:pt x="188" y="18"/>
                          <a:pt x="188" y="18"/>
                        </a:cubicBezTo>
                        <a:cubicBezTo>
                          <a:pt x="188" y="18"/>
                          <a:pt x="188" y="18"/>
                          <a:pt x="188" y="18"/>
                        </a:cubicBezTo>
                        <a:cubicBezTo>
                          <a:pt x="188" y="18"/>
                          <a:pt x="188" y="18"/>
                          <a:pt x="188" y="18"/>
                        </a:cubicBezTo>
                        <a:cubicBezTo>
                          <a:pt x="188" y="18"/>
                          <a:pt x="187" y="18"/>
                          <a:pt x="188" y="18"/>
                        </a:cubicBezTo>
                        <a:close/>
                        <a:moveTo>
                          <a:pt x="187" y="16"/>
                        </a:moveTo>
                        <a:cubicBezTo>
                          <a:pt x="186" y="16"/>
                          <a:pt x="186" y="16"/>
                          <a:pt x="186" y="16"/>
                        </a:cubicBezTo>
                        <a:cubicBezTo>
                          <a:pt x="186" y="16"/>
                          <a:pt x="186" y="16"/>
                          <a:pt x="186" y="16"/>
                        </a:cubicBezTo>
                        <a:cubicBezTo>
                          <a:pt x="186" y="16"/>
                          <a:pt x="187" y="16"/>
                          <a:pt x="187" y="16"/>
                        </a:cubicBezTo>
                        <a:close/>
                        <a:moveTo>
                          <a:pt x="186" y="18"/>
                        </a:moveTo>
                        <a:cubicBezTo>
                          <a:pt x="187" y="18"/>
                          <a:pt x="187" y="18"/>
                          <a:pt x="187" y="18"/>
                        </a:cubicBezTo>
                        <a:cubicBezTo>
                          <a:pt x="187" y="18"/>
                          <a:pt x="186" y="18"/>
                          <a:pt x="186" y="18"/>
                        </a:cubicBezTo>
                        <a:close/>
                        <a:moveTo>
                          <a:pt x="188" y="22"/>
                        </a:moveTo>
                        <a:cubicBezTo>
                          <a:pt x="187" y="21"/>
                          <a:pt x="187" y="22"/>
                          <a:pt x="187" y="22"/>
                        </a:cubicBezTo>
                        <a:cubicBezTo>
                          <a:pt x="186" y="22"/>
                          <a:pt x="187" y="22"/>
                          <a:pt x="187" y="22"/>
                        </a:cubicBezTo>
                        <a:cubicBezTo>
                          <a:pt x="186" y="22"/>
                          <a:pt x="185" y="22"/>
                          <a:pt x="183" y="22"/>
                        </a:cubicBezTo>
                        <a:cubicBezTo>
                          <a:pt x="183" y="22"/>
                          <a:pt x="183" y="22"/>
                          <a:pt x="183" y="22"/>
                        </a:cubicBezTo>
                        <a:cubicBezTo>
                          <a:pt x="183" y="22"/>
                          <a:pt x="183" y="22"/>
                          <a:pt x="183" y="22"/>
                        </a:cubicBezTo>
                        <a:cubicBezTo>
                          <a:pt x="183" y="22"/>
                          <a:pt x="183" y="22"/>
                          <a:pt x="183" y="22"/>
                        </a:cubicBezTo>
                        <a:cubicBezTo>
                          <a:pt x="183" y="22"/>
                          <a:pt x="183" y="22"/>
                          <a:pt x="183" y="22"/>
                        </a:cubicBezTo>
                        <a:cubicBezTo>
                          <a:pt x="183" y="22"/>
                          <a:pt x="183" y="22"/>
                          <a:pt x="183" y="22"/>
                        </a:cubicBezTo>
                        <a:cubicBezTo>
                          <a:pt x="182" y="22"/>
                          <a:pt x="182" y="22"/>
                          <a:pt x="182" y="22"/>
                        </a:cubicBezTo>
                        <a:cubicBezTo>
                          <a:pt x="182" y="22"/>
                          <a:pt x="183" y="22"/>
                          <a:pt x="183" y="22"/>
                        </a:cubicBezTo>
                        <a:cubicBezTo>
                          <a:pt x="183" y="22"/>
                          <a:pt x="183" y="22"/>
                          <a:pt x="184" y="22"/>
                        </a:cubicBezTo>
                        <a:cubicBezTo>
                          <a:pt x="184" y="22"/>
                          <a:pt x="184" y="22"/>
                          <a:pt x="184" y="22"/>
                        </a:cubicBezTo>
                        <a:cubicBezTo>
                          <a:pt x="184" y="22"/>
                          <a:pt x="185" y="22"/>
                          <a:pt x="184" y="22"/>
                        </a:cubicBezTo>
                        <a:cubicBezTo>
                          <a:pt x="185" y="22"/>
                          <a:pt x="185" y="22"/>
                          <a:pt x="185" y="22"/>
                        </a:cubicBezTo>
                        <a:cubicBezTo>
                          <a:pt x="185" y="22"/>
                          <a:pt x="186" y="22"/>
                          <a:pt x="185" y="22"/>
                        </a:cubicBezTo>
                        <a:cubicBezTo>
                          <a:pt x="186" y="22"/>
                          <a:pt x="186" y="22"/>
                          <a:pt x="186" y="22"/>
                        </a:cubicBezTo>
                        <a:cubicBezTo>
                          <a:pt x="186" y="21"/>
                          <a:pt x="186" y="21"/>
                          <a:pt x="186" y="21"/>
                        </a:cubicBezTo>
                        <a:cubicBezTo>
                          <a:pt x="186" y="21"/>
                          <a:pt x="186" y="21"/>
                          <a:pt x="186" y="21"/>
                        </a:cubicBezTo>
                        <a:cubicBezTo>
                          <a:pt x="186" y="21"/>
                          <a:pt x="186" y="21"/>
                          <a:pt x="185" y="21"/>
                        </a:cubicBezTo>
                        <a:cubicBezTo>
                          <a:pt x="185" y="21"/>
                          <a:pt x="186" y="21"/>
                          <a:pt x="186" y="21"/>
                        </a:cubicBezTo>
                        <a:cubicBezTo>
                          <a:pt x="186" y="21"/>
                          <a:pt x="187" y="21"/>
                          <a:pt x="187" y="21"/>
                        </a:cubicBezTo>
                        <a:cubicBezTo>
                          <a:pt x="187" y="21"/>
                          <a:pt x="187" y="21"/>
                          <a:pt x="188" y="22"/>
                        </a:cubicBezTo>
                        <a:cubicBezTo>
                          <a:pt x="188" y="22"/>
                          <a:pt x="188" y="22"/>
                          <a:pt x="188" y="22"/>
                        </a:cubicBezTo>
                        <a:close/>
                        <a:moveTo>
                          <a:pt x="186" y="18"/>
                        </a:moveTo>
                        <a:cubicBezTo>
                          <a:pt x="186" y="18"/>
                          <a:pt x="186" y="18"/>
                          <a:pt x="186" y="18"/>
                        </a:cubicBezTo>
                        <a:cubicBezTo>
                          <a:pt x="186" y="18"/>
                          <a:pt x="186" y="18"/>
                          <a:pt x="186" y="18"/>
                        </a:cubicBezTo>
                        <a:cubicBezTo>
                          <a:pt x="185" y="18"/>
                          <a:pt x="186" y="18"/>
                          <a:pt x="186" y="18"/>
                        </a:cubicBezTo>
                        <a:close/>
                        <a:moveTo>
                          <a:pt x="184" y="16"/>
                        </a:moveTo>
                        <a:cubicBezTo>
                          <a:pt x="182" y="16"/>
                          <a:pt x="181" y="17"/>
                          <a:pt x="179" y="17"/>
                        </a:cubicBezTo>
                        <a:cubicBezTo>
                          <a:pt x="179" y="17"/>
                          <a:pt x="181" y="17"/>
                          <a:pt x="181" y="16"/>
                        </a:cubicBezTo>
                        <a:cubicBezTo>
                          <a:pt x="181" y="16"/>
                          <a:pt x="181" y="16"/>
                          <a:pt x="181" y="16"/>
                        </a:cubicBezTo>
                        <a:cubicBezTo>
                          <a:pt x="183" y="16"/>
                          <a:pt x="184" y="16"/>
                          <a:pt x="185" y="16"/>
                        </a:cubicBezTo>
                        <a:cubicBezTo>
                          <a:pt x="185" y="16"/>
                          <a:pt x="185" y="16"/>
                          <a:pt x="185" y="16"/>
                        </a:cubicBezTo>
                        <a:cubicBezTo>
                          <a:pt x="185" y="16"/>
                          <a:pt x="185" y="16"/>
                          <a:pt x="185" y="16"/>
                        </a:cubicBezTo>
                        <a:cubicBezTo>
                          <a:pt x="185" y="16"/>
                          <a:pt x="185" y="16"/>
                          <a:pt x="185" y="16"/>
                        </a:cubicBezTo>
                        <a:cubicBezTo>
                          <a:pt x="184" y="16"/>
                          <a:pt x="184" y="16"/>
                          <a:pt x="184" y="16"/>
                        </a:cubicBezTo>
                        <a:cubicBezTo>
                          <a:pt x="184" y="16"/>
                          <a:pt x="184" y="16"/>
                          <a:pt x="184" y="16"/>
                        </a:cubicBezTo>
                        <a:close/>
                        <a:moveTo>
                          <a:pt x="185" y="16"/>
                        </a:moveTo>
                        <a:cubicBezTo>
                          <a:pt x="185" y="16"/>
                          <a:pt x="185" y="16"/>
                          <a:pt x="185" y="15"/>
                        </a:cubicBezTo>
                        <a:cubicBezTo>
                          <a:pt x="185" y="16"/>
                          <a:pt x="185" y="16"/>
                          <a:pt x="184" y="16"/>
                        </a:cubicBezTo>
                        <a:cubicBezTo>
                          <a:pt x="185" y="16"/>
                          <a:pt x="184" y="15"/>
                          <a:pt x="185" y="15"/>
                        </a:cubicBezTo>
                        <a:cubicBezTo>
                          <a:pt x="185" y="15"/>
                          <a:pt x="185" y="15"/>
                          <a:pt x="185" y="16"/>
                        </a:cubicBezTo>
                        <a:close/>
                        <a:moveTo>
                          <a:pt x="183" y="21"/>
                        </a:moveTo>
                        <a:cubicBezTo>
                          <a:pt x="183" y="21"/>
                          <a:pt x="183" y="21"/>
                          <a:pt x="183" y="21"/>
                        </a:cubicBezTo>
                        <a:cubicBezTo>
                          <a:pt x="183" y="21"/>
                          <a:pt x="183" y="21"/>
                          <a:pt x="183" y="21"/>
                        </a:cubicBezTo>
                        <a:cubicBezTo>
                          <a:pt x="184" y="21"/>
                          <a:pt x="185" y="21"/>
                          <a:pt x="186" y="21"/>
                        </a:cubicBezTo>
                        <a:cubicBezTo>
                          <a:pt x="186" y="21"/>
                          <a:pt x="185" y="21"/>
                          <a:pt x="185" y="21"/>
                        </a:cubicBezTo>
                        <a:cubicBezTo>
                          <a:pt x="185" y="21"/>
                          <a:pt x="185" y="22"/>
                          <a:pt x="185" y="21"/>
                        </a:cubicBezTo>
                        <a:cubicBezTo>
                          <a:pt x="184" y="21"/>
                          <a:pt x="185" y="22"/>
                          <a:pt x="184" y="22"/>
                        </a:cubicBezTo>
                        <a:cubicBezTo>
                          <a:pt x="184" y="21"/>
                          <a:pt x="184" y="22"/>
                          <a:pt x="184" y="21"/>
                        </a:cubicBezTo>
                        <a:cubicBezTo>
                          <a:pt x="183" y="22"/>
                          <a:pt x="183" y="22"/>
                          <a:pt x="182" y="22"/>
                        </a:cubicBezTo>
                        <a:cubicBezTo>
                          <a:pt x="182" y="22"/>
                          <a:pt x="183" y="22"/>
                          <a:pt x="182" y="21"/>
                        </a:cubicBezTo>
                        <a:cubicBezTo>
                          <a:pt x="182" y="21"/>
                          <a:pt x="183" y="21"/>
                          <a:pt x="183" y="21"/>
                        </a:cubicBezTo>
                        <a:close/>
                        <a:moveTo>
                          <a:pt x="182" y="14"/>
                        </a:moveTo>
                        <a:cubicBezTo>
                          <a:pt x="182" y="13"/>
                          <a:pt x="183" y="13"/>
                          <a:pt x="183" y="13"/>
                        </a:cubicBezTo>
                        <a:cubicBezTo>
                          <a:pt x="183" y="13"/>
                          <a:pt x="182" y="13"/>
                          <a:pt x="182" y="14"/>
                        </a:cubicBezTo>
                        <a:close/>
                        <a:moveTo>
                          <a:pt x="183" y="15"/>
                        </a:moveTo>
                        <a:cubicBezTo>
                          <a:pt x="183" y="15"/>
                          <a:pt x="183" y="15"/>
                          <a:pt x="183" y="15"/>
                        </a:cubicBezTo>
                        <a:cubicBezTo>
                          <a:pt x="182" y="15"/>
                          <a:pt x="183" y="15"/>
                          <a:pt x="183" y="14"/>
                        </a:cubicBezTo>
                        <a:cubicBezTo>
                          <a:pt x="183" y="15"/>
                          <a:pt x="183" y="15"/>
                          <a:pt x="183" y="15"/>
                        </a:cubicBezTo>
                        <a:close/>
                        <a:moveTo>
                          <a:pt x="181" y="18"/>
                        </a:moveTo>
                        <a:cubicBezTo>
                          <a:pt x="181" y="18"/>
                          <a:pt x="180" y="18"/>
                          <a:pt x="180" y="18"/>
                        </a:cubicBezTo>
                        <a:cubicBezTo>
                          <a:pt x="180" y="18"/>
                          <a:pt x="180" y="18"/>
                          <a:pt x="179" y="18"/>
                        </a:cubicBezTo>
                        <a:cubicBezTo>
                          <a:pt x="179" y="18"/>
                          <a:pt x="179" y="18"/>
                          <a:pt x="179" y="18"/>
                        </a:cubicBezTo>
                        <a:cubicBezTo>
                          <a:pt x="179" y="18"/>
                          <a:pt x="179" y="18"/>
                          <a:pt x="179" y="18"/>
                        </a:cubicBezTo>
                        <a:cubicBezTo>
                          <a:pt x="179" y="18"/>
                          <a:pt x="179" y="18"/>
                          <a:pt x="179" y="18"/>
                        </a:cubicBezTo>
                        <a:cubicBezTo>
                          <a:pt x="179" y="18"/>
                          <a:pt x="179" y="18"/>
                          <a:pt x="179" y="18"/>
                        </a:cubicBezTo>
                        <a:cubicBezTo>
                          <a:pt x="179" y="18"/>
                          <a:pt x="179" y="18"/>
                          <a:pt x="179" y="18"/>
                        </a:cubicBezTo>
                        <a:cubicBezTo>
                          <a:pt x="178" y="19"/>
                          <a:pt x="178" y="19"/>
                          <a:pt x="177" y="19"/>
                        </a:cubicBezTo>
                        <a:cubicBezTo>
                          <a:pt x="177" y="19"/>
                          <a:pt x="178" y="19"/>
                          <a:pt x="177" y="18"/>
                        </a:cubicBezTo>
                        <a:cubicBezTo>
                          <a:pt x="179" y="18"/>
                          <a:pt x="180" y="18"/>
                          <a:pt x="181" y="18"/>
                        </a:cubicBezTo>
                        <a:cubicBezTo>
                          <a:pt x="181" y="18"/>
                          <a:pt x="181" y="18"/>
                          <a:pt x="181" y="18"/>
                        </a:cubicBezTo>
                        <a:close/>
                        <a:moveTo>
                          <a:pt x="176" y="20"/>
                        </a:moveTo>
                        <a:cubicBezTo>
                          <a:pt x="175" y="20"/>
                          <a:pt x="175" y="20"/>
                          <a:pt x="174" y="20"/>
                        </a:cubicBezTo>
                        <a:cubicBezTo>
                          <a:pt x="174" y="20"/>
                          <a:pt x="174" y="20"/>
                          <a:pt x="175" y="20"/>
                        </a:cubicBezTo>
                        <a:cubicBezTo>
                          <a:pt x="174" y="20"/>
                          <a:pt x="174" y="20"/>
                          <a:pt x="174" y="20"/>
                        </a:cubicBezTo>
                        <a:cubicBezTo>
                          <a:pt x="174" y="20"/>
                          <a:pt x="173" y="20"/>
                          <a:pt x="173" y="20"/>
                        </a:cubicBezTo>
                        <a:cubicBezTo>
                          <a:pt x="174" y="20"/>
                          <a:pt x="176" y="20"/>
                          <a:pt x="176" y="20"/>
                        </a:cubicBezTo>
                        <a:close/>
                        <a:moveTo>
                          <a:pt x="173" y="19"/>
                        </a:moveTo>
                        <a:cubicBezTo>
                          <a:pt x="173" y="19"/>
                          <a:pt x="173" y="19"/>
                          <a:pt x="173" y="19"/>
                        </a:cubicBezTo>
                        <a:cubicBezTo>
                          <a:pt x="173" y="19"/>
                          <a:pt x="173" y="19"/>
                          <a:pt x="173" y="19"/>
                        </a:cubicBezTo>
                        <a:cubicBezTo>
                          <a:pt x="174" y="19"/>
                          <a:pt x="174" y="19"/>
                          <a:pt x="174" y="19"/>
                        </a:cubicBezTo>
                        <a:cubicBezTo>
                          <a:pt x="175" y="19"/>
                          <a:pt x="174" y="19"/>
                          <a:pt x="174" y="19"/>
                        </a:cubicBezTo>
                        <a:cubicBezTo>
                          <a:pt x="174" y="19"/>
                          <a:pt x="173" y="19"/>
                          <a:pt x="173" y="19"/>
                        </a:cubicBezTo>
                        <a:close/>
                        <a:moveTo>
                          <a:pt x="172" y="18"/>
                        </a:moveTo>
                        <a:cubicBezTo>
                          <a:pt x="170" y="19"/>
                          <a:pt x="169" y="19"/>
                          <a:pt x="169" y="19"/>
                        </a:cubicBezTo>
                        <a:cubicBezTo>
                          <a:pt x="169" y="19"/>
                          <a:pt x="169" y="19"/>
                          <a:pt x="168" y="19"/>
                        </a:cubicBezTo>
                        <a:cubicBezTo>
                          <a:pt x="169" y="19"/>
                          <a:pt x="169" y="19"/>
                          <a:pt x="169" y="19"/>
                        </a:cubicBezTo>
                        <a:cubicBezTo>
                          <a:pt x="171" y="18"/>
                          <a:pt x="172" y="18"/>
                          <a:pt x="173" y="18"/>
                        </a:cubicBezTo>
                        <a:cubicBezTo>
                          <a:pt x="173" y="18"/>
                          <a:pt x="172" y="18"/>
                          <a:pt x="172" y="18"/>
                        </a:cubicBezTo>
                        <a:close/>
                        <a:moveTo>
                          <a:pt x="172" y="19"/>
                        </a:moveTo>
                        <a:cubicBezTo>
                          <a:pt x="171" y="19"/>
                          <a:pt x="171" y="20"/>
                          <a:pt x="171" y="20"/>
                        </a:cubicBezTo>
                        <a:cubicBezTo>
                          <a:pt x="171" y="20"/>
                          <a:pt x="171" y="20"/>
                          <a:pt x="171" y="20"/>
                        </a:cubicBezTo>
                        <a:cubicBezTo>
                          <a:pt x="171" y="19"/>
                          <a:pt x="171" y="20"/>
                          <a:pt x="170" y="20"/>
                        </a:cubicBezTo>
                        <a:cubicBezTo>
                          <a:pt x="170" y="20"/>
                          <a:pt x="171" y="20"/>
                          <a:pt x="171" y="20"/>
                        </a:cubicBezTo>
                        <a:cubicBezTo>
                          <a:pt x="170" y="20"/>
                          <a:pt x="170" y="20"/>
                          <a:pt x="170" y="20"/>
                        </a:cubicBezTo>
                        <a:cubicBezTo>
                          <a:pt x="170" y="20"/>
                          <a:pt x="170" y="20"/>
                          <a:pt x="170" y="20"/>
                        </a:cubicBezTo>
                        <a:cubicBezTo>
                          <a:pt x="170" y="20"/>
                          <a:pt x="171" y="19"/>
                          <a:pt x="171" y="19"/>
                        </a:cubicBezTo>
                        <a:cubicBezTo>
                          <a:pt x="171" y="20"/>
                          <a:pt x="171" y="19"/>
                          <a:pt x="172" y="19"/>
                        </a:cubicBezTo>
                        <a:close/>
                        <a:moveTo>
                          <a:pt x="171" y="19"/>
                        </a:moveTo>
                        <a:cubicBezTo>
                          <a:pt x="171" y="19"/>
                          <a:pt x="171" y="19"/>
                          <a:pt x="171" y="19"/>
                        </a:cubicBezTo>
                        <a:cubicBezTo>
                          <a:pt x="170" y="19"/>
                          <a:pt x="171" y="19"/>
                          <a:pt x="171" y="19"/>
                        </a:cubicBezTo>
                        <a:close/>
                        <a:moveTo>
                          <a:pt x="171" y="21"/>
                        </a:moveTo>
                        <a:cubicBezTo>
                          <a:pt x="171" y="21"/>
                          <a:pt x="170" y="21"/>
                          <a:pt x="170" y="21"/>
                        </a:cubicBezTo>
                        <a:cubicBezTo>
                          <a:pt x="171" y="21"/>
                          <a:pt x="171" y="21"/>
                          <a:pt x="171" y="21"/>
                        </a:cubicBezTo>
                        <a:cubicBezTo>
                          <a:pt x="171" y="21"/>
                          <a:pt x="170" y="21"/>
                          <a:pt x="170" y="21"/>
                        </a:cubicBezTo>
                        <a:cubicBezTo>
                          <a:pt x="169" y="21"/>
                          <a:pt x="170" y="21"/>
                          <a:pt x="170" y="21"/>
                        </a:cubicBezTo>
                        <a:cubicBezTo>
                          <a:pt x="170" y="21"/>
                          <a:pt x="170" y="21"/>
                          <a:pt x="170" y="21"/>
                        </a:cubicBezTo>
                        <a:cubicBezTo>
                          <a:pt x="170" y="21"/>
                          <a:pt x="170" y="21"/>
                          <a:pt x="170" y="21"/>
                        </a:cubicBezTo>
                        <a:cubicBezTo>
                          <a:pt x="170" y="21"/>
                          <a:pt x="170" y="20"/>
                          <a:pt x="171" y="20"/>
                        </a:cubicBezTo>
                        <a:cubicBezTo>
                          <a:pt x="170" y="21"/>
                          <a:pt x="171" y="21"/>
                          <a:pt x="171" y="21"/>
                        </a:cubicBezTo>
                        <a:close/>
                        <a:moveTo>
                          <a:pt x="169" y="28"/>
                        </a:moveTo>
                        <a:cubicBezTo>
                          <a:pt x="169" y="28"/>
                          <a:pt x="171" y="27"/>
                          <a:pt x="171" y="28"/>
                        </a:cubicBezTo>
                        <a:cubicBezTo>
                          <a:pt x="170" y="28"/>
                          <a:pt x="169" y="28"/>
                          <a:pt x="169" y="28"/>
                        </a:cubicBezTo>
                        <a:cubicBezTo>
                          <a:pt x="169" y="28"/>
                          <a:pt x="169" y="28"/>
                          <a:pt x="169" y="28"/>
                        </a:cubicBezTo>
                        <a:cubicBezTo>
                          <a:pt x="169" y="28"/>
                          <a:pt x="169" y="28"/>
                          <a:pt x="169" y="28"/>
                        </a:cubicBezTo>
                        <a:cubicBezTo>
                          <a:pt x="169" y="28"/>
                          <a:pt x="169" y="28"/>
                          <a:pt x="169" y="28"/>
                        </a:cubicBezTo>
                        <a:close/>
                        <a:moveTo>
                          <a:pt x="168" y="26"/>
                        </a:moveTo>
                        <a:cubicBezTo>
                          <a:pt x="168" y="26"/>
                          <a:pt x="168" y="26"/>
                          <a:pt x="167" y="27"/>
                        </a:cubicBezTo>
                        <a:cubicBezTo>
                          <a:pt x="167" y="26"/>
                          <a:pt x="167" y="26"/>
                          <a:pt x="167" y="26"/>
                        </a:cubicBezTo>
                        <a:cubicBezTo>
                          <a:pt x="167" y="27"/>
                          <a:pt x="166" y="27"/>
                          <a:pt x="166" y="27"/>
                        </a:cubicBezTo>
                        <a:cubicBezTo>
                          <a:pt x="166" y="26"/>
                          <a:pt x="167" y="26"/>
                          <a:pt x="168" y="26"/>
                        </a:cubicBezTo>
                        <a:close/>
                        <a:moveTo>
                          <a:pt x="166" y="21"/>
                        </a:moveTo>
                        <a:cubicBezTo>
                          <a:pt x="166" y="21"/>
                          <a:pt x="166" y="21"/>
                          <a:pt x="166" y="21"/>
                        </a:cubicBezTo>
                        <a:cubicBezTo>
                          <a:pt x="166" y="21"/>
                          <a:pt x="166" y="21"/>
                          <a:pt x="167" y="21"/>
                        </a:cubicBezTo>
                        <a:cubicBezTo>
                          <a:pt x="166" y="21"/>
                          <a:pt x="166" y="21"/>
                          <a:pt x="165" y="21"/>
                        </a:cubicBezTo>
                        <a:cubicBezTo>
                          <a:pt x="165" y="21"/>
                          <a:pt x="165" y="21"/>
                          <a:pt x="165" y="21"/>
                        </a:cubicBezTo>
                        <a:cubicBezTo>
                          <a:pt x="166" y="21"/>
                          <a:pt x="166" y="21"/>
                          <a:pt x="166" y="21"/>
                        </a:cubicBezTo>
                        <a:close/>
                        <a:moveTo>
                          <a:pt x="160" y="28"/>
                        </a:moveTo>
                        <a:cubicBezTo>
                          <a:pt x="160" y="28"/>
                          <a:pt x="160" y="28"/>
                          <a:pt x="160" y="28"/>
                        </a:cubicBezTo>
                        <a:cubicBezTo>
                          <a:pt x="159" y="29"/>
                          <a:pt x="159" y="28"/>
                          <a:pt x="158" y="29"/>
                        </a:cubicBezTo>
                        <a:cubicBezTo>
                          <a:pt x="158" y="28"/>
                          <a:pt x="158" y="28"/>
                          <a:pt x="158" y="28"/>
                        </a:cubicBezTo>
                        <a:cubicBezTo>
                          <a:pt x="158" y="28"/>
                          <a:pt x="158" y="28"/>
                          <a:pt x="158" y="28"/>
                        </a:cubicBezTo>
                        <a:cubicBezTo>
                          <a:pt x="158" y="28"/>
                          <a:pt x="158" y="28"/>
                          <a:pt x="158" y="28"/>
                        </a:cubicBezTo>
                        <a:cubicBezTo>
                          <a:pt x="158" y="28"/>
                          <a:pt x="158" y="28"/>
                          <a:pt x="158" y="28"/>
                        </a:cubicBezTo>
                        <a:cubicBezTo>
                          <a:pt x="159" y="28"/>
                          <a:pt x="161" y="27"/>
                          <a:pt x="163" y="27"/>
                        </a:cubicBezTo>
                        <a:cubicBezTo>
                          <a:pt x="163" y="27"/>
                          <a:pt x="165" y="27"/>
                          <a:pt x="165" y="27"/>
                        </a:cubicBezTo>
                        <a:cubicBezTo>
                          <a:pt x="165" y="27"/>
                          <a:pt x="165" y="27"/>
                          <a:pt x="165" y="27"/>
                        </a:cubicBezTo>
                        <a:cubicBezTo>
                          <a:pt x="165" y="27"/>
                          <a:pt x="165" y="27"/>
                          <a:pt x="165" y="27"/>
                        </a:cubicBezTo>
                        <a:cubicBezTo>
                          <a:pt x="165" y="27"/>
                          <a:pt x="165" y="27"/>
                          <a:pt x="165" y="27"/>
                        </a:cubicBezTo>
                        <a:cubicBezTo>
                          <a:pt x="165" y="27"/>
                          <a:pt x="165" y="27"/>
                          <a:pt x="165" y="27"/>
                        </a:cubicBezTo>
                        <a:cubicBezTo>
                          <a:pt x="163" y="28"/>
                          <a:pt x="162" y="28"/>
                          <a:pt x="161" y="28"/>
                        </a:cubicBezTo>
                        <a:cubicBezTo>
                          <a:pt x="160" y="28"/>
                          <a:pt x="161" y="28"/>
                          <a:pt x="160" y="28"/>
                        </a:cubicBezTo>
                        <a:close/>
                        <a:moveTo>
                          <a:pt x="160" y="28"/>
                        </a:moveTo>
                        <a:cubicBezTo>
                          <a:pt x="160" y="28"/>
                          <a:pt x="160" y="28"/>
                          <a:pt x="160" y="28"/>
                        </a:cubicBezTo>
                        <a:cubicBezTo>
                          <a:pt x="159" y="28"/>
                          <a:pt x="159" y="28"/>
                          <a:pt x="159" y="28"/>
                        </a:cubicBezTo>
                        <a:cubicBezTo>
                          <a:pt x="160" y="28"/>
                          <a:pt x="160" y="28"/>
                          <a:pt x="160" y="28"/>
                        </a:cubicBezTo>
                        <a:close/>
                        <a:moveTo>
                          <a:pt x="164" y="27"/>
                        </a:moveTo>
                        <a:cubicBezTo>
                          <a:pt x="163" y="27"/>
                          <a:pt x="163" y="27"/>
                          <a:pt x="163" y="27"/>
                        </a:cubicBezTo>
                        <a:cubicBezTo>
                          <a:pt x="163" y="27"/>
                          <a:pt x="163" y="27"/>
                          <a:pt x="164" y="27"/>
                        </a:cubicBezTo>
                        <a:close/>
                        <a:moveTo>
                          <a:pt x="164" y="29"/>
                        </a:moveTo>
                        <a:cubicBezTo>
                          <a:pt x="164" y="29"/>
                          <a:pt x="164" y="29"/>
                          <a:pt x="163" y="29"/>
                        </a:cubicBezTo>
                        <a:cubicBezTo>
                          <a:pt x="163" y="29"/>
                          <a:pt x="163" y="29"/>
                          <a:pt x="163" y="29"/>
                        </a:cubicBezTo>
                        <a:cubicBezTo>
                          <a:pt x="164" y="29"/>
                          <a:pt x="164" y="29"/>
                          <a:pt x="164" y="29"/>
                        </a:cubicBezTo>
                        <a:cubicBezTo>
                          <a:pt x="163" y="29"/>
                          <a:pt x="164" y="29"/>
                          <a:pt x="164" y="29"/>
                        </a:cubicBezTo>
                        <a:cubicBezTo>
                          <a:pt x="164" y="29"/>
                          <a:pt x="164" y="29"/>
                          <a:pt x="164" y="29"/>
                        </a:cubicBezTo>
                        <a:cubicBezTo>
                          <a:pt x="164" y="29"/>
                          <a:pt x="164" y="29"/>
                          <a:pt x="164" y="29"/>
                        </a:cubicBezTo>
                        <a:close/>
                        <a:moveTo>
                          <a:pt x="164" y="29"/>
                        </a:moveTo>
                        <a:cubicBezTo>
                          <a:pt x="164" y="29"/>
                          <a:pt x="163" y="30"/>
                          <a:pt x="163" y="30"/>
                        </a:cubicBezTo>
                        <a:cubicBezTo>
                          <a:pt x="163" y="30"/>
                          <a:pt x="163" y="29"/>
                          <a:pt x="163" y="29"/>
                        </a:cubicBezTo>
                        <a:cubicBezTo>
                          <a:pt x="163" y="29"/>
                          <a:pt x="163" y="29"/>
                          <a:pt x="163" y="29"/>
                        </a:cubicBezTo>
                        <a:cubicBezTo>
                          <a:pt x="162" y="29"/>
                          <a:pt x="162" y="29"/>
                          <a:pt x="162" y="29"/>
                        </a:cubicBezTo>
                        <a:cubicBezTo>
                          <a:pt x="162" y="29"/>
                          <a:pt x="162" y="29"/>
                          <a:pt x="162" y="29"/>
                        </a:cubicBezTo>
                        <a:cubicBezTo>
                          <a:pt x="162" y="29"/>
                          <a:pt x="162" y="29"/>
                          <a:pt x="162" y="29"/>
                        </a:cubicBezTo>
                        <a:cubicBezTo>
                          <a:pt x="162" y="29"/>
                          <a:pt x="163" y="29"/>
                          <a:pt x="163" y="29"/>
                        </a:cubicBezTo>
                        <a:cubicBezTo>
                          <a:pt x="163" y="29"/>
                          <a:pt x="163" y="29"/>
                          <a:pt x="163" y="29"/>
                        </a:cubicBezTo>
                        <a:cubicBezTo>
                          <a:pt x="162" y="29"/>
                          <a:pt x="163" y="29"/>
                          <a:pt x="163" y="29"/>
                        </a:cubicBezTo>
                        <a:cubicBezTo>
                          <a:pt x="163" y="29"/>
                          <a:pt x="163" y="29"/>
                          <a:pt x="164" y="29"/>
                        </a:cubicBezTo>
                        <a:cubicBezTo>
                          <a:pt x="164" y="29"/>
                          <a:pt x="164" y="29"/>
                          <a:pt x="164" y="29"/>
                        </a:cubicBezTo>
                        <a:cubicBezTo>
                          <a:pt x="164" y="29"/>
                          <a:pt x="164" y="29"/>
                          <a:pt x="163" y="29"/>
                        </a:cubicBezTo>
                        <a:cubicBezTo>
                          <a:pt x="163" y="29"/>
                          <a:pt x="164" y="29"/>
                          <a:pt x="164" y="29"/>
                        </a:cubicBezTo>
                        <a:cubicBezTo>
                          <a:pt x="164" y="29"/>
                          <a:pt x="164" y="29"/>
                          <a:pt x="164" y="29"/>
                        </a:cubicBezTo>
                        <a:close/>
                        <a:moveTo>
                          <a:pt x="161" y="30"/>
                        </a:moveTo>
                        <a:cubicBezTo>
                          <a:pt x="161" y="30"/>
                          <a:pt x="161" y="29"/>
                          <a:pt x="161" y="30"/>
                        </a:cubicBezTo>
                        <a:cubicBezTo>
                          <a:pt x="161" y="29"/>
                          <a:pt x="161" y="30"/>
                          <a:pt x="162" y="29"/>
                        </a:cubicBezTo>
                        <a:cubicBezTo>
                          <a:pt x="162" y="29"/>
                          <a:pt x="162" y="29"/>
                          <a:pt x="162" y="29"/>
                        </a:cubicBezTo>
                        <a:cubicBezTo>
                          <a:pt x="162" y="29"/>
                          <a:pt x="162" y="29"/>
                          <a:pt x="162" y="29"/>
                        </a:cubicBezTo>
                        <a:cubicBezTo>
                          <a:pt x="162" y="29"/>
                          <a:pt x="161" y="29"/>
                          <a:pt x="161" y="29"/>
                        </a:cubicBezTo>
                        <a:cubicBezTo>
                          <a:pt x="161" y="30"/>
                          <a:pt x="161" y="29"/>
                          <a:pt x="161" y="29"/>
                        </a:cubicBezTo>
                        <a:cubicBezTo>
                          <a:pt x="161" y="29"/>
                          <a:pt x="161" y="30"/>
                          <a:pt x="161" y="30"/>
                        </a:cubicBezTo>
                        <a:cubicBezTo>
                          <a:pt x="161" y="30"/>
                          <a:pt x="161" y="30"/>
                          <a:pt x="161" y="30"/>
                        </a:cubicBezTo>
                        <a:close/>
                        <a:moveTo>
                          <a:pt x="160" y="26"/>
                        </a:moveTo>
                        <a:cubicBezTo>
                          <a:pt x="159" y="26"/>
                          <a:pt x="160" y="26"/>
                          <a:pt x="159" y="26"/>
                        </a:cubicBezTo>
                        <a:cubicBezTo>
                          <a:pt x="159" y="27"/>
                          <a:pt x="159" y="26"/>
                          <a:pt x="159" y="26"/>
                        </a:cubicBezTo>
                        <a:cubicBezTo>
                          <a:pt x="160" y="26"/>
                          <a:pt x="160" y="26"/>
                          <a:pt x="160" y="26"/>
                        </a:cubicBezTo>
                        <a:cubicBezTo>
                          <a:pt x="160" y="26"/>
                          <a:pt x="160" y="26"/>
                          <a:pt x="161" y="26"/>
                        </a:cubicBezTo>
                        <a:cubicBezTo>
                          <a:pt x="161" y="26"/>
                          <a:pt x="160" y="26"/>
                          <a:pt x="161" y="26"/>
                        </a:cubicBezTo>
                        <a:cubicBezTo>
                          <a:pt x="160" y="26"/>
                          <a:pt x="160" y="26"/>
                          <a:pt x="160" y="26"/>
                        </a:cubicBezTo>
                        <a:cubicBezTo>
                          <a:pt x="160" y="26"/>
                          <a:pt x="160" y="26"/>
                          <a:pt x="160" y="26"/>
                        </a:cubicBezTo>
                        <a:cubicBezTo>
                          <a:pt x="160" y="27"/>
                          <a:pt x="160" y="27"/>
                          <a:pt x="160" y="27"/>
                        </a:cubicBezTo>
                        <a:cubicBezTo>
                          <a:pt x="160" y="27"/>
                          <a:pt x="160" y="27"/>
                          <a:pt x="160" y="27"/>
                        </a:cubicBezTo>
                        <a:cubicBezTo>
                          <a:pt x="160" y="27"/>
                          <a:pt x="159" y="27"/>
                          <a:pt x="159" y="27"/>
                        </a:cubicBezTo>
                        <a:cubicBezTo>
                          <a:pt x="159" y="27"/>
                          <a:pt x="159" y="27"/>
                          <a:pt x="159" y="27"/>
                        </a:cubicBezTo>
                        <a:cubicBezTo>
                          <a:pt x="158" y="27"/>
                          <a:pt x="158" y="27"/>
                          <a:pt x="158" y="27"/>
                        </a:cubicBezTo>
                        <a:cubicBezTo>
                          <a:pt x="158" y="27"/>
                          <a:pt x="158" y="27"/>
                          <a:pt x="159" y="27"/>
                        </a:cubicBezTo>
                        <a:cubicBezTo>
                          <a:pt x="158" y="27"/>
                          <a:pt x="158" y="27"/>
                          <a:pt x="158" y="26"/>
                        </a:cubicBezTo>
                        <a:cubicBezTo>
                          <a:pt x="158" y="26"/>
                          <a:pt x="158" y="26"/>
                          <a:pt x="158" y="26"/>
                        </a:cubicBezTo>
                        <a:cubicBezTo>
                          <a:pt x="158" y="26"/>
                          <a:pt x="158" y="26"/>
                          <a:pt x="158" y="26"/>
                        </a:cubicBezTo>
                        <a:cubicBezTo>
                          <a:pt x="159" y="26"/>
                          <a:pt x="158" y="26"/>
                          <a:pt x="159" y="26"/>
                        </a:cubicBezTo>
                        <a:cubicBezTo>
                          <a:pt x="158" y="26"/>
                          <a:pt x="158" y="26"/>
                          <a:pt x="158" y="26"/>
                        </a:cubicBezTo>
                        <a:cubicBezTo>
                          <a:pt x="158" y="26"/>
                          <a:pt x="158" y="26"/>
                          <a:pt x="159" y="26"/>
                        </a:cubicBezTo>
                        <a:cubicBezTo>
                          <a:pt x="159" y="26"/>
                          <a:pt x="159" y="26"/>
                          <a:pt x="159" y="26"/>
                        </a:cubicBezTo>
                        <a:cubicBezTo>
                          <a:pt x="159" y="26"/>
                          <a:pt x="159" y="26"/>
                          <a:pt x="160" y="26"/>
                        </a:cubicBezTo>
                        <a:cubicBezTo>
                          <a:pt x="160" y="26"/>
                          <a:pt x="160" y="26"/>
                          <a:pt x="160" y="26"/>
                        </a:cubicBezTo>
                        <a:close/>
                        <a:moveTo>
                          <a:pt x="159" y="26"/>
                        </a:moveTo>
                        <a:cubicBezTo>
                          <a:pt x="159" y="26"/>
                          <a:pt x="159" y="27"/>
                          <a:pt x="159" y="26"/>
                        </a:cubicBezTo>
                        <a:cubicBezTo>
                          <a:pt x="159" y="26"/>
                          <a:pt x="159" y="26"/>
                          <a:pt x="159" y="26"/>
                        </a:cubicBezTo>
                        <a:close/>
                        <a:moveTo>
                          <a:pt x="161" y="26"/>
                        </a:moveTo>
                        <a:cubicBezTo>
                          <a:pt x="161" y="26"/>
                          <a:pt x="161" y="27"/>
                          <a:pt x="160" y="27"/>
                        </a:cubicBezTo>
                        <a:cubicBezTo>
                          <a:pt x="160" y="27"/>
                          <a:pt x="161" y="26"/>
                          <a:pt x="161" y="26"/>
                        </a:cubicBezTo>
                        <a:close/>
                        <a:moveTo>
                          <a:pt x="158" y="27"/>
                        </a:moveTo>
                        <a:cubicBezTo>
                          <a:pt x="158" y="27"/>
                          <a:pt x="158" y="27"/>
                          <a:pt x="157" y="27"/>
                        </a:cubicBezTo>
                        <a:cubicBezTo>
                          <a:pt x="158" y="27"/>
                          <a:pt x="157" y="27"/>
                          <a:pt x="158" y="27"/>
                        </a:cubicBezTo>
                        <a:close/>
                        <a:moveTo>
                          <a:pt x="157" y="27"/>
                        </a:moveTo>
                        <a:cubicBezTo>
                          <a:pt x="157" y="27"/>
                          <a:pt x="157" y="28"/>
                          <a:pt x="156" y="28"/>
                        </a:cubicBezTo>
                        <a:cubicBezTo>
                          <a:pt x="156" y="28"/>
                          <a:pt x="157" y="28"/>
                          <a:pt x="157" y="28"/>
                        </a:cubicBezTo>
                        <a:cubicBezTo>
                          <a:pt x="157" y="28"/>
                          <a:pt x="157" y="28"/>
                          <a:pt x="157" y="28"/>
                        </a:cubicBezTo>
                        <a:cubicBezTo>
                          <a:pt x="158" y="28"/>
                          <a:pt x="158" y="27"/>
                          <a:pt x="158" y="28"/>
                        </a:cubicBezTo>
                        <a:cubicBezTo>
                          <a:pt x="158" y="28"/>
                          <a:pt x="158" y="28"/>
                          <a:pt x="158" y="28"/>
                        </a:cubicBezTo>
                        <a:cubicBezTo>
                          <a:pt x="157" y="28"/>
                          <a:pt x="157" y="28"/>
                          <a:pt x="156" y="28"/>
                        </a:cubicBezTo>
                        <a:cubicBezTo>
                          <a:pt x="156" y="28"/>
                          <a:pt x="156" y="28"/>
                          <a:pt x="156" y="28"/>
                        </a:cubicBezTo>
                        <a:cubicBezTo>
                          <a:pt x="157" y="28"/>
                          <a:pt x="156" y="28"/>
                          <a:pt x="156" y="28"/>
                        </a:cubicBezTo>
                        <a:cubicBezTo>
                          <a:pt x="157" y="28"/>
                          <a:pt x="157" y="27"/>
                          <a:pt x="157" y="27"/>
                        </a:cubicBezTo>
                        <a:close/>
                        <a:moveTo>
                          <a:pt x="153" y="29"/>
                        </a:moveTo>
                        <a:cubicBezTo>
                          <a:pt x="153" y="29"/>
                          <a:pt x="154" y="29"/>
                          <a:pt x="154" y="29"/>
                        </a:cubicBezTo>
                        <a:cubicBezTo>
                          <a:pt x="155" y="29"/>
                          <a:pt x="155" y="29"/>
                          <a:pt x="155" y="29"/>
                        </a:cubicBezTo>
                        <a:cubicBezTo>
                          <a:pt x="155" y="29"/>
                          <a:pt x="155" y="29"/>
                          <a:pt x="155" y="29"/>
                        </a:cubicBezTo>
                        <a:cubicBezTo>
                          <a:pt x="156" y="29"/>
                          <a:pt x="155" y="29"/>
                          <a:pt x="156" y="29"/>
                        </a:cubicBezTo>
                        <a:cubicBezTo>
                          <a:pt x="156" y="29"/>
                          <a:pt x="156" y="29"/>
                          <a:pt x="155" y="29"/>
                        </a:cubicBezTo>
                        <a:cubicBezTo>
                          <a:pt x="155" y="29"/>
                          <a:pt x="156" y="29"/>
                          <a:pt x="156" y="29"/>
                        </a:cubicBezTo>
                        <a:cubicBezTo>
                          <a:pt x="156" y="29"/>
                          <a:pt x="156" y="29"/>
                          <a:pt x="156" y="29"/>
                        </a:cubicBezTo>
                        <a:cubicBezTo>
                          <a:pt x="156" y="29"/>
                          <a:pt x="156" y="29"/>
                          <a:pt x="155" y="29"/>
                        </a:cubicBezTo>
                        <a:cubicBezTo>
                          <a:pt x="155" y="29"/>
                          <a:pt x="155" y="29"/>
                          <a:pt x="155" y="29"/>
                        </a:cubicBezTo>
                        <a:cubicBezTo>
                          <a:pt x="156" y="30"/>
                          <a:pt x="158" y="29"/>
                          <a:pt x="158" y="29"/>
                        </a:cubicBezTo>
                        <a:cubicBezTo>
                          <a:pt x="158" y="29"/>
                          <a:pt x="157" y="29"/>
                          <a:pt x="157" y="29"/>
                        </a:cubicBezTo>
                        <a:cubicBezTo>
                          <a:pt x="157" y="29"/>
                          <a:pt x="156" y="30"/>
                          <a:pt x="156" y="30"/>
                        </a:cubicBezTo>
                        <a:cubicBezTo>
                          <a:pt x="155" y="30"/>
                          <a:pt x="155" y="30"/>
                          <a:pt x="155" y="30"/>
                        </a:cubicBezTo>
                        <a:cubicBezTo>
                          <a:pt x="155" y="30"/>
                          <a:pt x="155" y="30"/>
                          <a:pt x="155" y="30"/>
                        </a:cubicBezTo>
                        <a:cubicBezTo>
                          <a:pt x="154" y="30"/>
                          <a:pt x="153" y="30"/>
                          <a:pt x="153" y="31"/>
                        </a:cubicBezTo>
                        <a:cubicBezTo>
                          <a:pt x="153" y="30"/>
                          <a:pt x="152" y="31"/>
                          <a:pt x="151" y="31"/>
                        </a:cubicBezTo>
                        <a:cubicBezTo>
                          <a:pt x="152" y="31"/>
                          <a:pt x="153" y="31"/>
                          <a:pt x="152" y="31"/>
                        </a:cubicBezTo>
                        <a:cubicBezTo>
                          <a:pt x="152" y="31"/>
                          <a:pt x="152" y="31"/>
                          <a:pt x="152" y="31"/>
                        </a:cubicBezTo>
                        <a:cubicBezTo>
                          <a:pt x="152" y="31"/>
                          <a:pt x="152" y="31"/>
                          <a:pt x="153" y="31"/>
                        </a:cubicBezTo>
                        <a:cubicBezTo>
                          <a:pt x="152" y="31"/>
                          <a:pt x="152" y="31"/>
                          <a:pt x="153" y="31"/>
                        </a:cubicBezTo>
                        <a:cubicBezTo>
                          <a:pt x="153" y="31"/>
                          <a:pt x="153" y="31"/>
                          <a:pt x="153" y="31"/>
                        </a:cubicBezTo>
                        <a:cubicBezTo>
                          <a:pt x="153" y="31"/>
                          <a:pt x="153" y="31"/>
                          <a:pt x="153" y="31"/>
                        </a:cubicBezTo>
                        <a:cubicBezTo>
                          <a:pt x="153" y="31"/>
                          <a:pt x="153" y="31"/>
                          <a:pt x="153" y="31"/>
                        </a:cubicBezTo>
                        <a:cubicBezTo>
                          <a:pt x="153" y="31"/>
                          <a:pt x="154" y="31"/>
                          <a:pt x="154" y="31"/>
                        </a:cubicBezTo>
                        <a:cubicBezTo>
                          <a:pt x="154" y="31"/>
                          <a:pt x="154" y="31"/>
                          <a:pt x="154" y="31"/>
                        </a:cubicBezTo>
                        <a:cubicBezTo>
                          <a:pt x="154" y="31"/>
                          <a:pt x="153" y="31"/>
                          <a:pt x="153" y="31"/>
                        </a:cubicBezTo>
                        <a:cubicBezTo>
                          <a:pt x="153" y="31"/>
                          <a:pt x="152" y="32"/>
                          <a:pt x="152" y="32"/>
                        </a:cubicBezTo>
                        <a:cubicBezTo>
                          <a:pt x="152" y="32"/>
                          <a:pt x="152" y="32"/>
                          <a:pt x="152" y="31"/>
                        </a:cubicBezTo>
                        <a:cubicBezTo>
                          <a:pt x="152" y="31"/>
                          <a:pt x="152" y="32"/>
                          <a:pt x="152" y="31"/>
                        </a:cubicBezTo>
                        <a:cubicBezTo>
                          <a:pt x="152" y="31"/>
                          <a:pt x="152" y="31"/>
                          <a:pt x="152" y="31"/>
                        </a:cubicBezTo>
                        <a:cubicBezTo>
                          <a:pt x="152" y="31"/>
                          <a:pt x="152" y="31"/>
                          <a:pt x="152" y="31"/>
                        </a:cubicBezTo>
                        <a:cubicBezTo>
                          <a:pt x="152" y="31"/>
                          <a:pt x="152" y="31"/>
                          <a:pt x="152" y="31"/>
                        </a:cubicBezTo>
                        <a:cubicBezTo>
                          <a:pt x="151" y="31"/>
                          <a:pt x="151" y="31"/>
                          <a:pt x="150" y="31"/>
                        </a:cubicBezTo>
                        <a:cubicBezTo>
                          <a:pt x="150" y="32"/>
                          <a:pt x="151" y="31"/>
                          <a:pt x="151" y="32"/>
                        </a:cubicBezTo>
                        <a:cubicBezTo>
                          <a:pt x="150" y="32"/>
                          <a:pt x="150" y="32"/>
                          <a:pt x="150" y="32"/>
                        </a:cubicBezTo>
                        <a:cubicBezTo>
                          <a:pt x="150" y="32"/>
                          <a:pt x="150" y="32"/>
                          <a:pt x="150" y="32"/>
                        </a:cubicBezTo>
                        <a:cubicBezTo>
                          <a:pt x="150" y="32"/>
                          <a:pt x="151" y="32"/>
                          <a:pt x="150" y="32"/>
                        </a:cubicBezTo>
                        <a:cubicBezTo>
                          <a:pt x="151" y="32"/>
                          <a:pt x="151" y="32"/>
                          <a:pt x="151" y="31"/>
                        </a:cubicBezTo>
                        <a:cubicBezTo>
                          <a:pt x="151" y="32"/>
                          <a:pt x="152" y="31"/>
                          <a:pt x="152" y="31"/>
                        </a:cubicBezTo>
                        <a:cubicBezTo>
                          <a:pt x="152" y="32"/>
                          <a:pt x="152" y="32"/>
                          <a:pt x="152" y="32"/>
                        </a:cubicBezTo>
                        <a:cubicBezTo>
                          <a:pt x="151" y="32"/>
                          <a:pt x="151" y="32"/>
                          <a:pt x="151" y="32"/>
                        </a:cubicBezTo>
                        <a:cubicBezTo>
                          <a:pt x="151" y="32"/>
                          <a:pt x="150" y="32"/>
                          <a:pt x="150" y="32"/>
                        </a:cubicBezTo>
                        <a:cubicBezTo>
                          <a:pt x="150" y="32"/>
                          <a:pt x="150" y="32"/>
                          <a:pt x="150" y="32"/>
                        </a:cubicBezTo>
                        <a:cubicBezTo>
                          <a:pt x="150" y="32"/>
                          <a:pt x="150" y="32"/>
                          <a:pt x="149" y="32"/>
                        </a:cubicBezTo>
                        <a:cubicBezTo>
                          <a:pt x="149" y="33"/>
                          <a:pt x="150" y="33"/>
                          <a:pt x="150" y="33"/>
                        </a:cubicBezTo>
                        <a:cubicBezTo>
                          <a:pt x="150" y="32"/>
                          <a:pt x="150" y="33"/>
                          <a:pt x="150" y="33"/>
                        </a:cubicBezTo>
                        <a:cubicBezTo>
                          <a:pt x="150" y="32"/>
                          <a:pt x="150" y="32"/>
                          <a:pt x="150" y="32"/>
                        </a:cubicBezTo>
                        <a:cubicBezTo>
                          <a:pt x="150" y="32"/>
                          <a:pt x="150" y="32"/>
                          <a:pt x="150" y="32"/>
                        </a:cubicBezTo>
                        <a:cubicBezTo>
                          <a:pt x="150" y="32"/>
                          <a:pt x="150" y="32"/>
                          <a:pt x="151" y="32"/>
                        </a:cubicBezTo>
                        <a:cubicBezTo>
                          <a:pt x="151" y="32"/>
                          <a:pt x="151" y="32"/>
                          <a:pt x="151" y="33"/>
                        </a:cubicBezTo>
                        <a:cubicBezTo>
                          <a:pt x="150" y="32"/>
                          <a:pt x="150" y="33"/>
                          <a:pt x="150" y="33"/>
                        </a:cubicBezTo>
                        <a:cubicBezTo>
                          <a:pt x="149" y="33"/>
                          <a:pt x="149" y="33"/>
                          <a:pt x="149" y="33"/>
                        </a:cubicBezTo>
                        <a:cubicBezTo>
                          <a:pt x="149" y="33"/>
                          <a:pt x="149" y="33"/>
                          <a:pt x="149" y="33"/>
                        </a:cubicBezTo>
                        <a:cubicBezTo>
                          <a:pt x="149" y="33"/>
                          <a:pt x="149" y="33"/>
                          <a:pt x="149" y="33"/>
                        </a:cubicBezTo>
                        <a:cubicBezTo>
                          <a:pt x="150" y="33"/>
                          <a:pt x="149" y="33"/>
                          <a:pt x="149" y="33"/>
                        </a:cubicBezTo>
                        <a:cubicBezTo>
                          <a:pt x="149" y="33"/>
                          <a:pt x="149" y="33"/>
                          <a:pt x="149" y="33"/>
                        </a:cubicBezTo>
                        <a:cubicBezTo>
                          <a:pt x="149" y="33"/>
                          <a:pt x="148" y="33"/>
                          <a:pt x="148" y="33"/>
                        </a:cubicBezTo>
                        <a:cubicBezTo>
                          <a:pt x="148" y="33"/>
                          <a:pt x="148" y="33"/>
                          <a:pt x="148" y="33"/>
                        </a:cubicBezTo>
                        <a:cubicBezTo>
                          <a:pt x="148" y="33"/>
                          <a:pt x="148" y="33"/>
                          <a:pt x="148" y="33"/>
                        </a:cubicBezTo>
                        <a:cubicBezTo>
                          <a:pt x="147" y="33"/>
                          <a:pt x="147" y="33"/>
                          <a:pt x="147" y="33"/>
                        </a:cubicBezTo>
                        <a:cubicBezTo>
                          <a:pt x="148" y="33"/>
                          <a:pt x="148" y="33"/>
                          <a:pt x="148" y="33"/>
                        </a:cubicBezTo>
                        <a:cubicBezTo>
                          <a:pt x="147" y="33"/>
                          <a:pt x="147" y="33"/>
                          <a:pt x="147" y="33"/>
                        </a:cubicBezTo>
                        <a:cubicBezTo>
                          <a:pt x="147" y="33"/>
                          <a:pt x="147" y="33"/>
                          <a:pt x="147" y="33"/>
                        </a:cubicBezTo>
                        <a:cubicBezTo>
                          <a:pt x="147" y="33"/>
                          <a:pt x="146" y="33"/>
                          <a:pt x="146" y="33"/>
                        </a:cubicBezTo>
                        <a:cubicBezTo>
                          <a:pt x="146" y="33"/>
                          <a:pt x="146" y="33"/>
                          <a:pt x="146" y="33"/>
                        </a:cubicBezTo>
                        <a:cubicBezTo>
                          <a:pt x="146" y="33"/>
                          <a:pt x="146" y="33"/>
                          <a:pt x="146" y="33"/>
                        </a:cubicBezTo>
                        <a:cubicBezTo>
                          <a:pt x="146" y="33"/>
                          <a:pt x="146" y="33"/>
                          <a:pt x="146" y="33"/>
                        </a:cubicBezTo>
                        <a:cubicBezTo>
                          <a:pt x="147" y="33"/>
                          <a:pt x="146" y="33"/>
                          <a:pt x="146" y="33"/>
                        </a:cubicBezTo>
                        <a:cubicBezTo>
                          <a:pt x="146" y="33"/>
                          <a:pt x="147" y="33"/>
                          <a:pt x="147" y="32"/>
                        </a:cubicBezTo>
                        <a:cubicBezTo>
                          <a:pt x="147" y="32"/>
                          <a:pt x="147" y="32"/>
                          <a:pt x="147" y="32"/>
                        </a:cubicBezTo>
                        <a:cubicBezTo>
                          <a:pt x="146" y="33"/>
                          <a:pt x="146" y="33"/>
                          <a:pt x="146" y="33"/>
                        </a:cubicBezTo>
                        <a:cubicBezTo>
                          <a:pt x="146" y="33"/>
                          <a:pt x="146" y="32"/>
                          <a:pt x="146" y="33"/>
                        </a:cubicBezTo>
                        <a:cubicBezTo>
                          <a:pt x="147" y="32"/>
                          <a:pt x="147" y="32"/>
                          <a:pt x="147" y="32"/>
                        </a:cubicBezTo>
                        <a:cubicBezTo>
                          <a:pt x="147" y="32"/>
                          <a:pt x="146" y="32"/>
                          <a:pt x="146" y="32"/>
                        </a:cubicBezTo>
                        <a:cubicBezTo>
                          <a:pt x="146" y="32"/>
                          <a:pt x="146" y="32"/>
                          <a:pt x="146" y="32"/>
                        </a:cubicBezTo>
                        <a:cubicBezTo>
                          <a:pt x="146" y="32"/>
                          <a:pt x="146" y="32"/>
                          <a:pt x="146" y="32"/>
                        </a:cubicBezTo>
                        <a:cubicBezTo>
                          <a:pt x="146" y="32"/>
                          <a:pt x="146" y="32"/>
                          <a:pt x="146" y="32"/>
                        </a:cubicBezTo>
                        <a:cubicBezTo>
                          <a:pt x="147" y="32"/>
                          <a:pt x="147" y="32"/>
                          <a:pt x="147" y="32"/>
                        </a:cubicBezTo>
                        <a:cubicBezTo>
                          <a:pt x="147" y="32"/>
                          <a:pt x="146" y="32"/>
                          <a:pt x="146" y="32"/>
                        </a:cubicBezTo>
                        <a:cubicBezTo>
                          <a:pt x="146" y="32"/>
                          <a:pt x="146" y="32"/>
                          <a:pt x="146" y="32"/>
                        </a:cubicBezTo>
                        <a:cubicBezTo>
                          <a:pt x="146" y="32"/>
                          <a:pt x="146" y="32"/>
                          <a:pt x="146" y="32"/>
                        </a:cubicBezTo>
                        <a:cubicBezTo>
                          <a:pt x="146" y="32"/>
                          <a:pt x="146" y="32"/>
                          <a:pt x="146" y="32"/>
                        </a:cubicBezTo>
                        <a:cubicBezTo>
                          <a:pt x="145" y="32"/>
                          <a:pt x="145" y="32"/>
                          <a:pt x="146" y="32"/>
                        </a:cubicBezTo>
                        <a:cubicBezTo>
                          <a:pt x="146" y="32"/>
                          <a:pt x="145" y="32"/>
                          <a:pt x="145" y="32"/>
                        </a:cubicBezTo>
                        <a:cubicBezTo>
                          <a:pt x="145" y="32"/>
                          <a:pt x="145" y="32"/>
                          <a:pt x="145" y="32"/>
                        </a:cubicBezTo>
                        <a:cubicBezTo>
                          <a:pt x="145" y="32"/>
                          <a:pt x="145" y="32"/>
                          <a:pt x="146" y="32"/>
                        </a:cubicBezTo>
                        <a:cubicBezTo>
                          <a:pt x="146" y="32"/>
                          <a:pt x="146" y="32"/>
                          <a:pt x="146" y="32"/>
                        </a:cubicBezTo>
                        <a:cubicBezTo>
                          <a:pt x="145" y="32"/>
                          <a:pt x="145" y="32"/>
                          <a:pt x="145" y="32"/>
                        </a:cubicBezTo>
                        <a:cubicBezTo>
                          <a:pt x="145" y="32"/>
                          <a:pt x="146" y="32"/>
                          <a:pt x="145" y="32"/>
                        </a:cubicBezTo>
                        <a:cubicBezTo>
                          <a:pt x="145" y="32"/>
                          <a:pt x="145" y="32"/>
                          <a:pt x="145" y="32"/>
                        </a:cubicBezTo>
                        <a:cubicBezTo>
                          <a:pt x="145" y="32"/>
                          <a:pt x="145" y="32"/>
                          <a:pt x="145" y="32"/>
                        </a:cubicBezTo>
                        <a:cubicBezTo>
                          <a:pt x="145" y="32"/>
                          <a:pt x="145" y="32"/>
                          <a:pt x="145" y="33"/>
                        </a:cubicBezTo>
                        <a:cubicBezTo>
                          <a:pt x="145" y="32"/>
                          <a:pt x="145" y="32"/>
                          <a:pt x="145" y="32"/>
                        </a:cubicBezTo>
                        <a:cubicBezTo>
                          <a:pt x="144" y="33"/>
                          <a:pt x="144" y="33"/>
                          <a:pt x="144" y="33"/>
                        </a:cubicBezTo>
                        <a:cubicBezTo>
                          <a:pt x="143" y="33"/>
                          <a:pt x="144" y="33"/>
                          <a:pt x="144" y="33"/>
                        </a:cubicBezTo>
                        <a:cubicBezTo>
                          <a:pt x="143" y="33"/>
                          <a:pt x="143" y="33"/>
                          <a:pt x="143" y="33"/>
                        </a:cubicBezTo>
                        <a:cubicBezTo>
                          <a:pt x="143" y="33"/>
                          <a:pt x="143" y="33"/>
                          <a:pt x="143" y="32"/>
                        </a:cubicBezTo>
                        <a:cubicBezTo>
                          <a:pt x="143" y="33"/>
                          <a:pt x="143" y="33"/>
                          <a:pt x="142" y="33"/>
                        </a:cubicBezTo>
                        <a:cubicBezTo>
                          <a:pt x="143" y="32"/>
                          <a:pt x="143" y="32"/>
                          <a:pt x="142" y="32"/>
                        </a:cubicBezTo>
                        <a:cubicBezTo>
                          <a:pt x="143" y="32"/>
                          <a:pt x="143" y="32"/>
                          <a:pt x="142" y="32"/>
                        </a:cubicBezTo>
                        <a:cubicBezTo>
                          <a:pt x="143" y="32"/>
                          <a:pt x="143" y="32"/>
                          <a:pt x="143" y="32"/>
                        </a:cubicBezTo>
                        <a:cubicBezTo>
                          <a:pt x="143" y="32"/>
                          <a:pt x="143" y="32"/>
                          <a:pt x="144" y="32"/>
                        </a:cubicBezTo>
                        <a:cubicBezTo>
                          <a:pt x="144" y="32"/>
                          <a:pt x="143" y="32"/>
                          <a:pt x="143" y="32"/>
                        </a:cubicBezTo>
                        <a:cubicBezTo>
                          <a:pt x="143" y="33"/>
                          <a:pt x="144" y="32"/>
                          <a:pt x="145" y="32"/>
                        </a:cubicBezTo>
                        <a:cubicBezTo>
                          <a:pt x="145" y="32"/>
                          <a:pt x="144" y="32"/>
                          <a:pt x="144" y="32"/>
                        </a:cubicBezTo>
                        <a:cubicBezTo>
                          <a:pt x="144" y="32"/>
                          <a:pt x="144" y="32"/>
                          <a:pt x="144" y="32"/>
                        </a:cubicBezTo>
                        <a:cubicBezTo>
                          <a:pt x="144" y="32"/>
                          <a:pt x="145" y="32"/>
                          <a:pt x="145" y="32"/>
                        </a:cubicBezTo>
                        <a:cubicBezTo>
                          <a:pt x="145" y="31"/>
                          <a:pt x="146" y="32"/>
                          <a:pt x="146" y="31"/>
                        </a:cubicBezTo>
                        <a:cubicBezTo>
                          <a:pt x="146" y="31"/>
                          <a:pt x="146" y="31"/>
                          <a:pt x="146" y="31"/>
                        </a:cubicBezTo>
                        <a:cubicBezTo>
                          <a:pt x="146" y="31"/>
                          <a:pt x="147" y="31"/>
                          <a:pt x="147" y="31"/>
                        </a:cubicBezTo>
                        <a:cubicBezTo>
                          <a:pt x="148" y="31"/>
                          <a:pt x="148" y="31"/>
                          <a:pt x="148" y="31"/>
                        </a:cubicBezTo>
                        <a:cubicBezTo>
                          <a:pt x="148" y="31"/>
                          <a:pt x="147" y="31"/>
                          <a:pt x="148" y="31"/>
                        </a:cubicBezTo>
                        <a:cubicBezTo>
                          <a:pt x="148" y="31"/>
                          <a:pt x="148" y="31"/>
                          <a:pt x="148" y="31"/>
                        </a:cubicBezTo>
                        <a:cubicBezTo>
                          <a:pt x="148" y="31"/>
                          <a:pt x="148" y="31"/>
                          <a:pt x="149" y="31"/>
                        </a:cubicBezTo>
                        <a:cubicBezTo>
                          <a:pt x="148" y="31"/>
                          <a:pt x="149" y="31"/>
                          <a:pt x="150" y="31"/>
                        </a:cubicBezTo>
                        <a:cubicBezTo>
                          <a:pt x="150" y="31"/>
                          <a:pt x="149" y="31"/>
                          <a:pt x="149" y="31"/>
                        </a:cubicBezTo>
                        <a:cubicBezTo>
                          <a:pt x="149" y="31"/>
                          <a:pt x="149" y="31"/>
                          <a:pt x="149" y="31"/>
                        </a:cubicBezTo>
                        <a:cubicBezTo>
                          <a:pt x="149" y="31"/>
                          <a:pt x="149" y="31"/>
                          <a:pt x="148" y="31"/>
                        </a:cubicBezTo>
                        <a:cubicBezTo>
                          <a:pt x="148" y="31"/>
                          <a:pt x="149" y="31"/>
                          <a:pt x="149" y="31"/>
                        </a:cubicBezTo>
                        <a:cubicBezTo>
                          <a:pt x="149" y="31"/>
                          <a:pt x="149" y="31"/>
                          <a:pt x="149" y="31"/>
                        </a:cubicBezTo>
                        <a:cubicBezTo>
                          <a:pt x="149" y="31"/>
                          <a:pt x="149" y="31"/>
                          <a:pt x="149" y="31"/>
                        </a:cubicBezTo>
                        <a:cubicBezTo>
                          <a:pt x="149" y="31"/>
                          <a:pt x="149" y="31"/>
                          <a:pt x="149" y="31"/>
                        </a:cubicBezTo>
                        <a:cubicBezTo>
                          <a:pt x="149" y="31"/>
                          <a:pt x="150" y="30"/>
                          <a:pt x="150" y="31"/>
                        </a:cubicBezTo>
                        <a:cubicBezTo>
                          <a:pt x="150" y="31"/>
                          <a:pt x="150" y="31"/>
                          <a:pt x="150" y="31"/>
                        </a:cubicBezTo>
                        <a:cubicBezTo>
                          <a:pt x="150" y="30"/>
                          <a:pt x="150" y="30"/>
                          <a:pt x="150" y="30"/>
                        </a:cubicBezTo>
                        <a:cubicBezTo>
                          <a:pt x="150" y="30"/>
                          <a:pt x="151" y="30"/>
                          <a:pt x="151" y="30"/>
                        </a:cubicBezTo>
                        <a:cubicBezTo>
                          <a:pt x="151" y="30"/>
                          <a:pt x="151" y="30"/>
                          <a:pt x="151" y="30"/>
                        </a:cubicBezTo>
                        <a:cubicBezTo>
                          <a:pt x="151" y="30"/>
                          <a:pt x="150" y="30"/>
                          <a:pt x="150" y="30"/>
                        </a:cubicBezTo>
                        <a:cubicBezTo>
                          <a:pt x="150" y="30"/>
                          <a:pt x="150" y="30"/>
                          <a:pt x="150" y="30"/>
                        </a:cubicBezTo>
                        <a:cubicBezTo>
                          <a:pt x="150" y="30"/>
                          <a:pt x="150" y="30"/>
                          <a:pt x="150" y="30"/>
                        </a:cubicBezTo>
                        <a:cubicBezTo>
                          <a:pt x="149" y="30"/>
                          <a:pt x="150" y="30"/>
                          <a:pt x="150" y="30"/>
                        </a:cubicBezTo>
                        <a:cubicBezTo>
                          <a:pt x="149" y="31"/>
                          <a:pt x="150" y="30"/>
                          <a:pt x="149" y="30"/>
                        </a:cubicBezTo>
                        <a:cubicBezTo>
                          <a:pt x="149" y="30"/>
                          <a:pt x="149" y="30"/>
                          <a:pt x="149" y="30"/>
                        </a:cubicBezTo>
                        <a:cubicBezTo>
                          <a:pt x="149" y="30"/>
                          <a:pt x="149" y="30"/>
                          <a:pt x="149" y="30"/>
                        </a:cubicBezTo>
                        <a:cubicBezTo>
                          <a:pt x="149" y="30"/>
                          <a:pt x="149" y="30"/>
                          <a:pt x="149" y="30"/>
                        </a:cubicBezTo>
                        <a:cubicBezTo>
                          <a:pt x="147" y="30"/>
                          <a:pt x="147" y="31"/>
                          <a:pt x="145" y="31"/>
                        </a:cubicBezTo>
                        <a:cubicBezTo>
                          <a:pt x="145" y="31"/>
                          <a:pt x="145" y="31"/>
                          <a:pt x="144" y="31"/>
                        </a:cubicBezTo>
                        <a:cubicBezTo>
                          <a:pt x="144" y="31"/>
                          <a:pt x="144" y="31"/>
                          <a:pt x="144" y="31"/>
                        </a:cubicBezTo>
                        <a:cubicBezTo>
                          <a:pt x="143" y="31"/>
                          <a:pt x="143" y="31"/>
                          <a:pt x="143" y="31"/>
                        </a:cubicBezTo>
                        <a:cubicBezTo>
                          <a:pt x="143" y="31"/>
                          <a:pt x="144" y="31"/>
                          <a:pt x="144" y="31"/>
                        </a:cubicBezTo>
                        <a:cubicBezTo>
                          <a:pt x="143" y="31"/>
                          <a:pt x="143" y="31"/>
                          <a:pt x="143" y="31"/>
                        </a:cubicBezTo>
                        <a:cubicBezTo>
                          <a:pt x="143" y="31"/>
                          <a:pt x="143" y="31"/>
                          <a:pt x="142" y="31"/>
                        </a:cubicBezTo>
                        <a:cubicBezTo>
                          <a:pt x="143" y="31"/>
                          <a:pt x="143" y="31"/>
                          <a:pt x="144" y="31"/>
                        </a:cubicBezTo>
                        <a:cubicBezTo>
                          <a:pt x="144" y="31"/>
                          <a:pt x="144" y="31"/>
                          <a:pt x="144" y="31"/>
                        </a:cubicBezTo>
                        <a:cubicBezTo>
                          <a:pt x="144" y="31"/>
                          <a:pt x="145" y="31"/>
                          <a:pt x="145" y="31"/>
                        </a:cubicBezTo>
                        <a:cubicBezTo>
                          <a:pt x="145" y="31"/>
                          <a:pt x="145" y="31"/>
                          <a:pt x="145" y="30"/>
                        </a:cubicBezTo>
                        <a:cubicBezTo>
                          <a:pt x="147" y="30"/>
                          <a:pt x="149" y="30"/>
                          <a:pt x="151" y="29"/>
                        </a:cubicBezTo>
                        <a:cubicBezTo>
                          <a:pt x="151" y="29"/>
                          <a:pt x="151" y="29"/>
                          <a:pt x="151" y="29"/>
                        </a:cubicBezTo>
                        <a:cubicBezTo>
                          <a:pt x="152" y="29"/>
                          <a:pt x="152" y="29"/>
                          <a:pt x="152" y="28"/>
                        </a:cubicBezTo>
                        <a:cubicBezTo>
                          <a:pt x="152" y="29"/>
                          <a:pt x="151" y="29"/>
                          <a:pt x="151" y="29"/>
                        </a:cubicBezTo>
                        <a:cubicBezTo>
                          <a:pt x="150" y="29"/>
                          <a:pt x="150" y="29"/>
                          <a:pt x="150" y="29"/>
                        </a:cubicBezTo>
                        <a:cubicBezTo>
                          <a:pt x="150" y="29"/>
                          <a:pt x="151" y="28"/>
                          <a:pt x="151" y="29"/>
                        </a:cubicBezTo>
                        <a:cubicBezTo>
                          <a:pt x="151" y="29"/>
                          <a:pt x="151" y="28"/>
                          <a:pt x="151" y="28"/>
                        </a:cubicBezTo>
                        <a:cubicBezTo>
                          <a:pt x="150" y="29"/>
                          <a:pt x="150" y="29"/>
                          <a:pt x="149" y="29"/>
                        </a:cubicBezTo>
                        <a:cubicBezTo>
                          <a:pt x="149" y="29"/>
                          <a:pt x="148" y="29"/>
                          <a:pt x="149" y="29"/>
                        </a:cubicBezTo>
                        <a:cubicBezTo>
                          <a:pt x="149" y="29"/>
                          <a:pt x="148" y="28"/>
                          <a:pt x="148" y="29"/>
                        </a:cubicBezTo>
                        <a:cubicBezTo>
                          <a:pt x="148" y="29"/>
                          <a:pt x="149" y="28"/>
                          <a:pt x="149" y="29"/>
                        </a:cubicBezTo>
                        <a:cubicBezTo>
                          <a:pt x="149" y="28"/>
                          <a:pt x="150" y="28"/>
                          <a:pt x="149" y="28"/>
                        </a:cubicBezTo>
                        <a:cubicBezTo>
                          <a:pt x="150" y="28"/>
                          <a:pt x="150" y="28"/>
                          <a:pt x="150" y="28"/>
                        </a:cubicBezTo>
                        <a:cubicBezTo>
                          <a:pt x="150" y="28"/>
                          <a:pt x="150" y="28"/>
                          <a:pt x="150" y="28"/>
                        </a:cubicBezTo>
                        <a:cubicBezTo>
                          <a:pt x="150" y="28"/>
                          <a:pt x="151" y="28"/>
                          <a:pt x="151" y="28"/>
                        </a:cubicBezTo>
                        <a:cubicBezTo>
                          <a:pt x="151" y="28"/>
                          <a:pt x="151" y="28"/>
                          <a:pt x="151" y="28"/>
                        </a:cubicBezTo>
                        <a:cubicBezTo>
                          <a:pt x="151" y="28"/>
                          <a:pt x="151" y="28"/>
                          <a:pt x="150" y="28"/>
                        </a:cubicBezTo>
                        <a:cubicBezTo>
                          <a:pt x="151" y="28"/>
                          <a:pt x="151" y="27"/>
                          <a:pt x="152" y="27"/>
                        </a:cubicBezTo>
                        <a:cubicBezTo>
                          <a:pt x="152" y="27"/>
                          <a:pt x="152" y="27"/>
                          <a:pt x="151" y="27"/>
                        </a:cubicBezTo>
                        <a:cubicBezTo>
                          <a:pt x="151" y="27"/>
                          <a:pt x="152" y="27"/>
                          <a:pt x="152" y="27"/>
                        </a:cubicBezTo>
                        <a:cubicBezTo>
                          <a:pt x="151" y="27"/>
                          <a:pt x="151" y="27"/>
                          <a:pt x="151" y="27"/>
                        </a:cubicBezTo>
                        <a:cubicBezTo>
                          <a:pt x="151" y="27"/>
                          <a:pt x="150" y="27"/>
                          <a:pt x="150" y="27"/>
                        </a:cubicBezTo>
                        <a:cubicBezTo>
                          <a:pt x="150" y="27"/>
                          <a:pt x="150" y="27"/>
                          <a:pt x="150" y="27"/>
                        </a:cubicBezTo>
                        <a:cubicBezTo>
                          <a:pt x="150" y="27"/>
                          <a:pt x="150" y="27"/>
                          <a:pt x="150" y="27"/>
                        </a:cubicBezTo>
                        <a:cubicBezTo>
                          <a:pt x="150" y="27"/>
                          <a:pt x="150" y="27"/>
                          <a:pt x="150" y="27"/>
                        </a:cubicBezTo>
                        <a:cubicBezTo>
                          <a:pt x="150" y="27"/>
                          <a:pt x="150" y="27"/>
                          <a:pt x="150" y="27"/>
                        </a:cubicBezTo>
                        <a:cubicBezTo>
                          <a:pt x="150" y="27"/>
                          <a:pt x="150" y="27"/>
                          <a:pt x="150" y="27"/>
                        </a:cubicBezTo>
                        <a:cubicBezTo>
                          <a:pt x="150" y="27"/>
                          <a:pt x="150" y="27"/>
                          <a:pt x="150" y="27"/>
                        </a:cubicBezTo>
                        <a:cubicBezTo>
                          <a:pt x="150" y="26"/>
                          <a:pt x="151" y="26"/>
                          <a:pt x="151" y="26"/>
                        </a:cubicBezTo>
                        <a:cubicBezTo>
                          <a:pt x="152" y="26"/>
                          <a:pt x="151" y="26"/>
                          <a:pt x="151" y="26"/>
                        </a:cubicBezTo>
                        <a:cubicBezTo>
                          <a:pt x="152" y="26"/>
                          <a:pt x="152" y="26"/>
                          <a:pt x="152" y="26"/>
                        </a:cubicBezTo>
                        <a:cubicBezTo>
                          <a:pt x="152" y="26"/>
                          <a:pt x="152" y="25"/>
                          <a:pt x="152" y="25"/>
                        </a:cubicBezTo>
                        <a:cubicBezTo>
                          <a:pt x="152" y="25"/>
                          <a:pt x="152" y="25"/>
                          <a:pt x="152" y="25"/>
                        </a:cubicBezTo>
                        <a:cubicBezTo>
                          <a:pt x="153" y="25"/>
                          <a:pt x="153" y="26"/>
                          <a:pt x="153" y="26"/>
                        </a:cubicBezTo>
                        <a:cubicBezTo>
                          <a:pt x="153" y="26"/>
                          <a:pt x="153" y="26"/>
                          <a:pt x="153" y="26"/>
                        </a:cubicBezTo>
                        <a:cubicBezTo>
                          <a:pt x="153" y="26"/>
                          <a:pt x="153" y="26"/>
                          <a:pt x="153" y="26"/>
                        </a:cubicBezTo>
                        <a:cubicBezTo>
                          <a:pt x="154" y="26"/>
                          <a:pt x="152" y="26"/>
                          <a:pt x="153" y="26"/>
                        </a:cubicBezTo>
                        <a:cubicBezTo>
                          <a:pt x="153" y="26"/>
                          <a:pt x="153" y="26"/>
                          <a:pt x="153" y="26"/>
                        </a:cubicBezTo>
                        <a:cubicBezTo>
                          <a:pt x="153" y="26"/>
                          <a:pt x="153" y="26"/>
                          <a:pt x="154" y="26"/>
                        </a:cubicBezTo>
                        <a:cubicBezTo>
                          <a:pt x="153" y="26"/>
                          <a:pt x="154" y="26"/>
                          <a:pt x="154" y="26"/>
                        </a:cubicBezTo>
                        <a:cubicBezTo>
                          <a:pt x="154" y="26"/>
                          <a:pt x="154" y="26"/>
                          <a:pt x="154" y="26"/>
                        </a:cubicBezTo>
                        <a:cubicBezTo>
                          <a:pt x="154" y="27"/>
                          <a:pt x="155" y="26"/>
                          <a:pt x="155" y="26"/>
                        </a:cubicBezTo>
                        <a:cubicBezTo>
                          <a:pt x="155" y="27"/>
                          <a:pt x="155" y="27"/>
                          <a:pt x="155" y="27"/>
                        </a:cubicBezTo>
                        <a:cubicBezTo>
                          <a:pt x="155" y="27"/>
                          <a:pt x="156" y="26"/>
                          <a:pt x="156" y="27"/>
                        </a:cubicBezTo>
                        <a:cubicBezTo>
                          <a:pt x="155" y="27"/>
                          <a:pt x="156" y="27"/>
                          <a:pt x="155" y="27"/>
                        </a:cubicBezTo>
                        <a:cubicBezTo>
                          <a:pt x="155" y="27"/>
                          <a:pt x="155" y="27"/>
                          <a:pt x="155" y="27"/>
                        </a:cubicBezTo>
                        <a:cubicBezTo>
                          <a:pt x="155" y="27"/>
                          <a:pt x="155" y="27"/>
                          <a:pt x="155" y="27"/>
                        </a:cubicBezTo>
                        <a:cubicBezTo>
                          <a:pt x="155" y="27"/>
                          <a:pt x="155" y="27"/>
                          <a:pt x="155" y="27"/>
                        </a:cubicBezTo>
                        <a:cubicBezTo>
                          <a:pt x="155" y="27"/>
                          <a:pt x="154" y="28"/>
                          <a:pt x="154" y="28"/>
                        </a:cubicBezTo>
                        <a:cubicBezTo>
                          <a:pt x="154" y="28"/>
                          <a:pt x="154" y="28"/>
                          <a:pt x="154" y="28"/>
                        </a:cubicBezTo>
                        <a:cubicBezTo>
                          <a:pt x="153" y="28"/>
                          <a:pt x="153" y="28"/>
                          <a:pt x="153" y="28"/>
                        </a:cubicBezTo>
                        <a:cubicBezTo>
                          <a:pt x="153" y="28"/>
                          <a:pt x="153" y="28"/>
                          <a:pt x="153" y="28"/>
                        </a:cubicBezTo>
                        <a:cubicBezTo>
                          <a:pt x="153" y="28"/>
                          <a:pt x="153" y="28"/>
                          <a:pt x="154" y="28"/>
                        </a:cubicBezTo>
                        <a:cubicBezTo>
                          <a:pt x="154" y="28"/>
                          <a:pt x="153" y="28"/>
                          <a:pt x="153" y="28"/>
                        </a:cubicBezTo>
                        <a:cubicBezTo>
                          <a:pt x="153" y="28"/>
                          <a:pt x="155" y="28"/>
                          <a:pt x="154" y="28"/>
                        </a:cubicBezTo>
                        <a:cubicBezTo>
                          <a:pt x="155" y="28"/>
                          <a:pt x="155" y="28"/>
                          <a:pt x="156" y="28"/>
                        </a:cubicBezTo>
                        <a:cubicBezTo>
                          <a:pt x="156" y="28"/>
                          <a:pt x="156" y="28"/>
                          <a:pt x="155" y="28"/>
                        </a:cubicBezTo>
                        <a:cubicBezTo>
                          <a:pt x="155" y="28"/>
                          <a:pt x="155" y="27"/>
                          <a:pt x="156" y="27"/>
                        </a:cubicBezTo>
                        <a:cubicBezTo>
                          <a:pt x="155" y="27"/>
                          <a:pt x="156" y="28"/>
                          <a:pt x="156" y="27"/>
                        </a:cubicBezTo>
                        <a:cubicBezTo>
                          <a:pt x="156" y="27"/>
                          <a:pt x="156" y="28"/>
                          <a:pt x="156" y="28"/>
                        </a:cubicBezTo>
                        <a:cubicBezTo>
                          <a:pt x="156" y="28"/>
                          <a:pt x="155" y="28"/>
                          <a:pt x="155" y="28"/>
                        </a:cubicBezTo>
                        <a:cubicBezTo>
                          <a:pt x="155" y="28"/>
                          <a:pt x="154" y="28"/>
                          <a:pt x="154" y="28"/>
                        </a:cubicBezTo>
                        <a:cubicBezTo>
                          <a:pt x="154" y="28"/>
                          <a:pt x="154" y="28"/>
                          <a:pt x="154" y="28"/>
                        </a:cubicBezTo>
                        <a:cubicBezTo>
                          <a:pt x="153" y="28"/>
                          <a:pt x="154" y="28"/>
                          <a:pt x="153" y="28"/>
                        </a:cubicBezTo>
                        <a:cubicBezTo>
                          <a:pt x="153" y="29"/>
                          <a:pt x="154" y="28"/>
                          <a:pt x="154" y="28"/>
                        </a:cubicBezTo>
                        <a:cubicBezTo>
                          <a:pt x="154" y="28"/>
                          <a:pt x="153" y="29"/>
                          <a:pt x="153" y="29"/>
                        </a:cubicBezTo>
                        <a:cubicBezTo>
                          <a:pt x="153" y="29"/>
                          <a:pt x="153" y="29"/>
                          <a:pt x="153" y="29"/>
                        </a:cubicBezTo>
                        <a:close/>
                        <a:moveTo>
                          <a:pt x="152" y="26"/>
                        </a:moveTo>
                        <a:cubicBezTo>
                          <a:pt x="153" y="25"/>
                          <a:pt x="153" y="25"/>
                          <a:pt x="153" y="25"/>
                        </a:cubicBezTo>
                        <a:cubicBezTo>
                          <a:pt x="153" y="25"/>
                          <a:pt x="152" y="26"/>
                          <a:pt x="152" y="25"/>
                        </a:cubicBezTo>
                        <a:cubicBezTo>
                          <a:pt x="152" y="26"/>
                          <a:pt x="152" y="26"/>
                          <a:pt x="152" y="26"/>
                        </a:cubicBezTo>
                        <a:close/>
                        <a:moveTo>
                          <a:pt x="153" y="26"/>
                        </a:moveTo>
                        <a:cubicBezTo>
                          <a:pt x="152" y="26"/>
                          <a:pt x="153" y="26"/>
                          <a:pt x="153" y="26"/>
                        </a:cubicBezTo>
                        <a:cubicBezTo>
                          <a:pt x="152" y="26"/>
                          <a:pt x="152" y="26"/>
                          <a:pt x="152" y="26"/>
                        </a:cubicBezTo>
                        <a:cubicBezTo>
                          <a:pt x="151" y="26"/>
                          <a:pt x="151" y="26"/>
                          <a:pt x="150" y="26"/>
                        </a:cubicBezTo>
                        <a:cubicBezTo>
                          <a:pt x="150" y="27"/>
                          <a:pt x="151" y="26"/>
                          <a:pt x="151" y="27"/>
                        </a:cubicBezTo>
                        <a:cubicBezTo>
                          <a:pt x="151" y="26"/>
                          <a:pt x="152" y="26"/>
                          <a:pt x="152" y="26"/>
                        </a:cubicBezTo>
                        <a:cubicBezTo>
                          <a:pt x="152" y="26"/>
                          <a:pt x="152" y="26"/>
                          <a:pt x="152" y="26"/>
                        </a:cubicBezTo>
                        <a:cubicBezTo>
                          <a:pt x="153" y="26"/>
                          <a:pt x="152" y="26"/>
                          <a:pt x="153" y="26"/>
                        </a:cubicBezTo>
                        <a:close/>
                        <a:moveTo>
                          <a:pt x="152" y="27"/>
                        </a:moveTo>
                        <a:cubicBezTo>
                          <a:pt x="152" y="27"/>
                          <a:pt x="152" y="27"/>
                          <a:pt x="151" y="27"/>
                        </a:cubicBezTo>
                        <a:cubicBezTo>
                          <a:pt x="151" y="27"/>
                          <a:pt x="152" y="27"/>
                          <a:pt x="152" y="27"/>
                        </a:cubicBezTo>
                        <a:close/>
                        <a:moveTo>
                          <a:pt x="152" y="28"/>
                        </a:moveTo>
                        <a:cubicBezTo>
                          <a:pt x="153" y="28"/>
                          <a:pt x="152" y="28"/>
                          <a:pt x="153" y="28"/>
                        </a:cubicBezTo>
                        <a:cubicBezTo>
                          <a:pt x="152" y="28"/>
                          <a:pt x="152" y="28"/>
                          <a:pt x="152" y="28"/>
                        </a:cubicBezTo>
                        <a:cubicBezTo>
                          <a:pt x="152" y="28"/>
                          <a:pt x="152" y="28"/>
                          <a:pt x="152" y="28"/>
                        </a:cubicBezTo>
                        <a:close/>
                        <a:moveTo>
                          <a:pt x="145" y="32"/>
                        </a:moveTo>
                        <a:cubicBezTo>
                          <a:pt x="144" y="32"/>
                          <a:pt x="144" y="32"/>
                          <a:pt x="143" y="32"/>
                        </a:cubicBezTo>
                        <a:cubicBezTo>
                          <a:pt x="144" y="32"/>
                          <a:pt x="144" y="33"/>
                          <a:pt x="144" y="33"/>
                        </a:cubicBezTo>
                        <a:cubicBezTo>
                          <a:pt x="144" y="32"/>
                          <a:pt x="144" y="32"/>
                          <a:pt x="144" y="32"/>
                        </a:cubicBezTo>
                        <a:cubicBezTo>
                          <a:pt x="145" y="32"/>
                          <a:pt x="144" y="32"/>
                          <a:pt x="144" y="32"/>
                        </a:cubicBezTo>
                        <a:cubicBezTo>
                          <a:pt x="144" y="32"/>
                          <a:pt x="144" y="32"/>
                          <a:pt x="145" y="32"/>
                        </a:cubicBezTo>
                        <a:cubicBezTo>
                          <a:pt x="144" y="32"/>
                          <a:pt x="145" y="32"/>
                          <a:pt x="145" y="32"/>
                        </a:cubicBezTo>
                        <a:close/>
                        <a:moveTo>
                          <a:pt x="148" y="31"/>
                        </a:moveTo>
                        <a:cubicBezTo>
                          <a:pt x="148" y="31"/>
                          <a:pt x="148" y="31"/>
                          <a:pt x="148" y="31"/>
                        </a:cubicBezTo>
                        <a:cubicBezTo>
                          <a:pt x="148" y="31"/>
                          <a:pt x="148" y="31"/>
                          <a:pt x="148" y="31"/>
                        </a:cubicBezTo>
                        <a:cubicBezTo>
                          <a:pt x="148" y="31"/>
                          <a:pt x="148" y="31"/>
                          <a:pt x="148" y="31"/>
                        </a:cubicBezTo>
                        <a:close/>
                        <a:moveTo>
                          <a:pt x="147" y="31"/>
                        </a:moveTo>
                        <a:cubicBezTo>
                          <a:pt x="147" y="31"/>
                          <a:pt x="147" y="31"/>
                          <a:pt x="147" y="31"/>
                        </a:cubicBezTo>
                        <a:cubicBezTo>
                          <a:pt x="147" y="31"/>
                          <a:pt x="147" y="31"/>
                          <a:pt x="147" y="31"/>
                        </a:cubicBezTo>
                        <a:cubicBezTo>
                          <a:pt x="147" y="31"/>
                          <a:pt x="147" y="31"/>
                          <a:pt x="147" y="31"/>
                        </a:cubicBezTo>
                        <a:close/>
                        <a:moveTo>
                          <a:pt x="146" y="32"/>
                        </a:moveTo>
                        <a:cubicBezTo>
                          <a:pt x="147" y="32"/>
                          <a:pt x="147" y="31"/>
                          <a:pt x="148" y="31"/>
                        </a:cubicBezTo>
                        <a:cubicBezTo>
                          <a:pt x="148" y="31"/>
                          <a:pt x="147" y="31"/>
                          <a:pt x="147" y="31"/>
                        </a:cubicBezTo>
                        <a:cubicBezTo>
                          <a:pt x="147" y="31"/>
                          <a:pt x="147" y="31"/>
                          <a:pt x="147" y="31"/>
                        </a:cubicBezTo>
                        <a:cubicBezTo>
                          <a:pt x="147" y="31"/>
                          <a:pt x="146" y="32"/>
                          <a:pt x="146" y="32"/>
                        </a:cubicBezTo>
                        <a:close/>
                        <a:moveTo>
                          <a:pt x="153" y="31"/>
                        </a:moveTo>
                        <a:cubicBezTo>
                          <a:pt x="153" y="31"/>
                          <a:pt x="154" y="31"/>
                          <a:pt x="154" y="31"/>
                        </a:cubicBezTo>
                        <a:cubicBezTo>
                          <a:pt x="153" y="31"/>
                          <a:pt x="153" y="31"/>
                          <a:pt x="153" y="31"/>
                        </a:cubicBezTo>
                        <a:cubicBezTo>
                          <a:pt x="153" y="31"/>
                          <a:pt x="153" y="31"/>
                          <a:pt x="153" y="31"/>
                        </a:cubicBezTo>
                        <a:close/>
                        <a:moveTo>
                          <a:pt x="148" y="32"/>
                        </a:moveTo>
                        <a:cubicBezTo>
                          <a:pt x="148" y="32"/>
                          <a:pt x="148" y="32"/>
                          <a:pt x="149" y="32"/>
                        </a:cubicBezTo>
                        <a:cubicBezTo>
                          <a:pt x="148" y="32"/>
                          <a:pt x="149" y="32"/>
                          <a:pt x="149" y="32"/>
                        </a:cubicBezTo>
                        <a:cubicBezTo>
                          <a:pt x="148" y="32"/>
                          <a:pt x="148" y="32"/>
                          <a:pt x="147" y="32"/>
                        </a:cubicBezTo>
                        <a:cubicBezTo>
                          <a:pt x="147" y="32"/>
                          <a:pt x="147" y="32"/>
                          <a:pt x="148" y="32"/>
                        </a:cubicBezTo>
                        <a:cubicBezTo>
                          <a:pt x="148" y="32"/>
                          <a:pt x="147" y="32"/>
                          <a:pt x="147" y="32"/>
                        </a:cubicBezTo>
                        <a:cubicBezTo>
                          <a:pt x="148" y="32"/>
                          <a:pt x="148" y="32"/>
                          <a:pt x="148" y="32"/>
                        </a:cubicBezTo>
                        <a:close/>
                        <a:moveTo>
                          <a:pt x="149" y="31"/>
                        </a:moveTo>
                        <a:cubicBezTo>
                          <a:pt x="149" y="32"/>
                          <a:pt x="149" y="32"/>
                          <a:pt x="149" y="32"/>
                        </a:cubicBezTo>
                        <a:cubicBezTo>
                          <a:pt x="148" y="32"/>
                          <a:pt x="149" y="32"/>
                          <a:pt x="148" y="32"/>
                        </a:cubicBezTo>
                        <a:cubicBezTo>
                          <a:pt x="148" y="32"/>
                          <a:pt x="149" y="32"/>
                          <a:pt x="149" y="32"/>
                        </a:cubicBezTo>
                        <a:cubicBezTo>
                          <a:pt x="149" y="32"/>
                          <a:pt x="149" y="32"/>
                          <a:pt x="149" y="32"/>
                        </a:cubicBezTo>
                        <a:cubicBezTo>
                          <a:pt x="149" y="32"/>
                          <a:pt x="149" y="32"/>
                          <a:pt x="150" y="32"/>
                        </a:cubicBezTo>
                        <a:cubicBezTo>
                          <a:pt x="150" y="32"/>
                          <a:pt x="150" y="32"/>
                          <a:pt x="149" y="32"/>
                        </a:cubicBezTo>
                        <a:cubicBezTo>
                          <a:pt x="150" y="32"/>
                          <a:pt x="150" y="32"/>
                          <a:pt x="150" y="32"/>
                        </a:cubicBezTo>
                        <a:cubicBezTo>
                          <a:pt x="149" y="32"/>
                          <a:pt x="149" y="32"/>
                          <a:pt x="150" y="31"/>
                        </a:cubicBezTo>
                        <a:cubicBezTo>
                          <a:pt x="149" y="32"/>
                          <a:pt x="150" y="31"/>
                          <a:pt x="149" y="31"/>
                        </a:cubicBezTo>
                        <a:close/>
                        <a:moveTo>
                          <a:pt x="152" y="31"/>
                        </a:moveTo>
                        <a:cubicBezTo>
                          <a:pt x="153" y="30"/>
                          <a:pt x="153" y="30"/>
                          <a:pt x="153" y="30"/>
                        </a:cubicBezTo>
                        <a:cubicBezTo>
                          <a:pt x="153" y="30"/>
                          <a:pt x="153" y="30"/>
                          <a:pt x="152" y="31"/>
                        </a:cubicBezTo>
                        <a:close/>
                        <a:moveTo>
                          <a:pt x="150" y="30"/>
                        </a:moveTo>
                        <a:cubicBezTo>
                          <a:pt x="150" y="30"/>
                          <a:pt x="150" y="30"/>
                          <a:pt x="150" y="30"/>
                        </a:cubicBezTo>
                        <a:cubicBezTo>
                          <a:pt x="150" y="30"/>
                          <a:pt x="149" y="30"/>
                          <a:pt x="149" y="30"/>
                        </a:cubicBezTo>
                        <a:cubicBezTo>
                          <a:pt x="150" y="30"/>
                          <a:pt x="150" y="30"/>
                          <a:pt x="150" y="30"/>
                        </a:cubicBezTo>
                        <a:close/>
                        <a:moveTo>
                          <a:pt x="150" y="30"/>
                        </a:moveTo>
                        <a:cubicBezTo>
                          <a:pt x="151" y="30"/>
                          <a:pt x="151" y="30"/>
                          <a:pt x="151" y="29"/>
                        </a:cubicBezTo>
                        <a:cubicBezTo>
                          <a:pt x="151" y="29"/>
                          <a:pt x="151" y="29"/>
                          <a:pt x="151" y="29"/>
                        </a:cubicBezTo>
                        <a:cubicBezTo>
                          <a:pt x="151" y="29"/>
                          <a:pt x="151" y="29"/>
                          <a:pt x="151" y="29"/>
                        </a:cubicBezTo>
                        <a:cubicBezTo>
                          <a:pt x="151" y="29"/>
                          <a:pt x="151" y="29"/>
                          <a:pt x="151" y="29"/>
                        </a:cubicBezTo>
                        <a:cubicBezTo>
                          <a:pt x="151" y="29"/>
                          <a:pt x="150" y="30"/>
                          <a:pt x="150" y="30"/>
                        </a:cubicBezTo>
                        <a:cubicBezTo>
                          <a:pt x="150" y="30"/>
                          <a:pt x="151" y="29"/>
                          <a:pt x="151" y="30"/>
                        </a:cubicBezTo>
                        <a:cubicBezTo>
                          <a:pt x="151" y="30"/>
                          <a:pt x="150" y="30"/>
                          <a:pt x="150" y="30"/>
                        </a:cubicBezTo>
                        <a:cubicBezTo>
                          <a:pt x="150" y="30"/>
                          <a:pt x="150" y="30"/>
                          <a:pt x="150" y="30"/>
                        </a:cubicBezTo>
                        <a:close/>
                        <a:moveTo>
                          <a:pt x="153" y="29"/>
                        </a:moveTo>
                        <a:cubicBezTo>
                          <a:pt x="153" y="29"/>
                          <a:pt x="153" y="29"/>
                          <a:pt x="154" y="29"/>
                        </a:cubicBezTo>
                        <a:cubicBezTo>
                          <a:pt x="154" y="29"/>
                          <a:pt x="153" y="29"/>
                          <a:pt x="153" y="29"/>
                        </a:cubicBezTo>
                        <a:cubicBezTo>
                          <a:pt x="153" y="29"/>
                          <a:pt x="153" y="29"/>
                          <a:pt x="153" y="29"/>
                        </a:cubicBezTo>
                        <a:cubicBezTo>
                          <a:pt x="153" y="29"/>
                          <a:pt x="153" y="29"/>
                          <a:pt x="153" y="29"/>
                        </a:cubicBezTo>
                        <a:close/>
                        <a:moveTo>
                          <a:pt x="153" y="30"/>
                        </a:moveTo>
                        <a:cubicBezTo>
                          <a:pt x="152" y="30"/>
                          <a:pt x="153" y="30"/>
                          <a:pt x="153" y="29"/>
                        </a:cubicBezTo>
                        <a:cubicBezTo>
                          <a:pt x="153" y="29"/>
                          <a:pt x="153" y="30"/>
                          <a:pt x="152" y="30"/>
                        </a:cubicBezTo>
                        <a:cubicBezTo>
                          <a:pt x="152" y="29"/>
                          <a:pt x="152" y="30"/>
                          <a:pt x="152" y="30"/>
                        </a:cubicBezTo>
                        <a:cubicBezTo>
                          <a:pt x="152" y="30"/>
                          <a:pt x="152" y="30"/>
                          <a:pt x="153" y="30"/>
                        </a:cubicBezTo>
                        <a:cubicBezTo>
                          <a:pt x="153" y="30"/>
                          <a:pt x="152" y="30"/>
                          <a:pt x="152" y="30"/>
                        </a:cubicBezTo>
                        <a:cubicBezTo>
                          <a:pt x="152" y="30"/>
                          <a:pt x="152" y="30"/>
                          <a:pt x="153" y="30"/>
                        </a:cubicBezTo>
                        <a:close/>
                        <a:moveTo>
                          <a:pt x="153" y="30"/>
                        </a:moveTo>
                        <a:cubicBezTo>
                          <a:pt x="153" y="30"/>
                          <a:pt x="153" y="30"/>
                          <a:pt x="153" y="30"/>
                        </a:cubicBezTo>
                        <a:cubicBezTo>
                          <a:pt x="152" y="30"/>
                          <a:pt x="153" y="30"/>
                          <a:pt x="152" y="30"/>
                        </a:cubicBezTo>
                        <a:cubicBezTo>
                          <a:pt x="153" y="30"/>
                          <a:pt x="153" y="30"/>
                          <a:pt x="153" y="30"/>
                        </a:cubicBezTo>
                        <a:close/>
                        <a:moveTo>
                          <a:pt x="153" y="30"/>
                        </a:moveTo>
                        <a:cubicBezTo>
                          <a:pt x="153" y="30"/>
                          <a:pt x="154" y="30"/>
                          <a:pt x="154" y="30"/>
                        </a:cubicBezTo>
                        <a:cubicBezTo>
                          <a:pt x="154" y="30"/>
                          <a:pt x="154" y="30"/>
                          <a:pt x="154" y="30"/>
                        </a:cubicBezTo>
                        <a:cubicBezTo>
                          <a:pt x="153" y="30"/>
                          <a:pt x="153" y="30"/>
                          <a:pt x="153" y="30"/>
                        </a:cubicBezTo>
                        <a:cubicBezTo>
                          <a:pt x="153" y="30"/>
                          <a:pt x="153" y="30"/>
                          <a:pt x="153" y="30"/>
                        </a:cubicBezTo>
                        <a:cubicBezTo>
                          <a:pt x="154" y="30"/>
                          <a:pt x="154" y="30"/>
                          <a:pt x="154" y="30"/>
                        </a:cubicBezTo>
                        <a:cubicBezTo>
                          <a:pt x="154" y="30"/>
                          <a:pt x="154" y="30"/>
                          <a:pt x="154" y="30"/>
                        </a:cubicBezTo>
                        <a:cubicBezTo>
                          <a:pt x="154" y="29"/>
                          <a:pt x="155" y="29"/>
                          <a:pt x="155" y="29"/>
                        </a:cubicBezTo>
                        <a:cubicBezTo>
                          <a:pt x="155" y="29"/>
                          <a:pt x="154" y="29"/>
                          <a:pt x="154" y="29"/>
                        </a:cubicBezTo>
                        <a:cubicBezTo>
                          <a:pt x="154" y="29"/>
                          <a:pt x="155" y="29"/>
                          <a:pt x="155" y="29"/>
                        </a:cubicBezTo>
                        <a:cubicBezTo>
                          <a:pt x="154" y="29"/>
                          <a:pt x="154" y="29"/>
                          <a:pt x="153" y="30"/>
                        </a:cubicBezTo>
                        <a:close/>
                        <a:moveTo>
                          <a:pt x="154" y="29"/>
                        </a:moveTo>
                        <a:cubicBezTo>
                          <a:pt x="153" y="29"/>
                          <a:pt x="155" y="29"/>
                          <a:pt x="155" y="29"/>
                        </a:cubicBezTo>
                        <a:cubicBezTo>
                          <a:pt x="154" y="29"/>
                          <a:pt x="154" y="29"/>
                          <a:pt x="154" y="29"/>
                        </a:cubicBezTo>
                        <a:close/>
                        <a:moveTo>
                          <a:pt x="152" y="29"/>
                        </a:moveTo>
                        <a:cubicBezTo>
                          <a:pt x="152" y="29"/>
                          <a:pt x="152" y="29"/>
                          <a:pt x="152" y="29"/>
                        </a:cubicBezTo>
                        <a:cubicBezTo>
                          <a:pt x="151" y="29"/>
                          <a:pt x="152" y="29"/>
                          <a:pt x="151" y="29"/>
                        </a:cubicBezTo>
                        <a:cubicBezTo>
                          <a:pt x="151" y="29"/>
                          <a:pt x="152" y="29"/>
                          <a:pt x="152" y="30"/>
                        </a:cubicBezTo>
                        <a:cubicBezTo>
                          <a:pt x="152" y="29"/>
                          <a:pt x="152" y="29"/>
                          <a:pt x="152" y="29"/>
                        </a:cubicBezTo>
                        <a:close/>
                        <a:moveTo>
                          <a:pt x="146" y="31"/>
                        </a:moveTo>
                        <a:cubicBezTo>
                          <a:pt x="145" y="31"/>
                          <a:pt x="145" y="31"/>
                          <a:pt x="145" y="31"/>
                        </a:cubicBezTo>
                        <a:cubicBezTo>
                          <a:pt x="144" y="31"/>
                          <a:pt x="144" y="31"/>
                          <a:pt x="143" y="32"/>
                        </a:cubicBezTo>
                        <a:cubicBezTo>
                          <a:pt x="143" y="31"/>
                          <a:pt x="144" y="31"/>
                          <a:pt x="144" y="31"/>
                        </a:cubicBezTo>
                        <a:cubicBezTo>
                          <a:pt x="144" y="31"/>
                          <a:pt x="144" y="31"/>
                          <a:pt x="144" y="31"/>
                        </a:cubicBezTo>
                        <a:cubicBezTo>
                          <a:pt x="144" y="31"/>
                          <a:pt x="144" y="31"/>
                          <a:pt x="145" y="31"/>
                        </a:cubicBezTo>
                        <a:cubicBezTo>
                          <a:pt x="145" y="31"/>
                          <a:pt x="145" y="31"/>
                          <a:pt x="145" y="31"/>
                        </a:cubicBezTo>
                        <a:cubicBezTo>
                          <a:pt x="145" y="31"/>
                          <a:pt x="145" y="31"/>
                          <a:pt x="145" y="31"/>
                        </a:cubicBezTo>
                        <a:cubicBezTo>
                          <a:pt x="146" y="31"/>
                          <a:pt x="145" y="31"/>
                          <a:pt x="146" y="31"/>
                        </a:cubicBezTo>
                        <a:close/>
                        <a:moveTo>
                          <a:pt x="151" y="32"/>
                        </a:moveTo>
                        <a:cubicBezTo>
                          <a:pt x="151" y="31"/>
                          <a:pt x="151" y="31"/>
                          <a:pt x="151" y="31"/>
                        </a:cubicBezTo>
                        <a:cubicBezTo>
                          <a:pt x="151" y="32"/>
                          <a:pt x="151" y="31"/>
                          <a:pt x="151" y="32"/>
                        </a:cubicBezTo>
                        <a:close/>
                        <a:moveTo>
                          <a:pt x="157" y="26"/>
                        </a:moveTo>
                        <a:cubicBezTo>
                          <a:pt x="158" y="26"/>
                          <a:pt x="157" y="26"/>
                          <a:pt x="158" y="26"/>
                        </a:cubicBezTo>
                        <a:cubicBezTo>
                          <a:pt x="157" y="27"/>
                          <a:pt x="156" y="27"/>
                          <a:pt x="157" y="26"/>
                        </a:cubicBezTo>
                        <a:close/>
                        <a:moveTo>
                          <a:pt x="157" y="25"/>
                        </a:moveTo>
                        <a:cubicBezTo>
                          <a:pt x="157" y="25"/>
                          <a:pt x="156" y="25"/>
                          <a:pt x="156" y="25"/>
                        </a:cubicBezTo>
                        <a:cubicBezTo>
                          <a:pt x="156" y="25"/>
                          <a:pt x="156" y="25"/>
                          <a:pt x="156" y="25"/>
                        </a:cubicBezTo>
                        <a:cubicBezTo>
                          <a:pt x="156" y="25"/>
                          <a:pt x="156" y="25"/>
                          <a:pt x="156" y="25"/>
                        </a:cubicBezTo>
                        <a:cubicBezTo>
                          <a:pt x="156" y="25"/>
                          <a:pt x="156" y="25"/>
                          <a:pt x="156" y="25"/>
                        </a:cubicBezTo>
                        <a:cubicBezTo>
                          <a:pt x="156" y="25"/>
                          <a:pt x="157" y="25"/>
                          <a:pt x="157" y="25"/>
                        </a:cubicBezTo>
                        <a:cubicBezTo>
                          <a:pt x="157" y="25"/>
                          <a:pt x="157" y="25"/>
                          <a:pt x="157" y="25"/>
                        </a:cubicBezTo>
                        <a:close/>
                        <a:moveTo>
                          <a:pt x="156" y="26"/>
                        </a:moveTo>
                        <a:cubicBezTo>
                          <a:pt x="156" y="26"/>
                          <a:pt x="156" y="26"/>
                          <a:pt x="156" y="26"/>
                        </a:cubicBezTo>
                        <a:cubicBezTo>
                          <a:pt x="156" y="26"/>
                          <a:pt x="156" y="26"/>
                          <a:pt x="156" y="26"/>
                        </a:cubicBezTo>
                        <a:close/>
                        <a:moveTo>
                          <a:pt x="153" y="21"/>
                        </a:moveTo>
                        <a:cubicBezTo>
                          <a:pt x="154" y="21"/>
                          <a:pt x="154" y="21"/>
                          <a:pt x="154" y="21"/>
                        </a:cubicBezTo>
                        <a:cubicBezTo>
                          <a:pt x="154" y="21"/>
                          <a:pt x="154" y="21"/>
                          <a:pt x="154" y="21"/>
                        </a:cubicBezTo>
                        <a:cubicBezTo>
                          <a:pt x="154" y="21"/>
                          <a:pt x="154" y="21"/>
                          <a:pt x="153" y="21"/>
                        </a:cubicBezTo>
                        <a:cubicBezTo>
                          <a:pt x="153" y="21"/>
                          <a:pt x="153" y="21"/>
                          <a:pt x="153" y="21"/>
                        </a:cubicBezTo>
                        <a:cubicBezTo>
                          <a:pt x="153" y="21"/>
                          <a:pt x="153" y="21"/>
                          <a:pt x="153" y="21"/>
                        </a:cubicBezTo>
                        <a:cubicBezTo>
                          <a:pt x="153" y="21"/>
                          <a:pt x="154" y="21"/>
                          <a:pt x="153" y="21"/>
                        </a:cubicBezTo>
                        <a:close/>
                        <a:moveTo>
                          <a:pt x="155" y="24"/>
                        </a:moveTo>
                        <a:cubicBezTo>
                          <a:pt x="154" y="24"/>
                          <a:pt x="153" y="24"/>
                          <a:pt x="153" y="24"/>
                        </a:cubicBezTo>
                        <a:cubicBezTo>
                          <a:pt x="153" y="24"/>
                          <a:pt x="154" y="24"/>
                          <a:pt x="154" y="24"/>
                        </a:cubicBezTo>
                        <a:cubicBezTo>
                          <a:pt x="154" y="24"/>
                          <a:pt x="153" y="24"/>
                          <a:pt x="152" y="24"/>
                        </a:cubicBezTo>
                        <a:cubicBezTo>
                          <a:pt x="152" y="24"/>
                          <a:pt x="152" y="24"/>
                          <a:pt x="152" y="24"/>
                        </a:cubicBezTo>
                        <a:cubicBezTo>
                          <a:pt x="152" y="25"/>
                          <a:pt x="152" y="25"/>
                          <a:pt x="152" y="25"/>
                        </a:cubicBezTo>
                        <a:cubicBezTo>
                          <a:pt x="152" y="25"/>
                          <a:pt x="152" y="25"/>
                          <a:pt x="152" y="25"/>
                        </a:cubicBezTo>
                        <a:cubicBezTo>
                          <a:pt x="152" y="25"/>
                          <a:pt x="152" y="25"/>
                          <a:pt x="152" y="25"/>
                        </a:cubicBezTo>
                        <a:cubicBezTo>
                          <a:pt x="152" y="25"/>
                          <a:pt x="151" y="25"/>
                          <a:pt x="151" y="25"/>
                        </a:cubicBezTo>
                        <a:cubicBezTo>
                          <a:pt x="151" y="25"/>
                          <a:pt x="151" y="25"/>
                          <a:pt x="150" y="25"/>
                        </a:cubicBezTo>
                        <a:cubicBezTo>
                          <a:pt x="150" y="25"/>
                          <a:pt x="150" y="25"/>
                          <a:pt x="150" y="25"/>
                        </a:cubicBezTo>
                        <a:cubicBezTo>
                          <a:pt x="151" y="25"/>
                          <a:pt x="151" y="25"/>
                          <a:pt x="151" y="25"/>
                        </a:cubicBezTo>
                        <a:cubicBezTo>
                          <a:pt x="151" y="25"/>
                          <a:pt x="151" y="25"/>
                          <a:pt x="150" y="25"/>
                        </a:cubicBezTo>
                        <a:cubicBezTo>
                          <a:pt x="150" y="25"/>
                          <a:pt x="150" y="25"/>
                          <a:pt x="150" y="25"/>
                        </a:cubicBezTo>
                        <a:cubicBezTo>
                          <a:pt x="150" y="25"/>
                          <a:pt x="149" y="25"/>
                          <a:pt x="149" y="25"/>
                        </a:cubicBezTo>
                        <a:cubicBezTo>
                          <a:pt x="149" y="25"/>
                          <a:pt x="150" y="25"/>
                          <a:pt x="150" y="25"/>
                        </a:cubicBezTo>
                        <a:cubicBezTo>
                          <a:pt x="150" y="25"/>
                          <a:pt x="150" y="25"/>
                          <a:pt x="150" y="25"/>
                        </a:cubicBezTo>
                        <a:cubicBezTo>
                          <a:pt x="149" y="25"/>
                          <a:pt x="150" y="25"/>
                          <a:pt x="149" y="25"/>
                        </a:cubicBezTo>
                        <a:cubicBezTo>
                          <a:pt x="150" y="25"/>
                          <a:pt x="151" y="25"/>
                          <a:pt x="151" y="24"/>
                        </a:cubicBezTo>
                        <a:cubicBezTo>
                          <a:pt x="150" y="24"/>
                          <a:pt x="149" y="24"/>
                          <a:pt x="150" y="25"/>
                        </a:cubicBezTo>
                        <a:cubicBezTo>
                          <a:pt x="149" y="25"/>
                          <a:pt x="149" y="25"/>
                          <a:pt x="148" y="25"/>
                        </a:cubicBezTo>
                        <a:cubicBezTo>
                          <a:pt x="148" y="25"/>
                          <a:pt x="148" y="25"/>
                          <a:pt x="148" y="25"/>
                        </a:cubicBezTo>
                        <a:cubicBezTo>
                          <a:pt x="148" y="25"/>
                          <a:pt x="148" y="25"/>
                          <a:pt x="147" y="25"/>
                        </a:cubicBezTo>
                        <a:cubicBezTo>
                          <a:pt x="148" y="25"/>
                          <a:pt x="148" y="25"/>
                          <a:pt x="149" y="25"/>
                        </a:cubicBezTo>
                        <a:cubicBezTo>
                          <a:pt x="148" y="25"/>
                          <a:pt x="149" y="24"/>
                          <a:pt x="148" y="24"/>
                        </a:cubicBezTo>
                        <a:cubicBezTo>
                          <a:pt x="149" y="24"/>
                          <a:pt x="149" y="24"/>
                          <a:pt x="149" y="24"/>
                        </a:cubicBezTo>
                        <a:cubicBezTo>
                          <a:pt x="150" y="24"/>
                          <a:pt x="149" y="24"/>
                          <a:pt x="149" y="24"/>
                        </a:cubicBezTo>
                        <a:cubicBezTo>
                          <a:pt x="149" y="24"/>
                          <a:pt x="149" y="24"/>
                          <a:pt x="148" y="24"/>
                        </a:cubicBezTo>
                        <a:cubicBezTo>
                          <a:pt x="149" y="24"/>
                          <a:pt x="148" y="24"/>
                          <a:pt x="148" y="24"/>
                        </a:cubicBezTo>
                        <a:cubicBezTo>
                          <a:pt x="148" y="24"/>
                          <a:pt x="148" y="24"/>
                          <a:pt x="148" y="24"/>
                        </a:cubicBezTo>
                        <a:cubicBezTo>
                          <a:pt x="148" y="24"/>
                          <a:pt x="148" y="23"/>
                          <a:pt x="148" y="24"/>
                        </a:cubicBezTo>
                        <a:cubicBezTo>
                          <a:pt x="149" y="24"/>
                          <a:pt x="147" y="24"/>
                          <a:pt x="147" y="24"/>
                        </a:cubicBezTo>
                        <a:cubicBezTo>
                          <a:pt x="147" y="24"/>
                          <a:pt x="147" y="24"/>
                          <a:pt x="147" y="24"/>
                        </a:cubicBezTo>
                        <a:cubicBezTo>
                          <a:pt x="147" y="24"/>
                          <a:pt x="147" y="24"/>
                          <a:pt x="147" y="23"/>
                        </a:cubicBezTo>
                        <a:cubicBezTo>
                          <a:pt x="147" y="23"/>
                          <a:pt x="147" y="24"/>
                          <a:pt x="147" y="23"/>
                        </a:cubicBezTo>
                        <a:cubicBezTo>
                          <a:pt x="147" y="23"/>
                          <a:pt x="147" y="24"/>
                          <a:pt x="147" y="24"/>
                        </a:cubicBezTo>
                        <a:cubicBezTo>
                          <a:pt x="147" y="23"/>
                          <a:pt x="147" y="23"/>
                          <a:pt x="146" y="24"/>
                        </a:cubicBezTo>
                        <a:cubicBezTo>
                          <a:pt x="146" y="23"/>
                          <a:pt x="146" y="23"/>
                          <a:pt x="146" y="23"/>
                        </a:cubicBezTo>
                        <a:cubicBezTo>
                          <a:pt x="146" y="23"/>
                          <a:pt x="146" y="23"/>
                          <a:pt x="147" y="23"/>
                        </a:cubicBezTo>
                        <a:cubicBezTo>
                          <a:pt x="146" y="23"/>
                          <a:pt x="146" y="23"/>
                          <a:pt x="146" y="23"/>
                        </a:cubicBezTo>
                        <a:cubicBezTo>
                          <a:pt x="146" y="23"/>
                          <a:pt x="146" y="23"/>
                          <a:pt x="146" y="23"/>
                        </a:cubicBezTo>
                        <a:cubicBezTo>
                          <a:pt x="146" y="23"/>
                          <a:pt x="146" y="23"/>
                          <a:pt x="146" y="23"/>
                        </a:cubicBezTo>
                        <a:cubicBezTo>
                          <a:pt x="146" y="23"/>
                          <a:pt x="146" y="23"/>
                          <a:pt x="146" y="23"/>
                        </a:cubicBezTo>
                        <a:cubicBezTo>
                          <a:pt x="146" y="23"/>
                          <a:pt x="145" y="23"/>
                          <a:pt x="146" y="23"/>
                        </a:cubicBezTo>
                        <a:cubicBezTo>
                          <a:pt x="145" y="23"/>
                          <a:pt x="146" y="23"/>
                          <a:pt x="145" y="23"/>
                        </a:cubicBezTo>
                        <a:cubicBezTo>
                          <a:pt x="145" y="23"/>
                          <a:pt x="145" y="23"/>
                          <a:pt x="145" y="23"/>
                        </a:cubicBezTo>
                        <a:cubicBezTo>
                          <a:pt x="145" y="23"/>
                          <a:pt x="145" y="23"/>
                          <a:pt x="144" y="23"/>
                        </a:cubicBezTo>
                        <a:cubicBezTo>
                          <a:pt x="144" y="23"/>
                          <a:pt x="145" y="23"/>
                          <a:pt x="145" y="23"/>
                        </a:cubicBezTo>
                        <a:cubicBezTo>
                          <a:pt x="145" y="23"/>
                          <a:pt x="144" y="23"/>
                          <a:pt x="144" y="23"/>
                        </a:cubicBezTo>
                        <a:cubicBezTo>
                          <a:pt x="144" y="23"/>
                          <a:pt x="144" y="23"/>
                          <a:pt x="145" y="23"/>
                        </a:cubicBezTo>
                        <a:cubicBezTo>
                          <a:pt x="145" y="23"/>
                          <a:pt x="147" y="22"/>
                          <a:pt x="147" y="23"/>
                        </a:cubicBezTo>
                        <a:cubicBezTo>
                          <a:pt x="147" y="23"/>
                          <a:pt x="148" y="23"/>
                          <a:pt x="148" y="23"/>
                        </a:cubicBezTo>
                        <a:cubicBezTo>
                          <a:pt x="148" y="23"/>
                          <a:pt x="148" y="23"/>
                          <a:pt x="148" y="23"/>
                        </a:cubicBezTo>
                        <a:cubicBezTo>
                          <a:pt x="148" y="23"/>
                          <a:pt x="148" y="23"/>
                          <a:pt x="147" y="23"/>
                        </a:cubicBezTo>
                        <a:cubicBezTo>
                          <a:pt x="147" y="23"/>
                          <a:pt x="149" y="23"/>
                          <a:pt x="148" y="23"/>
                        </a:cubicBezTo>
                        <a:cubicBezTo>
                          <a:pt x="148" y="23"/>
                          <a:pt x="148" y="23"/>
                          <a:pt x="147" y="23"/>
                        </a:cubicBezTo>
                        <a:cubicBezTo>
                          <a:pt x="147" y="23"/>
                          <a:pt x="148" y="23"/>
                          <a:pt x="148" y="23"/>
                        </a:cubicBezTo>
                        <a:cubicBezTo>
                          <a:pt x="149" y="23"/>
                          <a:pt x="149" y="23"/>
                          <a:pt x="149" y="23"/>
                        </a:cubicBezTo>
                        <a:cubicBezTo>
                          <a:pt x="149" y="23"/>
                          <a:pt x="149" y="23"/>
                          <a:pt x="149" y="23"/>
                        </a:cubicBezTo>
                        <a:cubicBezTo>
                          <a:pt x="149" y="23"/>
                          <a:pt x="149" y="23"/>
                          <a:pt x="150" y="23"/>
                        </a:cubicBezTo>
                        <a:cubicBezTo>
                          <a:pt x="150" y="23"/>
                          <a:pt x="149" y="23"/>
                          <a:pt x="149" y="23"/>
                        </a:cubicBezTo>
                        <a:cubicBezTo>
                          <a:pt x="150" y="23"/>
                          <a:pt x="150" y="23"/>
                          <a:pt x="150" y="23"/>
                        </a:cubicBezTo>
                        <a:cubicBezTo>
                          <a:pt x="150" y="23"/>
                          <a:pt x="150" y="23"/>
                          <a:pt x="150" y="23"/>
                        </a:cubicBezTo>
                        <a:cubicBezTo>
                          <a:pt x="150" y="23"/>
                          <a:pt x="150" y="23"/>
                          <a:pt x="149" y="23"/>
                        </a:cubicBezTo>
                        <a:cubicBezTo>
                          <a:pt x="149" y="23"/>
                          <a:pt x="149" y="23"/>
                          <a:pt x="149" y="23"/>
                        </a:cubicBezTo>
                        <a:cubicBezTo>
                          <a:pt x="149" y="23"/>
                          <a:pt x="149" y="23"/>
                          <a:pt x="150" y="23"/>
                        </a:cubicBezTo>
                        <a:cubicBezTo>
                          <a:pt x="150" y="23"/>
                          <a:pt x="150" y="23"/>
                          <a:pt x="150" y="24"/>
                        </a:cubicBezTo>
                        <a:cubicBezTo>
                          <a:pt x="151" y="24"/>
                          <a:pt x="152" y="23"/>
                          <a:pt x="152" y="23"/>
                        </a:cubicBezTo>
                        <a:cubicBezTo>
                          <a:pt x="152" y="23"/>
                          <a:pt x="152" y="23"/>
                          <a:pt x="152" y="24"/>
                        </a:cubicBezTo>
                        <a:cubicBezTo>
                          <a:pt x="151" y="24"/>
                          <a:pt x="151" y="24"/>
                          <a:pt x="151" y="24"/>
                        </a:cubicBezTo>
                        <a:cubicBezTo>
                          <a:pt x="151" y="24"/>
                          <a:pt x="152" y="24"/>
                          <a:pt x="152" y="24"/>
                        </a:cubicBezTo>
                        <a:cubicBezTo>
                          <a:pt x="152" y="24"/>
                          <a:pt x="152" y="24"/>
                          <a:pt x="152" y="24"/>
                        </a:cubicBezTo>
                        <a:cubicBezTo>
                          <a:pt x="152" y="24"/>
                          <a:pt x="152" y="24"/>
                          <a:pt x="152" y="24"/>
                        </a:cubicBezTo>
                        <a:cubicBezTo>
                          <a:pt x="152" y="23"/>
                          <a:pt x="152" y="23"/>
                          <a:pt x="153" y="23"/>
                        </a:cubicBezTo>
                        <a:cubicBezTo>
                          <a:pt x="153" y="23"/>
                          <a:pt x="153" y="23"/>
                          <a:pt x="153" y="24"/>
                        </a:cubicBezTo>
                        <a:cubicBezTo>
                          <a:pt x="152" y="24"/>
                          <a:pt x="152" y="24"/>
                          <a:pt x="152" y="24"/>
                        </a:cubicBezTo>
                        <a:cubicBezTo>
                          <a:pt x="152" y="24"/>
                          <a:pt x="153" y="24"/>
                          <a:pt x="153" y="24"/>
                        </a:cubicBezTo>
                        <a:cubicBezTo>
                          <a:pt x="154" y="24"/>
                          <a:pt x="154" y="24"/>
                          <a:pt x="155" y="24"/>
                        </a:cubicBezTo>
                        <a:close/>
                        <a:moveTo>
                          <a:pt x="149" y="23"/>
                        </a:moveTo>
                        <a:cubicBezTo>
                          <a:pt x="148" y="24"/>
                          <a:pt x="148" y="23"/>
                          <a:pt x="148" y="23"/>
                        </a:cubicBezTo>
                        <a:cubicBezTo>
                          <a:pt x="148" y="23"/>
                          <a:pt x="148" y="24"/>
                          <a:pt x="148" y="24"/>
                        </a:cubicBezTo>
                        <a:cubicBezTo>
                          <a:pt x="149" y="24"/>
                          <a:pt x="149" y="23"/>
                          <a:pt x="149" y="23"/>
                        </a:cubicBezTo>
                        <a:close/>
                        <a:moveTo>
                          <a:pt x="149" y="24"/>
                        </a:moveTo>
                        <a:cubicBezTo>
                          <a:pt x="149" y="24"/>
                          <a:pt x="149" y="24"/>
                          <a:pt x="149" y="24"/>
                        </a:cubicBezTo>
                        <a:cubicBezTo>
                          <a:pt x="149" y="24"/>
                          <a:pt x="149" y="24"/>
                          <a:pt x="149" y="24"/>
                        </a:cubicBezTo>
                        <a:cubicBezTo>
                          <a:pt x="149" y="24"/>
                          <a:pt x="149" y="24"/>
                          <a:pt x="149" y="24"/>
                        </a:cubicBezTo>
                        <a:cubicBezTo>
                          <a:pt x="149" y="24"/>
                          <a:pt x="149" y="24"/>
                          <a:pt x="148" y="24"/>
                        </a:cubicBezTo>
                        <a:cubicBezTo>
                          <a:pt x="149" y="24"/>
                          <a:pt x="149" y="24"/>
                          <a:pt x="149" y="24"/>
                        </a:cubicBezTo>
                        <a:close/>
                        <a:moveTo>
                          <a:pt x="152" y="24"/>
                        </a:moveTo>
                        <a:cubicBezTo>
                          <a:pt x="152" y="24"/>
                          <a:pt x="151" y="24"/>
                          <a:pt x="151" y="24"/>
                        </a:cubicBezTo>
                        <a:cubicBezTo>
                          <a:pt x="151" y="24"/>
                          <a:pt x="152" y="24"/>
                          <a:pt x="152" y="24"/>
                        </a:cubicBezTo>
                        <a:close/>
                        <a:moveTo>
                          <a:pt x="152" y="24"/>
                        </a:moveTo>
                        <a:cubicBezTo>
                          <a:pt x="152" y="24"/>
                          <a:pt x="152" y="24"/>
                          <a:pt x="152" y="24"/>
                        </a:cubicBezTo>
                        <a:cubicBezTo>
                          <a:pt x="152" y="24"/>
                          <a:pt x="151" y="24"/>
                          <a:pt x="152" y="24"/>
                        </a:cubicBezTo>
                        <a:close/>
                        <a:moveTo>
                          <a:pt x="155" y="27"/>
                        </a:moveTo>
                        <a:cubicBezTo>
                          <a:pt x="155" y="28"/>
                          <a:pt x="155" y="27"/>
                          <a:pt x="154" y="28"/>
                        </a:cubicBezTo>
                        <a:cubicBezTo>
                          <a:pt x="154" y="27"/>
                          <a:pt x="155" y="28"/>
                          <a:pt x="155" y="27"/>
                        </a:cubicBezTo>
                        <a:close/>
                        <a:moveTo>
                          <a:pt x="153" y="20"/>
                        </a:moveTo>
                        <a:cubicBezTo>
                          <a:pt x="152" y="20"/>
                          <a:pt x="153" y="20"/>
                          <a:pt x="153" y="20"/>
                        </a:cubicBezTo>
                        <a:cubicBezTo>
                          <a:pt x="153" y="20"/>
                          <a:pt x="152" y="20"/>
                          <a:pt x="152" y="20"/>
                        </a:cubicBezTo>
                        <a:cubicBezTo>
                          <a:pt x="152" y="20"/>
                          <a:pt x="152" y="20"/>
                          <a:pt x="152" y="20"/>
                        </a:cubicBezTo>
                        <a:cubicBezTo>
                          <a:pt x="153" y="20"/>
                          <a:pt x="153" y="20"/>
                          <a:pt x="153" y="20"/>
                        </a:cubicBezTo>
                        <a:close/>
                        <a:moveTo>
                          <a:pt x="147" y="28"/>
                        </a:moveTo>
                        <a:cubicBezTo>
                          <a:pt x="148" y="28"/>
                          <a:pt x="149" y="28"/>
                          <a:pt x="150" y="27"/>
                        </a:cubicBezTo>
                        <a:cubicBezTo>
                          <a:pt x="150" y="27"/>
                          <a:pt x="150" y="28"/>
                          <a:pt x="150" y="27"/>
                        </a:cubicBezTo>
                        <a:cubicBezTo>
                          <a:pt x="149" y="28"/>
                          <a:pt x="149" y="28"/>
                          <a:pt x="149" y="28"/>
                        </a:cubicBezTo>
                        <a:cubicBezTo>
                          <a:pt x="149" y="28"/>
                          <a:pt x="148" y="28"/>
                          <a:pt x="148" y="28"/>
                        </a:cubicBezTo>
                        <a:cubicBezTo>
                          <a:pt x="148" y="28"/>
                          <a:pt x="148" y="28"/>
                          <a:pt x="148" y="28"/>
                        </a:cubicBezTo>
                        <a:cubicBezTo>
                          <a:pt x="148" y="28"/>
                          <a:pt x="148" y="28"/>
                          <a:pt x="148" y="28"/>
                        </a:cubicBezTo>
                        <a:cubicBezTo>
                          <a:pt x="148" y="28"/>
                          <a:pt x="148" y="28"/>
                          <a:pt x="148" y="28"/>
                        </a:cubicBezTo>
                        <a:cubicBezTo>
                          <a:pt x="148" y="28"/>
                          <a:pt x="147" y="28"/>
                          <a:pt x="147" y="28"/>
                        </a:cubicBezTo>
                        <a:cubicBezTo>
                          <a:pt x="147" y="28"/>
                          <a:pt x="147" y="28"/>
                          <a:pt x="147" y="28"/>
                        </a:cubicBezTo>
                        <a:cubicBezTo>
                          <a:pt x="147" y="28"/>
                          <a:pt x="147" y="28"/>
                          <a:pt x="147" y="28"/>
                        </a:cubicBezTo>
                        <a:close/>
                        <a:moveTo>
                          <a:pt x="148" y="29"/>
                        </a:moveTo>
                        <a:cubicBezTo>
                          <a:pt x="148" y="29"/>
                          <a:pt x="148" y="29"/>
                          <a:pt x="148" y="29"/>
                        </a:cubicBezTo>
                        <a:cubicBezTo>
                          <a:pt x="148" y="29"/>
                          <a:pt x="148" y="29"/>
                          <a:pt x="148" y="29"/>
                        </a:cubicBezTo>
                        <a:cubicBezTo>
                          <a:pt x="148" y="29"/>
                          <a:pt x="149" y="29"/>
                          <a:pt x="149" y="29"/>
                        </a:cubicBezTo>
                        <a:cubicBezTo>
                          <a:pt x="149" y="29"/>
                          <a:pt x="148" y="29"/>
                          <a:pt x="148" y="29"/>
                        </a:cubicBezTo>
                        <a:close/>
                        <a:moveTo>
                          <a:pt x="99" y="40"/>
                        </a:moveTo>
                        <a:cubicBezTo>
                          <a:pt x="99" y="40"/>
                          <a:pt x="98" y="40"/>
                          <a:pt x="97" y="40"/>
                        </a:cubicBezTo>
                        <a:cubicBezTo>
                          <a:pt x="97" y="40"/>
                          <a:pt x="97" y="40"/>
                          <a:pt x="98" y="40"/>
                        </a:cubicBezTo>
                        <a:cubicBezTo>
                          <a:pt x="97" y="40"/>
                          <a:pt x="96" y="40"/>
                          <a:pt x="96" y="40"/>
                        </a:cubicBezTo>
                        <a:cubicBezTo>
                          <a:pt x="96" y="40"/>
                          <a:pt x="96" y="40"/>
                          <a:pt x="96" y="40"/>
                        </a:cubicBezTo>
                        <a:cubicBezTo>
                          <a:pt x="96" y="41"/>
                          <a:pt x="95" y="41"/>
                          <a:pt x="95" y="41"/>
                        </a:cubicBezTo>
                        <a:cubicBezTo>
                          <a:pt x="95" y="41"/>
                          <a:pt x="96" y="41"/>
                          <a:pt x="95" y="40"/>
                        </a:cubicBezTo>
                        <a:cubicBezTo>
                          <a:pt x="95" y="40"/>
                          <a:pt x="95" y="40"/>
                          <a:pt x="95" y="40"/>
                        </a:cubicBezTo>
                        <a:cubicBezTo>
                          <a:pt x="94" y="41"/>
                          <a:pt x="93" y="41"/>
                          <a:pt x="91" y="41"/>
                        </a:cubicBezTo>
                        <a:cubicBezTo>
                          <a:pt x="92" y="41"/>
                          <a:pt x="94" y="41"/>
                          <a:pt x="94" y="40"/>
                        </a:cubicBezTo>
                        <a:cubicBezTo>
                          <a:pt x="94" y="40"/>
                          <a:pt x="95" y="40"/>
                          <a:pt x="95" y="40"/>
                        </a:cubicBezTo>
                        <a:cubicBezTo>
                          <a:pt x="95" y="40"/>
                          <a:pt x="95" y="40"/>
                          <a:pt x="95" y="40"/>
                        </a:cubicBezTo>
                        <a:cubicBezTo>
                          <a:pt x="95" y="40"/>
                          <a:pt x="92" y="40"/>
                          <a:pt x="93" y="41"/>
                        </a:cubicBezTo>
                        <a:cubicBezTo>
                          <a:pt x="93" y="41"/>
                          <a:pt x="93" y="40"/>
                          <a:pt x="94" y="40"/>
                        </a:cubicBezTo>
                        <a:cubicBezTo>
                          <a:pt x="93" y="40"/>
                          <a:pt x="93" y="40"/>
                          <a:pt x="93" y="40"/>
                        </a:cubicBezTo>
                        <a:cubicBezTo>
                          <a:pt x="94" y="40"/>
                          <a:pt x="94" y="40"/>
                          <a:pt x="95" y="40"/>
                        </a:cubicBezTo>
                        <a:cubicBezTo>
                          <a:pt x="95" y="40"/>
                          <a:pt x="95" y="40"/>
                          <a:pt x="95" y="40"/>
                        </a:cubicBezTo>
                        <a:cubicBezTo>
                          <a:pt x="94" y="40"/>
                          <a:pt x="93" y="40"/>
                          <a:pt x="93" y="41"/>
                        </a:cubicBezTo>
                        <a:cubicBezTo>
                          <a:pt x="93" y="41"/>
                          <a:pt x="93" y="41"/>
                          <a:pt x="92" y="41"/>
                        </a:cubicBezTo>
                        <a:cubicBezTo>
                          <a:pt x="92" y="41"/>
                          <a:pt x="92" y="41"/>
                          <a:pt x="92" y="41"/>
                        </a:cubicBezTo>
                        <a:cubicBezTo>
                          <a:pt x="92" y="41"/>
                          <a:pt x="92" y="41"/>
                          <a:pt x="92" y="41"/>
                        </a:cubicBezTo>
                        <a:cubicBezTo>
                          <a:pt x="93" y="41"/>
                          <a:pt x="92" y="41"/>
                          <a:pt x="92" y="41"/>
                        </a:cubicBezTo>
                        <a:cubicBezTo>
                          <a:pt x="92" y="40"/>
                          <a:pt x="92" y="41"/>
                          <a:pt x="92" y="40"/>
                        </a:cubicBezTo>
                        <a:cubicBezTo>
                          <a:pt x="92" y="41"/>
                          <a:pt x="92" y="41"/>
                          <a:pt x="91" y="41"/>
                        </a:cubicBezTo>
                        <a:cubicBezTo>
                          <a:pt x="92" y="40"/>
                          <a:pt x="91" y="41"/>
                          <a:pt x="91" y="41"/>
                        </a:cubicBezTo>
                        <a:cubicBezTo>
                          <a:pt x="91" y="40"/>
                          <a:pt x="92" y="40"/>
                          <a:pt x="92" y="40"/>
                        </a:cubicBezTo>
                        <a:cubicBezTo>
                          <a:pt x="93" y="40"/>
                          <a:pt x="94" y="40"/>
                          <a:pt x="95" y="39"/>
                        </a:cubicBezTo>
                        <a:cubicBezTo>
                          <a:pt x="95" y="39"/>
                          <a:pt x="95" y="39"/>
                          <a:pt x="95" y="39"/>
                        </a:cubicBezTo>
                        <a:cubicBezTo>
                          <a:pt x="96" y="39"/>
                          <a:pt x="96" y="39"/>
                          <a:pt x="97" y="39"/>
                        </a:cubicBezTo>
                        <a:cubicBezTo>
                          <a:pt x="97" y="39"/>
                          <a:pt x="95" y="39"/>
                          <a:pt x="95" y="40"/>
                        </a:cubicBezTo>
                        <a:cubicBezTo>
                          <a:pt x="95" y="40"/>
                          <a:pt x="95" y="40"/>
                          <a:pt x="96" y="40"/>
                        </a:cubicBezTo>
                        <a:cubicBezTo>
                          <a:pt x="96" y="40"/>
                          <a:pt x="96" y="40"/>
                          <a:pt x="95" y="40"/>
                        </a:cubicBezTo>
                        <a:cubicBezTo>
                          <a:pt x="95" y="40"/>
                          <a:pt x="96" y="40"/>
                          <a:pt x="96" y="40"/>
                        </a:cubicBezTo>
                        <a:cubicBezTo>
                          <a:pt x="96" y="40"/>
                          <a:pt x="96" y="40"/>
                          <a:pt x="96" y="40"/>
                        </a:cubicBezTo>
                        <a:cubicBezTo>
                          <a:pt x="96" y="40"/>
                          <a:pt x="96" y="40"/>
                          <a:pt x="96" y="40"/>
                        </a:cubicBezTo>
                        <a:cubicBezTo>
                          <a:pt x="96" y="40"/>
                          <a:pt x="96" y="40"/>
                          <a:pt x="97" y="40"/>
                        </a:cubicBezTo>
                        <a:cubicBezTo>
                          <a:pt x="97" y="40"/>
                          <a:pt x="97" y="40"/>
                          <a:pt x="96" y="40"/>
                        </a:cubicBezTo>
                        <a:cubicBezTo>
                          <a:pt x="96" y="40"/>
                          <a:pt x="96" y="40"/>
                          <a:pt x="96" y="40"/>
                        </a:cubicBezTo>
                        <a:cubicBezTo>
                          <a:pt x="96" y="40"/>
                          <a:pt x="96" y="40"/>
                          <a:pt x="95" y="40"/>
                        </a:cubicBezTo>
                        <a:cubicBezTo>
                          <a:pt x="96" y="39"/>
                          <a:pt x="97" y="40"/>
                          <a:pt x="97" y="39"/>
                        </a:cubicBezTo>
                        <a:cubicBezTo>
                          <a:pt x="97" y="39"/>
                          <a:pt x="97" y="39"/>
                          <a:pt x="97" y="39"/>
                        </a:cubicBezTo>
                        <a:cubicBezTo>
                          <a:pt x="97" y="39"/>
                          <a:pt x="97" y="39"/>
                          <a:pt x="97" y="39"/>
                        </a:cubicBezTo>
                        <a:cubicBezTo>
                          <a:pt x="97" y="39"/>
                          <a:pt x="97" y="39"/>
                          <a:pt x="98" y="39"/>
                        </a:cubicBezTo>
                        <a:cubicBezTo>
                          <a:pt x="97" y="39"/>
                          <a:pt x="97" y="39"/>
                          <a:pt x="97" y="39"/>
                        </a:cubicBezTo>
                        <a:cubicBezTo>
                          <a:pt x="97" y="39"/>
                          <a:pt x="95" y="39"/>
                          <a:pt x="96" y="39"/>
                        </a:cubicBezTo>
                        <a:cubicBezTo>
                          <a:pt x="95" y="39"/>
                          <a:pt x="95" y="39"/>
                          <a:pt x="95" y="39"/>
                        </a:cubicBezTo>
                        <a:cubicBezTo>
                          <a:pt x="95" y="39"/>
                          <a:pt x="94" y="40"/>
                          <a:pt x="94" y="40"/>
                        </a:cubicBezTo>
                        <a:cubicBezTo>
                          <a:pt x="94" y="40"/>
                          <a:pt x="94" y="39"/>
                          <a:pt x="94" y="39"/>
                        </a:cubicBezTo>
                        <a:cubicBezTo>
                          <a:pt x="95" y="39"/>
                          <a:pt x="96" y="39"/>
                          <a:pt x="97" y="39"/>
                        </a:cubicBezTo>
                        <a:cubicBezTo>
                          <a:pt x="97" y="39"/>
                          <a:pt x="98" y="38"/>
                          <a:pt x="99" y="38"/>
                        </a:cubicBezTo>
                        <a:cubicBezTo>
                          <a:pt x="99" y="38"/>
                          <a:pt x="98" y="38"/>
                          <a:pt x="98" y="39"/>
                        </a:cubicBezTo>
                        <a:cubicBezTo>
                          <a:pt x="98" y="39"/>
                          <a:pt x="98" y="38"/>
                          <a:pt x="99" y="38"/>
                        </a:cubicBezTo>
                        <a:cubicBezTo>
                          <a:pt x="99" y="39"/>
                          <a:pt x="98" y="39"/>
                          <a:pt x="98" y="39"/>
                        </a:cubicBezTo>
                        <a:cubicBezTo>
                          <a:pt x="98" y="39"/>
                          <a:pt x="98" y="39"/>
                          <a:pt x="98" y="39"/>
                        </a:cubicBezTo>
                        <a:cubicBezTo>
                          <a:pt x="98" y="39"/>
                          <a:pt x="98" y="39"/>
                          <a:pt x="99" y="39"/>
                        </a:cubicBezTo>
                        <a:cubicBezTo>
                          <a:pt x="98" y="39"/>
                          <a:pt x="98" y="39"/>
                          <a:pt x="98" y="39"/>
                        </a:cubicBezTo>
                        <a:cubicBezTo>
                          <a:pt x="99" y="39"/>
                          <a:pt x="99" y="39"/>
                          <a:pt x="99" y="39"/>
                        </a:cubicBezTo>
                        <a:cubicBezTo>
                          <a:pt x="99" y="39"/>
                          <a:pt x="99" y="39"/>
                          <a:pt x="99" y="39"/>
                        </a:cubicBezTo>
                        <a:cubicBezTo>
                          <a:pt x="100" y="38"/>
                          <a:pt x="100" y="39"/>
                          <a:pt x="100" y="39"/>
                        </a:cubicBezTo>
                        <a:cubicBezTo>
                          <a:pt x="100" y="39"/>
                          <a:pt x="100" y="39"/>
                          <a:pt x="100" y="39"/>
                        </a:cubicBezTo>
                        <a:cubicBezTo>
                          <a:pt x="100" y="39"/>
                          <a:pt x="100" y="39"/>
                          <a:pt x="100" y="39"/>
                        </a:cubicBezTo>
                        <a:cubicBezTo>
                          <a:pt x="100" y="39"/>
                          <a:pt x="100" y="39"/>
                          <a:pt x="100" y="39"/>
                        </a:cubicBezTo>
                        <a:cubicBezTo>
                          <a:pt x="99" y="39"/>
                          <a:pt x="100" y="39"/>
                          <a:pt x="100" y="39"/>
                        </a:cubicBezTo>
                        <a:cubicBezTo>
                          <a:pt x="99" y="39"/>
                          <a:pt x="99" y="39"/>
                          <a:pt x="99" y="39"/>
                        </a:cubicBezTo>
                        <a:cubicBezTo>
                          <a:pt x="99" y="39"/>
                          <a:pt x="100" y="39"/>
                          <a:pt x="100" y="39"/>
                        </a:cubicBezTo>
                        <a:cubicBezTo>
                          <a:pt x="98" y="39"/>
                          <a:pt x="98" y="39"/>
                          <a:pt x="97" y="40"/>
                        </a:cubicBezTo>
                        <a:cubicBezTo>
                          <a:pt x="97" y="40"/>
                          <a:pt x="97" y="40"/>
                          <a:pt x="97" y="40"/>
                        </a:cubicBezTo>
                        <a:cubicBezTo>
                          <a:pt x="97" y="39"/>
                          <a:pt x="97" y="40"/>
                          <a:pt x="97" y="40"/>
                        </a:cubicBezTo>
                        <a:cubicBezTo>
                          <a:pt x="97" y="40"/>
                          <a:pt x="97" y="40"/>
                          <a:pt x="97" y="40"/>
                        </a:cubicBezTo>
                        <a:cubicBezTo>
                          <a:pt x="97" y="40"/>
                          <a:pt x="97" y="40"/>
                          <a:pt x="97" y="40"/>
                        </a:cubicBezTo>
                        <a:cubicBezTo>
                          <a:pt x="97" y="40"/>
                          <a:pt x="97" y="40"/>
                          <a:pt x="97" y="40"/>
                        </a:cubicBezTo>
                        <a:cubicBezTo>
                          <a:pt x="97" y="40"/>
                          <a:pt x="98" y="40"/>
                          <a:pt x="98" y="40"/>
                        </a:cubicBezTo>
                        <a:cubicBezTo>
                          <a:pt x="98" y="40"/>
                          <a:pt x="98" y="40"/>
                          <a:pt x="98" y="40"/>
                        </a:cubicBezTo>
                        <a:cubicBezTo>
                          <a:pt x="98" y="40"/>
                          <a:pt x="98" y="40"/>
                          <a:pt x="99" y="40"/>
                        </a:cubicBezTo>
                        <a:cubicBezTo>
                          <a:pt x="99" y="39"/>
                          <a:pt x="98" y="40"/>
                          <a:pt x="98" y="39"/>
                        </a:cubicBezTo>
                        <a:cubicBezTo>
                          <a:pt x="98" y="39"/>
                          <a:pt x="98" y="39"/>
                          <a:pt x="98" y="39"/>
                        </a:cubicBezTo>
                        <a:cubicBezTo>
                          <a:pt x="98" y="39"/>
                          <a:pt x="99" y="39"/>
                          <a:pt x="99" y="39"/>
                        </a:cubicBezTo>
                        <a:cubicBezTo>
                          <a:pt x="99" y="39"/>
                          <a:pt x="99" y="39"/>
                          <a:pt x="99" y="39"/>
                        </a:cubicBezTo>
                        <a:cubicBezTo>
                          <a:pt x="99" y="39"/>
                          <a:pt x="99" y="39"/>
                          <a:pt x="99" y="39"/>
                        </a:cubicBezTo>
                        <a:cubicBezTo>
                          <a:pt x="100" y="39"/>
                          <a:pt x="100" y="39"/>
                          <a:pt x="101" y="39"/>
                        </a:cubicBezTo>
                        <a:cubicBezTo>
                          <a:pt x="101" y="39"/>
                          <a:pt x="101" y="39"/>
                          <a:pt x="103" y="39"/>
                        </a:cubicBezTo>
                        <a:cubicBezTo>
                          <a:pt x="103" y="39"/>
                          <a:pt x="102" y="39"/>
                          <a:pt x="102" y="39"/>
                        </a:cubicBezTo>
                        <a:cubicBezTo>
                          <a:pt x="103" y="39"/>
                          <a:pt x="103" y="39"/>
                          <a:pt x="103" y="39"/>
                        </a:cubicBezTo>
                        <a:cubicBezTo>
                          <a:pt x="103" y="39"/>
                          <a:pt x="103" y="39"/>
                          <a:pt x="103" y="39"/>
                        </a:cubicBezTo>
                        <a:cubicBezTo>
                          <a:pt x="103" y="39"/>
                          <a:pt x="103" y="39"/>
                          <a:pt x="104" y="39"/>
                        </a:cubicBezTo>
                        <a:cubicBezTo>
                          <a:pt x="104" y="39"/>
                          <a:pt x="104" y="39"/>
                          <a:pt x="104" y="39"/>
                        </a:cubicBezTo>
                        <a:cubicBezTo>
                          <a:pt x="104" y="38"/>
                          <a:pt x="103" y="39"/>
                          <a:pt x="103" y="39"/>
                        </a:cubicBezTo>
                        <a:cubicBezTo>
                          <a:pt x="104" y="38"/>
                          <a:pt x="104" y="38"/>
                          <a:pt x="104" y="38"/>
                        </a:cubicBezTo>
                        <a:cubicBezTo>
                          <a:pt x="104" y="39"/>
                          <a:pt x="104" y="38"/>
                          <a:pt x="104" y="39"/>
                        </a:cubicBezTo>
                        <a:cubicBezTo>
                          <a:pt x="104" y="39"/>
                          <a:pt x="104" y="39"/>
                          <a:pt x="104" y="39"/>
                        </a:cubicBezTo>
                        <a:cubicBezTo>
                          <a:pt x="104" y="39"/>
                          <a:pt x="105" y="39"/>
                          <a:pt x="105" y="38"/>
                        </a:cubicBezTo>
                        <a:cubicBezTo>
                          <a:pt x="105" y="38"/>
                          <a:pt x="104" y="39"/>
                          <a:pt x="104" y="39"/>
                        </a:cubicBezTo>
                        <a:cubicBezTo>
                          <a:pt x="105" y="38"/>
                          <a:pt x="106" y="38"/>
                          <a:pt x="107" y="38"/>
                        </a:cubicBezTo>
                        <a:cubicBezTo>
                          <a:pt x="107" y="38"/>
                          <a:pt x="107" y="38"/>
                          <a:pt x="107" y="38"/>
                        </a:cubicBezTo>
                        <a:cubicBezTo>
                          <a:pt x="107" y="38"/>
                          <a:pt x="107" y="38"/>
                          <a:pt x="107" y="38"/>
                        </a:cubicBezTo>
                        <a:cubicBezTo>
                          <a:pt x="106" y="38"/>
                          <a:pt x="106" y="38"/>
                          <a:pt x="106" y="38"/>
                        </a:cubicBezTo>
                        <a:cubicBezTo>
                          <a:pt x="106" y="38"/>
                          <a:pt x="106" y="38"/>
                          <a:pt x="106" y="38"/>
                        </a:cubicBezTo>
                        <a:cubicBezTo>
                          <a:pt x="106" y="38"/>
                          <a:pt x="105" y="38"/>
                          <a:pt x="105" y="38"/>
                        </a:cubicBezTo>
                        <a:cubicBezTo>
                          <a:pt x="106" y="38"/>
                          <a:pt x="107" y="38"/>
                          <a:pt x="108" y="38"/>
                        </a:cubicBezTo>
                        <a:cubicBezTo>
                          <a:pt x="108" y="38"/>
                          <a:pt x="107" y="38"/>
                          <a:pt x="107" y="38"/>
                        </a:cubicBezTo>
                        <a:cubicBezTo>
                          <a:pt x="107" y="38"/>
                          <a:pt x="107" y="38"/>
                          <a:pt x="107" y="38"/>
                        </a:cubicBezTo>
                        <a:cubicBezTo>
                          <a:pt x="107" y="38"/>
                          <a:pt x="107" y="38"/>
                          <a:pt x="107" y="38"/>
                        </a:cubicBezTo>
                        <a:cubicBezTo>
                          <a:pt x="107" y="38"/>
                          <a:pt x="107" y="38"/>
                          <a:pt x="107" y="38"/>
                        </a:cubicBezTo>
                        <a:cubicBezTo>
                          <a:pt x="107" y="38"/>
                          <a:pt x="108" y="38"/>
                          <a:pt x="109" y="37"/>
                        </a:cubicBezTo>
                        <a:cubicBezTo>
                          <a:pt x="109" y="37"/>
                          <a:pt x="108" y="37"/>
                          <a:pt x="108" y="37"/>
                        </a:cubicBezTo>
                        <a:cubicBezTo>
                          <a:pt x="108" y="37"/>
                          <a:pt x="109" y="37"/>
                          <a:pt x="109" y="37"/>
                        </a:cubicBezTo>
                        <a:cubicBezTo>
                          <a:pt x="109" y="37"/>
                          <a:pt x="109" y="37"/>
                          <a:pt x="109" y="37"/>
                        </a:cubicBezTo>
                        <a:cubicBezTo>
                          <a:pt x="109" y="37"/>
                          <a:pt x="109" y="37"/>
                          <a:pt x="109" y="37"/>
                        </a:cubicBezTo>
                        <a:cubicBezTo>
                          <a:pt x="109" y="37"/>
                          <a:pt x="110" y="37"/>
                          <a:pt x="110" y="37"/>
                        </a:cubicBezTo>
                        <a:cubicBezTo>
                          <a:pt x="110" y="37"/>
                          <a:pt x="111" y="37"/>
                          <a:pt x="111" y="37"/>
                        </a:cubicBezTo>
                        <a:cubicBezTo>
                          <a:pt x="111" y="37"/>
                          <a:pt x="111" y="37"/>
                          <a:pt x="111" y="37"/>
                        </a:cubicBezTo>
                        <a:cubicBezTo>
                          <a:pt x="111" y="37"/>
                          <a:pt x="111" y="37"/>
                          <a:pt x="111" y="37"/>
                        </a:cubicBezTo>
                        <a:cubicBezTo>
                          <a:pt x="111" y="37"/>
                          <a:pt x="111" y="37"/>
                          <a:pt x="112" y="37"/>
                        </a:cubicBezTo>
                        <a:cubicBezTo>
                          <a:pt x="113" y="37"/>
                          <a:pt x="114" y="36"/>
                          <a:pt x="115" y="36"/>
                        </a:cubicBezTo>
                        <a:cubicBezTo>
                          <a:pt x="115" y="36"/>
                          <a:pt x="114" y="36"/>
                          <a:pt x="114" y="36"/>
                        </a:cubicBezTo>
                        <a:cubicBezTo>
                          <a:pt x="115" y="36"/>
                          <a:pt x="115" y="36"/>
                          <a:pt x="116" y="36"/>
                        </a:cubicBezTo>
                        <a:cubicBezTo>
                          <a:pt x="115" y="36"/>
                          <a:pt x="115" y="36"/>
                          <a:pt x="115" y="36"/>
                        </a:cubicBezTo>
                        <a:cubicBezTo>
                          <a:pt x="115" y="36"/>
                          <a:pt x="115" y="37"/>
                          <a:pt x="115" y="37"/>
                        </a:cubicBezTo>
                        <a:cubicBezTo>
                          <a:pt x="115" y="37"/>
                          <a:pt x="114" y="37"/>
                          <a:pt x="114" y="37"/>
                        </a:cubicBezTo>
                        <a:cubicBezTo>
                          <a:pt x="114" y="37"/>
                          <a:pt x="114" y="37"/>
                          <a:pt x="114" y="37"/>
                        </a:cubicBezTo>
                        <a:cubicBezTo>
                          <a:pt x="114" y="36"/>
                          <a:pt x="114" y="37"/>
                          <a:pt x="114" y="37"/>
                        </a:cubicBezTo>
                        <a:cubicBezTo>
                          <a:pt x="114" y="37"/>
                          <a:pt x="114" y="37"/>
                          <a:pt x="114" y="37"/>
                        </a:cubicBezTo>
                        <a:cubicBezTo>
                          <a:pt x="114" y="37"/>
                          <a:pt x="114" y="37"/>
                          <a:pt x="113" y="37"/>
                        </a:cubicBezTo>
                        <a:cubicBezTo>
                          <a:pt x="113" y="37"/>
                          <a:pt x="111" y="37"/>
                          <a:pt x="110" y="37"/>
                        </a:cubicBezTo>
                        <a:cubicBezTo>
                          <a:pt x="110" y="37"/>
                          <a:pt x="111" y="37"/>
                          <a:pt x="111" y="37"/>
                        </a:cubicBezTo>
                        <a:cubicBezTo>
                          <a:pt x="111" y="38"/>
                          <a:pt x="110" y="38"/>
                          <a:pt x="110" y="38"/>
                        </a:cubicBezTo>
                        <a:cubicBezTo>
                          <a:pt x="110" y="38"/>
                          <a:pt x="111" y="38"/>
                          <a:pt x="110" y="38"/>
                        </a:cubicBezTo>
                        <a:cubicBezTo>
                          <a:pt x="111" y="38"/>
                          <a:pt x="111" y="37"/>
                          <a:pt x="112" y="37"/>
                        </a:cubicBezTo>
                        <a:cubicBezTo>
                          <a:pt x="112" y="37"/>
                          <a:pt x="112" y="37"/>
                          <a:pt x="112" y="37"/>
                        </a:cubicBezTo>
                        <a:cubicBezTo>
                          <a:pt x="112" y="38"/>
                          <a:pt x="112" y="37"/>
                          <a:pt x="111" y="38"/>
                        </a:cubicBezTo>
                        <a:cubicBezTo>
                          <a:pt x="112" y="38"/>
                          <a:pt x="113" y="37"/>
                          <a:pt x="113" y="37"/>
                        </a:cubicBezTo>
                        <a:cubicBezTo>
                          <a:pt x="113" y="37"/>
                          <a:pt x="113" y="37"/>
                          <a:pt x="113" y="37"/>
                        </a:cubicBezTo>
                        <a:cubicBezTo>
                          <a:pt x="114" y="37"/>
                          <a:pt x="113" y="37"/>
                          <a:pt x="113" y="37"/>
                        </a:cubicBezTo>
                        <a:cubicBezTo>
                          <a:pt x="113" y="37"/>
                          <a:pt x="114" y="37"/>
                          <a:pt x="114" y="37"/>
                        </a:cubicBezTo>
                        <a:cubicBezTo>
                          <a:pt x="114" y="37"/>
                          <a:pt x="114" y="37"/>
                          <a:pt x="114" y="37"/>
                        </a:cubicBezTo>
                        <a:cubicBezTo>
                          <a:pt x="114" y="37"/>
                          <a:pt x="114" y="37"/>
                          <a:pt x="114" y="37"/>
                        </a:cubicBezTo>
                        <a:cubicBezTo>
                          <a:pt x="115" y="37"/>
                          <a:pt x="116" y="37"/>
                          <a:pt x="117" y="36"/>
                        </a:cubicBezTo>
                        <a:cubicBezTo>
                          <a:pt x="117" y="36"/>
                          <a:pt x="116" y="36"/>
                          <a:pt x="116" y="36"/>
                        </a:cubicBezTo>
                        <a:cubicBezTo>
                          <a:pt x="117" y="36"/>
                          <a:pt x="116" y="36"/>
                          <a:pt x="117" y="36"/>
                        </a:cubicBezTo>
                        <a:cubicBezTo>
                          <a:pt x="117" y="36"/>
                          <a:pt x="116" y="36"/>
                          <a:pt x="117" y="36"/>
                        </a:cubicBezTo>
                        <a:cubicBezTo>
                          <a:pt x="117" y="36"/>
                          <a:pt x="116" y="36"/>
                          <a:pt x="116" y="36"/>
                        </a:cubicBezTo>
                        <a:cubicBezTo>
                          <a:pt x="116" y="36"/>
                          <a:pt x="116" y="36"/>
                          <a:pt x="117" y="36"/>
                        </a:cubicBezTo>
                        <a:cubicBezTo>
                          <a:pt x="117" y="36"/>
                          <a:pt x="116" y="36"/>
                          <a:pt x="116" y="36"/>
                        </a:cubicBezTo>
                        <a:cubicBezTo>
                          <a:pt x="116" y="36"/>
                          <a:pt x="116" y="36"/>
                          <a:pt x="116" y="36"/>
                        </a:cubicBezTo>
                        <a:cubicBezTo>
                          <a:pt x="116" y="35"/>
                          <a:pt x="115" y="36"/>
                          <a:pt x="115" y="35"/>
                        </a:cubicBezTo>
                        <a:cubicBezTo>
                          <a:pt x="115" y="36"/>
                          <a:pt x="116" y="36"/>
                          <a:pt x="116" y="35"/>
                        </a:cubicBezTo>
                        <a:cubicBezTo>
                          <a:pt x="116" y="35"/>
                          <a:pt x="115" y="35"/>
                          <a:pt x="115" y="36"/>
                        </a:cubicBezTo>
                        <a:cubicBezTo>
                          <a:pt x="115" y="36"/>
                          <a:pt x="115" y="35"/>
                          <a:pt x="115" y="35"/>
                        </a:cubicBezTo>
                        <a:cubicBezTo>
                          <a:pt x="114" y="35"/>
                          <a:pt x="115" y="36"/>
                          <a:pt x="114" y="36"/>
                        </a:cubicBezTo>
                        <a:cubicBezTo>
                          <a:pt x="114" y="36"/>
                          <a:pt x="114" y="36"/>
                          <a:pt x="114" y="36"/>
                        </a:cubicBezTo>
                        <a:cubicBezTo>
                          <a:pt x="114" y="36"/>
                          <a:pt x="114" y="36"/>
                          <a:pt x="113" y="36"/>
                        </a:cubicBezTo>
                        <a:cubicBezTo>
                          <a:pt x="113" y="36"/>
                          <a:pt x="114" y="36"/>
                          <a:pt x="114" y="36"/>
                        </a:cubicBezTo>
                        <a:cubicBezTo>
                          <a:pt x="114" y="36"/>
                          <a:pt x="114" y="36"/>
                          <a:pt x="113" y="36"/>
                        </a:cubicBezTo>
                        <a:cubicBezTo>
                          <a:pt x="113" y="36"/>
                          <a:pt x="113" y="36"/>
                          <a:pt x="113" y="36"/>
                        </a:cubicBezTo>
                        <a:cubicBezTo>
                          <a:pt x="113" y="36"/>
                          <a:pt x="113" y="36"/>
                          <a:pt x="113" y="36"/>
                        </a:cubicBezTo>
                        <a:cubicBezTo>
                          <a:pt x="113" y="36"/>
                          <a:pt x="113" y="36"/>
                          <a:pt x="113" y="36"/>
                        </a:cubicBezTo>
                        <a:cubicBezTo>
                          <a:pt x="112" y="36"/>
                          <a:pt x="112" y="36"/>
                          <a:pt x="112" y="36"/>
                        </a:cubicBezTo>
                        <a:cubicBezTo>
                          <a:pt x="112" y="36"/>
                          <a:pt x="111" y="37"/>
                          <a:pt x="111" y="36"/>
                        </a:cubicBezTo>
                        <a:cubicBezTo>
                          <a:pt x="111" y="36"/>
                          <a:pt x="112" y="36"/>
                          <a:pt x="112" y="36"/>
                        </a:cubicBezTo>
                        <a:cubicBezTo>
                          <a:pt x="112" y="36"/>
                          <a:pt x="112" y="36"/>
                          <a:pt x="112" y="36"/>
                        </a:cubicBezTo>
                        <a:cubicBezTo>
                          <a:pt x="112" y="36"/>
                          <a:pt x="112" y="36"/>
                          <a:pt x="112" y="36"/>
                        </a:cubicBezTo>
                        <a:cubicBezTo>
                          <a:pt x="112" y="36"/>
                          <a:pt x="111" y="36"/>
                          <a:pt x="111" y="36"/>
                        </a:cubicBezTo>
                        <a:cubicBezTo>
                          <a:pt x="111" y="36"/>
                          <a:pt x="111" y="36"/>
                          <a:pt x="110" y="36"/>
                        </a:cubicBezTo>
                        <a:cubicBezTo>
                          <a:pt x="111" y="36"/>
                          <a:pt x="111" y="36"/>
                          <a:pt x="110" y="36"/>
                        </a:cubicBezTo>
                        <a:cubicBezTo>
                          <a:pt x="110" y="36"/>
                          <a:pt x="110" y="36"/>
                          <a:pt x="110" y="36"/>
                        </a:cubicBezTo>
                        <a:cubicBezTo>
                          <a:pt x="110" y="36"/>
                          <a:pt x="111" y="36"/>
                          <a:pt x="111" y="36"/>
                        </a:cubicBezTo>
                        <a:cubicBezTo>
                          <a:pt x="111" y="36"/>
                          <a:pt x="111" y="36"/>
                          <a:pt x="111" y="36"/>
                        </a:cubicBezTo>
                        <a:cubicBezTo>
                          <a:pt x="111" y="36"/>
                          <a:pt x="111" y="36"/>
                          <a:pt x="112" y="36"/>
                        </a:cubicBezTo>
                        <a:cubicBezTo>
                          <a:pt x="112" y="36"/>
                          <a:pt x="111" y="36"/>
                          <a:pt x="111" y="35"/>
                        </a:cubicBezTo>
                        <a:cubicBezTo>
                          <a:pt x="111" y="36"/>
                          <a:pt x="110" y="35"/>
                          <a:pt x="110" y="36"/>
                        </a:cubicBezTo>
                        <a:cubicBezTo>
                          <a:pt x="110" y="36"/>
                          <a:pt x="110" y="36"/>
                          <a:pt x="110" y="36"/>
                        </a:cubicBezTo>
                        <a:cubicBezTo>
                          <a:pt x="110" y="36"/>
                          <a:pt x="109" y="36"/>
                          <a:pt x="109" y="36"/>
                        </a:cubicBezTo>
                        <a:cubicBezTo>
                          <a:pt x="109" y="36"/>
                          <a:pt x="110" y="36"/>
                          <a:pt x="110" y="36"/>
                        </a:cubicBezTo>
                        <a:cubicBezTo>
                          <a:pt x="110" y="36"/>
                          <a:pt x="109" y="36"/>
                          <a:pt x="110" y="36"/>
                        </a:cubicBezTo>
                        <a:cubicBezTo>
                          <a:pt x="110" y="36"/>
                          <a:pt x="109" y="36"/>
                          <a:pt x="109" y="36"/>
                        </a:cubicBezTo>
                        <a:cubicBezTo>
                          <a:pt x="109" y="36"/>
                          <a:pt x="109" y="36"/>
                          <a:pt x="109" y="36"/>
                        </a:cubicBezTo>
                        <a:cubicBezTo>
                          <a:pt x="110" y="36"/>
                          <a:pt x="108" y="36"/>
                          <a:pt x="108" y="36"/>
                        </a:cubicBezTo>
                        <a:cubicBezTo>
                          <a:pt x="107" y="36"/>
                          <a:pt x="106" y="37"/>
                          <a:pt x="106" y="37"/>
                        </a:cubicBezTo>
                        <a:cubicBezTo>
                          <a:pt x="106" y="37"/>
                          <a:pt x="105" y="37"/>
                          <a:pt x="104" y="37"/>
                        </a:cubicBezTo>
                        <a:cubicBezTo>
                          <a:pt x="104" y="37"/>
                          <a:pt x="105" y="37"/>
                          <a:pt x="105" y="37"/>
                        </a:cubicBezTo>
                        <a:cubicBezTo>
                          <a:pt x="105" y="37"/>
                          <a:pt x="105" y="37"/>
                          <a:pt x="105" y="37"/>
                        </a:cubicBezTo>
                        <a:cubicBezTo>
                          <a:pt x="106" y="37"/>
                          <a:pt x="106" y="37"/>
                          <a:pt x="106" y="36"/>
                        </a:cubicBezTo>
                        <a:cubicBezTo>
                          <a:pt x="106" y="36"/>
                          <a:pt x="106" y="37"/>
                          <a:pt x="106" y="37"/>
                        </a:cubicBezTo>
                        <a:cubicBezTo>
                          <a:pt x="106" y="37"/>
                          <a:pt x="106" y="36"/>
                          <a:pt x="106" y="36"/>
                        </a:cubicBezTo>
                        <a:cubicBezTo>
                          <a:pt x="107" y="36"/>
                          <a:pt x="107" y="36"/>
                          <a:pt x="107" y="36"/>
                        </a:cubicBezTo>
                        <a:cubicBezTo>
                          <a:pt x="107" y="36"/>
                          <a:pt x="106" y="36"/>
                          <a:pt x="107" y="36"/>
                        </a:cubicBezTo>
                        <a:cubicBezTo>
                          <a:pt x="107" y="36"/>
                          <a:pt x="107" y="36"/>
                          <a:pt x="107" y="36"/>
                        </a:cubicBezTo>
                        <a:cubicBezTo>
                          <a:pt x="107" y="36"/>
                          <a:pt x="107" y="36"/>
                          <a:pt x="107" y="36"/>
                        </a:cubicBezTo>
                        <a:cubicBezTo>
                          <a:pt x="107" y="36"/>
                          <a:pt x="107" y="36"/>
                          <a:pt x="107" y="36"/>
                        </a:cubicBezTo>
                        <a:cubicBezTo>
                          <a:pt x="108" y="36"/>
                          <a:pt x="108" y="36"/>
                          <a:pt x="108" y="36"/>
                        </a:cubicBezTo>
                        <a:cubicBezTo>
                          <a:pt x="108" y="36"/>
                          <a:pt x="107" y="36"/>
                          <a:pt x="107" y="36"/>
                        </a:cubicBezTo>
                        <a:cubicBezTo>
                          <a:pt x="108" y="36"/>
                          <a:pt x="108" y="36"/>
                          <a:pt x="108" y="36"/>
                        </a:cubicBezTo>
                        <a:cubicBezTo>
                          <a:pt x="108" y="36"/>
                          <a:pt x="108" y="36"/>
                          <a:pt x="108" y="36"/>
                        </a:cubicBezTo>
                        <a:cubicBezTo>
                          <a:pt x="109" y="36"/>
                          <a:pt x="109" y="36"/>
                          <a:pt x="109" y="35"/>
                        </a:cubicBezTo>
                        <a:cubicBezTo>
                          <a:pt x="109" y="35"/>
                          <a:pt x="109" y="36"/>
                          <a:pt x="108" y="36"/>
                        </a:cubicBezTo>
                        <a:cubicBezTo>
                          <a:pt x="108" y="36"/>
                          <a:pt x="108" y="36"/>
                          <a:pt x="108" y="36"/>
                        </a:cubicBezTo>
                        <a:cubicBezTo>
                          <a:pt x="108" y="36"/>
                          <a:pt x="108" y="36"/>
                          <a:pt x="108" y="36"/>
                        </a:cubicBezTo>
                        <a:cubicBezTo>
                          <a:pt x="108" y="36"/>
                          <a:pt x="108" y="35"/>
                          <a:pt x="109" y="35"/>
                        </a:cubicBezTo>
                        <a:cubicBezTo>
                          <a:pt x="108" y="35"/>
                          <a:pt x="107" y="35"/>
                          <a:pt x="107" y="36"/>
                        </a:cubicBezTo>
                        <a:cubicBezTo>
                          <a:pt x="107" y="36"/>
                          <a:pt x="107" y="36"/>
                          <a:pt x="107" y="36"/>
                        </a:cubicBezTo>
                        <a:cubicBezTo>
                          <a:pt x="107" y="36"/>
                          <a:pt x="107" y="36"/>
                          <a:pt x="107" y="36"/>
                        </a:cubicBezTo>
                        <a:cubicBezTo>
                          <a:pt x="106" y="36"/>
                          <a:pt x="107" y="36"/>
                          <a:pt x="107" y="36"/>
                        </a:cubicBezTo>
                        <a:cubicBezTo>
                          <a:pt x="106" y="36"/>
                          <a:pt x="106" y="36"/>
                          <a:pt x="106" y="36"/>
                        </a:cubicBezTo>
                        <a:cubicBezTo>
                          <a:pt x="106" y="36"/>
                          <a:pt x="106" y="36"/>
                          <a:pt x="106" y="36"/>
                        </a:cubicBezTo>
                        <a:cubicBezTo>
                          <a:pt x="106" y="36"/>
                          <a:pt x="106" y="36"/>
                          <a:pt x="106" y="36"/>
                        </a:cubicBezTo>
                        <a:cubicBezTo>
                          <a:pt x="106" y="36"/>
                          <a:pt x="106" y="36"/>
                          <a:pt x="106" y="36"/>
                        </a:cubicBezTo>
                        <a:cubicBezTo>
                          <a:pt x="106" y="36"/>
                          <a:pt x="106" y="36"/>
                          <a:pt x="106" y="36"/>
                        </a:cubicBezTo>
                        <a:cubicBezTo>
                          <a:pt x="106" y="35"/>
                          <a:pt x="106" y="35"/>
                          <a:pt x="106" y="35"/>
                        </a:cubicBezTo>
                        <a:cubicBezTo>
                          <a:pt x="106" y="35"/>
                          <a:pt x="106" y="35"/>
                          <a:pt x="105" y="35"/>
                        </a:cubicBezTo>
                        <a:cubicBezTo>
                          <a:pt x="106" y="35"/>
                          <a:pt x="107" y="35"/>
                          <a:pt x="108" y="35"/>
                        </a:cubicBezTo>
                        <a:cubicBezTo>
                          <a:pt x="108" y="35"/>
                          <a:pt x="108" y="35"/>
                          <a:pt x="108" y="35"/>
                        </a:cubicBezTo>
                        <a:cubicBezTo>
                          <a:pt x="109" y="35"/>
                          <a:pt x="109" y="34"/>
                          <a:pt x="110" y="34"/>
                        </a:cubicBezTo>
                        <a:cubicBezTo>
                          <a:pt x="110" y="34"/>
                          <a:pt x="110" y="34"/>
                          <a:pt x="110" y="34"/>
                        </a:cubicBezTo>
                        <a:cubicBezTo>
                          <a:pt x="110" y="34"/>
                          <a:pt x="110" y="34"/>
                          <a:pt x="110" y="34"/>
                        </a:cubicBezTo>
                        <a:cubicBezTo>
                          <a:pt x="110" y="35"/>
                          <a:pt x="110" y="35"/>
                          <a:pt x="109" y="35"/>
                        </a:cubicBezTo>
                        <a:cubicBezTo>
                          <a:pt x="109" y="35"/>
                          <a:pt x="110" y="35"/>
                          <a:pt x="110" y="35"/>
                        </a:cubicBezTo>
                        <a:cubicBezTo>
                          <a:pt x="110" y="35"/>
                          <a:pt x="110" y="35"/>
                          <a:pt x="110" y="35"/>
                        </a:cubicBezTo>
                        <a:cubicBezTo>
                          <a:pt x="111" y="35"/>
                          <a:pt x="111" y="35"/>
                          <a:pt x="111" y="35"/>
                        </a:cubicBezTo>
                        <a:cubicBezTo>
                          <a:pt x="112" y="35"/>
                          <a:pt x="111" y="34"/>
                          <a:pt x="112" y="34"/>
                        </a:cubicBezTo>
                        <a:cubicBezTo>
                          <a:pt x="112" y="34"/>
                          <a:pt x="112" y="35"/>
                          <a:pt x="113" y="34"/>
                        </a:cubicBezTo>
                        <a:cubicBezTo>
                          <a:pt x="113" y="34"/>
                          <a:pt x="113" y="34"/>
                          <a:pt x="113" y="34"/>
                        </a:cubicBezTo>
                        <a:cubicBezTo>
                          <a:pt x="113" y="34"/>
                          <a:pt x="113" y="34"/>
                          <a:pt x="113" y="34"/>
                        </a:cubicBezTo>
                        <a:cubicBezTo>
                          <a:pt x="113" y="34"/>
                          <a:pt x="113" y="34"/>
                          <a:pt x="114" y="34"/>
                        </a:cubicBezTo>
                        <a:cubicBezTo>
                          <a:pt x="114" y="34"/>
                          <a:pt x="113" y="34"/>
                          <a:pt x="113" y="34"/>
                        </a:cubicBezTo>
                        <a:cubicBezTo>
                          <a:pt x="113" y="34"/>
                          <a:pt x="113" y="34"/>
                          <a:pt x="113" y="34"/>
                        </a:cubicBezTo>
                        <a:cubicBezTo>
                          <a:pt x="114" y="34"/>
                          <a:pt x="114" y="34"/>
                          <a:pt x="114" y="34"/>
                        </a:cubicBezTo>
                        <a:cubicBezTo>
                          <a:pt x="114" y="34"/>
                          <a:pt x="114" y="34"/>
                          <a:pt x="114" y="34"/>
                        </a:cubicBezTo>
                        <a:cubicBezTo>
                          <a:pt x="113" y="34"/>
                          <a:pt x="112" y="35"/>
                          <a:pt x="112" y="35"/>
                        </a:cubicBezTo>
                        <a:cubicBezTo>
                          <a:pt x="112" y="35"/>
                          <a:pt x="112" y="35"/>
                          <a:pt x="111" y="35"/>
                        </a:cubicBezTo>
                        <a:cubicBezTo>
                          <a:pt x="111" y="35"/>
                          <a:pt x="112" y="35"/>
                          <a:pt x="112" y="35"/>
                        </a:cubicBezTo>
                        <a:cubicBezTo>
                          <a:pt x="112" y="35"/>
                          <a:pt x="111" y="35"/>
                          <a:pt x="111" y="35"/>
                        </a:cubicBezTo>
                        <a:cubicBezTo>
                          <a:pt x="111" y="35"/>
                          <a:pt x="111" y="35"/>
                          <a:pt x="111" y="35"/>
                        </a:cubicBezTo>
                        <a:cubicBezTo>
                          <a:pt x="111" y="35"/>
                          <a:pt x="111" y="35"/>
                          <a:pt x="112" y="35"/>
                        </a:cubicBezTo>
                        <a:cubicBezTo>
                          <a:pt x="112" y="35"/>
                          <a:pt x="112" y="35"/>
                          <a:pt x="111" y="35"/>
                        </a:cubicBezTo>
                        <a:cubicBezTo>
                          <a:pt x="112" y="36"/>
                          <a:pt x="112" y="35"/>
                          <a:pt x="112" y="36"/>
                        </a:cubicBezTo>
                        <a:cubicBezTo>
                          <a:pt x="112" y="36"/>
                          <a:pt x="112" y="35"/>
                          <a:pt x="112" y="35"/>
                        </a:cubicBezTo>
                        <a:cubicBezTo>
                          <a:pt x="112" y="35"/>
                          <a:pt x="112" y="35"/>
                          <a:pt x="112" y="35"/>
                        </a:cubicBezTo>
                        <a:cubicBezTo>
                          <a:pt x="113" y="35"/>
                          <a:pt x="112" y="35"/>
                          <a:pt x="113" y="35"/>
                        </a:cubicBezTo>
                        <a:cubicBezTo>
                          <a:pt x="113" y="35"/>
                          <a:pt x="113" y="35"/>
                          <a:pt x="112" y="35"/>
                        </a:cubicBezTo>
                        <a:cubicBezTo>
                          <a:pt x="113" y="35"/>
                          <a:pt x="113" y="35"/>
                          <a:pt x="113" y="35"/>
                        </a:cubicBezTo>
                        <a:cubicBezTo>
                          <a:pt x="113" y="35"/>
                          <a:pt x="113" y="35"/>
                          <a:pt x="113" y="35"/>
                        </a:cubicBezTo>
                        <a:cubicBezTo>
                          <a:pt x="113" y="35"/>
                          <a:pt x="113" y="35"/>
                          <a:pt x="113" y="35"/>
                        </a:cubicBezTo>
                        <a:cubicBezTo>
                          <a:pt x="113" y="35"/>
                          <a:pt x="114" y="35"/>
                          <a:pt x="114" y="35"/>
                        </a:cubicBezTo>
                        <a:cubicBezTo>
                          <a:pt x="114" y="35"/>
                          <a:pt x="114" y="35"/>
                          <a:pt x="114" y="35"/>
                        </a:cubicBezTo>
                        <a:cubicBezTo>
                          <a:pt x="114" y="35"/>
                          <a:pt x="114" y="35"/>
                          <a:pt x="114" y="35"/>
                        </a:cubicBezTo>
                        <a:cubicBezTo>
                          <a:pt x="114" y="35"/>
                          <a:pt x="114" y="34"/>
                          <a:pt x="115" y="34"/>
                        </a:cubicBezTo>
                        <a:cubicBezTo>
                          <a:pt x="114" y="34"/>
                          <a:pt x="114" y="34"/>
                          <a:pt x="114" y="34"/>
                        </a:cubicBezTo>
                        <a:cubicBezTo>
                          <a:pt x="115" y="34"/>
                          <a:pt x="116" y="34"/>
                          <a:pt x="116" y="34"/>
                        </a:cubicBezTo>
                        <a:cubicBezTo>
                          <a:pt x="117" y="34"/>
                          <a:pt x="118" y="34"/>
                          <a:pt x="118" y="33"/>
                        </a:cubicBezTo>
                        <a:cubicBezTo>
                          <a:pt x="118" y="34"/>
                          <a:pt x="118" y="33"/>
                          <a:pt x="117" y="34"/>
                        </a:cubicBezTo>
                        <a:cubicBezTo>
                          <a:pt x="117" y="34"/>
                          <a:pt x="118" y="34"/>
                          <a:pt x="118" y="34"/>
                        </a:cubicBezTo>
                        <a:cubicBezTo>
                          <a:pt x="117" y="34"/>
                          <a:pt x="117" y="34"/>
                          <a:pt x="117" y="34"/>
                        </a:cubicBezTo>
                        <a:cubicBezTo>
                          <a:pt x="117" y="34"/>
                          <a:pt x="117" y="34"/>
                          <a:pt x="117" y="34"/>
                        </a:cubicBezTo>
                        <a:cubicBezTo>
                          <a:pt x="117" y="34"/>
                          <a:pt x="117" y="34"/>
                          <a:pt x="117" y="34"/>
                        </a:cubicBezTo>
                        <a:cubicBezTo>
                          <a:pt x="117" y="34"/>
                          <a:pt x="117" y="34"/>
                          <a:pt x="117" y="34"/>
                        </a:cubicBezTo>
                        <a:cubicBezTo>
                          <a:pt x="117" y="34"/>
                          <a:pt x="117" y="34"/>
                          <a:pt x="116" y="34"/>
                        </a:cubicBezTo>
                        <a:cubicBezTo>
                          <a:pt x="116" y="34"/>
                          <a:pt x="117" y="34"/>
                          <a:pt x="117" y="34"/>
                        </a:cubicBezTo>
                        <a:cubicBezTo>
                          <a:pt x="117" y="34"/>
                          <a:pt x="116" y="34"/>
                          <a:pt x="115" y="34"/>
                        </a:cubicBezTo>
                        <a:cubicBezTo>
                          <a:pt x="115" y="34"/>
                          <a:pt x="115" y="35"/>
                          <a:pt x="114" y="35"/>
                        </a:cubicBezTo>
                        <a:cubicBezTo>
                          <a:pt x="114" y="35"/>
                          <a:pt x="114" y="35"/>
                          <a:pt x="114" y="35"/>
                        </a:cubicBezTo>
                        <a:cubicBezTo>
                          <a:pt x="115" y="35"/>
                          <a:pt x="115" y="35"/>
                          <a:pt x="115" y="34"/>
                        </a:cubicBezTo>
                        <a:cubicBezTo>
                          <a:pt x="115" y="35"/>
                          <a:pt x="115" y="34"/>
                          <a:pt x="116" y="34"/>
                        </a:cubicBezTo>
                        <a:cubicBezTo>
                          <a:pt x="116" y="34"/>
                          <a:pt x="115" y="35"/>
                          <a:pt x="115" y="35"/>
                        </a:cubicBezTo>
                        <a:cubicBezTo>
                          <a:pt x="115" y="35"/>
                          <a:pt x="116" y="34"/>
                          <a:pt x="116" y="35"/>
                        </a:cubicBezTo>
                        <a:cubicBezTo>
                          <a:pt x="116" y="35"/>
                          <a:pt x="116" y="35"/>
                          <a:pt x="117" y="35"/>
                        </a:cubicBezTo>
                        <a:cubicBezTo>
                          <a:pt x="117" y="34"/>
                          <a:pt x="116" y="34"/>
                          <a:pt x="116" y="34"/>
                        </a:cubicBezTo>
                        <a:cubicBezTo>
                          <a:pt x="117" y="34"/>
                          <a:pt x="117" y="34"/>
                          <a:pt x="118" y="34"/>
                        </a:cubicBezTo>
                        <a:cubicBezTo>
                          <a:pt x="118" y="34"/>
                          <a:pt x="117" y="34"/>
                          <a:pt x="117" y="34"/>
                        </a:cubicBezTo>
                        <a:cubicBezTo>
                          <a:pt x="117" y="35"/>
                          <a:pt x="118" y="34"/>
                          <a:pt x="118" y="34"/>
                        </a:cubicBezTo>
                        <a:cubicBezTo>
                          <a:pt x="118" y="34"/>
                          <a:pt x="118" y="34"/>
                          <a:pt x="118" y="34"/>
                        </a:cubicBezTo>
                        <a:cubicBezTo>
                          <a:pt x="118" y="34"/>
                          <a:pt x="118" y="34"/>
                          <a:pt x="119" y="34"/>
                        </a:cubicBezTo>
                        <a:cubicBezTo>
                          <a:pt x="119" y="34"/>
                          <a:pt x="118" y="34"/>
                          <a:pt x="118" y="34"/>
                        </a:cubicBezTo>
                        <a:cubicBezTo>
                          <a:pt x="118" y="34"/>
                          <a:pt x="119" y="34"/>
                          <a:pt x="119" y="34"/>
                        </a:cubicBezTo>
                        <a:cubicBezTo>
                          <a:pt x="118" y="35"/>
                          <a:pt x="117" y="35"/>
                          <a:pt x="117" y="35"/>
                        </a:cubicBezTo>
                        <a:cubicBezTo>
                          <a:pt x="116" y="35"/>
                          <a:pt x="116" y="35"/>
                          <a:pt x="116" y="35"/>
                        </a:cubicBezTo>
                        <a:cubicBezTo>
                          <a:pt x="116" y="35"/>
                          <a:pt x="116" y="35"/>
                          <a:pt x="116" y="35"/>
                        </a:cubicBezTo>
                        <a:cubicBezTo>
                          <a:pt x="116" y="35"/>
                          <a:pt x="116" y="35"/>
                          <a:pt x="116" y="35"/>
                        </a:cubicBezTo>
                        <a:cubicBezTo>
                          <a:pt x="116" y="35"/>
                          <a:pt x="115" y="35"/>
                          <a:pt x="115" y="35"/>
                        </a:cubicBezTo>
                        <a:cubicBezTo>
                          <a:pt x="116" y="35"/>
                          <a:pt x="117" y="35"/>
                          <a:pt x="118" y="35"/>
                        </a:cubicBezTo>
                        <a:cubicBezTo>
                          <a:pt x="118" y="34"/>
                          <a:pt x="118" y="35"/>
                          <a:pt x="119" y="35"/>
                        </a:cubicBezTo>
                        <a:cubicBezTo>
                          <a:pt x="119" y="35"/>
                          <a:pt x="119" y="35"/>
                          <a:pt x="118" y="35"/>
                        </a:cubicBezTo>
                        <a:cubicBezTo>
                          <a:pt x="119" y="35"/>
                          <a:pt x="119" y="35"/>
                          <a:pt x="119" y="35"/>
                        </a:cubicBezTo>
                        <a:cubicBezTo>
                          <a:pt x="119" y="35"/>
                          <a:pt x="119" y="35"/>
                          <a:pt x="119" y="35"/>
                        </a:cubicBezTo>
                        <a:cubicBezTo>
                          <a:pt x="119" y="35"/>
                          <a:pt x="119" y="35"/>
                          <a:pt x="120" y="35"/>
                        </a:cubicBezTo>
                        <a:cubicBezTo>
                          <a:pt x="120" y="35"/>
                          <a:pt x="120" y="35"/>
                          <a:pt x="120" y="35"/>
                        </a:cubicBezTo>
                        <a:cubicBezTo>
                          <a:pt x="120" y="35"/>
                          <a:pt x="120" y="35"/>
                          <a:pt x="120" y="34"/>
                        </a:cubicBezTo>
                        <a:cubicBezTo>
                          <a:pt x="121" y="34"/>
                          <a:pt x="121" y="34"/>
                          <a:pt x="121" y="35"/>
                        </a:cubicBezTo>
                        <a:cubicBezTo>
                          <a:pt x="121" y="35"/>
                          <a:pt x="121" y="34"/>
                          <a:pt x="121" y="34"/>
                        </a:cubicBezTo>
                        <a:cubicBezTo>
                          <a:pt x="121" y="35"/>
                          <a:pt x="121" y="35"/>
                          <a:pt x="121" y="35"/>
                        </a:cubicBezTo>
                        <a:cubicBezTo>
                          <a:pt x="122" y="35"/>
                          <a:pt x="122" y="35"/>
                          <a:pt x="122" y="34"/>
                        </a:cubicBezTo>
                        <a:cubicBezTo>
                          <a:pt x="122" y="34"/>
                          <a:pt x="122" y="34"/>
                          <a:pt x="122" y="34"/>
                        </a:cubicBezTo>
                        <a:cubicBezTo>
                          <a:pt x="122" y="34"/>
                          <a:pt x="122" y="34"/>
                          <a:pt x="123" y="34"/>
                        </a:cubicBezTo>
                        <a:cubicBezTo>
                          <a:pt x="123" y="34"/>
                          <a:pt x="123" y="34"/>
                          <a:pt x="123" y="34"/>
                        </a:cubicBezTo>
                        <a:cubicBezTo>
                          <a:pt x="123" y="34"/>
                          <a:pt x="123" y="34"/>
                          <a:pt x="122" y="34"/>
                        </a:cubicBezTo>
                        <a:cubicBezTo>
                          <a:pt x="122" y="34"/>
                          <a:pt x="122" y="34"/>
                          <a:pt x="122" y="34"/>
                        </a:cubicBezTo>
                        <a:cubicBezTo>
                          <a:pt x="122" y="35"/>
                          <a:pt x="122" y="35"/>
                          <a:pt x="121" y="35"/>
                        </a:cubicBezTo>
                        <a:cubicBezTo>
                          <a:pt x="121" y="35"/>
                          <a:pt x="122" y="35"/>
                          <a:pt x="122" y="35"/>
                        </a:cubicBezTo>
                        <a:cubicBezTo>
                          <a:pt x="122" y="35"/>
                          <a:pt x="121" y="35"/>
                          <a:pt x="121" y="35"/>
                        </a:cubicBezTo>
                        <a:cubicBezTo>
                          <a:pt x="121" y="35"/>
                          <a:pt x="121" y="35"/>
                          <a:pt x="121" y="35"/>
                        </a:cubicBezTo>
                        <a:cubicBezTo>
                          <a:pt x="120" y="35"/>
                          <a:pt x="120" y="35"/>
                          <a:pt x="121" y="35"/>
                        </a:cubicBezTo>
                        <a:cubicBezTo>
                          <a:pt x="120" y="35"/>
                          <a:pt x="120" y="35"/>
                          <a:pt x="120" y="35"/>
                        </a:cubicBezTo>
                        <a:cubicBezTo>
                          <a:pt x="120" y="35"/>
                          <a:pt x="120" y="36"/>
                          <a:pt x="120" y="36"/>
                        </a:cubicBezTo>
                        <a:cubicBezTo>
                          <a:pt x="121" y="36"/>
                          <a:pt x="121" y="36"/>
                          <a:pt x="121" y="36"/>
                        </a:cubicBezTo>
                        <a:cubicBezTo>
                          <a:pt x="121" y="36"/>
                          <a:pt x="121" y="36"/>
                          <a:pt x="120" y="36"/>
                        </a:cubicBezTo>
                        <a:cubicBezTo>
                          <a:pt x="120" y="36"/>
                          <a:pt x="120" y="35"/>
                          <a:pt x="120" y="36"/>
                        </a:cubicBezTo>
                        <a:cubicBezTo>
                          <a:pt x="120" y="35"/>
                          <a:pt x="121" y="35"/>
                          <a:pt x="122" y="35"/>
                        </a:cubicBezTo>
                        <a:cubicBezTo>
                          <a:pt x="122" y="35"/>
                          <a:pt x="121" y="35"/>
                          <a:pt x="121" y="35"/>
                        </a:cubicBezTo>
                        <a:cubicBezTo>
                          <a:pt x="122" y="36"/>
                          <a:pt x="122" y="35"/>
                          <a:pt x="123" y="35"/>
                        </a:cubicBezTo>
                        <a:cubicBezTo>
                          <a:pt x="123" y="35"/>
                          <a:pt x="123" y="35"/>
                          <a:pt x="123" y="35"/>
                        </a:cubicBezTo>
                        <a:cubicBezTo>
                          <a:pt x="123" y="36"/>
                          <a:pt x="123" y="36"/>
                          <a:pt x="122" y="36"/>
                        </a:cubicBezTo>
                        <a:cubicBezTo>
                          <a:pt x="123" y="35"/>
                          <a:pt x="122" y="35"/>
                          <a:pt x="122" y="36"/>
                        </a:cubicBezTo>
                        <a:cubicBezTo>
                          <a:pt x="122" y="36"/>
                          <a:pt x="122" y="36"/>
                          <a:pt x="123" y="36"/>
                        </a:cubicBezTo>
                        <a:cubicBezTo>
                          <a:pt x="123" y="36"/>
                          <a:pt x="123" y="35"/>
                          <a:pt x="123" y="35"/>
                        </a:cubicBezTo>
                        <a:cubicBezTo>
                          <a:pt x="123" y="35"/>
                          <a:pt x="124" y="35"/>
                          <a:pt x="124" y="35"/>
                        </a:cubicBezTo>
                        <a:cubicBezTo>
                          <a:pt x="123" y="35"/>
                          <a:pt x="124" y="35"/>
                          <a:pt x="123" y="36"/>
                        </a:cubicBezTo>
                        <a:cubicBezTo>
                          <a:pt x="123" y="36"/>
                          <a:pt x="124" y="36"/>
                          <a:pt x="124" y="35"/>
                        </a:cubicBezTo>
                        <a:cubicBezTo>
                          <a:pt x="124" y="35"/>
                          <a:pt x="124" y="35"/>
                          <a:pt x="124" y="35"/>
                        </a:cubicBezTo>
                        <a:cubicBezTo>
                          <a:pt x="124" y="35"/>
                          <a:pt x="124" y="35"/>
                          <a:pt x="124" y="35"/>
                        </a:cubicBezTo>
                        <a:cubicBezTo>
                          <a:pt x="124" y="35"/>
                          <a:pt x="124" y="35"/>
                          <a:pt x="124" y="35"/>
                        </a:cubicBezTo>
                        <a:cubicBezTo>
                          <a:pt x="125" y="35"/>
                          <a:pt x="125" y="35"/>
                          <a:pt x="125" y="35"/>
                        </a:cubicBezTo>
                        <a:cubicBezTo>
                          <a:pt x="125" y="35"/>
                          <a:pt x="125" y="35"/>
                          <a:pt x="125" y="35"/>
                        </a:cubicBezTo>
                        <a:cubicBezTo>
                          <a:pt x="125" y="35"/>
                          <a:pt x="125" y="35"/>
                          <a:pt x="126" y="35"/>
                        </a:cubicBezTo>
                        <a:cubicBezTo>
                          <a:pt x="126" y="35"/>
                          <a:pt x="125" y="35"/>
                          <a:pt x="126" y="35"/>
                        </a:cubicBezTo>
                        <a:cubicBezTo>
                          <a:pt x="126" y="35"/>
                          <a:pt x="126" y="35"/>
                          <a:pt x="126" y="35"/>
                        </a:cubicBezTo>
                        <a:cubicBezTo>
                          <a:pt x="126" y="35"/>
                          <a:pt x="126" y="35"/>
                          <a:pt x="126" y="35"/>
                        </a:cubicBezTo>
                        <a:cubicBezTo>
                          <a:pt x="126" y="35"/>
                          <a:pt x="126" y="35"/>
                          <a:pt x="126" y="35"/>
                        </a:cubicBezTo>
                        <a:cubicBezTo>
                          <a:pt x="126" y="35"/>
                          <a:pt x="127" y="35"/>
                          <a:pt x="127" y="35"/>
                        </a:cubicBezTo>
                        <a:cubicBezTo>
                          <a:pt x="127" y="35"/>
                          <a:pt x="127" y="35"/>
                          <a:pt x="127" y="35"/>
                        </a:cubicBezTo>
                        <a:cubicBezTo>
                          <a:pt x="126" y="35"/>
                          <a:pt x="127" y="35"/>
                          <a:pt x="126" y="35"/>
                        </a:cubicBezTo>
                        <a:cubicBezTo>
                          <a:pt x="127" y="35"/>
                          <a:pt x="127" y="34"/>
                          <a:pt x="127" y="34"/>
                        </a:cubicBezTo>
                        <a:cubicBezTo>
                          <a:pt x="127" y="34"/>
                          <a:pt x="127" y="34"/>
                          <a:pt x="127" y="34"/>
                        </a:cubicBezTo>
                        <a:cubicBezTo>
                          <a:pt x="127" y="34"/>
                          <a:pt x="127" y="34"/>
                          <a:pt x="128" y="34"/>
                        </a:cubicBezTo>
                        <a:cubicBezTo>
                          <a:pt x="128" y="34"/>
                          <a:pt x="127" y="34"/>
                          <a:pt x="127" y="34"/>
                        </a:cubicBezTo>
                        <a:cubicBezTo>
                          <a:pt x="128" y="34"/>
                          <a:pt x="128" y="34"/>
                          <a:pt x="128" y="34"/>
                        </a:cubicBezTo>
                        <a:cubicBezTo>
                          <a:pt x="128" y="34"/>
                          <a:pt x="128" y="34"/>
                          <a:pt x="128" y="34"/>
                        </a:cubicBezTo>
                        <a:cubicBezTo>
                          <a:pt x="128" y="34"/>
                          <a:pt x="129" y="34"/>
                          <a:pt x="129" y="34"/>
                        </a:cubicBezTo>
                        <a:cubicBezTo>
                          <a:pt x="130" y="33"/>
                          <a:pt x="130" y="34"/>
                          <a:pt x="131" y="33"/>
                        </a:cubicBezTo>
                        <a:cubicBezTo>
                          <a:pt x="131" y="33"/>
                          <a:pt x="131" y="34"/>
                          <a:pt x="131" y="34"/>
                        </a:cubicBezTo>
                        <a:cubicBezTo>
                          <a:pt x="131" y="34"/>
                          <a:pt x="130" y="34"/>
                          <a:pt x="130" y="34"/>
                        </a:cubicBezTo>
                        <a:cubicBezTo>
                          <a:pt x="130" y="34"/>
                          <a:pt x="130" y="34"/>
                          <a:pt x="130" y="34"/>
                        </a:cubicBezTo>
                        <a:cubicBezTo>
                          <a:pt x="130" y="34"/>
                          <a:pt x="130" y="34"/>
                          <a:pt x="130" y="34"/>
                        </a:cubicBezTo>
                        <a:cubicBezTo>
                          <a:pt x="130" y="34"/>
                          <a:pt x="130" y="34"/>
                          <a:pt x="129" y="34"/>
                        </a:cubicBezTo>
                        <a:cubicBezTo>
                          <a:pt x="129" y="34"/>
                          <a:pt x="128" y="34"/>
                          <a:pt x="128" y="34"/>
                        </a:cubicBezTo>
                        <a:cubicBezTo>
                          <a:pt x="128" y="34"/>
                          <a:pt x="127" y="35"/>
                          <a:pt x="127" y="35"/>
                        </a:cubicBezTo>
                        <a:cubicBezTo>
                          <a:pt x="127" y="35"/>
                          <a:pt x="128" y="35"/>
                          <a:pt x="128" y="35"/>
                        </a:cubicBezTo>
                        <a:cubicBezTo>
                          <a:pt x="128" y="35"/>
                          <a:pt x="128" y="34"/>
                          <a:pt x="129" y="35"/>
                        </a:cubicBezTo>
                        <a:cubicBezTo>
                          <a:pt x="128" y="35"/>
                          <a:pt x="128" y="35"/>
                          <a:pt x="128" y="35"/>
                        </a:cubicBezTo>
                        <a:cubicBezTo>
                          <a:pt x="128" y="35"/>
                          <a:pt x="129" y="35"/>
                          <a:pt x="129" y="35"/>
                        </a:cubicBezTo>
                        <a:cubicBezTo>
                          <a:pt x="129" y="35"/>
                          <a:pt x="129" y="35"/>
                          <a:pt x="129" y="35"/>
                        </a:cubicBezTo>
                        <a:cubicBezTo>
                          <a:pt x="129" y="34"/>
                          <a:pt x="130" y="35"/>
                          <a:pt x="130" y="35"/>
                        </a:cubicBezTo>
                        <a:cubicBezTo>
                          <a:pt x="131" y="34"/>
                          <a:pt x="131" y="34"/>
                          <a:pt x="131" y="34"/>
                        </a:cubicBezTo>
                        <a:cubicBezTo>
                          <a:pt x="131" y="34"/>
                          <a:pt x="131" y="34"/>
                          <a:pt x="131" y="34"/>
                        </a:cubicBezTo>
                        <a:cubicBezTo>
                          <a:pt x="131" y="34"/>
                          <a:pt x="131" y="34"/>
                          <a:pt x="130" y="34"/>
                        </a:cubicBezTo>
                        <a:cubicBezTo>
                          <a:pt x="131" y="35"/>
                          <a:pt x="131" y="34"/>
                          <a:pt x="132" y="34"/>
                        </a:cubicBezTo>
                        <a:cubicBezTo>
                          <a:pt x="132" y="34"/>
                          <a:pt x="132" y="34"/>
                          <a:pt x="132" y="34"/>
                        </a:cubicBezTo>
                        <a:cubicBezTo>
                          <a:pt x="133" y="34"/>
                          <a:pt x="133" y="33"/>
                          <a:pt x="133" y="33"/>
                        </a:cubicBezTo>
                        <a:cubicBezTo>
                          <a:pt x="133" y="33"/>
                          <a:pt x="133" y="34"/>
                          <a:pt x="133" y="34"/>
                        </a:cubicBezTo>
                        <a:cubicBezTo>
                          <a:pt x="134" y="34"/>
                          <a:pt x="133" y="34"/>
                          <a:pt x="133" y="34"/>
                        </a:cubicBezTo>
                        <a:cubicBezTo>
                          <a:pt x="133" y="34"/>
                          <a:pt x="134" y="34"/>
                          <a:pt x="134" y="33"/>
                        </a:cubicBezTo>
                        <a:cubicBezTo>
                          <a:pt x="134" y="33"/>
                          <a:pt x="134" y="33"/>
                          <a:pt x="133" y="33"/>
                        </a:cubicBezTo>
                        <a:cubicBezTo>
                          <a:pt x="133" y="33"/>
                          <a:pt x="133" y="33"/>
                          <a:pt x="133" y="33"/>
                        </a:cubicBezTo>
                        <a:cubicBezTo>
                          <a:pt x="133" y="33"/>
                          <a:pt x="134" y="33"/>
                          <a:pt x="133" y="33"/>
                        </a:cubicBezTo>
                        <a:cubicBezTo>
                          <a:pt x="133" y="33"/>
                          <a:pt x="134" y="33"/>
                          <a:pt x="134" y="32"/>
                        </a:cubicBezTo>
                        <a:cubicBezTo>
                          <a:pt x="134" y="32"/>
                          <a:pt x="134" y="32"/>
                          <a:pt x="134" y="32"/>
                        </a:cubicBezTo>
                        <a:cubicBezTo>
                          <a:pt x="134" y="32"/>
                          <a:pt x="134" y="32"/>
                          <a:pt x="134" y="33"/>
                        </a:cubicBezTo>
                        <a:cubicBezTo>
                          <a:pt x="134" y="33"/>
                          <a:pt x="134" y="33"/>
                          <a:pt x="134" y="33"/>
                        </a:cubicBezTo>
                        <a:cubicBezTo>
                          <a:pt x="134" y="33"/>
                          <a:pt x="134" y="33"/>
                          <a:pt x="134" y="33"/>
                        </a:cubicBezTo>
                        <a:cubicBezTo>
                          <a:pt x="134" y="33"/>
                          <a:pt x="134" y="33"/>
                          <a:pt x="135" y="33"/>
                        </a:cubicBezTo>
                        <a:cubicBezTo>
                          <a:pt x="135" y="33"/>
                          <a:pt x="134" y="33"/>
                          <a:pt x="134" y="33"/>
                        </a:cubicBezTo>
                        <a:cubicBezTo>
                          <a:pt x="134" y="33"/>
                          <a:pt x="134" y="33"/>
                          <a:pt x="134" y="33"/>
                        </a:cubicBezTo>
                        <a:cubicBezTo>
                          <a:pt x="134" y="33"/>
                          <a:pt x="135" y="33"/>
                          <a:pt x="135" y="33"/>
                        </a:cubicBezTo>
                        <a:cubicBezTo>
                          <a:pt x="135" y="33"/>
                          <a:pt x="135" y="33"/>
                          <a:pt x="134" y="33"/>
                        </a:cubicBezTo>
                        <a:cubicBezTo>
                          <a:pt x="135" y="33"/>
                          <a:pt x="135" y="33"/>
                          <a:pt x="135" y="33"/>
                        </a:cubicBezTo>
                        <a:cubicBezTo>
                          <a:pt x="136" y="33"/>
                          <a:pt x="135" y="33"/>
                          <a:pt x="136" y="33"/>
                        </a:cubicBezTo>
                        <a:cubicBezTo>
                          <a:pt x="136" y="33"/>
                          <a:pt x="136" y="33"/>
                          <a:pt x="136" y="33"/>
                        </a:cubicBezTo>
                        <a:cubicBezTo>
                          <a:pt x="136" y="33"/>
                          <a:pt x="137" y="33"/>
                          <a:pt x="137" y="33"/>
                        </a:cubicBezTo>
                        <a:cubicBezTo>
                          <a:pt x="136" y="33"/>
                          <a:pt x="137" y="33"/>
                          <a:pt x="138" y="33"/>
                        </a:cubicBezTo>
                        <a:cubicBezTo>
                          <a:pt x="138" y="33"/>
                          <a:pt x="137" y="33"/>
                          <a:pt x="138" y="33"/>
                        </a:cubicBezTo>
                        <a:cubicBezTo>
                          <a:pt x="137" y="33"/>
                          <a:pt x="137" y="33"/>
                          <a:pt x="137" y="33"/>
                        </a:cubicBezTo>
                        <a:cubicBezTo>
                          <a:pt x="137" y="33"/>
                          <a:pt x="137" y="33"/>
                          <a:pt x="136" y="33"/>
                        </a:cubicBezTo>
                        <a:cubicBezTo>
                          <a:pt x="137" y="33"/>
                          <a:pt x="137" y="33"/>
                          <a:pt x="137" y="33"/>
                        </a:cubicBezTo>
                        <a:cubicBezTo>
                          <a:pt x="136" y="33"/>
                          <a:pt x="136" y="34"/>
                          <a:pt x="136" y="34"/>
                        </a:cubicBezTo>
                        <a:cubicBezTo>
                          <a:pt x="135" y="34"/>
                          <a:pt x="134" y="34"/>
                          <a:pt x="133" y="34"/>
                        </a:cubicBezTo>
                        <a:cubicBezTo>
                          <a:pt x="133" y="34"/>
                          <a:pt x="133" y="34"/>
                          <a:pt x="133" y="34"/>
                        </a:cubicBezTo>
                        <a:cubicBezTo>
                          <a:pt x="133" y="34"/>
                          <a:pt x="133" y="34"/>
                          <a:pt x="133" y="34"/>
                        </a:cubicBezTo>
                        <a:cubicBezTo>
                          <a:pt x="133" y="34"/>
                          <a:pt x="132" y="34"/>
                          <a:pt x="132" y="34"/>
                        </a:cubicBezTo>
                        <a:cubicBezTo>
                          <a:pt x="132" y="35"/>
                          <a:pt x="132" y="35"/>
                          <a:pt x="132" y="35"/>
                        </a:cubicBezTo>
                        <a:cubicBezTo>
                          <a:pt x="132" y="35"/>
                          <a:pt x="132" y="35"/>
                          <a:pt x="132" y="35"/>
                        </a:cubicBezTo>
                        <a:cubicBezTo>
                          <a:pt x="132" y="35"/>
                          <a:pt x="132" y="35"/>
                          <a:pt x="132" y="35"/>
                        </a:cubicBezTo>
                        <a:cubicBezTo>
                          <a:pt x="131" y="35"/>
                          <a:pt x="131" y="35"/>
                          <a:pt x="130" y="35"/>
                        </a:cubicBezTo>
                        <a:cubicBezTo>
                          <a:pt x="131" y="35"/>
                          <a:pt x="131" y="35"/>
                          <a:pt x="131" y="35"/>
                        </a:cubicBezTo>
                        <a:cubicBezTo>
                          <a:pt x="131" y="35"/>
                          <a:pt x="131" y="35"/>
                          <a:pt x="131" y="35"/>
                        </a:cubicBezTo>
                        <a:cubicBezTo>
                          <a:pt x="132" y="35"/>
                          <a:pt x="132" y="35"/>
                          <a:pt x="132" y="35"/>
                        </a:cubicBezTo>
                        <a:cubicBezTo>
                          <a:pt x="132" y="35"/>
                          <a:pt x="132" y="35"/>
                          <a:pt x="131" y="35"/>
                        </a:cubicBezTo>
                        <a:cubicBezTo>
                          <a:pt x="132" y="35"/>
                          <a:pt x="132" y="35"/>
                          <a:pt x="133" y="35"/>
                        </a:cubicBezTo>
                        <a:cubicBezTo>
                          <a:pt x="133" y="35"/>
                          <a:pt x="133" y="35"/>
                          <a:pt x="133" y="35"/>
                        </a:cubicBezTo>
                        <a:cubicBezTo>
                          <a:pt x="134" y="35"/>
                          <a:pt x="134" y="35"/>
                          <a:pt x="134" y="35"/>
                        </a:cubicBezTo>
                        <a:cubicBezTo>
                          <a:pt x="134" y="35"/>
                          <a:pt x="133" y="35"/>
                          <a:pt x="133" y="35"/>
                        </a:cubicBezTo>
                        <a:cubicBezTo>
                          <a:pt x="133" y="35"/>
                          <a:pt x="134" y="35"/>
                          <a:pt x="134" y="34"/>
                        </a:cubicBezTo>
                        <a:cubicBezTo>
                          <a:pt x="134" y="34"/>
                          <a:pt x="134" y="34"/>
                          <a:pt x="135" y="34"/>
                        </a:cubicBezTo>
                        <a:cubicBezTo>
                          <a:pt x="135" y="34"/>
                          <a:pt x="135" y="34"/>
                          <a:pt x="136" y="34"/>
                        </a:cubicBezTo>
                        <a:cubicBezTo>
                          <a:pt x="136" y="34"/>
                          <a:pt x="136" y="34"/>
                          <a:pt x="136" y="34"/>
                        </a:cubicBezTo>
                        <a:cubicBezTo>
                          <a:pt x="136" y="34"/>
                          <a:pt x="136" y="34"/>
                          <a:pt x="135" y="34"/>
                        </a:cubicBezTo>
                        <a:cubicBezTo>
                          <a:pt x="136" y="34"/>
                          <a:pt x="136" y="34"/>
                          <a:pt x="136" y="34"/>
                        </a:cubicBezTo>
                        <a:cubicBezTo>
                          <a:pt x="136" y="34"/>
                          <a:pt x="136" y="34"/>
                          <a:pt x="136" y="34"/>
                        </a:cubicBezTo>
                        <a:cubicBezTo>
                          <a:pt x="136" y="34"/>
                          <a:pt x="136" y="34"/>
                          <a:pt x="136" y="34"/>
                        </a:cubicBezTo>
                        <a:cubicBezTo>
                          <a:pt x="136" y="34"/>
                          <a:pt x="137" y="34"/>
                          <a:pt x="137" y="34"/>
                        </a:cubicBezTo>
                        <a:cubicBezTo>
                          <a:pt x="137" y="34"/>
                          <a:pt x="137" y="34"/>
                          <a:pt x="137" y="34"/>
                        </a:cubicBezTo>
                        <a:cubicBezTo>
                          <a:pt x="137" y="34"/>
                          <a:pt x="137" y="34"/>
                          <a:pt x="137" y="34"/>
                        </a:cubicBezTo>
                        <a:cubicBezTo>
                          <a:pt x="136" y="34"/>
                          <a:pt x="137" y="34"/>
                          <a:pt x="137" y="34"/>
                        </a:cubicBezTo>
                        <a:cubicBezTo>
                          <a:pt x="137" y="34"/>
                          <a:pt x="137" y="34"/>
                          <a:pt x="137" y="34"/>
                        </a:cubicBezTo>
                        <a:cubicBezTo>
                          <a:pt x="136" y="34"/>
                          <a:pt x="136" y="34"/>
                          <a:pt x="136" y="34"/>
                        </a:cubicBezTo>
                        <a:cubicBezTo>
                          <a:pt x="136" y="34"/>
                          <a:pt x="135" y="34"/>
                          <a:pt x="136" y="35"/>
                        </a:cubicBezTo>
                        <a:cubicBezTo>
                          <a:pt x="136" y="35"/>
                          <a:pt x="136" y="34"/>
                          <a:pt x="136" y="34"/>
                        </a:cubicBezTo>
                        <a:cubicBezTo>
                          <a:pt x="136" y="34"/>
                          <a:pt x="136" y="34"/>
                          <a:pt x="136" y="34"/>
                        </a:cubicBezTo>
                        <a:cubicBezTo>
                          <a:pt x="137" y="34"/>
                          <a:pt x="137" y="34"/>
                          <a:pt x="138" y="34"/>
                        </a:cubicBezTo>
                        <a:cubicBezTo>
                          <a:pt x="138" y="34"/>
                          <a:pt x="137" y="34"/>
                          <a:pt x="137" y="34"/>
                        </a:cubicBezTo>
                        <a:cubicBezTo>
                          <a:pt x="137" y="34"/>
                          <a:pt x="137" y="34"/>
                          <a:pt x="137" y="34"/>
                        </a:cubicBezTo>
                        <a:cubicBezTo>
                          <a:pt x="137" y="34"/>
                          <a:pt x="137" y="34"/>
                          <a:pt x="137" y="34"/>
                        </a:cubicBezTo>
                        <a:cubicBezTo>
                          <a:pt x="137" y="34"/>
                          <a:pt x="137" y="34"/>
                          <a:pt x="137" y="33"/>
                        </a:cubicBezTo>
                        <a:cubicBezTo>
                          <a:pt x="138" y="33"/>
                          <a:pt x="137" y="34"/>
                          <a:pt x="138" y="34"/>
                        </a:cubicBezTo>
                        <a:cubicBezTo>
                          <a:pt x="138" y="33"/>
                          <a:pt x="139" y="33"/>
                          <a:pt x="140" y="33"/>
                        </a:cubicBezTo>
                        <a:cubicBezTo>
                          <a:pt x="140" y="33"/>
                          <a:pt x="140" y="33"/>
                          <a:pt x="140" y="33"/>
                        </a:cubicBezTo>
                        <a:cubicBezTo>
                          <a:pt x="140" y="33"/>
                          <a:pt x="140" y="33"/>
                          <a:pt x="140" y="33"/>
                        </a:cubicBezTo>
                        <a:cubicBezTo>
                          <a:pt x="140" y="33"/>
                          <a:pt x="140" y="33"/>
                          <a:pt x="140" y="33"/>
                        </a:cubicBezTo>
                        <a:cubicBezTo>
                          <a:pt x="141" y="33"/>
                          <a:pt x="140" y="33"/>
                          <a:pt x="140" y="33"/>
                        </a:cubicBezTo>
                        <a:cubicBezTo>
                          <a:pt x="140" y="33"/>
                          <a:pt x="141" y="33"/>
                          <a:pt x="140" y="33"/>
                        </a:cubicBezTo>
                        <a:cubicBezTo>
                          <a:pt x="140" y="33"/>
                          <a:pt x="140" y="33"/>
                          <a:pt x="141" y="33"/>
                        </a:cubicBezTo>
                        <a:cubicBezTo>
                          <a:pt x="141" y="33"/>
                          <a:pt x="141" y="33"/>
                          <a:pt x="141" y="33"/>
                        </a:cubicBezTo>
                        <a:cubicBezTo>
                          <a:pt x="141" y="33"/>
                          <a:pt x="141" y="33"/>
                          <a:pt x="141" y="33"/>
                        </a:cubicBezTo>
                        <a:cubicBezTo>
                          <a:pt x="141" y="33"/>
                          <a:pt x="141" y="33"/>
                          <a:pt x="141" y="33"/>
                        </a:cubicBezTo>
                        <a:cubicBezTo>
                          <a:pt x="141" y="34"/>
                          <a:pt x="141" y="33"/>
                          <a:pt x="141" y="33"/>
                        </a:cubicBezTo>
                        <a:cubicBezTo>
                          <a:pt x="140" y="34"/>
                          <a:pt x="141" y="34"/>
                          <a:pt x="142" y="34"/>
                        </a:cubicBezTo>
                        <a:cubicBezTo>
                          <a:pt x="142" y="34"/>
                          <a:pt x="142" y="34"/>
                          <a:pt x="142" y="33"/>
                        </a:cubicBezTo>
                        <a:cubicBezTo>
                          <a:pt x="142" y="33"/>
                          <a:pt x="141" y="33"/>
                          <a:pt x="142" y="33"/>
                        </a:cubicBezTo>
                        <a:cubicBezTo>
                          <a:pt x="142" y="33"/>
                          <a:pt x="141" y="33"/>
                          <a:pt x="141" y="34"/>
                        </a:cubicBezTo>
                        <a:cubicBezTo>
                          <a:pt x="141" y="34"/>
                          <a:pt x="141" y="33"/>
                          <a:pt x="142" y="33"/>
                        </a:cubicBezTo>
                        <a:cubicBezTo>
                          <a:pt x="142" y="33"/>
                          <a:pt x="142" y="33"/>
                          <a:pt x="142" y="33"/>
                        </a:cubicBezTo>
                        <a:cubicBezTo>
                          <a:pt x="142" y="33"/>
                          <a:pt x="142" y="33"/>
                          <a:pt x="142" y="33"/>
                        </a:cubicBezTo>
                        <a:cubicBezTo>
                          <a:pt x="142" y="33"/>
                          <a:pt x="142" y="33"/>
                          <a:pt x="143" y="33"/>
                        </a:cubicBezTo>
                        <a:cubicBezTo>
                          <a:pt x="142" y="33"/>
                          <a:pt x="142" y="33"/>
                          <a:pt x="142" y="33"/>
                        </a:cubicBezTo>
                        <a:cubicBezTo>
                          <a:pt x="142" y="33"/>
                          <a:pt x="142" y="33"/>
                          <a:pt x="142" y="33"/>
                        </a:cubicBezTo>
                        <a:cubicBezTo>
                          <a:pt x="142" y="33"/>
                          <a:pt x="142" y="33"/>
                          <a:pt x="142" y="34"/>
                        </a:cubicBezTo>
                        <a:cubicBezTo>
                          <a:pt x="142" y="34"/>
                          <a:pt x="143" y="34"/>
                          <a:pt x="143" y="34"/>
                        </a:cubicBezTo>
                        <a:cubicBezTo>
                          <a:pt x="143" y="34"/>
                          <a:pt x="143" y="34"/>
                          <a:pt x="143" y="33"/>
                        </a:cubicBezTo>
                        <a:cubicBezTo>
                          <a:pt x="143" y="33"/>
                          <a:pt x="143" y="33"/>
                          <a:pt x="143" y="33"/>
                        </a:cubicBezTo>
                        <a:cubicBezTo>
                          <a:pt x="143" y="33"/>
                          <a:pt x="143" y="33"/>
                          <a:pt x="144" y="33"/>
                        </a:cubicBezTo>
                        <a:cubicBezTo>
                          <a:pt x="144" y="34"/>
                          <a:pt x="144" y="34"/>
                          <a:pt x="144" y="34"/>
                        </a:cubicBezTo>
                        <a:cubicBezTo>
                          <a:pt x="144" y="34"/>
                          <a:pt x="144" y="34"/>
                          <a:pt x="144" y="34"/>
                        </a:cubicBezTo>
                        <a:cubicBezTo>
                          <a:pt x="144" y="33"/>
                          <a:pt x="144" y="33"/>
                          <a:pt x="144" y="33"/>
                        </a:cubicBezTo>
                        <a:cubicBezTo>
                          <a:pt x="144" y="33"/>
                          <a:pt x="144" y="33"/>
                          <a:pt x="145" y="33"/>
                        </a:cubicBezTo>
                        <a:cubicBezTo>
                          <a:pt x="145" y="33"/>
                          <a:pt x="144" y="33"/>
                          <a:pt x="144" y="34"/>
                        </a:cubicBezTo>
                        <a:cubicBezTo>
                          <a:pt x="144" y="34"/>
                          <a:pt x="145" y="33"/>
                          <a:pt x="145" y="34"/>
                        </a:cubicBezTo>
                        <a:cubicBezTo>
                          <a:pt x="145" y="34"/>
                          <a:pt x="145" y="33"/>
                          <a:pt x="146" y="33"/>
                        </a:cubicBezTo>
                        <a:cubicBezTo>
                          <a:pt x="146" y="33"/>
                          <a:pt x="146" y="33"/>
                          <a:pt x="145" y="33"/>
                        </a:cubicBezTo>
                        <a:cubicBezTo>
                          <a:pt x="145" y="33"/>
                          <a:pt x="146" y="33"/>
                          <a:pt x="146" y="33"/>
                        </a:cubicBezTo>
                        <a:cubicBezTo>
                          <a:pt x="147" y="33"/>
                          <a:pt x="147" y="33"/>
                          <a:pt x="148" y="33"/>
                        </a:cubicBezTo>
                        <a:cubicBezTo>
                          <a:pt x="148" y="33"/>
                          <a:pt x="147" y="33"/>
                          <a:pt x="147" y="34"/>
                        </a:cubicBezTo>
                        <a:cubicBezTo>
                          <a:pt x="146" y="34"/>
                          <a:pt x="146" y="34"/>
                          <a:pt x="146" y="34"/>
                        </a:cubicBezTo>
                        <a:cubicBezTo>
                          <a:pt x="146" y="34"/>
                          <a:pt x="146" y="34"/>
                          <a:pt x="146" y="34"/>
                        </a:cubicBezTo>
                        <a:cubicBezTo>
                          <a:pt x="146" y="34"/>
                          <a:pt x="146" y="34"/>
                          <a:pt x="146" y="34"/>
                        </a:cubicBezTo>
                        <a:cubicBezTo>
                          <a:pt x="146" y="34"/>
                          <a:pt x="146" y="34"/>
                          <a:pt x="146" y="34"/>
                        </a:cubicBezTo>
                        <a:cubicBezTo>
                          <a:pt x="146" y="34"/>
                          <a:pt x="146" y="34"/>
                          <a:pt x="145" y="34"/>
                        </a:cubicBezTo>
                        <a:cubicBezTo>
                          <a:pt x="145" y="34"/>
                          <a:pt x="145" y="34"/>
                          <a:pt x="145" y="34"/>
                        </a:cubicBezTo>
                        <a:cubicBezTo>
                          <a:pt x="145" y="34"/>
                          <a:pt x="145" y="34"/>
                          <a:pt x="145" y="34"/>
                        </a:cubicBezTo>
                        <a:cubicBezTo>
                          <a:pt x="145" y="34"/>
                          <a:pt x="145" y="34"/>
                          <a:pt x="145" y="34"/>
                        </a:cubicBezTo>
                        <a:cubicBezTo>
                          <a:pt x="144" y="34"/>
                          <a:pt x="143" y="35"/>
                          <a:pt x="142" y="35"/>
                        </a:cubicBezTo>
                        <a:cubicBezTo>
                          <a:pt x="142" y="35"/>
                          <a:pt x="142" y="35"/>
                          <a:pt x="142" y="35"/>
                        </a:cubicBezTo>
                        <a:cubicBezTo>
                          <a:pt x="142" y="35"/>
                          <a:pt x="142" y="35"/>
                          <a:pt x="141" y="35"/>
                        </a:cubicBezTo>
                        <a:cubicBezTo>
                          <a:pt x="141" y="35"/>
                          <a:pt x="141" y="35"/>
                          <a:pt x="141" y="35"/>
                        </a:cubicBezTo>
                        <a:cubicBezTo>
                          <a:pt x="141" y="35"/>
                          <a:pt x="141" y="35"/>
                          <a:pt x="141" y="36"/>
                        </a:cubicBezTo>
                        <a:cubicBezTo>
                          <a:pt x="141" y="36"/>
                          <a:pt x="141" y="35"/>
                          <a:pt x="141" y="35"/>
                        </a:cubicBezTo>
                        <a:cubicBezTo>
                          <a:pt x="140" y="36"/>
                          <a:pt x="140" y="36"/>
                          <a:pt x="139" y="36"/>
                        </a:cubicBezTo>
                        <a:cubicBezTo>
                          <a:pt x="139" y="36"/>
                          <a:pt x="138" y="36"/>
                          <a:pt x="138" y="36"/>
                        </a:cubicBezTo>
                        <a:cubicBezTo>
                          <a:pt x="137" y="36"/>
                          <a:pt x="136" y="37"/>
                          <a:pt x="136" y="36"/>
                        </a:cubicBezTo>
                        <a:cubicBezTo>
                          <a:pt x="136" y="36"/>
                          <a:pt x="137" y="36"/>
                          <a:pt x="137" y="36"/>
                        </a:cubicBezTo>
                        <a:cubicBezTo>
                          <a:pt x="137" y="36"/>
                          <a:pt x="137" y="36"/>
                          <a:pt x="137" y="36"/>
                        </a:cubicBezTo>
                        <a:cubicBezTo>
                          <a:pt x="137" y="36"/>
                          <a:pt x="137" y="36"/>
                          <a:pt x="136" y="36"/>
                        </a:cubicBezTo>
                        <a:cubicBezTo>
                          <a:pt x="137" y="36"/>
                          <a:pt x="134" y="37"/>
                          <a:pt x="134" y="36"/>
                        </a:cubicBezTo>
                        <a:cubicBezTo>
                          <a:pt x="134" y="37"/>
                          <a:pt x="134" y="37"/>
                          <a:pt x="134" y="37"/>
                        </a:cubicBezTo>
                        <a:cubicBezTo>
                          <a:pt x="133" y="37"/>
                          <a:pt x="133" y="37"/>
                          <a:pt x="132" y="37"/>
                        </a:cubicBezTo>
                        <a:cubicBezTo>
                          <a:pt x="132" y="37"/>
                          <a:pt x="133" y="37"/>
                          <a:pt x="133" y="37"/>
                        </a:cubicBezTo>
                        <a:cubicBezTo>
                          <a:pt x="131" y="37"/>
                          <a:pt x="129" y="38"/>
                          <a:pt x="127" y="38"/>
                        </a:cubicBezTo>
                        <a:cubicBezTo>
                          <a:pt x="127" y="38"/>
                          <a:pt x="127" y="39"/>
                          <a:pt x="126" y="39"/>
                        </a:cubicBezTo>
                        <a:cubicBezTo>
                          <a:pt x="126" y="39"/>
                          <a:pt x="126" y="38"/>
                          <a:pt x="126" y="38"/>
                        </a:cubicBez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6" y="39"/>
                          <a:pt x="126" y="38"/>
                          <a:pt x="126" y="39"/>
                        </a:cubicBezTo>
                        <a:cubicBezTo>
                          <a:pt x="126" y="39"/>
                          <a:pt x="126" y="39"/>
                          <a:pt x="126" y="38"/>
                        </a:cubicBezTo>
                        <a:cubicBezTo>
                          <a:pt x="125" y="39"/>
                          <a:pt x="126" y="39"/>
                          <a:pt x="126" y="39"/>
                        </a:cubicBezTo>
                        <a:cubicBezTo>
                          <a:pt x="125" y="39"/>
                          <a:pt x="125" y="39"/>
                          <a:pt x="125" y="39"/>
                        </a:cubicBezTo>
                        <a:cubicBezTo>
                          <a:pt x="125" y="39"/>
                          <a:pt x="125" y="39"/>
                          <a:pt x="125" y="39"/>
                        </a:cubicBezTo>
                        <a:cubicBezTo>
                          <a:pt x="124" y="39"/>
                          <a:pt x="124" y="39"/>
                          <a:pt x="124" y="39"/>
                        </a:cubicBezTo>
                        <a:cubicBezTo>
                          <a:pt x="124" y="39"/>
                          <a:pt x="123" y="39"/>
                          <a:pt x="123" y="39"/>
                        </a:cubicBezTo>
                        <a:cubicBezTo>
                          <a:pt x="123" y="39"/>
                          <a:pt x="123" y="39"/>
                          <a:pt x="123" y="39"/>
                        </a:cubicBezTo>
                        <a:cubicBezTo>
                          <a:pt x="122" y="39"/>
                          <a:pt x="123" y="39"/>
                          <a:pt x="122" y="39"/>
                        </a:cubicBezTo>
                        <a:cubicBezTo>
                          <a:pt x="122" y="39"/>
                          <a:pt x="123" y="39"/>
                          <a:pt x="123" y="39"/>
                        </a:cubicBezTo>
                        <a:cubicBezTo>
                          <a:pt x="122" y="39"/>
                          <a:pt x="122" y="40"/>
                          <a:pt x="121" y="40"/>
                        </a:cubicBezTo>
                        <a:cubicBezTo>
                          <a:pt x="121" y="40"/>
                          <a:pt x="121" y="40"/>
                          <a:pt x="120" y="40"/>
                        </a:cubicBezTo>
                        <a:cubicBezTo>
                          <a:pt x="120" y="40"/>
                          <a:pt x="119" y="40"/>
                          <a:pt x="119" y="40"/>
                        </a:cubicBezTo>
                        <a:cubicBezTo>
                          <a:pt x="119" y="40"/>
                          <a:pt x="119" y="40"/>
                          <a:pt x="118" y="40"/>
                        </a:cubicBezTo>
                        <a:cubicBezTo>
                          <a:pt x="118" y="40"/>
                          <a:pt x="117" y="40"/>
                          <a:pt x="117" y="40"/>
                        </a:cubicBezTo>
                        <a:cubicBezTo>
                          <a:pt x="117" y="40"/>
                          <a:pt x="117" y="40"/>
                          <a:pt x="118" y="40"/>
                        </a:cubicBezTo>
                        <a:cubicBezTo>
                          <a:pt x="117" y="40"/>
                          <a:pt x="117" y="40"/>
                          <a:pt x="117" y="40"/>
                        </a:cubicBezTo>
                        <a:cubicBezTo>
                          <a:pt x="116" y="40"/>
                          <a:pt x="118" y="40"/>
                          <a:pt x="118" y="40"/>
                        </a:cubicBezTo>
                        <a:cubicBezTo>
                          <a:pt x="118" y="40"/>
                          <a:pt x="118" y="40"/>
                          <a:pt x="118" y="40"/>
                        </a:cubicBezTo>
                        <a:cubicBezTo>
                          <a:pt x="118" y="40"/>
                          <a:pt x="118" y="40"/>
                          <a:pt x="118" y="40"/>
                        </a:cubicBezTo>
                        <a:cubicBezTo>
                          <a:pt x="120" y="40"/>
                          <a:pt x="120" y="40"/>
                          <a:pt x="122" y="39"/>
                        </a:cubicBezTo>
                        <a:cubicBezTo>
                          <a:pt x="122" y="39"/>
                          <a:pt x="122" y="39"/>
                          <a:pt x="122" y="39"/>
                        </a:cubicBezTo>
                        <a:cubicBezTo>
                          <a:pt x="123" y="39"/>
                          <a:pt x="126" y="38"/>
                          <a:pt x="127" y="38"/>
                        </a:cubicBezTo>
                        <a:cubicBezTo>
                          <a:pt x="127" y="38"/>
                          <a:pt x="127" y="38"/>
                          <a:pt x="127" y="38"/>
                        </a:cubicBezTo>
                        <a:cubicBezTo>
                          <a:pt x="128" y="38"/>
                          <a:pt x="128" y="38"/>
                          <a:pt x="128" y="38"/>
                        </a:cubicBezTo>
                        <a:cubicBezTo>
                          <a:pt x="128" y="38"/>
                          <a:pt x="129" y="37"/>
                          <a:pt x="130" y="37"/>
                        </a:cubicBezTo>
                        <a:cubicBezTo>
                          <a:pt x="130" y="37"/>
                          <a:pt x="130" y="37"/>
                          <a:pt x="130" y="37"/>
                        </a:cubicBezTo>
                        <a:cubicBezTo>
                          <a:pt x="130" y="37"/>
                          <a:pt x="131" y="37"/>
                          <a:pt x="131" y="37"/>
                        </a:cubicBezTo>
                        <a:cubicBezTo>
                          <a:pt x="131" y="37"/>
                          <a:pt x="131" y="37"/>
                          <a:pt x="131" y="37"/>
                        </a:cubicBezTo>
                        <a:cubicBezTo>
                          <a:pt x="131" y="37"/>
                          <a:pt x="131" y="37"/>
                          <a:pt x="131" y="37"/>
                        </a:cubicBezTo>
                        <a:cubicBezTo>
                          <a:pt x="132" y="37"/>
                          <a:pt x="132" y="37"/>
                          <a:pt x="132" y="37"/>
                        </a:cubicBezTo>
                        <a:cubicBezTo>
                          <a:pt x="131" y="37"/>
                          <a:pt x="130" y="37"/>
                          <a:pt x="129" y="37"/>
                        </a:cubicBezTo>
                        <a:cubicBezTo>
                          <a:pt x="129" y="37"/>
                          <a:pt x="130" y="37"/>
                          <a:pt x="129" y="37"/>
                        </a:cubicBezTo>
                        <a:cubicBezTo>
                          <a:pt x="129" y="37"/>
                          <a:pt x="129" y="37"/>
                          <a:pt x="129" y="37"/>
                        </a:cubicBezTo>
                        <a:cubicBezTo>
                          <a:pt x="129" y="37"/>
                          <a:pt x="128" y="37"/>
                          <a:pt x="128" y="37"/>
                        </a:cubicBezTo>
                        <a:cubicBezTo>
                          <a:pt x="128" y="37"/>
                          <a:pt x="127" y="37"/>
                          <a:pt x="127" y="37"/>
                        </a:cubicBezTo>
                        <a:cubicBezTo>
                          <a:pt x="127" y="38"/>
                          <a:pt x="127" y="37"/>
                          <a:pt x="127" y="37"/>
                        </a:cubicBezTo>
                        <a:cubicBezTo>
                          <a:pt x="127" y="37"/>
                          <a:pt x="126" y="37"/>
                          <a:pt x="126" y="37"/>
                        </a:cubicBezTo>
                        <a:cubicBezTo>
                          <a:pt x="127" y="37"/>
                          <a:pt x="127" y="37"/>
                          <a:pt x="127" y="37"/>
                        </a:cubicBezTo>
                        <a:cubicBezTo>
                          <a:pt x="127" y="37"/>
                          <a:pt x="128" y="37"/>
                          <a:pt x="128" y="37"/>
                        </a:cubicBezTo>
                        <a:cubicBezTo>
                          <a:pt x="128" y="37"/>
                          <a:pt x="128" y="37"/>
                          <a:pt x="129" y="37"/>
                        </a:cubicBezTo>
                        <a:cubicBezTo>
                          <a:pt x="129" y="37"/>
                          <a:pt x="130" y="37"/>
                          <a:pt x="130" y="37"/>
                        </a:cubicBezTo>
                        <a:cubicBezTo>
                          <a:pt x="130" y="37"/>
                          <a:pt x="130" y="37"/>
                          <a:pt x="130" y="36"/>
                        </a:cubicBezTo>
                        <a:cubicBezTo>
                          <a:pt x="129" y="37"/>
                          <a:pt x="129" y="37"/>
                          <a:pt x="129" y="37"/>
                        </a:cubicBezTo>
                        <a:cubicBezTo>
                          <a:pt x="129" y="37"/>
                          <a:pt x="128" y="37"/>
                          <a:pt x="128" y="37"/>
                        </a:cubicBezTo>
                        <a:cubicBezTo>
                          <a:pt x="128" y="37"/>
                          <a:pt x="128" y="37"/>
                          <a:pt x="128" y="36"/>
                        </a:cubicBezTo>
                        <a:cubicBezTo>
                          <a:pt x="128" y="36"/>
                          <a:pt x="127" y="37"/>
                          <a:pt x="127" y="37"/>
                        </a:cubicBezTo>
                        <a:cubicBezTo>
                          <a:pt x="127" y="37"/>
                          <a:pt x="127" y="36"/>
                          <a:pt x="127" y="37"/>
                        </a:cubicBezTo>
                        <a:cubicBezTo>
                          <a:pt x="127" y="37"/>
                          <a:pt x="127" y="37"/>
                          <a:pt x="127" y="37"/>
                        </a:cubicBezTo>
                        <a:cubicBezTo>
                          <a:pt x="127" y="36"/>
                          <a:pt x="127" y="36"/>
                          <a:pt x="127" y="36"/>
                        </a:cubicBezTo>
                        <a:cubicBezTo>
                          <a:pt x="128" y="36"/>
                          <a:pt x="127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7"/>
                          <a:pt x="125" y="36"/>
                          <a:pt x="125" y="37"/>
                        </a:cubicBezTo>
                        <a:cubicBezTo>
                          <a:pt x="125" y="37"/>
                          <a:pt x="125" y="37"/>
                          <a:pt x="126" y="37"/>
                        </a:cubicBezTo>
                        <a:cubicBezTo>
                          <a:pt x="125" y="37"/>
                          <a:pt x="125" y="37"/>
                          <a:pt x="124" y="37"/>
                        </a:cubicBezTo>
                        <a:cubicBezTo>
                          <a:pt x="124" y="37"/>
                          <a:pt x="124" y="37"/>
                          <a:pt x="123" y="37"/>
                        </a:cubicBezTo>
                        <a:cubicBezTo>
                          <a:pt x="123" y="37"/>
                          <a:pt x="123" y="37"/>
                          <a:pt x="123" y="37"/>
                        </a:cubicBezTo>
                        <a:cubicBezTo>
                          <a:pt x="122" y="37"/>
                          <a:pt x="121" y="38"/>
                          <a:pt x="120" y="38"/>
                        </a:cubicBezTo>
                        <a:cubicBezTo>
                          <a:pt x="120" y="38"/>
                          <a:pt x="120" y="38"/>
                          <a:pt x="120" y="38"/>
                        </a:cubicBezTo>
                        <a:cubicBezTo>
                          <a:pt x="120" y="38"/>
                          <a:pt x="121" y="38"/>
                          <a:pt x="122" y="37"/>
                        </a:cubicBezTo>
                        <a:cubicBezTo>
                          <a:pt x="122" y="37"/>
                          <a:pt x="123" y="37"/>
                          <a:pt x="123" y="37"/>
                        </a:cubicBezTo>
                        <a:cubicBezTo>
                          <a:pt x="123" y="37"/>
                          <a:pt x="123" y="37"/>
                          <a:pt x="123" y="37"/>
                        </a:cubicBezTo>
                        <a:cubicBezTo>
                          <a:pt x="123" y="37"/>
                          <a:pt x="122" y="38"/>
                          <a:pt x="121" y="38"/>
                        </a:cubicBezTo>
                        <a:cubicBezTo>
                          <a:pt x="121" y="38"/>
                          <a:pt x="121" y="38"/>
                          <a:pt x="121" y="38"/>
                        </a:cubicBezTo>
                        <a:cubicBezTo>
                          <a:pt x="121" y="38"/>
                          <a:pt x="122" y="38"/>
                          <a:pt x="122" y="38"/>
                        </a:cubicBezTo>
                        <a:cubicBezTo>
                          <a:pt x="122" y="38"/>
                          <a:pt x="122" y="38"/>
                          <a:pt x="122" y="38"/>
                        </a:cubicBezTo>
                        <a:cubicBezTo>
                          <a:pt x="122" y="38"/>
                          <a:pt x="121" y="38"/>
                          <a:pt x="121" y="38"/>
                        </a:cubicBezTo>
                        <a:cubicBezTo>
                          <a:pt x="121" y="38"/>
                          <a:pt x="120" y="38"/>
                          <a:pt x="120" y="38"/>
                        </a:cubicBezTo>
                        <a:cubicBezTo>
                          <a:pt x="120" y="38"/>
                          <a:pt x="120" y="38"/>
                          <a:pt x="120" y="38"/>
                        </a:cubicBezTo>
                        <a:cubicBezTo>
                          <a:pt x="121" y="38"/>
                          <a:pt x="121" y="38"/>
                          <a:pt x="121" y="38"/>
                        </a:cubicBezTo>
                        <a:cubicBezTo>
                          <a:pt x="120" y="38"/>
                          <a:pt x="120" y="38"/>
                          <a:pt x="120" y="38"/>
                        </a:cubicBezTo>
                        <a:cubicBezTo>
                          <a:pt x="119" y="38"/>
                          <a:pt x="120" y="38"/>
                          <a:pt x="120" y="38"/>
                        </a:cubicBezTo>
                        <a:cubicBezTo>
                          <a:pt x="119" y="39"/>
                          <a:pt x="119" y="39"/>
                          <a:pt x="119" y="39"/>
                        </a:cubicBezTo>
                        <a:cubicBezTo>
                          <a:pt x="119" y="39"/>
                          <a:pt x="118" y="39"/>
                          <a:pt x="118" y="39"/>
                        </a:cubicBezTo>
                        <a:cubicBezTo>
                          <a:pt x="118" y="39"/>
                          <a:pt x="118" y="39"/>
                          <a:pt x="118" y="39"/>
                        </a:cubicBezTo>
                        <a:cubicBezTo>
                          <a:pt x="118" y="39"/>
                          <a:pt x="118" y="39"/>
                          <a:pt x="117" y="39"/>
                        </a:cubicBezTo>
                        <a:cubicBezTo>
                          <a:pt x="118" y="39"/>
                          <a:pt x="118" y="39"/>
                          <a:pt x="117" y="39"/>
                        </a:cubicBezTo>
                        <a:cubicBezTo>
                          <a:pt x="117" y="39"/>
                          <a:pt x="117" y="39"/>
                          <a:pt x="117" y="39"/>
                        </a:cubicBezTo>
                        <a:cubicBezTo>
                          <a:pt x="117" y="39"/>
                          <a:pt x="117" y="39"/>
                          <a:pt x="117" y="39"/>
                        </a:cubicBezTo>
                        <a:cubicBezTo>
                          <a:pt x="117" y="39"/>
                          <a:pt x="116" y="39"/>
                          <a:pt x="116" y="39"/>
                        </a:cubicBezTo>
                        <a:cubicBezTo>
                          <a:pt x="116" y="39"/>
                          <a:pt x="117" y="39"/>
                          <a:pt x="117" y="39"/>
                        </a:cubicBezTo>
                        <a:cubicBezTo>
                          <a:pt x="117" y="39"/>
                          <a:pt x="116" y="40"/>
                          <a:pt x="116" y="40"/>
                        </a:cubicBezTo>
                        <a:cubicBezTo>
                          <a:pt x="116" y="40"/>
                          <a:pt x="116" y="40"/>
                          <a:pt x="116" y="39"/>
                        </a:cubicBezTo>
                        <a:cubicBezTo>
                          <a:pt x="116" y="40"/>
                          <a:pt x="116" y="40"/>
                          <a:pt x="115" y="40"/>
                        </a:cubicBezTo>
                        <a:cubicBezTo>
                          <a:pt x="116" y="40"/>
                          <a:pt x="116" y="40"/>
                          <a:pt x="116" y="40"/>
                        </a:cubicBezTo>
                        <a:cubicBezTo>
                          <a:pt x="116" y="40"/>
                          <a:pt x="115" y="40"/>
                          <a:pt x="115" y="40"/>
                        </a:cubicBezTo>
                        <a:cubicBezTo>
                          <a:pt x="115" y="40"/>
                          <a:pt x="115" y="40"/>
                          <a:pt x="115" y="40"/>
                        </a:cubicBezTo>
                        <a:cubicBezTo>
                          <a:pt x="115" y="40"/>
                          <a:pt x="115" y="40"/>
                          <a:pt x="115" y="40"/>
                        </a:cubicBezTo>
                        <a:cubicBezTo>
                          <a:pt x="115" y="40"/>
                          <a:pt x="114" y="40"/>
                          <a:pt x="113" y="41"/>
                        </a:cubicBezTo>
                        <a:cubicBezTo>
                          <a:pt x="112" y="41"/>
                          <a:pt x="111" y="41"/>
                          <a:pt x="110" y="41"/>
                        </a:cubicBezTo>
                        <a:cubicBezTo>
                          <a:pt x="110" y="41"/>
                          <a:pt x="110" y="41"/>
                          <a:pt x="109" y="41"/>
                        </a:cubicBezTo>
                        <a:cubicBezTo>
                          <a:pt x="110" y="41"/>
                          <a:pt x="110" y="41"/>
                          <a:pt x="110" y="41"/>
                        </a:cubicBezTo>
                        <a:cubicBezTo>
                          <a:pt x="110" y="41"/>
                          <a:pt x="110" y="41"/>
                          <a:pt x="110" y="41"/>
                        </a:cubicBezTo>
                        <a:cubicBezTo>
                          <a:pt x="110" y="41"/>
                          <a:pt x="110" y="41"/>
                          <a:pt x="110" y="41"/>
                        </a:cubicBezTo>
                        <a:cubicBezTo>
                          <a:pt x="110" y="41"/>
                          <a:pt x="110" y="41"/>
                          <a:pt x="111" y="41"/>
                        </a:cubicBezTo>
                        <a:cubicBezTo>
                          <a:pt x="111" y="41"/>
                          <a:pt x="110" y="41"/>
                          <a:pt x="110" y="41"/>
                        </a:cubicBezTo>
                        <a:cubicBezTo>
                          <a:pt x="111" y="41"/>
                          <a:pt x="112" y="41"/>
                          <a:pt x="112" y="40"/>
                        </a:cubicBezTo>
                        <a:cubicBezTo>
                          <a:pt x="112" y="40"/>
                          <a:pt x="111" y="40"/>
                          <a:pt x="111" y="40"/>
                        </a:cubicBezTo>
                        <a:cubicBezTo>
                          <a:pt x="111" y="40"/>
                          <a:pt x="111" y="40"/>
                          <a:pt x="111" y="41"/>
                        </a:cubicBezTo>
                        <a:cubicBezTo>
                          <a:pt x="111" y="41"/>
                          <a:pt x="111" y="40"/>
                          <a:pt x="112" y="40"/>
                        </a:cubicBezTo>
                        <a:cubicBezTo>
                          <a:pt x="111" y="41"/>
                          <a:pt x="111" y="41"/>
                          <a:pt x="111" y="41"/>
                        </a:cubicBezTo>
                        <a:cubicBezTo>
                          <a:pt x="111" y="41"/>
                          <a:pt x="111" y="41"/>
                          <a:pt x="111" y="41"/>
                        </a:cubicBezTo>
                        <a:cubicBezTo>
                          <a:pt x="111" y="41"/>
                          <a:pt x="111" y="41"/>
                          <a:pt x="111" y="41"/>
                        </a:cubicBezTo>
                        <a:cubicBezTo>
                          <a:pt x="111" y="41"/>
                          <a:pt x="110" y="41"/>
                          <a:pt x="110" y="41"/>
                        </a:cubicBezTo>
                        <a:cubicBezTo>
                          <a:pt x="110" y="41"/>
                          <a:pt x="110" y="41"/>
                          <a:pt x="110" y="41"/>
                        </a:cubicBezTo>
                        <a:cubicBezTo>
                          <a:pt x="110" y="41"/>
                          <a:pt x="109" y="41"/>
                          <a:pt x="108" y="41"/>
                        </a:cubicBezTo>
                        <a:cubicBezTo>
                          <a:pt x="108" y="41"/>
                          <a:pt x="108" y="41"/>
                          <a:pt x="108" y="41"/>
                        </a:cubicBezTo>
                        <a:cubicBezTo>
                          <a:pt x="108" y="41"/>
                          <a:pt x="107" y="41"/>
                          <a:pt x="107" y="41"/>
                        </a:cubicBezTo>
                        <a:cubicBezTo>
                          <a:pt x="107" y="41"/>
                          <a:pt x="107" y="41"/>
                          <a:pt x="107" y="41"/>
                        </a:cubicBezTo>
                        <a:cubicBezTo>
                          <a:pt x="106" y="42"/>
                          <a:pt x="107" y="41"/>
                          <a:pt x="108" y="41"/>
                        </a:cubicBezTo>
                        <a:cubicBezTo>
                          <a:pt x="108" y="42"/>
                          <a:pt x="107" y="42"/>
                          <a:pt x="106" y="42"/>
                        </a:cubicBezTo>
                        <a:cubicBezTo>
                          <a:pt x="106" y="42"/>
                          <a:pt x="106" y="42"/>
                          <a:pt x="106" y="42"/>
                        </a:cubicBezTo>
                        <a:cubicBezTo>
                          <a:pt x="106" y="42"/>
                          <a:pt x="105" y="42"/>
                          <a:pt x="106" y="42"/>
                        </a:cubicBezTo>
                        <a:cubicBezTo>
                          <a:pt x="105" y="42"/>
                          <a:pt x="105" y="42"/>
                          <a:pt x="105" y="42"/>
                        </a:cubicBezTo>
                        <a:cubicBezTo>
                          <a:pt x="105" y="42"/>
                          <a:pt x="105" y="42"/>
                          <a:pt x="105" y="42"/>
                        </a:cubicBezTo>
                        <a:cubicBezTo>
                          <a:pt x="105" y="42"/>
                          <a:pt x="105" y="42"/>
                          <a:pt x="105" y="42"/>
                        </a:cubicBezTo>
                        <a:cubicBezTo>
                          <a:pt x="105" y="42"/>
                          <a:pt x="105" y="42"/>
                          <a:pt x="106" y="42"/>
                        </a:cubicBezTo>
                        <a:cubicBezTo>
                          <a:pt x="106" y="43"/>
                          <a:pt x="105" y="43"/>
                          <a:pt x="104" y="43"/>
                        </a:cubicBezTo>
                        <a:cubicBezTo>
                          <a:pt x="104" y="43"/>
                          <a:pt x="103" y="43"/>
                          <a:pt x="103" y="43"/>
                        </a:cubicBezTo>
                        <a:cubicBezTo>
                          <a:pt x="103" y="43"/>
                          <a:pt x="101" y="44"/>
                          <a:pt x="101" y="44"/>
                        </a:cubicBezTo>
                        <a:cubicBezTo>
                          <a:pt x="101" y="43"/>
                          <a:pt x="101" y="43"/>
                          <a:pt x="101" y="43"/>
                        </a:cubicBezTo>
                        <a:cubicBezTo>
                          <a:pt x="101" y="43"/>
                          <a:pt x="100" y="44"/>
                          <a:pt x="101" y="44"/>
                        </a:cubicBezTo>
                        <a:cubicBezTo>
                          <a:pt x="101" y="44"/>
                          <a:pt x="100" y="44"/>
                          <a:pt x="100" y="44"/>
                        </a:cubicBezTo>
                        <a:cubicBezTo>
                          <a:pt x="101" y="44"/>
                          <a:pt x="100" y="44"/>
                          <a:pt x="100" y="44"/>
                        </a:cubicBezTo>
                        <a:cubicBezTo>
                          <a:pt x="100" y="44"/>
                          <a:pt x="99" y="44"/>
                          <a:pt x="99" y="44"/>
                        </a:cubicBezTo>
                        <a:cubicBezTo>
                          <a:pt x="99" y="44"/>
                          <a:pt x="99" y="44"/>
                          <a:pt x="99" y="44"/>
                        </a:cubicBezTo>
                        <a:cubicBezTo>
                          <a:pt x="99" y="44"/>
                          <a:pt x="100" y="44"/>
                          <a:pt x="100" y="44"/>
                        </a:cubicBezTo>
                        <a:cubicBezTo>
                          <a:pt x="100" y="44"/>
                          <a:pt x="102" y="43"/>
                          <a:pt x="103" y="43"/>
                        </a:cubicBezTo>
                        <a:cubicBezTo>
                          <a:pt x="103" y="43"/>
                          <a:pt x="103" y="43"/>
                          <a:pt x="103" y="43"/>
                        </a:cubicBezTo>
                        <a:cubicBezTo>
                          <a:pt x="103" y="43"/>
                          <a:pt x="103" y="43"/>
                          <a:pt x="103" y="43"/>
                        </a:cubicBezTo>
                        <a:cubicBezTo>
                          <a:pt x="103" y="43"/>
                          <a:pt x="103" y="43"/>
                          <a:pt x="103" y="43"/>
                        </a:cubicBezTo>
                        <a:cubicBezTo>
                          <a:pt x="103" y="43"/>
                          <a:pt x="104" y="43"/>
                          <a:pt x="105" y="43"/>
                        </a:cubicBezTo>
                        <a:cubicBezTo>
                          <a:pt x="105" y="43"/>
                          <a:pt x="105" y="43"/>
                          <a:pt x="105" y="43"/>
                        </a:cubicBezTo>
                        <a:cubicBezTo>
                          <a:pt x="109" y="42"/>
                          <a:pt x="112" y="41"/>
                          <a:pt x="115" y="40"/>
                        </a:cubicBezTo>
                        <a:cubicBezTo>
                          <a:pt x="116" y="41"/>
                          <a:pt x="115" y="41"/>
                          <a:pt x="115" y="41"/>
                        </a:cubicBezTo>
                        <a:cubicBezTo>
                          <a:pt x="115" y="41"/>
                          <a:pt x="116" y="41"/>
                          <a:pt x="116" y="41"/>
                        </a:cubicBezTo>
                        <a:cubicBezTo>
                          <a:pt x="116" y="41"/>
                          <a:pt x="116" y="41"/>
                          <a:pt x="116" y="41"/>
                        </a:cubicBezTo>
                        <a:cubicBezTo>
                          <a:pt x="116" y="41"/>
                          <a:pt x="115" y="41"/>
                          <a:pt x="115" y="41"/>
                        </a:cubicBezTo>
                        <a:cubicBezTo>
                          <a:pt x="115" y="41"/>
                          <a:pt x="115" y="41"/>
                          <a:pt x="115" y="41"/>
                        </a:cubicBezTo>
                        <a:cubicBezTo>
                          <a:pt x="114" y="41"/>
                          <a:pt x="114" y="41"/>
                          <a:pt x="113" y="41"/>
                        </a:cubicBezTo>
                        <a:cubicBezTo>
                          <a:pt x="113" y="41"/>
                          <a:pt x="113" y="41"/>
                          <a:pt x="113" y="41"/>
                        </a:cubicBezTo>
                        <a:cubicBezTo>
                          <a:pt x="113" y="41"/>
                          <a:pt x="113" y="41"/>
                          <a:pt x="113" y="41"/>
                        </a:cubicBezTo>
                        <a:cubicBezTo>
                          <a:pt x="113" y="41"/>
                          <a:pt x="113" y="41"/>
                          <a:pt x="113" y="41"/>
                        </a:cubicBezTo>
                        <a:cubicBezTo>
                          <a:pt x="113" y="41"/>
                          <a:pt x="112" y="42"/>
                          <a:pt x="112" y="42"/>
                        </a:cubicBezTo>
                        <a:cubicBezTo>
                          <a:pt x="112" y="42"/>
                          <a:pt x="112" y="42"/>
                          <a:pt x="112" y="42"/>
                        </a:cubicBezTo>
                        <a:cubicBezTo>
                          <a:pt x="112" y="41"/>
                          <a:pt x="112" y="42"/>
                          <a:pt x="112" y="41"/>
                        </a:cubicBezTo>
                        <a:cubicBezTo>
                          <a:pt x="112" y="42"/>
                          <a:pt x="112" y="42"/>
                          <a:pt x="111" y="42"/>
                        </a:cubicBezTo>
                        <a:cubicBezTo>
                          <a:pt x="111" y="42"/>
                          <a:pt x="111" y="42"/>
                          <a:pt x="111" y="42"/>
                        </a:cubicBezTo>
                        <a:cubicBezTo>
                          <a:pt x="111" y="42"/>
                          <a:pt x="111" y="42"/>
                          <a:pt x="110" y="42"/>
                        </a:cubicBezTo>
                        <a:cubicBezTo>
                          <a:pt x="110" y="42"/>
                          <a:pt x="110" y="42"/>
                          <a:pt x="110" y="42"/>
                        </a:cubicBezTo>
                        <a:cubicBezTo>
                          <a:pt x="109" y="42"/>
                          <a:pt x="109" y="42"/>
                          <a:pt x="109" y="42"/>
                        </a:cubicBezTo>
                        <a:cubicBezTo>
                          <a:pt x="109" y="42"/>
                          <a:pt x="109" y="42"/>
                          <a:pt x="109" y="42"/>
                        </a:cubicBezTo>
                        <a:cubicBezTo>
                          <a:pt x="109" y="42"/>
                          <a:pt x="109" y="42"/>
                          <a:pt x="109" y="42"/>
                        </a:cubicBezTo>
                        <a:cubicBezTo>
                          <a:pt x="108" y="42"/>
                          <a:pt x="107" y="42"/>
                          <a:pt x="108" y="42"/>
                        </a:cubicBezTo>
                        <a:cubicBezTo>
                          <a:pt x="105" y="43"/>
                          <a:pt x="102" y="44"/>
                          <a:pt x="100" y="44"/>
                        </a:cubicBezTo>
                        <a:cubicBezTo>
                          <a:pt x="99" y="44"/>
                          <a:pt x="100" y="44"/>
                          <a:pt x="100" y="44"/>
                        </a:cubicBezTo>
                        <a:cubicBezTo>
                          <a:pt x="99" y="44"/>
                          <a:pt x="98" y="45"/>
                          <a:pt x="97" y="45"/>
                        </a:cubicBezTo>
                        <a:cubicBezTo>
                          <a:pt x="97" y="45"/>
                          <a:pt x="97" y="45"/>
                          <a:pt x="97" y="45"/>
                        </a:cubicBezTo>
                        <a:cubicBezTo>
                          <a:pt x="97" y="45"/>
                          <a:pt x="97" y="45"/>
                          <a:pt x="96" y="45"/>
                        </a:cubicBezTo>
                        <a:cubicBezTo>
                          <a:pt x="96" y="45"/>
                          <a:pt x="97" y="45"/>
                          <a:pt x="96" y="45"/>
                        </a:cubicBezTo>
                        <a:cubicBezTo>
                          <a:pt x="97" y="44"/>
                          <a:pt x="98" y="45"/>
                          <a:pt x="99" y="44"/>
                        </a:cubicBezTo>
                        <a:cubicBezTo>
                          <a:pt x="99" y="44"/>
                          <a:pt x="99" y="44"/>
                          <a:pt x="99" y="44"/>
                        </a:cubicBezTo>
                        <a:cubicBezTo>
                          <a:pt x="99" y="44"/>
                          <a:pt x="99" y="44"/>
                          <a:pt x="98" y="44"/>
                        </a:cubicBezTo>
                        <a:cubicBezTo>
                          <a:pt x="98" y="44"/>
                          <a:pt x="99" y="44"/>
                          <a:pt x="99" y="44"/>
                        </a:cubicBezTo>
                        <a:cubicBezTo>
                          <a:pt x="99" y="44"/>
                          <a:pt x="99" y="44"/>
                          <a:pt x="98" y="44"/>
                        </a:cubicBezTo>
                        <a:cubicBezTo>
                          <a:pt x="98" y="44"/>
                          <a:pt x="98" y="44"/>
                          <a:pt x="98" y="44"/>
                        </a:cubicBezTo>
                        <a:cubicBezTo>
                          <a:pt x="98" y="44"/>
                          <a:pt x="98" y="44"/>
                          <a:pt x="98" y="44"/>
                        </a:cubicBezTo>
                        <a:cubicBezTo>
                          <a:pt x="98" y="44"/>
                          <a:pt x="98" y="44"/>
                          <a:pt x="98" y="44"/>
                        </a:cubicBezTo>
                        <a:cubicBezTo>
                          <a:pt x="97" y="44"/>
                          <a:pt x="97" y="44"/>
                          <a:pt x="97" y="44"/>
                        </a:cubicBezTo>
                        <a:cubicBezTo>
                          <a:pt x="97" y="44"/>
                          <a:pt x="96" y="45"/>
                          <a:pt x="96" y="44"/>
                        </a:cubicBezTo>
                        <a:cubicBezTo>
                          <a:pt x="97" y="44"/>
                          <a:pt x="97" y="44"/>
                          <a:pt x="97" y="44"/>
                        </a:cubicBezTo>
                        <a:cubicBezTo>
                          <a:pt x="97" y="44"/>
                          <a:pt x="97" y="44"/>
                          <a:pt x="97" y="44"/>
                        </a:cubicBezTo>
                        <a:cubicBezTo>
                          <a:pt x="96" y="44"/>
                          <a:pt x="95" y="44"/>
                          <a:pt x="95" y="44"/>
                        </a:cubicBezTo>
                        <a:cubicBezTo>
                          <a:pt x="95" y="45"/>
                          <a:pt x="94" y="45"/>
                          <a:pt x="94" y="45"/>
                        </a:cubicBezTo>
                        <a:cubicBezTo>
                          <a:pt x="94" y="45"/>
                          <a:pt x="94" y="45"/>
                          <a:pt x="93" y="45"/>
                        </a:cubicBezTo>
                        <a:cubicBezTo>
                          <a:pt x="93" y="45"/>
                          <a:pt x="94" y="45"/>
                          <a:pt x="94" y="45"/>
                        </a:cubicBezTo>
                        <a:cubicBezTo>
                          <a:pt x="94" y="45"/>
                          <a:pt x="94" y="44"/>
                          <a:pt x="94" y="44"/>
                        </a:cubicBezTo>
                        <a:cubicBezTo>
                          <a:pt x="94" y="44"/>
                          <a:pt x="94" y="44"/>
                          <a:pt x="94" y="44"/>
                        </a:cubicBezTo>
                        <a:cubicBezTo>
                          <a:pt x="94" y="44"/>
                          <a:pt x="94" y="44"/>
                          <a:pt x="93" y="44"/>
                        </a:cubicBezTo>
                        <a:cubicBezTo>
                          <a:pt x="93" y="44"/>
                          <a:pt x="93" y="44"/>
                          <a:pt x="93" y="44"/>
                        </a:cubicBezTo>
                        <a:cubicBezTo>
                          <a:pt x="93" y="45"/>
                          <a:pt x="94" y="44"/>
                          <a:pt x="94" y="44"/>
                        </a:cubicBezTo>
                        <a:cubicBezTo>
                          <a:pt x="93" y="45"/>
                          <a:pt x="93" y="44"/>
                          <a:pt x="93" y="44"/>
                        </a:cubicBezTo>
                        <a:cubicBezTo>
                          <a:pt x="94" y="44"/>
                          <a:pt x="94" y="44"/>
                          <a:pt x="95" y="44"/>
                        </a:cubicBezTo>
                        <a:cubicBezTo>
                          <a:pt x="95" y="44"/>
                          <a:pt x="95" y="44"/>
                          <a:pt x="95" y="44"/>
                        </a:cubicBezTo>
                        <a:cubicBezTo>
                          <a:pt x="95" y="44"/>
                          <a:pt x="96" y="44"/>
                          <a:pt x="95" y="44"/>
                        </a:cubicBezTo>
                        <a:cubicBezTo>
                          <a:pt x="95" y="44"/>
                          <a:pt x="96" y="44"/>
                          <a:pt x="96" y="44"/>
                        </a:cubicBezTo>
                        <a:cubicBezTo>
                          <a:pt x="95" y="44"/>
                          <a:pt x="95" y="44"/>
                          <a:pt x="95" y="44"/>
                        </a:cubicBezTo>
                        <a:cubicBezTo>
                          <a:pt x="96" y="44"/>
                          <a:pt x="97" y="44"/>
                          <a:pt x="98" y="43"/>
                        </a:cubicBezTo>
                        <a:cubicBezTo>
                          <a:pt x="98" y="43"/>
                          <a:pt x="97" y="44"/>
                          <a:pt x="97" y="43"/>
                        </a:cubicBezTo>
                        <a:cubicBezTo>
                          <a:pt x="97" y="44"/>
                          <a:pt x="98" y="43"/>
                          <a:pt x="98" y="43"/>
                        </a:cubicBezTo>
                        <a:cubicBezTo>
                          <a:pt x="98" y="43"/>
                          <a:pt x="98" y="43"/>
                          <a:pt x="98" y="43"/>
                        </a:cubicBezTo>
                        <a:cubicBezTo>
                          <a:pt x="98" y="43"/>
                          <a:pt x="98" y="43"/>
                          <a:pt x="98" y="43"/>
                        </a:cubicBezTo>
                        <a:cubicBezTo>
                          <a:pt x="98" y="43"/>
                          <a:pt x="98" y="43"/>
                          <a:pt x="98" y="43"/>
                        </a:cubicBezTo>
                        <a:cubicBezTo>
                          <a:pt x="99" y="43"/>
                          <a:pt x="99" y="43"/>
                          <a:pt x="100" y="43"/>
                        </a:cubicBezTo>
                        <a:cubicBezTo>
                          <a:pt x="100" y="43"/>
                          <a:pt x="100" y="43"/>
                          <a:pt x="100" y="43"/>
                        </a:cubicBezTo>
                        <a:cubicBezTo>
                          <a:pt x="100" y="42"/>
                          <a:pt x="101" y="43"/>
                          <a:pt x="102" y="42"/>
                        </a:cubicBezTo>
                        <a:cubicBezTo>
                          <a:pt x="101" y="42"/>
                          <a:pt x="101" y="42"/>
                          <a:pt x="101" y="42"/>
                        </a:cubicBezTo>
                        <a:cubicBezTo>
                          <a:pt x="101" y="42"/>
                          <a:pt x="101" y="42"/>
                          <a:pt x="101" y="42"/>
                        </a:cubicBezTo>
                        <a:cubicBezTo>
                          <a:pt x="101" y="42"/>
                          <a:pt x="101" y="42"/>
                          <a:pt x="100" y="42"/>
                        </a:cubicBezTo>
                        <a:cubicBezTo>
                          <a:pt x="100" y="43"/>
                          <a:pt x="100" y="42"/>
                          <a:pt x="100" y="42"/>
                        </a:cubicBezTo>
                        <a:cubicBezTo>
                          <a:pt x="100" y="42"/>
                          <a:pt x="100" y="42"/>
                          <a:pt x="100" y="42"/>
                        </a:cubicBezTo>
                        <a:cubicBezTo>
                          <a:pt x="100" y="42"/>
                          <a:pt x="100" y="42"/>
                          <a:pt x="100" y="43"/>
                        </a:cubicBezTo>
                        <a:cubicBezTo>
                          <a:pt x="99" y="43"/>
                          <a:pt x="100" y="43"/>
                          <a:pt x="100" y="42"/>
                        </a:cubicBezTo>
                        <a:cubicBezTo>
                          <a:pt x="99" y="42"/>
                          <a:pt x="99" y="42"/>
                          <a:pt x="99" y="43"/>
                        </a:cubicBezTo>
                        <a:cubicBezTo>
                          <a:pt x="99" y="42"/>
                          <a:pt x="100" y="42"/>
                          <a:pt x="100" y="42"/>
                        </a:cubicBezTo>
                        <a:cubicBezTo>
                          <a:pt x="100" y="42"/>
                          <a:pt x="99" y="42"/>
                          <a:pt x="99" y="42"/>
                        </a:cubicBezTo>
                        <a:cubicBezTo>
                          <a:pt x="99" y="42"/>
                          <a:pt x="99" y="42"/>
                          <a:pt x="99" y="42"/>
                        </a:cubicBezTo>
                        <a:cubicBezTo>
                          <a:pt x="99" y="43"/>
                          <a:pt x="98" y="42"/>
                          <a:pt x="98" y="43"/>
                        </a:cubicBezTo>
                        <a:cubicBezTo>
                          <a:pt x="98" y="43"/>
                          <a:pt x="97" y="43"/>
                          <a:pt x="97" y="43"/>
                        </a:cubicBezTo>
                        <a:cubicBezTo>
                          <a:pt x="97" y="43"/>
                          <a:pt x="97" y="43"/>
                          <a:pt x="97" y="43"/>
                        </a:cubicBezTo>
                        <a:cubicBezTo>
                          <a:pt x="97" y="43"/>
                          <a:pt x="98" y="43"/>
                          <a:pt x="98" y="43"/>
                        </a:cubicBezTo>
                        <a:cubicBezTo>
                          <a:pt x="98" y="43"/>
                          <a:pt x="98" y="42"/>
                          <a:pt x="97" y="42"/>
                        </a:cubicBezTo>
                        <a:cubicBezTo>
                          <a:pt x="98" y="42"/>
                          <a:pt x="98" y="42"/>
                          <a:pt x="99" y="42"/>
                        </a:cubicBezTo>
                        <a:cubicBezTo>
                          <a:pt x="99" y="42"/>
                          <a:pt x="99" y="42"/>
                          <a:pt x="99" y="42"/>
                        </a:cubicBezTo>
                        <a:cubicBezTo>
                          <a:pt x="99" y="42"/>
                          <a:pt x="99" y="42"/>
                          <a:pt x="99" y="42"/>
                        </a:cubicBezTo>
                        <a:cubicBezTo>
                          <a:pt x="99" y="42"/>
                          <a:pt x="99" y="42"/>
                          <a:pt x="99" y="42"/>
                        </a:cubicBezTo>
                        <a:cubicBezTo>
                          <a:pt x="99" y="42"/>
                          <a:pt x="98" y="42"/>
                          <a:pt x="98" y="42"/>
                        </a:cubicBezTo>
                        <a:cubicBezTo>
                          <a:pt x="98" y="42"/>
                          <a:pt x="98" y="42"/>
                          <a:pt x="98" y="42"/>
                        </a:cubicBezTo>
                        <a:cubicBezTo>
                          <a:pt x="98" y="42"/>
                          <a:pt x="97" y="42"/>
                          <a:pt x="97" y="42"/>
                        </a:cubicBezTo>
                        <a:cubicBezTo>
                          <a:pt x="97" y="42"/>
                          <a:pt x="97" y="42"/>
                          <a:pt x="98" y="42"/>
                        </a:cubicBezTo>
                        <a:cubicBezTo>
                          <a:pt x="97" y="42"/>
                          <a:pt x="96" y="42"/>
                          <a:pt x="96" y="42"/>
                        </a:cubicBezTo>
                        <a:cubicBezTo>
                          <a:pt x="96" y="41"/>
                          <a:pt x="97" y="42"/>
                          <a:pt x="98" y="41"/>
                        </a:cubicBezTo>
                        <a:cubicBezTo>
                          <a:pt x="98" y="41"/>
                          <a:pt x="98" y="42"/>
                          <a:pt x="97" y="42"/>
                        </a:cubicBezTo>
                        <a:cubicBezTo>
                          <a:pt x="98" y="42"/>
                          <a:pt x="98" y="41"/>
                          <a:pt x="98" y="41"/>
                        </a:cubicBezTo>
                        <a:cubicBezTo>
                          <a:pt x="99" y="42"/>
                          <a:pt x="99" y="42"/>
                          <a:pt x="99" y="42"/>
                        </a:cubicBezTo>
                        <a:cubicBezTo>
                          <a:pt x="99" y="42"/>
                          <a:pt x="99" y="42"/>
                          <a:pt x="99" y="42"/>
                        </a:cubicBezTo>
                        <a:cubicBezTo>
                          <a:pt x="99" y="42"/>
                          <a:pt x="99" y="42"/>
                          <a:pt x="99" y="42"/>
                        </a:cubicBezTo>
                        <a:cubicBezTo>
                          <a:pt x="99" y="42"/>
                          <a:pt x="99" y="42"/>
                          <a:pt x="99" y="41"/>
                        </a:cubicBezTo>
                        <a:cubicBezTo>
                          <a:pt x="100" y="41"/>
                          <a:pt x="100" y="41"/>
                          <a:pt x="100" y="41"/>
                        </a:cubicBezTo>
                        <a:cubicBezTo>
                          <a:pt x="100" y="41"/>
                          <a:pt x="100" y="41"/>
                          <a:pt x="100" y="41"/>
                        </a:cubicBezTo>
                        <a:cubicBezTo>
                          <a:pt x="100" y="41"/>
                          <a:pt x="101" y="41"/>
                          <a:pt x="101" y="41"/>
                        </a:cubicBezTo>
                        <a:cubicBezTo>
                          <a:pt x="101" y="41"/>
                          <a:pt x="102" y="41"/>
                          <a:pt x="102" y="41"/>
                        </a:cubicBezTo>
                        <a:cubicBezTo>
                          <a:pt x="102" y="41"/>
                          <a:pt x="102" y="41"/>
                          <a:pt x="103" y="41"/>
                        </a:cubicBezTo>
                        <a:cubicBezTo>
                          <a:pt x="103" y="41"/>
                          <a:pt x="103" y="40"/>
                          <a:pt x="103" y="40"/>
                        </a:cubicBezTo>
                        <a:cubicBezTo>
                          <a:pt x="103" y="40"/>
                          <a:pt x="103" y="40"/>
                          <a:pt x="103" y="40"/>
                        </a:cubicBezTo>
                        <a:cubicBezTo>
                          <a:pt x="103" y="41"/>
                          <a:pt x="103" y="40"/>
                          <a:pt x="103" y="40"/>
                        </a:cubicBezTo>
                        <a:cubicBezTo>
                          <a:pt x="104" y="40"/>
                          <a:pt x="105" y="40"/>
                          <a:pt x="106" y="40"/>
                        </a:cubicBezTo>
                        <a:cubicBezTo>
                          <a:pt x="106" y="40"/>
                          <a:pt x="106" y="40"/>
                          <a:pt x="106" y="40"/>
                        </a:cubicBezTo>
                        <a:cubicBezTo>
                          <a:pt x="106" y="40"/>
                          <a:pt x="106" y="40"/>
                          <a:pt x="106" y="40"/>
                        </a:cubicBezTo>
                        <a:cubicBezTo>
                          <a:pt x="106" y="40"/>
                          <a:pt x="106" y="40"/>
                          <a:pt x="107" y="40"/>
                        </a:cubicBezTo>
                        <a:cubicBezTo>
                          <a:pt x="106" y="40"/>
                          <a:pt x="106" y="40"/>
                          <a:pt x="106" y="40"/>
                        </a:cubicBezTo>
                        <a:cubicBezTo>
                          <a:pt x="106" y="40"/>
                          <a:pt x="106" y="40"/>
                          <a:pt x="106" y="40"/>
                        </a:cubicBezTo>
                        <a:cubicBezTo>
                          <a:pt x="107" y="39"/>
                          <a:pt x="106" y="39"/>
                          <a:pt x="105" y="40"/>
                        </a:cubicBezTo>
                        <a:cubicBezTo>
                          <a:pt x="106" y="40"/>
                          <a:pt x="105" y="40"/>
                          <a:pt x="105" y="40"/>
                        </a:cubicBezTo>
                        <a:cubicBezTo>
                          <a:pt x="104" y="40"/>
                          <a:pt x="105" y="40"/>
                          <a:pt x="104" y="40"/>
                        </a:cubicBezTo>
                        <a:cubicBezTo>
                          <a:pt x="104" y="40"/>
                          <a:pt x="105" y="40"/>
                          <a:pt x="105" y="40"/>
                        </a:cubicBezTo>
                        <a:cubicBezTo>
                          <a:pt x="104" y="40"/>
                          <a:pt x="103" y="40"/>
                          <a:pt x="102" y="40"/>
                        </a:cubicBezTo>
                        <a:cubicBezTo>
                          <a:pt x="102" y="40"/>
                          <a:pt x="102" y="40"/>
                          <a:pt x="102" y="40"/>
                        </a:cubicBezTo>
                        <a:cubicBezTo>
                          <a:pt x="101" y="40"/>
                          <a:pt x="101" y="40"/>
                          <a:pt x="101" y="40"/>
                        </a:cubicBezTo>
                        <a:cubicBezTo>
                          <a:pt x="101" y="41"/>
                          <a:pt x="101" y="40"/>
                          <a:pt x="101" y="40"/>
                        </a:cubicBezTo>
                        <a:cubicBezTo>
                          <a:pt x="101" y="41"/>
                          <a:pt x="101" y="41"/>
                          <a:pt x="101" y="41"/>
                        </a:cubicBezTo>
                        <a:cubicBezTo>
                          <a:pt x="101" y="41"/>
                          <a:pt x="101" y="41"/>
                          <a:pt x="101" y="40"/>
                        </a:cubicBezTo>
                        <a:cubicBezTo>
                          <a:pt x="100" y="41"/>
                          <a:pt x="100" y="41"/>
                          <a:pt x="100" y="41"/>
                        </a:cubicBezTo>
                        <a:cubicBezTo>
                          <a:pt x="100" y="41"/>
                          <a:pt x="99" y="41"/>
                          <a:pt x="99" y="41"/>
                        </a:cubicBezTo>
                        <a:cubicBezTo>
                          <a:pt x="99" y="41"/>
                          <a:pt x="100" y="40"/>
                          <a:pt x="99" y="40"/>
                        </a:cubicBezTo>
                        <a:cubicBezTo>
                          <a:pt x="100" y="40"/>
                          <a:pt x="101" y="40"/>
                          <a:pt x="102" y="40"/>
                        </a:cubicBezTo>
                        <a:cubicBezTo>
                          <a:pt x="102" y="39"/>
                          <a:pt x="102" y="40"/>
                          <a:pt x="101" y="40"/>
                        </a:cubicBezTo>
                        <a:cubicBezTo>
                          <a:pt x="101" y="39"/>
                          <a:pt x="102" y="39"/>
                          <a:pt x="102" y="39"/>
                        </a:cubicBezTo>
                        <a:cubicBezTo>
                          <a:pt x="102" y="39"/>
                          <a:pt x="102" y="39"/>
                          <a:pt x="103" y="39"/>
                        </a:cubicBezTo>
                        <a:cubicBezTo>
                          <a:pt x="102" y="39"/>
                          <a:pt x="102" y="39"/>
                          <a:pt x="101" y="39"/>
                        </a:cubicBezTo>
                        <a:cubicBezTo>
                          <a:pt x="101" y="39"/>
                          <a:pt x="101" y="39"/>
                          <a:pt x="101" y="39"/>
                        </a:cubicBezTo>
                        <a:cubicBezTo>
                          <a:pt x="100" y="39"/>
                          <a:pt x="99" y="40"/>
                          <a:pt x="98" y="40"/>
                        </a:cubicBezTo>
                        <a:cubicBezTo>
                          <a:pt x="99" y="40"/>
                          <a:pt x="101" y="39"/>
                          <a:pt x="101" y="39"/>
                        </a:cubicBezTo>
                        <a:cubicBezTo>
                          <a:pt x="101" y="40"/>
                          <a:pt x="99" y="40"/>
                          <a:pt x="98" y="40"/>
                        </a:cubicBezTo>
                        <a:cubicBezTo>
                          <a:pt x="98" y="40"/>
                          <a:pt x="98" y="40"/>
                          <a:pt x="98" y="40"/>
                        </a:cubicBezTo>
                        <a:cubicBezTo>
                          <a:pt x="98" y="40"/>
                          <a:pt x="98" y="40"/>
                          <a:pt x="98" y="41"/>
                        </a:cubicBezTo>
                        <a:cubicBezTo>
                          <a:pt x="98" y="41"/>
                          <a:pt x="98" y="41"/>
                          <a:pt x="98" y="41"/>
                        </a:cubicBezTo>
                        <a:cubicBezTo>
                          <a:pt x="98" y="40"/>
                          <a:pt x="98" y="40"/>
                          <a:pt x="98" y="40"/>
                        </a:cubicBezTo>
                        <a:cubicBezTo>
                          <a:pt x="98" y="40"/>
                          <a:pt x="99" y="40"/>
                          <a:pt x="99" y="40"/>
                        </a:cubicBezTo>
                        <a:close/>
                        <a:moveTo>
                          <a:pt x="137" y="36"/>
                        </a:moveTo>
                        <a:cubicBezTo>
                          <a:pt x="137" y="36"/>
                          <a:pt x="138" y="36"/>
                          <a:pt x="138" y="36"/>
                        </a:cubicBezTo>
                        <a:cubicBezTo>
                          <a:pt x="138" y="36"/>
                          <a:pt x="138" y="36"/>
                          <a:pt x="138" y="36"/>
                        </a:cubicBezTo>
                        <a:cubicBezTo>
                          <a:pt x="138" y="36"/>
                          <a:pt x="138" y="36"/>
                          <a:pt x="137" y="36"/>
                        </a:cubicBezTo>
                        <a:close/>
                        <a:moveTo>
                          <a:pt x="124" y="39"/>
                        </a:moveTo>
                        <a:cubicBezTo>
                          <a:pt x="124" y="39"/>
                          <a:pt x="124" y="39"/>
                          <a:pt x="124" y="39"/>
                        </a:cubicBezTo>
                        <a:cubicBezTo>
                          <a:pt x="124" y="39"/>
                          <a:pt x="124" y="39"/>
                          <a:pt x="124" y="39"/>
                        </a:cubicBezTo>
                        <a:cubicBezTo>
                          <a:pt x="124" y="39"/>
                          <a:pt x="124" y="39"/>
                          <a:pt x="124" y="39"/>
                        </a:cubicBezTo>
                        <a:close/>
                        <a:moveTo>
                          <a:pt x="128" y="36"/>
                        </a:moveTo>
                        <a:cubicBezTo>
                          <a:pt x="128" y="36"/>
                          <a:pt x="128" y="36"/>
                          <a:pt x="128" y="36"/>
                        </a:cubicBezTo>
                        <a:cubicBezTo>
                          <a:pt x="128" y="36"/>
                          <a:pt x="128" y="36"/>
                          <a:pt x="128" y="36"/>
                        </a:cubicBezTo>
                        <a:cubicBezTo>
                          <a:pt x="128" y="36"/>
                          <a:pt x="128" y="36"/>
                          <a:pt x="128" y="36"/>
                        </a:cubicBezTo>
                        <a:close/>
                        <a:moveTo>
                          <a:pt x="131" y="36"/>
                        </a:moveTo>
                        <a:cubicBezTo>
                          <a:pt x="131" y="36"/>
                          <a:pt x="131" y="36"/>
                          <a:pt x="131" y="36"/>
                        </a:cubicBezTo>
                        <a:cubicBezTo>
                          <a:pt x="131" y="36"/>
                          <a:pt x="132" y="36"/>
                          <a:pt x="131" y="36"/>
                        </a:cubicBezTo>
                        <a:cubicBezTo>
                          <a:pt x="131" y="36"/>
                          <a:pt x="132" y="36"/>
                          <a:pt x="131" y="36"/>
                        </a:cubicBezTo>
                        <a:cubicBezTo>
                          <a:pt x="131" y="36"/>
                          <a:pt x="131" y="36"/>
                          <a:pt x="130" y="36"/>
                        </a:cubicBezTo>
                        <a:cubicBezTo>
                          <a:pt x="130" y="37"/>
                          <a:pt x="131" y="36"/>
                          <a:pt x="131" y="36"/>
                        </a:cubicBezTo>
                        <a:close/>
                        <a:moveTo>
                          <a:pt x="131" y="37"/>
                        </a:moveTo>
                        <a:cubicBezTo>
                          <a:pt x="130" y="37"/>
                          <a:pt x="130" y="37"/>
                          <a:pt x="130" y="37"/>
                        </a:cubicBezTo>
                        <a:cubicBezTo>
                          <a:pt x="131" y="37"/>
                          <a:pt x="131" y="37"/>
                          <a:pt x="131" y="37"/>
                        </a:cubicBezTo>
                        <a:close/>
                        <a:moveTo>
                          <a:pt x="132" y="37"/>
                        </a:moveTo>
                        <a:cubicBezTo>
                          <a:pt x="132" y="37"/>
                          <a:pt x="132" y="37"/>
                          <a:pt x="132" y="36"/>
                        </a:cubicBezTo>
                        <a:cubicBezTo>
                          <a:pt x="132" y="36"/>
                          <a:pt x="132" y="36"/>
                          <a:pt x="132" y="36"/>
                        </a:cubicBezTo>
                        <a:cubicBezTo>
                          <a:pt x="132" y="36"/>
                          <a:pt x="132" y="36"/>
                          <a:pt x="132" y="36"/>
                        </a:cubicBezTo>
                        <a:cubicBezTo>
                          <a:pt x="132" y="36"/>
                          <a:pt x="132" y="36"/>
                          <a:pt x="131" y="36"/>
                        </a:cubicBezTo>
                        <a:cubicBezTo>
                          <a:pt x="131" y="37"/>
                          <a:pt x="131" y="37"/>
                          <a:pt x="132" y="37"/>
                        </a:cubicBezTo>
                        <a:close/>
                        <a:moveTo>
                          <a:pt x="132" y="37"/>
                        </a:moveTo>
                        <a:cubicBezTo>
                          <a:pt x="132" y="37"/>
                          <a:pt x="132" y="37"/>
                          <a:pt x="133" y="37"/>
                        </a:cubicBezTo>
                        <a:cubicBezTo>
                          <a:pt x="133" y="37"/>
                          <a:pt x="133" y="37"/>
                          <a:pt x="133" y="37"/>
                        </a:cubicBezTo>
                        <a:cubicBezTo>
                          <a:pt x="133" y="37"/>
                          <a:pt x="133" y="37"/>
                          <a:pt x="133" y="36"/>
                        </a:cubicBezTo>
                        <a:cubicBezTo>
                          <a:pt x="133" y="36"/>
                          <a:pt x="132" y="37"/>
                          <a:pt x="132" y="37"/>
                        </a:cubicBezTo>
                        <a:close/>
                        <a:moveTo>
                          <a:pt x="140" y="35"/>
                        </a:moveTo>
                        <a:cubicBezTo>
                          <a:pt x="140" y="35"/>
                          <a:pt x="140" y="35"/>
                          <a:pt x="139" y="35"/>
                        </a:cubicBezTo>
                        <a:cubicBezTo>
                          <a:pt x="140" y="35"/>
                          <a:pt x="140" y="35"/>
                          <a:pt x="140" y="35"/>
                        </a:cubicBezTo>
                        <a:cubicBezTo>
                          <a:pt x="140" y="35"/>
                          <a:pt x="140" y="35"/>
                          <a:pt x="140" y="35"/>
                        </a:cubicBezTo>
                        <a:close/>
                        <a:moveTo>
                          <a:pt x="138" y="35"/>
                        </a:moveTo>
                        <a:cubicBezTo>
                          <a:pt x="138" y="35"/>
                          <a:pt x="139" y="35"/>
                          <a:pt x="139" y="35"/>
                        </a:cubicBezTo>
                        <a:cubicBezTo>
                          <a:pt x="139" y="35"/>
                          <a:pt x="138" y="35"/>
                          <a:pt x="138" y="35"/>
                        </a:cubicBezTo>
                        <a:close/>
                        <a:moveTo>
                          <a:pt x="134" y="36"/>
                        </a:moveTo>
                        <a:cubicBezTo>
                          <a:pt x="133" y="36"/>
                          <a:pt x="133" y="36"/>
                          <a:pt x="132" y="36"/>
                        </a:cubicBezTo>
                        <a:cubicBezTo>
                          <a:pt x="132" y="36"/>
                          <a:pt x="132" y="36"/>
                          <a:pt x="132" y="36"/>
                        </a:cubicBezTo>
                        <a:cubicBezTo>
                          <a:pt x="132" y="36"/>
                          <a:pt x="132" y="36"/>
                          <a:pt x="132" y="36"/>
                        </a:cubicBezTo>
                        <a:cubicBezTo>
                          <a:pt x="132" y="36"/>
                          <a:pt x="132" y="36"/>
                          <a:pt x="132" y="36"/>
                        </a:cubicBezTo>
                        <a:cubicBezTo>
                          <a:pt x="133" y="36"/>
                          <a:pt x="133" y="36"/>
                          <a:pt x="133" y="36"/>
                        </a:cubicBezTo>
                        <a:cubicBezTo>
                          <a:pt x="133" y="36"/>
                          <a:pt x="133" y="36"/>
                          <a:pt x="133" y="36"/>
                        </a:cubicBezTo>
                        <a:cubicBezTo>
                          <a:pt x="134" y="36"/>
                          <a:pt x="133" y="36"/>
                          <a:pt x="134" y="36"/>
                        </a:cubicBezTo>
                        <a:cubicBezTo>
                          <a:pt x="134" y="36"/>
                          <a:pt x="134" y="36"/>
                          <a:pt x="134" y="36"/>
                        </a:cubicBezTo>
                        <a:cubicBezTo>
                          <a:pt x="134" y="36"/>
                          <a:pt x="136" y="36"/>
                          <a:pt x="138" y="35"/>
                        </a:cubicBezTo>
                        <a:cubicBezTo>
                          <a:pt x="136" y="35"/>
                          <a:pt x="135" y="36"/>
                          <a:pt x="134" y="36"/>
                        </a:cubicBezTo>
                        <a:cubicBezTo>
                          <a:pt x="134" y="36"/>
                          <a:pt x="134" y="36"/>
                          <a:pt x="134" y="36"/>
                        </a:cubicBezTo>
                        <a:close/>
                        <a:moveTo>
                          <a:pt x="141" y="34"/>
                        </a:moveTo>
                        <a:cubicBezTo>
                          <a:pt x="141" y="34"/>
                          <a:pt x="141" y="34"/>
                          <a:pt x="141" y="34"/>
                        </a:cubicBezTo>
                        <a:cubicBezTo>
                          <a:pt x="142" y="34"/>
                          <a:pt x="142" y="34"/>
                          <a:pt x="142" y="34"/>
                        </a:cubicBezTo>
                        <a:cubicBezTo>
                          <a:pt x="142" y="34"/>
                          <a:pt x="142" y="34"/>
                          <a:pt x="141" y="34"/>
                        </a:cubicBezTo>
                        <a:close/>
                        <a:moveTo>
                          <a:pt x="141" y="34"/>
                        </a:moveTo>
                        <a:cubicBezTo>
                          <a:pt x="141" y="34"/>
                          <a:pt x="141" y="34"/>
                          <a:pt x="140" y="34"/>
                        </a:cubicBezTo>
                        <a:cubicBezTo>
                          <a:pt x="141" y="34"/>
                          <a:pt x="141" y="34"/>
                          <a:pt x="141" y="34"/>
                        </a:cubicBezTo>
                        <a:cubicBezTo>
                          <a:pt x="141" y="34"/>
                          <a:pt x="141" y="34"/>
                          <a:pt x="141" y="34"/>
                        </a:cubicBezTo>
                        <a:close/>
                        <a:moveTo>
                          <a:pt x="141" y="34"/>
                        </a:moveTo>
                        <a:cubicBezTo>
                          <a:pt x="141" y="34"/>
                          <a:pt x="140" y="34"/>
                          <a:pt x="140" y="34"/>
                        </a:cubicBezTo>
                        <a:cubicBezTo>
                          <a:pt x="140" y="34"/>
                          <a:pt x="141" y="34"/>
                          <a:pt x="141" y="34"/>
                        </a:cubicBezTo>
                        <a:close/>
                        <a:moveTo>
                          <a:pt x="136" y="35"/>
                        </a:moveTo>
                        <a:cubicBezTo>
                          <a:pt x="136" y="35"/>
                          <a:pt x="137" y="35"/>
                          <a:pt x="137" y="35"/>
                        </a:cubicBezTo>
                        <a:cubicBezTo>
                          <a:pt x="136" y="35"/>
                          <a:pt x="136" y="35"/>
                          <a:pt x="136" y="35"/>
                        </a:cubicBezTo>
                        <a:close/>
                        <a:moveTo>
                          <a:pt x="140" y="34"/>
                        </a:moveTo>
                        <a:cubicBezTo>
                          <a:pt x="140" y="34"/>
                          <a:pt x="140" y="34"/>
                          <a:pt x="140" y="34"/>
                        </a:cubicBezTo>
                        <a:cubicBezTo>
                          <a:pt x="140" y="34"/>
                          <a:pt x="140" y="33"/>
                          <a:pt x="140" y="34"/>
                        </a:cubicBezTo>
                        <a:close/>
                        <a:moveTo>
                          <a:pt x="140" y="33"/>
                        </a:moveTo>
                        <a:cubicBezTo>
                          <a:pt x="139" y="33"/>
                          <a:pt x="139" y="33"/>
                          <a:pt x="139" y="34"/>
                        </a:cubicBezTo>
                        <a:cubicBezTo>
                          <a:pt x="139" y="34"/>
                          <a:pt x="139" y="34"/>
                          <a:pt x="139" y="34"/>
                        </a:cubicBezTo>
                        <a:cubicBezTo>
                          <a:pt x="139" y="34"/>
                          <a:pt x="140" y="33"/>
                          <a:pt x="140" y="33"/>
                        </a:cubicBezTo>
                        <a:cubicBezTo>
                          <a:pt x="140" y="33"/>
                          <a:pt x="140" y="33"/>
                          <a:pt x="140" y="33"/>
                        </a:cubicBezTo>
                        <a:cubicBezTo>
                          <a:pt x="140" y="33"/>
                          <a:pt x="140" y="33"/>
                          <a:pt x="140" y="33"/>
                        </a:cubicBezTo>
                        <a:cubicBezTo>
                          <a:pt x="139" y="33"/>
                          <a:pt x="140" y="33"/>
                          <a:pt x="140" y="33"/>
                        </a:cubicBezTo>
                        <a:close/>
                        <a:moveTo>
                          <a:pt x="138" y="34"/>
                        </a:moveTo>
                        <a:cubicBezTo>
                          <a:pt x="138" y="34"/>
                          <a:pt x="138" y="34"/>
                          <a:pt x="139" y="34"/>
                        </a:cubicBezTo>
                        <a:cubicBezTo>
                          <a:pt x="139" y="33"/>
                          <a:pt x="139" y="33"/>
                          <a:pt x="139" y="33"/>
                        </a:cubicBezTo>
                        <a:cubicBezTo>
                          <a:pt x="138" y="34"/>
                          <a:pt x="138" y="33"/>
                          <a:pt x="138" y="33"/>
                        </a:cubicBezTo>
                        <a:cubicBezTo>
                          <a:pt x="138" y="34"/>
                          <a:pt x="137" y="34"/>
                          <a:pt x="138" y="34"/>
                        </a:cubicBezTo>
                        <a:cubicBezTo>
                          <a:pt x="138" y="34"/>
                          <a:pt x="138" y="34"/>
                          <a:pt x="138" y="34"/>
                        </a:cubicBezTo>
                        <a:cubicBezTo>
                          <a:pt x="138" y="34"/>
                          <a:pt x="138" y="34"/>
                          <a:pt x="138" y="34"/>
                        </a:cubicBezTo>
                        <a:close/>
                        <a:moveTo>
                          <a:pt x="139" y="34"/>
                        </a:moveTo>
                        <a:cubicBezTo>
                          <a:pt x="139" y="34"/>
                          <a:pt x="139" y="34"/>
                          <a:pt x="138" y="34"/>
                        </a:cubicBezTo>
                        <a:cubicBezTo>
                          <a:pt x="138" y="34"/>
                          <a:pt x="139" y="34"/>
                          <a:pt x="139" y="34"/>
                        </a:cubicBezTo>
                        <a:cubicBezTo>
                          <a:pt x="138" y="34"/>
                          <a:pt x="138" y="34"/>
                          <a:pt x="138" y="34"/>
                        </a:cubicBezTo>
                        <a:cubicBezTo>
                          <a:pt x="138" y="34"/>
                          <a:pt x="139" y="34"/>
                          <a:pt x="139" y="34"/>
                        </a:cubicBezTo>
                        <a:close/>
                        <a:moveTo>
                          <a:pt x="130" y="36"/>
                        </a:moveTo>
                        <a:cubicBezTo>
                          <a:pt x="130" y="35"/>
                          <a:pt x="129" y="36"/>
                          <a:pt x="128" y="36"/>
                        </a:cubicBezTo>
                        <a:cubicBezTo>
                          <a:pt x="128" y="36"/>
                          <a:pt x="129" y="36"/>
                          <a:pt x="129" y="36"/>
                        </a:cubicBezTo>
                        <a:cubicBezTo>
                          <a:pt x="129" y="36"/>
                          <a:pt x="130" y="36"/>
                          <a:pt x="130" y="36"/>
                        </a:cubicBezTo>
                        <a:cubicBezTo>
                          <a:pt x="130" y="36"/>
                          <a:pt x="130" y="36"/>
                          <a:pt x="130" y="36"/>
                        </a:cubicBezTo>
                        <a:cubicBezTo>
                          <a:pt x="130" y="36"/>
                          <a:pt x="130" y="36"/>
                          <a:pt x="130" y="36"/>
                        </a:cubicBezTo>
                        <a:cubicBezTo>
                          <a:pt x="130" y="36"/>
                          <a:pt x="130" y="36"/>
                          <a:pt x="130" y="36"/>
                        </a:cubicBezTo>
                        <a:cubicBezTo>
                          <a:pt x="131" y="36"/>
                          <a:pt x="131" y="36"/>
                          <a:pt x="131" y="36"/>
                        </a:cubicBezTo>
                        <a:cubicBezTo>
                          <a:pt x="131" y="36"/>
                          <a:pt x="131" y="36"/>
                          <a:pt x="132" y="36"/>
                        </a:cubicBezTo>
                        <a:cubicBezTo>
                          <a:pt x="132" y="36"/>
                          <a:pt x="132" y="36"/>
                          <a:pt x="132" y="36"/>
                        </a:cubicBezTo>
                        <a:cubicBezTo>
                          <a:pt x="132" y="36"/>
                          <a:pt x="132" y="36"/>
                          <a:pt x="132" y="36"/>
                        </a:cubicBezTo>
                        <a:cubicBezTo>
                          <a:pt x="132" y="36"/>
                          <a:pt x="133" y="36"/>
                          <a:pt x="133" y="35"/>
                        </a:cubicBezTo>
                        <a:cubicBezTo>
                          <a:pt x="133" y="35"/>
                          <a:pt x="133" y="36"/>
                          <a:pt x="133" y="36"/>
                        </a:cubicBezTo>
                        <a:cubicBezTo>
                          <a:pt x="133" y="36"/>
                          <a:pt x="132" y="36"/>
                          <a:pt x="132" y="36"/>
                        </a:cubicBezTo>
                        <a:cubicBezTo>
                          <a:pt x="132" y="36"/>
                          <a:pt x="132" y="36"/>
                          <a:pt x="132" y="36"/>
                        </a:cubicBezTo>
                        <a:cubicBezTo>
                          <a:pt x="132" y="36"/>
                          <a:pt x="132" y="36"/>
                          <a:pt x="133" y="36"/>
                        </a:cubicBezTo>
                        <a:cubicBezTo>
                          <a:pt x="133" y="36"/>
                          <a:pt x="133" y="36"/>
                          <a:pt x="133" y="36"/>
                        </a:cubicBezTo>
                        <a:cubicBezTo>
                          <a:pt x="133" y="36"/>
                          <a:pt x="133" y="36"/>
                          <a:pt x="133" y="36"/>
                        </a:cubicBezTo>
                        <a:cubicBezTo>
                          <a:pt x="134" y="36"/>
                          <a:pt x="133" y="36"/>
                          <a:pt x="134" y="36"/>
                        </a:cubicBezTo>
                        <a:cubicBezTo>
                          <a:pt x="134" y="36"/>
                          <a:pt x="134" y="36"/>
                          <a:pt x="134" y="35"/>
                        </a:cubicBezTo>
                        <a:cubicBezTo>
                          <a:pt x="134" y="35"/>
                          <a:pt x="134" y="36"/>
                          <a:pt x="134" y="35"/>
                        </a:cubicBezTo>
                        <a:cubicBezTo>
                          <a:pt x="134" y="35"/>
                          <a:pt x="134" y="35"/>
                          <a:pt x="134" y="35"/>
                        </a:cubicBezTo>
                        <a:cubicBezTo>
                          <a:pt x="134" y="35"/>
                          <a:pt x="134" y="36"/>
                          <a:pt x="133" y="35"/>
                        </a:cubicBezTo>
                        <a:cubicBezTo>
                          <a:pt x="134" y="35"/>
                          <a:pt x="135" y="35"/>
                          <a:pt x="134" y="35"/>
                        </a:cubicBezTo>
                        <a:cubicBezTo>
                          <a:pt x="134" y="35"/>
                          <a:pt x="133" y="35"/>
                          <a:pt x="133" y="35"/>
                        </a:cubicBezTo>
                        <a:cubicBezTo>
                          <a:pt x="132" y="36"/>
                          <a:pt x="132" y="35"/>
                          <a:pt x="132" y="36"/>
                        </a:cubicBezTo>
                        <a:cubicBezTo>
                          <a:pt x="131" y="36"/>
                          <a:pt x="131" y="36"/>
                          <a:pt x="131" y="35"/>
                        </a:cubicBezTo>
                        <a:cubicBezTo>
                          <a:pt x="131" y="35"/>
                          <a:pt x="132" y="35"/>
                          <a:pt x="132" y="35"/>
                        </a:cubicBezTo>
                        <a:cubicBezTo>
                          <a:pt x="131" y="35"/>
                          <a:pt x="130" y="35"/>
                          <a:pt x="130" y="36"/>
                        </a:cubicBezTo>
                        <a:close/>
                        <a:moveTo>
                          <a:pt x="131" y="35"/>
                        </a:moveTo>
                        <a:cubicBezTo>
                          <a:pt x="131" y="35"/>
                          <a:pt x="130" y="35"/>
                          <a:pt x="130" y="35"/>
                        </a:cubicBezTo>
                        <a:cubicBezTo>
                          <a:pt x="131" y="35"/>
                          <a:pt x="131" y="35"/>
                          <a:pt x="131" y="35"/>
                        </a:cubicBezTo>
                        <a:cubicBezTo>
                          <a:pt x="131" y="35"/>
                          <a:pt x="131" y="35"/>
                          <a:pt x="131" y="35"/>
                        </a:cubicBezTo>
                        <a:close/>
                        <a:moveTo>
                          <a:pt x="110" y="35"/>
                        </a:moveTo>
                        <a:cubicBezTo>
                          <a:pt x="110" y="35"/>
                          <a:pt x="110" y="35"/>
                          <a:pt x="110" y="35"/>
                        </a:cubicBezTo>
                        <a:cubicBezTo>
                          <a:pt x="110" y="35"/>
                          <a:pt x="110" y="35"/>
                          <a:pt x="109" y="35"/>
                        </a:cubicBezTo>
                        <a:cubicBezTo>
                          <a:pt x="109" y="35"/>
                          <a:pt x="110" y="35"/>
                          <a:pt x="110" y="35"/>
                        </a:cubicBezTo>
                        <a:close/>
                        <a:moveTo>
                          <a:pt x="108" y="35"/>
                        </a:moveTo>
                        <a:cubicBezTo>
                          <a:pt x="107" y="35"/>
                          <a:pt x="107" y="36"/>
                          <a:pt x="107" y="36"/>
                        </a:cubicBezTo>
                        <a:cubicBezTo>
                          <a:pt x="107" y="36"/>
                          <a:pt x="108" y="36"/>
                          <a:pt x="108" y="35"/>
                        </a:cubicBezTo>
                        <a:close/>
                        <a:moveTo>
                          <a:pt x="111" y="35"/>
                        </a:moveTo>
                        <a:cubicBezTo>
                          <a:pt x="111" y="35"/>
                          <a:pt x="111" y="35"/>
                          <a:pt x="111" y="35"/>
                        </a:cubicBezTo>
                        <a:cubicBezTo>
                          <a:pt x="111" y="35"/>
                          <a:pt x="111" y="35"/>
                          <a:pt x="111" y="35"/>
                        </a:cubicBezTo>
                        <a:cubicBezTo>
                          <a:pt x="111" y="35"/>
                          <a:pt x="111" y="35"/>
                          <a:pt x="111" y="35"/>
                        </a:cubicBezTo>
                        <a:cubicBezTo>
                          <a:pt x="111" y="35"/>
                          <a:pt x="111" y="35"/>
                          <a:pt x="112" y="35"/>
                        </a:cubicBezTo>
                        <a:cubicBezTo>
                          <a:pt x="111" y="35"/>
                          <a:pt x="110" y="35"/>
                          <a:pt x="111" y="35"/>
                        </a:cubicBezTo>
                        <a:cubicBezTo>
                          <a:pt x="110" y="35"/>
                          <a:pt x="110" y="35"/>
                          <a:pt x="110" y="35"/>
                        </a:cubicBezTo>
                        <a:cubicBezTo>
                          <a:pt x="110" y="35"/>
                          <a:pt x="111" y="35"/>
                          <a:pt x="111" y="35"/>
                        </a:cubicBezTo>
                        <a:close/>
                        <a:moveTo>
                          <a:pt x="110" y="35"/>
                        </a:moveTo>
                        <a:cubicBezTo>
                          <a:pt x="110" y="35"/>
                          <a:pt x="109" y="35"/>
                          <a:pt x="109" y="36"/>
                        </a:cubicBezTo>
                        <a:cubicBezTo>
                          <a:pt x="110" y="36"/>
                          <a:pt x="110" y="35"/>
                          <a:pt x="110" y="35"/>
                        </a:cubicBezTo>
                        <a:close/>
                        <a:moveTo>
                          <a:pt x="113" y="36"/>
                        </a:moveTo>
                        <a:cubicBezTo>
                          <a:pt x="114" y="36"/>
                          <a:pt x="114" y="35"/>
                          <a:pt x="113" y="35"/>
                        </a:cubicBezTo>
                        <a:cubicBezTo>
                          <a:pt x="113" y="35"/>
                          <a:pt x="114" y="35"/>
                          <a:pt x="114" y="35"/>
                        </a:cubicBezTo>
                        <a:cubicBezTo>
                          <a:pt x="114" y="35"/>
                          <a:pt x="113" y="36"/>
                          <a:pt x="114" y="35"/>
                        </a:cubicBezTo>
                        <a:cubicBezTo>
                          <a:pt x="114" y="35"/>
                          <a:pt x="114" y="35"/>
                          <a:pt x="115" y="35"/>
                        </a:cubicBezTo>
                        <a:cubicBezTo>
                          <a:pt x="114" y="35"/>
                          <a:pt x="114" y="35"/>
                          <a:pt x="114" y="35"/>
                        </a:cubicBezTo>
                        <a:cubicBezTo>
                          <a:pt x="114" y="35"/>
                          <a:pt x="113" y="35"/>
                          <a:pt x="113" y="35"/>
                        </a:cubicBezTo>
                        <a:cubicBezTo>
                          <a:pt x="113" y="35"/>
                          <a:pt x="113" y="35"/>
                          <a:pt x="113" y="36"/>
                        </a:cubicBezTo>
                        <a:cubicBezTo>
                          <a:pt x="113" y="35"/>
                          <a:pt x="112" y="36"/>
                          <a:pt x="113" y="35"/>
                        </a:cubicBezTo>
                        <a:cubicBezTo>
                          <a:pt x="112" y="35"/>
                          <a:pt x="112" y="36"/>
                          <a:pt x="112" y="36"/>
                        </a:cubicBezTo>
                        <a:cubicBezTo>
                          <a:pt x="112" y="36"/>
                          <a:pt x="112" y="36"/>
                          <a:pt x="112" y="36"/>
                        </a:cubicBezTo>
                        <a:cubicBezTo>
                          <a:pt x="112" y="36"/>
                          <a:pt x="112" y="35"/>
                          <a:pt x="112" y="36"/>
                        </a:cubicBezTo>
                        <a:cubicBezTo>
                          <a:pt x="112" y="36"/>
                          <a:pt x="112" y="36"/>
                          <a:pt x="112" y="36"/>
                        </a:cubicBezTo>
                        <a:cubicBezTo>
                          <a:pt x="113" y="36"/>
                          <a:pt x="112" y="36"/>
                          <a:pt x="113" y="36"/>
                        </a:cubicBezTo>
                        <a:cubicBezTo>
                          <a:pt x="113" y="36"/>
                          <a:pt x="113" y="36"/>
                          <a:pt x="113" y="36"/>
                        </a:cubicBezTo>
                        <a:cubicBezTo>
                          <a:pt x="113" y="36"/>
                          <a:pt x="113" y="36"/>
                          <a:pt x="113" y="36"/>
                        </a:cubicBezTo>
                        <a:close/>
                        <a:moveTo>
                          <a:pt x="120" y="35"/>
                        </a:moveTo>
                        <a:cubicBezTo>
                          <a:pt x="120" y="35"/>
                          <a:pt x="120" y="35"/>
                          <a:pt x="120" y="35"/>
                        </a:cubicBezTo>
                        <a:cubicBezTo>
                          <a:pt x="120" y="35"/>
                          <a:pt x="120" y="35"/>
                          <a:pt x="121" y="35"/>
                        </a:cubicBezTo>
                        <a:cubicBezTo>
                          <a:pt x="121" y="35"/>
                          <a:pt x="120" y="35"/>
                          <a:pt x="120" y="35"/>
                        </a:cubicBezTo>
                        <a:close/>
                        <a:moveTo>
                          <a:pt x="117" y="36"/>
                        </a:moveTo>
                        <a:cubicBezTo>
                          <a:pt x="118" y="35"/>
                          <a:pt x="118" y="35"/>
                          <a:pt x="118" y="35"/>
                        </a:cubicBezTo>
                        <a:cubicBezTo>
                          <a:pt x="118" y="35"/>
                          <a:pt x="118" y="35"/>
                          <a:pt x="118" y="35"/>
                        </a:cubicBezTo>
                        <a:cubicBezTo>
                          <a:pt x="118" y="35"/>
                          <a:pt x="117" y="35"/>
                          <a:pt x="117" y="36"/>
                        </a:cubicBezTo>
                        <a:close/>
                        <a:moveTo>
                          <a:pt x="119" y="36"/>
                        </a:moveTo>
                        <a:cubicBezTo>
                          <a:pt x="118" y="36"/>
                          <a:pt x="118" y="35"/>
                          <a:pt x="118" y="36"/>
                        </a:cubicBezTo>
                        <a:cubicBezTo>
                          <a:pt x="118" y="36"/>
                          <a:pt x="119" y="36"/>
                          <a:pt x="119" y="35"/>
                        </a:cubicBezTo>
                        <a:cubicBezTo>
                          <a:pt x="119" y="35"/>
                          <a:pt x="119" y="35"/>
                          <a:pt x="119" y="35"/>
                        </a:cubicBezTo>
                        <a:cubicBezTo>
                          <a:pt x="119" y="35"/>
                          <a:pt x="119" y="35"/>
                          <a:pt x="119" y="35"/>
                        </a:cubicBezTo>
                        <a:cubicBezTo>
                          <a:pt x="119" y="35"/>
                          <a:pt x="119" y="35"/>
                          <a:pt x="119" y="35"/>
                        </a:cubicBezTo>
                        <a:cubicBezTo>
                          <a:pt x="119" y="35"/>
                          <a:pt x="119" y="35"/>
                          <a:pt x="119" y="35"/>
                        </a:cubicBezTo>
                        <a:cubicBezTo>
                          <a:pt x="119" y="35"/>
                          <a:pt x="119" y="35"/>
                          <a:pt x="118" y="35"/>
                        </a:cubicBezTo>
                        <a:cubicBezTo>
                          <a:pt x="118" y="35"/>
                          <a:pt x="118" y="35"/>
                          <a:pt x="118" y="35"/>
                        </a:cubicBezTo>
                        <a:cubicBezTo>
                          <a:pt x="118" y="35"/>
                          <a:pt x="119" y="35"/>
                          <a:pt x="119" y="36"/>
                        </a:cubicBezTo>
                        <a:close/>
                        <a:moveTo>
                          <a:pt x="118" y="36"/>
                        </a:moveTo>
                        <a:cubicBezTo>
                          <a:pt x="118" y="36"/>
                          <a:pt x="118" y="36"/>
                          <a:pt x="118" y="36"/>
                        </a:cubicBezTo>
                        <a:cubicBezTo>
                          <a:pt x="118" y="36"/>
                          <a:pt x="118" y="36"/>
                          <a:pt x="118" y="36"/>
                        </a:cubicBezTo>
                        <a:cubicBezTo>
                          <a:pt x="118" y="36"/>
                          <a:pt x="117" y="36"/>
                          <a:pt x="117" y="36"/>
                        </a:cubicBezTo>
                        <a:cubicBezTo>
                          <a:pt x="117" y="36"/>
                          <a:pt x="117" y="36"/>
                          <a:pt x="118" y="36"/>
                        </a:cubicBezTo>
                        <a:cubicBezTo>
                          <a:pt x="118" y="36"/>
                          <a:pt x="117" y="36"/>
                          <a:pt x="118" y="36"/>
                        </a:cubicBezTo>
                        <a:close/>
                        <a:moveTo>
                          <a:pt x="118" y="36"/>
                        </a:moveTo>
                        <a:cubicBezTo>
                          <a:pt x="119" y="36"/>
                          <a:pt x="119" y="36"/>
                          <a:pt x="120" y="35"/>
                        </a:cubicBezTo>
                        <a:cubicBezTo>
                          <a:pt x="120" y="35"/>
                          <a:pt x="120" y="35"/>
                          <a:pt x="120" y="35"/>
                        </a:cubicBezTo>
                        <a:cubicBezTo>
                          <a:pt x="119" y="36"/>
                          <a:pt x="119" y="36"/>
                          <a:pt x="118" y="36"/>
                        </a:cubicBezTo>
                        <a:close/>
                        <a:moveTo>
                          <a:pt x="101" y="40"/>
                        </a:moveTo>
                        <a:cubicBezTo>
                          <a:pt x="102" y="40"/>
                          <a:pt x="101" y="40"/>
                          <a:pt x="101" y="40"/>
                        </a:cubicBezTo>
                        <a:cubicBezTo>
                          <a:pt x="102" y="40"/>
                          <a:pt x="100" y="40"/>
                          <a:pt x="100" y="40"/>
                        </a:cubicBezTo>
                        <a:cubicBezTo>
                          <a:pt x="101" y="40"/>
                          <a:pt x="101" y="40"/>
                          <a:pt x="101" y="40"/>
                        </a:cubicBezTo>
                        <a:close/>
                        <a:moveTo>
                          <a:pt x="105" y="39"/>
                        </a:moveTo>
                        <a:cubicBezTo>
                          <a:pt x="105" y="39"/>
                          <a:pt x="105" y="39"/>
                          <a:pt x="105" y="39"/>
                        </a:cubicBezTo>
                        <a:cubicBezTo>
                          <a:pt x="105" y="39"/>
                          <a:pt x="105" y="39"/>
                          <a:pt x="105" y="39"/>
                        </a:cubicBezTo>
                        <a:close/>
                        <a:moveTo>
                          <a:pt x="107" y="39"/>
                        </a:moveTo>
                        <a:cubicBezTo>
                          <a:pt x="106" y="39"/>
                          <a:pt x="107" y="39"/>
                          <a:pt x="106" y="39"/>
                        </a:cubicBezTo>
                        <a:cubicBezTo>
                          <a:pt x="106" y="39"/>
                          <a:pt x="106" y="39"/>
                          <a:pt x="106" y="39"/>
                        </a:cubicBezTo>
                        <a:cubicBezTo>
                          <a:pt x="106" y="39"/>
                          <a:pt x="106" y="39"/>
                          <a:pt x="106" y="39"/>
                        </a:cubicBezTo>
                        <a:cubicBezTo>
                          <a:pt x="106" y="39"/>
                          <a:pt x="106" y="39"/>
                          <a:pt x="107" y="39"/>
                        </a:cubicBezTo>
                        <a:cubicBezTo>
                          <a:pt x="106" y="38"/>
                          <a:pt x="106" y="39"/>
                          <a:pt x="106" y="39"/>
                        </a:cubicBezTo>
                        <a:cubicBezTo>
                          <a:pt x="106" y="39"/>
                          <a:pt x="106" y="39"/>
                          <a:pt x="106" y="39"/>
                        </a:cubicBezTo>
                        <a:cubicBezTo>
                          <a:pt x="106" y="39"/>
                          <a:pt x="106" y="39"/>
                          <a:pt x="105" y="39"/>
                        </a:cubicBezTo>
                        <a:cubicBezTo>
                          <a:pt x="105" y="39"/>
                          <a:pt x="106" y="39"/>
                          <a:pt x="106" y="39"/>
                        </a:cubicBezTo>
                        <a:cubicBezTo>
                          <a:pt x="106" y="39"/>
                          <a:pt x="106" y="39"/>
                          <a:pt x="106" y="39"/>
                        </a:cubicBezTo>
                        <a:cubicBezTo>
                          <a:pt x="106" y="39"/>
                          <a:pt x="106" y="39"/>
                          <a:pt x="107" y="39"/>
                        </a:cubicBezTo>
                        <a:close/>
                        <a:moveTo>
                          <a:pt x="109" y="38"/>
                        </a:moveTo>
                        <a:cubicBezTo>
                          <a:pt x="109" y="38"/>
                          <a:pt x="108" y="38"/>
                          <a:pt x="108" y="38"/>
                        </a:cubicBezTo>
                        <a:cubicBezTo>
                          <a:pt x="108" y="38"/>
                          <a:pt x="107" y="38"/>
                          <a:pt x="107" y="39"/>
                        </a:cubicBezTo>
                        <a:cubicBezTo>
                          <a:pt x="108" y="39"/>
                          <a:pt x="108" y="38"/>
                          <a:pt x="108" y="38"/>
                        </a:cubicBezTo>
                        <a:cubicBezTo>
                          <a:pt x="108" y="39"/>
                          <a:pt x="108" y="39"/>
                          <a:pt x="108" y="39"/>
                        </a:cubicBezTo>
                        <a:cubicBezTo>
                          <a:pt x="108" y="38"/>
                          <a:pt x="109" y="39"/>
                          <a:pt x="109" y="38"/>
                        </a:cubicBezTo>
                        <a:close/>
                        <a:moveTo>
                          <a:pt x="113" y="38"/>
                        </a:moveTo>
                        <a:cubicBezTo>
                          <a:pt x="114" y="38"/>
                          <a:pt x="114" y="37"/>
                          <a:pt x="114" y="37"/>
                        </a:cubicBezTo>
                        <a:cubicBezTo>
                          <a:pt x="114" y="38"/>
                          <a:pt x="114" y="37"/>
                          <a:pt x="114" y="37"/>
                        </a:cubicBezTo>
                        <a:cubicBezTo>
                          <a:pt x="114" y="38"/>
                          <a:pt x="114" y="38"/>
                          <a:pt x="114" y="38"/>
                        </a:cubicBezTo>
                        <a:cubicBezTo>
                          <a:pt x="114" y="38"/>
                          <a:pt x="114" y="37"/>
                          <a:pt x="114" y="38"/>
                        </a:cubicBezTo>
                        <a:cubicBezTo>
                          <a:pt x="114" y="38"/>
                          <a:pt x="113" y="38"/>
                          <a:pt x="114" y="38"/>
                        </a:cubicBezTo>
                        <a:cubicBezTo>
                          <a:pt x="114" y="38"/>
                          <a:pt x="114" y="38"/>
                          <a:pt x="115" y="38"/>
                        </a:cubicBezTo>
                        <a:cubicBezTo>
                          <a:pt x="114" y="38"/>
                          <a:pt x="114" y="37"/>
                          <a:pt x="115" y="37"/>
                        </a:cubicBezTo>
                        <a:cubicBezTo>
                          <a:pt x="115" y="37"/>
                          <a:pt x="115" y="38"/>
                          <a:pt x="115" y="38"/>
                        </a:cubicBezTo>
                        <a:cubicBezTo>
                          <a:pt x="115" y="37"/>
                          <a:pt x="115" y="37"/>
                          <a:pt x="114" y="37"/>
                        </a:cubicBezTo>
                        <a:cubicBezTo>
                          <a:pt x="114" y="37"/>
                          <a:pt x="113" y="37"/>
                          <a:pt x="113" y="38"/>
                        </a:cubicBezTo>
                        <a:close/>
                        <a:moveTo>
                          <a:pt x="112" y="38"/>
                        </a:moveTo>
                        <a:cubicBezTo>
                          <a:pt x="112" y="38"/>
                          <a:pt x="113" y="38"/>
                          <a:pt x="113" y="38"/>
                        </a:cubicBezTo>
                        <a:cubicBezTo>
                          <a:pt x="112" y="38"/>
                          <a:pt x="112" y="38"/>
                          <a:pt x="112" y="38"/>
                        </a:cubicBezTo>
                        <a:close/>
                        <a:moveTo>
                          <a:pt x="111" y="38"/>
                        </a:moveTo>
                        <a:cubicBezTo>
                          <a:pt x="111" y="38"/>
                          <a:pt x="111" y="38"/>
                          <a:pt x="111" y="38"/>
                        </a:cubicBezTo>
                        <a:cubicBezTo>
                          <a:pt x="111" y="38"/>
                          <a:pt x="111" y="38"/>
                          <a:pt x="111" y="38"/>
                        </a:cubicBezTo>
                        <a:cubicBezTo>
                          <a:pt x="111" y="38"/>
                          <a:pt x="111" y="38"/>
                          <a:pt x="111" y="38"/>
                        </a:cubicBezTo>
                        <a:close/>
                        <a:moveTo>
                          <a:pt x="107" y="40"/>
                        </a:moveTo>
                        <a:cubicBezTo>
                          <a:pt x="107" y="40"/>
                          <a:pt x="107" y="39"/>
                          <a:pt x="107" y="39"/>
                        </a:cubicBezTo>
                        <a:cubicBezTo>
                          <a:pt x="107" y="39"/>
                          <a:pt x="107" y="39"/>
                          <a:pt x="107" y="39"/>
                        </a:cubicBezTo>
                        <a:cubicBezTo>
                          <a:pt x="107" y="39"/>
                          <a:pt x="108" y="40"/>
                          <a:pt x="108" y="39"/>
                        </a:cubicBezTo>
                        <a:cubicBezTo>
                          <a:pt x="108" y="39"/>
                          <a:pt x="108" y="39"/>
                          <a:pt x="108" y="39"/>
                        </a:cubicBezTo>
                        <a:cubicBezTo>
                          <a:pt x="108" y="39"/>
                          <a:pt x="108" y="39"/>
                          <a:pt x="108" y="39"/>
                        </a:cubicBezTo>
                        <a:cubicBezTo>
                          <a:pt x="108" y="39"/>
                          <a:pt x="108" y="39"/>
                          <a:pt x="108" y="39"/>
                        </a:cubicBezTo>
                        <a:cubicBezTo>
                          <a:pt x="108" y="39"/>
                          <a:pt x="108" y="39"/>
                          <a:pt x="108" y="39"/>
                        </a:cubicBezTo>
                        <a:cubicBezTo>
                          <a:pt x="108" y="39"/>
                          <a:pt x="107" y="39"/>
                          <a:pt x="107" y="39"/>
                        </a:cubicBezTo>
                        <a:cubicBezTo>
                          <a:pt x="107" y="39"/>
                          <a:pt x="107" y="39"/>
                          <a:pt x="107" y="40"/>
                        </a:cubicBezTo>
                        <a:close/>
                        <a:moveTo>
                          <a:pt x="110" y="39"/>
                        </a:moveTo>
                        <a:cubicBezTo>
                          <a:pt x="110" y="39"/>
                          <a:pt x="109" y="39"/>
                          <a:pt x="109" y="39"/>
                        </a:cubicBezTo>
                        <a:cubicBezTo>
                          <a:pt x="109" y="39"/>
                          <a:pt x="109" y="39"/>
                          <a:pt x="109" y="39"/>
                        </a:cubicBezTo>
                        <a:cubicBezTo>
                          <a:pt x="109" y="39"/>
                          <a:pt x="109" y="39"/>
                          <a:pt x="110" y="39"/>
                        </a:cubicBezTo>
                        <a:close/>
                        <a:moveTo>
                          <a:pt x="108" y="39"/>
                        </a:moveTo>
                        <a:cubicBezTo>
                          <a:pt x="108" y="39"/>
                          <a:pt x="108" y="39"/>
                          <a:pt x="108" y="39"/>
                        </a:cubicBezTo>
                        <a:cubicBezTo>
                          <a:pt x="108" y="39"/>
                          <a:pt x="109" y="39"/>
                          <a:pt x="108" y="39"/>
                        </a:cubicBezTo>
                        <a:close/>
                        <a:moveTo>
                          <a:pt x="111" y="39"/>
                        </a:moveTo>
                        <a:cubicBezTo>
                          <a:pt x="111" y="39"/>
                          <a:pt x="111" y="39"/>
                          <a:pt x="111" y="39"/>
                        </a:cubicBezTo>
                        <a:cubicBezTo>
                          <a:pt x="111" y="39"/>
                          <a:pt x="111" y="39"/>
                          <a:pt x="112" y="39"/>
                        </a:cubicBezTo>
                        <a:cubicBezTo>
                          <a:pt x="112" y="39"/>
                          <a:pt x="111" y="39"/>
                          <a:pt x="111" y="39"/>
                        </a:cubicBezTo>
                        <a:cubicBezTo>
                          <a:pt x="112" y="39"/>
                          <a:pt x="113" y="39"/>
                          <a:pt x="113" y="38"/>
                        </a:cubicBezTo>
                        <a:cubicBezTo>
                          <a:pt x="112" y="38"/>
                          <a:pt x="111" y="39"/>
                          <a:pt x="111" y="39"/>
                        </a:cubicBezTo>
                        <a:cubicBezTo>
                          <a:pt x="111" y="39"/>
                          <a:pt x="110" y="39"/>
                          <a:pt x="110" y="39"/>
                        </a:cubicBezTo>
                        <a:cubicBezTo>
                          <a:pt x="110" y="39"/>
                          <a:pt x="110" y="39"/>
                          <a:pt x="110" y="39"/>
                        </a:cubicBezTo>
                        <a:cubicBezTo>
                          <a:pt x="110" y="38"/>
                          <a:pt x="110" y="39"/>
                          <a:pt x="111" y="38"/>
                        </a:cubicBezTo>
                        <a:cubicBezTo>
                          <a:pt x="110" y="38"/>
                          <a:pt x="110" y="38"/>
                          <a:pt x="110" y="38"/>
                        </a:cubicBezTo>
                        <a:cubicBezTo>
                          <a:pt x="110" y="38"/>
                          <a:pt x="110" y="38"/>
                          <a:pt x="110" y="38"/>
                        </a:cubicBezTo>
                        <a:cubicBezTo>
                          <a:pt x="110" y="39"/>
                          <a:pt x="110" y="39"/>
                          <a:pt x="110" y="39"/>
                        </a:cubicBezTo>
                        <a:cubicBezTo>
                          <a:pt x="110" y="39"/>
                          <a:pt x="109" y="39"/>
                          <a:pt x="110" y="39"/>
                        </a:cubicBezTo>
                        <a:cubicBezTo>
                          <a:pt x="110" y="39"/>
                          <a:pt x="111" y="39"/>
                          <a:pt x="111" y="39"/>
                        </a:cubicBezTo>
                        <a:cubicBezTo>
                          <a:pt x="111" y="39"/>
                          <a:pt x="111" y="39"/>
                          <a:pt x="111" y="39"/>
                        </a:cubicBezTo>
                        <a:close/>
                        <a:moveTo>
                          <a:pt x="113" y="38"/>
                        </a:moveTo>
                        <a:cubicBezTo>
                          <a:pt x="113" y="38"/>
                          <a:pt x="113" y="38"/>
                          <a:pt x="113" y="38"/>
                        </a:cubicBezTo>
                        <a:cubicBezTo>
                          <a:pt x="113" y="38"/>
                          <a:pt x="113" y="38"/>
                          <a:pt x="113" y="38"/>
                        </a:cubicBezTo>
                        <a:cubicBezTo>
                          <a:pt x="113" y="38"/>
                          <a:pt x="114" y="39"/>
                          <a:pt x="114" y="38"/>
                        </a:cubicBezTo>
                        <a:cubicBezTo>
                          <a:pt x="114" y="38"/>
                          <a:pt x="115" y="38"/>
                          <a:pt x="115" y="38"/>
                        </a:cubicBezTo>
                        <a:cubicBezTo>
                          <a:pt x="115" y="38"/>
                          <a:pt x="114" y="38"/>
                          <a:pt x="114" y="38"/>
                        </a:cubicBezTo>
                        <a:cubicBezTo>
                          <a:pt x="114" y="38"/>
                          <a:pt x="114" y="38"/>
                          <a:pt x="114" y="38"/>
                        </a:cubicBezTo>
                        <a:cubicBezTo>
                          <a:pt x="114" y="38"/>
                          <a:pt x="113" y="38"/>
                          <a:pt x="113" y="38"/>
                        </a:cubicBezTo>
                        <a:close/>
                        <a:moveTo>
                          <a:pt x="117" y="37"/>
                        </a:moveTo>
                        <a:cubicBezTo>
                          <a:pt x="116" y="38"/>
                          <a:pt x="116" y="38"/>
                          <a:pt x="116" y="38"/>
                        </a:cubicBezTo>
                        <a:cubicBezTo>
                          <a:pt x="116" y="38"/>
                          <a:pt x="117" y="38"/>
                          <a:pt x="117" y="37"/>
                        </a:cubicBezTo>
                        <a:close/>
                        <a:moveTo>
                          <a:pt x="118" y="37"/>
                        </a:moveTo>
                        <a:cubicBezTo>
                          <a:pt x="118" y="37"/>
                          <a:pt x="118" y="37"/>
                          <a:pt x="118" y="37"/>
                        </a:cubicBezTo>
                        <a:cubicBezTo>
                          <a:pt x="118" y="37"/>
                          <a:pt x="119" y="37"/>
                          <a:pt x="119" y="37"/>
                        </a:cubicBezTo>
                        <a:cubicBezTo>
                          <a:pt x="119" y="37"/>
                          <a:pt x="119" y="37"/>
                          <a:pt x="118" y="37"/>
                        </a:cubicBezTo>
                        <a:close/>
                        <a:moveTo>
                          <a:pt x="120" y="37"/>
                        </a:moveTo>
                        <a:cubicBezTo>
                          <a:pt x="120" y="37"/>
                          <a:pt x="120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7"/>
                        </a:cubicBezTo>
                        <a:close/>
                        <a:moveTo>
                          <a:pt x="110" y="39"/>
                        </a:moveTo>
                        <a:cubicBezTo>
                          <a:pt x="110" y="40"/>
                          <a:pt x="110" y="40"/>
                          <a:pt x="111" y="39"/>
                        </a:cubicBezTo>
                        <a:cubicBezTo>
                          <a:pt x="110" y="39"/>
                          <a:pt x="110" y="39"/>
                          <a:pt x="110" y="39"/>
                        </a:cubicBezTo>
                        <a:cubicBezTo>
                          <a:pt x="109" y="39"/>
                          <a:pt x="109" y="39"/>
                          <a:pt x="108" y="39"/>
                        </a:cubicBezTo>
                        <a:cubicBezTo>
                          <a:pt x="109" y="39"/>
                          <a:pt x="110" y="39"/>
                          <a:pt x="110" y="39"/>
                        </a:cubicBezTo>
                        <a:close/>
                        <a:moveTo>
                          <a:pt x="113" y="39"/>
                        </a:move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1" y="39"/>
                        </a:cubicBezTo>
                        <a:cubicBezTo>
                          <a:pt x="111" y="39"/>
                          <a:pt x="111" y="39"/>
                          <a:pt x="111" y="39"/>
                        </a:cubicBezTo>
                        <a:cubicBezTo>
                          <a:pt x="111" y="40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3" y="39"/>
                          <a:pt x="113" y="39"/>
                          <a:pt x="113" y="39"/>
                        </a:cubicBezTo>
                        <a:cubicBezTo>
                          <a:pt x="113" y="39"/>
                          <a:pt x="113" y="39"/>
                          <a:pt x="113" y="39"/>
                        </a:cubicBezTo>
                        <a:cubicBezTo>
                          <a:pt x="113" y="39"/>
                          <a:pt x="113" y="39"/>
                          <a:pt x="113" y="39"/>
                        </a:cubicBezTo>
                        <a:cubicBezTo>
                          <a:pt x="113" y="39"/>
                          <a:pt x="113" y="39"/>
                          <a:pt x="113" y="39"/>
                        </a:cubicBezTo>
                        <a:cubicBezTo>
                          <a:pt x="113" y="39"/>
                          <a:pt x="113" y="39"/>
                          <a:pt x="113" y="39"/>
                        </a:cubicBezTo>
                        <a:close/>
                        <a:moveTo>
                          <a:pt x="105" y="41"/>
                        </a:moveTo>
                        <a:cubicBezTo>
                          <a:pt x="105" y="41"/>
                          <a:pt x="105" y="41"/>
                          <a:pt x="104" y="41"/>
                        </a:cubicBezTo>
                        <a:cubicBezTo>
                          <a:pt x="104" y="41"/>
                          <a:pt x="105" y="41"/>
                          <a:pt x="105" y="41"/>
                        </a:cubicBezTo>
                        <a:cubicBezTo>
                          <a:pt x="105" y="41"/>
                          <a:pt x="105" y="41"/>
                          <a:pt x="105" y="41"/>
                        </a:cubicBezTo>
                        <a:close/>
                        <a:moveTo>
                          <a:pt x="106" y="41"/>
                        </a:moveTo>
                        <a:cubicBezTo>
                          <a:pt x="106" y="41"/>
                          <a:pt x="105" y="41"/>
                          <a:pt x="106" y="41"/>
                        </a:cubicBezTo>
                        <a:cubicBezTo>
                          <a:pt x="105" y="41"/>
                          <a:pt x="105" y="41"/>
                          <a:pt x="105" y="41"/>
                        </a:cubicBezTo>
                        <a:cubicBezTo>
                          <a:pt x="105" y="41"/>
                          <a:pt x="105" y="41"/>
                          <a:pt x="106" y="41"/>
                        </a:cubicBezTo>
                        <a:close/>
                        <a:moveTo>
                          <a:pt x="108" y="40"/>
                        </a:moveTo>
                        <a:cubicBezTo>
                          <a:pt x="107" y="40"/>
                          <a:pt x="107" y="40"/>
                          <a:pt x="107" y="40"/>
                        </a:cubicBezTo>
                        <a:cubicBezTo>
                          <a:pt x="107" y="40"/>
                          <a:pt x="107" y="40"/>
                          <a:pt x="107" y="40"/>
                        </a:cubicBezTo>
                        <a:cubicBezTo>
                          <a:pt x="107" y="40"/>
                          <a:pt x="108" y="40"/>
                          <a:pt x="108" y="40"/>
                        </a:cubicBezTo>
                        <a:close/>
                        <a:moveTo>
                          <a:pt x="107" y="40"/>
                        </a:moveTo>
                        <a:cubicBezTo>
                          <a:pt x="107" y="40"/>
                          <a:pt x="106" y="40"/>
                          <a:pt x="106" y="40"/>
                        </a:cubicBezTo>
                        <a:cubicBezTo>
                          <a:pt x="107" y="40"/>
                          <a:pt x="107" y="40"/>
                          <a:pt x="107" y="40"/>
                        </a:cubicBezTo>
                        <a:close/>
                        <a:moveTo>
                          <a:pt x="102" y="41"/>
                        </a:moveTo>
                        <a:cubicBezTo>
                          <a:pt x="102" y="41"/>
                          <a:pt x="102" y="41"/>
                          <a:pt x="102" y="41"/>
                        </a:cubicBezTo>
                        <a:cubicBezTo>
                          <a:pt x="103" y="41"/>
                          <a:pt x="103" y="41"/>
                          <a:pt x="103" y="41"/>
                        </a:cubicBezTo>
                        <a:cubicBezTo>
                          <a:pt x="103" y="41"/>
                          <a:pt x="102" y="41"/>
                          <a:pt x="102" y="41"/>
                        </a:cubicBezTo>
                        <a:close/>
                        <a:moveTo>
                          <a:pt x="104" y="40"/>
                        </a:moveTo>
                        <a:cubicBezTo>
                          <a:pt x="104" y="41"/>
                          <a:pt x="105" y="40"/>
                          <a:pt x="105" y="40"/>
                        </a:cubicBezTo>
                        <a:cubicBezTo>
                          <a:pt x="105" y="40"/>
                          <a:pt x="105" y="40"/>
                          <a:pt x="104" y="40"/>
                        </a:cubicBezTo>
                        <a:close/>
                        <a:moveTo>
                          <a:pt x="103" y="41"/>
                        </a:moveTo>
                        <a:cubicBezTo>
                          <a:pt x="104" y="41"/>
                          <a:pt x="104" y="41"/>
                          <a:pt x="104" y="41"/>
                        </a:cubicBezTo>
                        <a:cubicBezTo>
                          <a:pt x="104" y="41"/>
                          <a:pt x="103" y="41"/>
                          <a:pt x="103" y="41"/>
                        </a:cubicBezTo>
                        <a:close/>
                        <a:moveTo>
                          <a:pt x="107" y="40"/>
                        </a:moveTo>
                        <a:cubicBezTo>
                          <a:pt x="106" y="40"/>
                          <a:pt x="106" y="40"/>
                          <a:pt x="106" y="40"/>
                        </a:cubicBezTo>
                        <a:cubicBezTo>
                          <a:pt x="107" y="40"/>
                          <a:pt x="107" y="40"/>
                          <a:pt x="107" y="40"/>
                        </a:cubicBezTo>
                        <a:cubicBezTo>
                          <a:pt x="107" y="40"/>
                          <a:pt x="107" y="40"/>
                          <a:pt x="107" y="40"/>
                        </a:cubicBezTo>
                        <a:cubicBezTo>
                          <a:pt x="107" y="40"/>
                          <a:pt x="107" y="40"/>
                          <a:pt x="107" y="40"/>
                        </a:cubicBezTo>
                        <a:close/>
                        <a:moveTo>
                          <a:pt x="102" y="41"/>
                        </a:moveTo>
                        <a:cubicBezTo>
                          <a:pt x="102" y="41"/>
                          <a:pt x="102" y="41"/>
                          <a:pt x="102" y="41"/>
                        </a:cubicBezTo>
                        <a:cubicBezTo>
                          <a:pt x="101" y="41"/>
                          <a:pt x="102" y="41"/>
                          <a:pt x="101" y="41"/>
                        </a:cubicBezTo>
                        <a:cubicBezTo>
                          <a:pt x="101" y="41"/>
                          <a:pt x="102" y="41"/>
                          <a:pt x="102" y="41"/>
                        </a:cubicBezTo>
                        <a:close/>
                        <a:moveTo>
                          <a:pt x="99" y="42"/>
                        </a:moveTo>
                        <a:cubicBezTo>
                          <a:pt x="100" y="42"/>
                          <a:pt x="101" y="42"/>
                          <a:pt x="101" y="41"/>
                        </a:cubicBezTo>
                        <a:cubicBezTo>
                          <a:pt x="101" y="41"/>
                          <a:pt x="101" y="41"/>
                          <a:pt x="101" y="41"/>
                        </a:cubicBezTo>
                        <a:cubicBezTo>
                          <a:pt x="101" y="42"/>
                          <a:pt x="101" y="41"/>
                          <a:pt x="101" y="41"/>
                        </a:cubicBezTo>
                        <a:cubicBezTo>
                          <a:pt x="100" y="41"/>
                          <a:pt x="101" y="42"/>
                          <a:pt x="100" y="42"/>
                        </a:cubicBezTo>
                        <a:cubicBezTo>
                          <a:pt x="100" y="42"/>
                          <a:pt x="99" y="42"/>
                          <a:pt x="99" y="42"/>
                        </a:cubicBezTo>
                        <a:close/>
                        <a:moveTo>
                          <a:pt x="99" y="42"/>
                        </a:moveTo>
                        <a:cubicBezTo>
                          <a:pt x="98" y="42"/>
                          <a:pt x="98" y="42"/>
                          <a:pt x="98" y="43"/>
                        </a:cubicBezTo>
                        <a:cubicBezTo>
                          <a:pt x="98" y="42"/>
                          <a:pt x="98" y="43"/>
                          <a:pt x="99" y="42"/>
                        </a:cubicBezTo>
                        <a:close/>
                        <a:moveTo>
                          <a:pt x="104" y="41"/>
                        </a:moveTo>
                        <a:cubicBezTo>
                          <a:pt x="104" y="41"/>
                          <a:pt x="104" y="41"/>
                          <a:pt x="104" y="41"/>
                        </a:cubicBezTo>
                        <a:cubicBezTo>
                          <a:pt x="104" y="41"/>
                          <a:pt x="104" y="41"/>
                          <a:pt x="104" y="41"/>
                        </a:cubicBezTo>
                        <a:cubicBezTo>
                          <a:pt x="103" y="41"/>
                          <a:pt x="103" y="41"/>
                          <a:pt x="103" y="41"/>
                        </a:cubicBezTo>
                        <a:cubicBezTo>
                          <a:pt x="102" y="41"/>
                          <a:pt x="102" y="41"/>
                          <a:pt x="102" y="41"/>
                        </a:cubicBezTo>
                        <a:cubicBezTo>
                          <a:pt x="103" y="41"/>
                          <a:pt x="103" y="41"/>
                          <a:pt x="104" y="41"/>
                        </a:cubicBezTo>
                        <a:close/>
                        <a:moveTo>
                          <a:pt x="102" y="42"/>
                        </a:moveTo>
                        <a:cubicBezTo>
                          <a:pt x="102" y="42"/>
                          <a:pt x="102" y="42"/>
                          <a:pt x="102" y="42"/>
                        </a:cubicBezTo>
                        <a:cubicBezTo>
                          <a:pt x="102" y="42"/>
                          <a:pt x="102" y="42"/>
                          <a:pt x="102" y="42"/>
                        </a:cubicBezTo>
                        <a:cubicBezTo>
                          <a:pt x="102" y="42"/>
                          <a:pt x="102" y="42"/>
                          <a:pt x="102" y="42"/>
                        </a:cubicBezTo>
                        <a:close/>
                        <a:moveTo>
                          <a:pt x="102" y="42"/>
                        </a:moveTo>
                        <a:cubicBezTo>
                          <a:pt x="102" y="42"/>
                          <a:pt x="101" y="42"/>
                          <a:pt x="101" y="43"/>
                        </a:cubicBezTo>
                        <a:cubicBezTo>
                          <a:pt x="102" y="42"/>
                          <a:pt x="102" y="43"/>
                          <a:pt x="102" y="42"/>
                        </a:cubicBezTo>
                        <a:close/>
                        <a:moveTo>
                          <a:pt x="101" y="43"/>
                        </a:moveTo>
                        <a:cubicBezTo>
                          <a:pt x="101" y="43"/>
                          <a:pt x="100" y="43"/>
                          <a:pt x="101" y="43"/>
                        </a:cubicBezTo>
                        <a:cubicBezTo>
                          <a:pt x="101" y="43"/>
                          <a:pt x="101" y="43"/>
                          <a:pt x="101" y="43"/>
                        </a:cubicBezTo>
                        <a:close/>
                        <a:moveTo>
                          <a:pt x="98" y="44"/>
                        </a:moveTo>
                        <a:cubicBezTo>
                          <a:pt x="98" y="44"/>
                          <a:pt x="98" y="44"/>
                          <a:pt x="98" y="44"/>
                        </a:cubicBezTo>
                        <a:cubicBezTo>
                          <a:pt x="98" y="44"/>
                          <a:pt x="97" y="44"/>
                          <a:pt x="97" y="44"/>
                        </a:cubicBezTo>
                        <a:cubicBezTo>
                          <a:pt x="98" y="44"/>
                          <a:pt x="98" y="44"/>
                          <a:pt x="98" y="44"/>
                        </a:cubicBezTo>
                        <a:close/>
                        <a:moveTo>
                          <a:pt x="98" y="44"/>
                        </a:moveTo>
                        <a:cubicBezTo>
                          <a:pt x="98" y="44"/>
                          <a:pt x="99" y="43"/>
                          <a:pt x="99" y="43"/>
                        </a:cubicBezTo>
                        <a:cubicBezTo>
                          <a:pt x="99" y="43"/>
                          <a:pt x="98" y="43"/>
                          <a:pt x="98" y="44"/>
                        </a:cubicBezTo>
                        <a:close/>
                        <a:moveTo>
                          <a:pt x="100" y="43"/>
                        </a:moveTo>
                        <a:cubicBezTo>
                          <a:pt x="100" y="43"/>
                          <a:pt x="100" y="43"/>
                          <a:pt x="99" y="43"/>
                        </a:cubicBezTo>
                        <a:cubicBezTo>
                          <a:pt x="99" y="43"/>
                          <a:pt x="99" y="43"/>
                          <a:pt x="99" y="44"/>
                        </a:cubicBezTo>
                        <a:cubicBezTo>
                          <a:pt x="99" y="44"/>
                          <a:pt x="98" y="44"/>
                          <a:pt x="98" y="44"/>
                        </a:cubicBezTo>
                        <a:cubicBezTo>
                          <a:pt x="98" y="44"/>
                          <a:pt x="99" y="44"/>
                          <a:pt x="100" y="43"/>
                        </a:cubicBezTo>
                        <a:cubicBezTo>
                          <a:pt x="99" y="44"/>
                          <a:pt x="99" y="44"/>
                          <a:pt x="99" y="43"/>
                        </a:cubicBezTo>
                        <a:cubicBezTo>
                          <a:pt x="100" y="43"/>
                          <a:pt x="100" y="43"/>
                          <a:pt x="100" y="43"/>
                        </a:cubicBezTo>
                        <a:close/>
                        <a:moveTo>
                          <a:pt x="104" y="42"/>
                        </a:moveTo>
                        <a:cubicBezTo>
                          <a:pt x="103" y="42"/>
                          <a:pt x="103" y="42"/>
                          <a:pt x="103" y="42"/>
                        </a:cubicBezTo>
                        <a:cubicBezTo>
                          <a:pt x="102" y="43"/>
                          <a:pt x="103" y="42"/>
                          <a:pt x="103" y="43"/>
                        </a:cubicBezTo>
                        <a:cubicBezTo>
                          <a:pt x="103" y="42"/>
                          <a:pt x="103" y="42"/>
                          <a:pt x="104" y="42"/>
                        </a:cubicBezTo>
                        <a:close/>
                        <a:moveTo>
                          <a:pt x="105" y="42"/>
                        </a:moveTo>
                        <a:cubicBezTo>
                          <a:pt x="105" y="41"/>
                          <a:pt x="105" y="41"/>
                          <a:pt x="105" y="41"/>
                        </a:cubicBezTo>
                        <a:cubicBezTo>
                          <a:pt x="105" y="41"/>
                          <a:pt x="105" y="41"/>
                          <a:pt x="105" y="41"/>
                        </a:cubicBezTo>
                        <a:cubicBezTo>
                          <a:pt x="105" y="41"/>
                          <a:pt x="105" y="41"/>
                          <a:pt x="104" y="41"/>
                        </a:cubicBezTo>
                        <a:cubicBezTo>
                          <a:pt x="104" y="41"/>
                          <a:pt x="105" y="41"/>
                          <a:pt x="104" y="41"/>
                        </a:cubicBezTo>
                        <a:cubicBezTo>
                          <a:pt x="104" y="41"/>
                          <a:pt x="103" y="41"/>
                          <a:pt x="103" y="42"/>
                        </a:cubicBezTo>
                        <a:cubicBezTo>
                          <a:pt x="103" y="42"/>
                          <a:pt x="103" y="42"/>
                          <a:pt x="103" y="42"/>
                        </a:cubicBezTo>
                        <a:cubicBezTo>
                          <a:pt x="103" y="42"/>
                          <a:pt x="103" y="42"/>
                          <a:pt x="103" y="41"/>
                        </a:cubicBezTo>
                        <a:cubicBezTo>
                          <a:pt x="103" y="42"/>
                          <a:pt x="103" y="42"/>
                          <a:pt x="102" y="42"/>
                        </a:cubicBezTo>
                        <a:cubicBezTo>
                          <a:pt x="102" y="42"/>
                          <a:pt x="102" y="42"/>
                          <a:pt x="102" y="42"/>
                        </a:cubicBezTo>
                        <a:cubicBezTo>
                          <a:pt x="103" y="42"/>
                          <a:pt x="103" y="42"/>
                          <a:pt x="104" y="42"/>
                        </a:cubicBezTo>
                        <a:cubicBezTo>
                          <a:pt x="104" y="42"/>
                          <a:pt x="104" y="42"/>
                          <a:pt x="104" y="42"/>
                        </a:cubicBezTo>
                        <a:cubicBezTo>
                          <a:pt x="105" y="42"/>
                          <a:pt x="105" y="42"/>
                          <a:pt x="106" y="42"/>
                        </a:cubicBezTo>
                        <a:cubicBezTo>
                          <a:pt x="106" y="42"/>
                          <a:pt x="106" y="41"/>
                          <a:pt x="106" y="41"/>
                        </a:cubicBezTo>
                        <a:cubicBezTo>
                          <a:pt x="106" y="42"/>
                          <a:pt x="106" y="41"/>
                          <a:pt x="106" y="41"/>
                        </a:cubicBezTo>
                        <a:cubicBezTo>
                          <a:pt x="106" y="41"/>
                          <a:pt x="106" y="41"/>
                          <a:pt x="105" y="42"/>
                        </a:cubicBezTo>
                        <a:close/>
                        <a:moveTo>
                          <a:pt x="107" y="41"/>
                        </a:moveTo>
                        <a:cubicBezTo>
                          <a:pt x="107" y="41"/>
                          <a:pt x="106" y="41"/>
                          <a:pt x="107" y="41"/>
                        </a:cubicBezTo>
                        <a:cubicBezTo>
                          <a:pt x="107" y="41"/>
                          <a:pt x="106" y="41"/>
                          <a:pt x="107" y="41"/>
                        </a:cubicBezTo>
                        <a:cubicBezTo>
                          <a:pt x="106" y="41"/>
                          <a:pt x="106" y="41"/>
                          <a:pt x="105" y="41"/>
                        </a:cubicBezTo>
                        <a:cubicBezTo>
                          <a:pt x="106" y="41"/>
                          <a:pt x="106" y="41"/>
                          <a:pt x="106" y="41"/>
                        </a:cubicBezTo>
                        <a:cubicBezTo>
                          <a:pt x="106" y="41"/>
                          <a:pt x="106" y="41"/>
                          <a:pt x="106" y="41"/>
                        </a:cubicBezTo>
                        <a:cubicBezTo>
                          <a:pt x="106" y="41"/>
                          <a:pt x="106" y="41"/>
                          <a:pt x="106" y="41"/>
                        </a:cubicBezTo>
                        <a:cubicBezTo>
                          <a:pt x="106" y="41"/>
                          <a:pt x="107" y="41"/>
                          <a:pt x="107" y="41"/>
                        </a:cubicBezTo>
                        <a:close/>
                        <a:moveTo>
                          <a:pt x="107" y="41"/>
                        </a:moveTo>
                        <a:cubicBezTo>
                          <a:pt x="108" y="40"/>
                          <a:pt x="108" y="40"/>
                          <a:pt x="108" y="40"/>
                        </a:cubicBezTo>
                        <a:cubicBezTo>
                          <a:pt x="108" y="40"/>
                          <a:pt x="108" y="40"/>
                          <a:pt x="107" y="41"/>
                        </a:cubicBezTo>
                        <a:close/>
                        <a:moveTo>
                          <a:pt x="108" y="41"/>
                        </a:moveTo>
                        <a:cubicBezTo>
                          <a:pt x="108" y="41"/>
                          <a:pt x="108" y="41"/>
                          <a:pt x="108" y="41"/>
                        </a:cubicBezTo>
                        <a:cubicBezTo>
                          <a:pt x="108" y="41"/>
                          <a:pt x="107" y="41"/>
                          <a:pt x="107" y="41"/>
                        </a:cubicBezTo>
                        <a:cubicBezTo>
                          <a:pt x="107" y="41"/>
                          <a:pt x="107" y="41"/>
                          <a:pt x="107" y="41"/>
                        </a:cubicBezTo>
                        <a:cubicBezTo>
                          <a:pt x="108" y="41"/>
                          <a:pt x="108" y="41"/>
                          <a:pt x="108" y="41"/>
                        </a:cubicBezTo>
                        <a:close/>
                        <a:moveTo>
                          <a:pt x="113" y="40"/>
                        </a:moveTo>
                        <a:cubicBezTo>
                          <a:pt x="112" y="40"/>
                          <a:pt x="112" y="40"/>
                          <a:pt x="112" y="40"/>
                        </a:cubicBezTo>
                        <a:cubicBezTo>
                          <a:pt x="112" y="40"/>
                          <a:pt x="113" y="40"/>
                          <a:pt x="113" y="40"/>
                        </a:cubicBezTo>
                        <a:close/>
                        <a:moveTo>
                          <a:pt x="113" y="40"/>
                        </a:move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3" y="40"/>
                          <a:pt x="114" y="40"/>
                          <a:pt x="114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lose/>
                        <a:moveTo>
                          <a:pt x="115" y="40"/>
                        </a:moveTo>
                        <a:cubicBezTo>
                          <a:pt x="115" y="40"/>
                          <a:pt x="114" y="40"/>
                          <a:pt x="114" y="40"/>
                        </a:cubicBezTo>
                        <a:cubicBezTo>
                          <a:pt x="114" y="40"/>
                          <a:pt x="113" y="40"/>
                          <a:pt x="113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2" y="40"/>
                          <a:pt x="112" y="40"/>
                          <a:pt x="112" y="40"/>
                        </a:cubicBezTo>
                        <a:cubicBezTo>
                          <a:pt x="112" y="41"/>
                          <a:pt x="113" y="40"/>
                          <a:pt x="113" y="40"/>
                        </a:cubicBezTo>
                        <a:cubicBezTo>
                          <a:pt x="112" y="40"/>
                          <a:pt x="113" y="41"/>
                          <a:pt x="112" y="41"/>
                        </a:cubicBezTo>
                        <a:cubicBezTo>
                          <a:pt x="113" y="41"/>
                          <a:pt x="113" y="41"/>
                          <a:pt x="113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3" y="40"/>
                          <a:pt x="113" y="40"/>
                          <a:pt x="114" y="40"/>
                        </a:cubicBez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4" y="40"/>
                          <a:pt x="114" y="40"/>
                          <a:pt x="115" y="40"/>
                        </a:cubicBez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4" y="40"/>
                          <a:pt x="113" y="40"/>
                          <a:pt x="114" y="41"/>
                        </a:cubicBezTo>
                        <a:cubicBezTo>
                          <a:pt x="114" y="40"/>
                          <a:pt x="115" y="40"/>
                          <a:pt x="115" y="40"/>
                        </a:cubicBezTo>
                        <a:close/>
                        <a:moveTo>
                          <a:pt x="114" y="40"/>
                        </a:move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4" y="40"/>
                          <a:pt x="115" y="40"/>
                          <a:pt x="114" y="40"/>
                        </a:cubicBezTo>
                        <a:close/>
                        <a:moveTo>
                          <a:pt x="114" y="39"/>
                        </a:moveTo>
                        <a:cubicBezTo>
                          <a:pt x="114" y="39"/>
                          <a:pt x="115" y="40"/>
                          <a:pt x="115" y="39"/>
                        </a:cubicBezTo>
                        <a:cubicBezTo>
                          <a:pt x="115" y="39"/>
                          <a:pt x="115" y="39"/>
                          <a:pt x="115" y="39"/>
                        </a:cubicBezTo>
                        <a:cubicBezTo>
                          <a:pt x="115" y="39"/>
                          <a:pt x="115" y="39"/>
                          <a:pt x="115" y="39"/>
                        </a:cubicBezTo>
                        <a:cubicBezTo>
                          <a:pt x="115" y="39"/>
                          <a:pt x="114" y="39"/>
                          <a:pt x="114" y="39"/>
                        </a:cubicBezTo>
                        <a:close/>
                        <a:moveTo>
                          <a:pt x="115" y="39"/>
                        </a:moveTo>
                        <a:cubicBezTo>
                          <a:pt x="115" y="39"/>
                          <a:pt x="115" y="39"/>
                          <a:pt x="115" y="39"/>
                        </a:cubicBezTo>
                        <a:cubicBezTo>
                          <a:pt x="115" y="39"/>
                          <a:pt x="114" y="39"/>
                          <a:pt x="114" y="39"/>
                        </a:cubicBezTo>
                        <a:cubicBezTo>
                          <a:pt x="115" y="39"/>
                          <a:pt x="115" y="39"/>
                          <a:pt x="115" y="39"/>
                        </a:cubicBezTo>
                        <a:cubicBezTo>
                          <a:pt x="115" y="39"/>
                          <a:pt x="117" y="38"/>
                          <a:pt x="116" y="38"/>
                        </a:cubicBezTo>
                        <a:cubicBezTo>
                          <a:pt x="117" y="38"/>
                          <a:pt x="117" y="38"/>
                          <a:pt x="117" y="38"/>
                        </a:cubicBezTo>
                        <a:cubicBezTo>
                          <a:pt x="117" y="38"/>
                          <a:pt x="117" y="38"/>
                          <a:pt x="117" y="38"/>
                        </a:cubicBezTo>
                        <a:cubicBezTo>
                          <a:pt x="116" y="38"/>
                          <a:pt x="116" y="38"/>
                          <a:pt x="116" y="38"/>
                        </a:cubicBezTo>
                        <a:cubicBezTo>
                          <a:pt x="116" y="38"/>
                          <a:pt x="115" y="38"/>
                          <a:pt x="115" y="38"/>
                        </a:cubicBezTo>
                        <a:cubicBezTo>
                          <a:pt x="115" y="38"/>
                          <a:pt x="116" y="38"/>
                          <a:pt x="116" y="38"/>
                        </a:cubicBezTo>
                        <a:cubicBezTo>
                          <a:pt x="116" y="38"/>
                          <a:pt x="115" y="38"/>
                          <a:pt x="115" y="38"/>
                        </a:cubicBezTo>
                        <a:cubicBezTo>
                          <a:pt x="115" y="38"/>
                          <a:pt x="116" y="38"/>
                          <a:pt x="115" y="38"/>
                        </a:cubicBezTo>
                        <a:cubicBezTo>
                          <a:pt x="115" y="38"/>
                          <a:pt x="115" y="38"/>
                          <a:pt x="114" y="38"/>
                        </a:cubicBezTo>
                        <a:cubicBezTo>
                          <a:pt x="115" y="38"/>
                          <a:pt x="115" y="38"/>
                          <a:pt x="115" y="38"/>
                        </a:cubicBezTo>
                        <a:cubicBezTo>
                          <a:pt x="114" y="38"/>
                          <a:pt x="114" y="38"/>
                          <a:pt x="114" y="39"/>
                        </a:cubicBezTo>
                        <a:cubicBezTo>
                          <a:pt x="114" y="39"/>
                          <a:pt x="115" y="38"/>
                          <a:pt x="115" y="39"/>
                        </a:cubicBezTo>
                        <a:cubicBezTo>
                          <a:pt x="114" y="39"/>
                          <a:pt x="113" y="39"/>
                          <a:pt x="114" y="39"/>
                        </a:cubicBezTo>
                        <a:cubicBezTo>
                          <a:pt x="114" y="39"/>
                          <a:pt x="114" y="39"/>
                          <a:pt x="115" y="39"/>
                        </a:cubicBezTo>
                        <a:cubicBezTo>
                          <a:pt x="114" y="39"/>
                          <a:pt x="114" y="39"/>
                          <a:pt x="114" y="39"/>
                        </a:cubicBezTo>
                        <a:cubicBezTo>
                          <a:pt x="114" y="39"/>
                          <a:pt x="114" y="39"/>
                          <a:pt x="114" y="39"/>
                        </a:cubicBezTo>
                        <a:cubicBezTo>
                          <a:pt x="114" y="39"/>
                          <a:pt x="113" y="39"/>
                          <a:pt x="113" y="39"/>
                        </a:cubicBezTo>
                        <a:cubicBezTo>
                          <a:pt x="113" y="39"/>
                          <a:pt x="113" y="39"/>
                          <a:pt x="113" y="39"/>
                        </a:cubicBezTo>
                        <a:cubicBezTo>
                          <a:pt x="113" y="39"/>
                          <a:pt x="113" y="40"/>
                          <a:pt x="113" y="39"/>
                        </a:cubicBezTo>
                        <a:cubicBezTo>
                          <a:pt x="113" y="39"/>
                          <a:pt x="113" y="39"/>
                          <a:pt x="113" y="39"/>
                        </a:cubicBezTo>
                        <a:cubicBezTo>
                          <a:pt x="113" y="39"/>
                          <a:pt x="113" y="40"/>
                          <a:pt x="112" y="40"/>
                        </a:cubicBezTo>
                        <a:cubicBezTo>
                          <a:pt x="112" y="40"/>
                          <a:pt x="112" y="40"/>
                          <a:pt x="112" y="39"/>
                        </a:cubicBezTo>
                        <a:cubicBezTo>
                          <a:pt x="112" y="40"/>
                          <a:pt x="111" y="40"/>
                          <a:pt x="110" y="40"/>
                        </a:cubicBezTo>
                        <a:cubicBezTo>
                          <a:pt x="111" y="40"/>
                          <a:pt x="112" y="40"/>
                          <a:pt x="113" y="40"/>
                        </a:cubicBezTo>
                        <a:cubicBezTo>
                          <a:pt x="114" y="39"/>
                          <a:pt x="114" y="39"/>
                          <a:pt x="115" y="39"/>
                        </a:cubicBezTo>
                        <a:cubicBezTo>
                          <a:pt x="115" y="39"/>
                          <a:pt x="115" y="39"/>
                          <a:pt x="116" y="39"/>
                        </a:cubicBezTo>
                        <a:cubicBezTo>
                          <a:pt x="116" y="39"/>
                          <a:pt x="116" y="39"/>
                          <a:pt x="116" y="39"/>
                        </a:cubicBezTo>
                        <a:cubicBezTo>
                          <a:pt x="116" y="39"/>
                          <a:pt x="116" y="39"/>
                          <a:pt x="116" y="39"/>
                        </a:cubicBezTo>
                        <a:cubicBezTo>
                          <a:pt x="116" y="39"/>
                          <a:pt x="116" y="39"/>
                          <a:pt x="116" y="39"/>
                        </a:cubicBezTo>
                        <a:cubicBezTo>
                          <a:pt x="116" y="39"/>
                          <a:pt x="117" y="39"/>
                          <a:pt x="117" y="39"/>
                        </a:cubicBezTo>
                        <a:cubicBezTo>
                          <a:pt x="117" y="39"/>
                          <a:pt x="118" y="39"/>
                          <a:pt x="117" y="39"/>
                        </a:cubicBezTo>
                        <a:cubicBezTo>
                          <a:pt x="116" y="39"/>
                          <a:pt x="115" y="39"/>
                          <a:pt x="115" y="39"/>
                        </a:cubicBezTo>
                        <a:close/>
                        <a:moveTo>
                          <a:pt x="122" y="37"/>
                        </a:moveTo>
                        <a:cubicBezTo>
                          <a:pt x="122" y="37"/>
                          <a:pt x="122" y="37"/>
                          <a:pt x="122" y="36"/>
                        </a:cubicBezTo>
                        <a:cubicBezTo>
                          <a:pt x="122" y="37"/>
                          <a:pt x="122" y="37"/>
                          <a:pt x="122" y="37"/>
                        </a:cubicBezTo>
                        <a:cubicBezTo>
                          <a:pt x="122" y="37"/>
                          <a:pt x="122" y="37"/>
                          <a:pt x="122" y="37"/>
                        </a:cubicBezTo>
                        <a:cubicBezTo>
                          <a:pt x="122" y="36"/>
                          <a:pt x="121" y="37"/>
                          <a:pt x="121" y="37"/>
                        </a:cubicBezTo>
                        <a:cubicBezTo>
                          <a:pt x="122" y="37"/>
                          <a:pt x="122" y="37"/>
                          <a:pt x="122" y="37"/>
                        </a:cubicBezTo>
                        <a:close/>
                        <a:moveTo>
                          <a:pt x="119" y="37"/>
                        </a:moveTo>
                        <a:cubicBezTo>
                          <a:pt x="119" y="37"/>
                          <a:pt x="118" y="37"/>
                          <a:pt x="118" y="38"/>
                        </a:cubicBezTo>
                        <a:cubicBezTo>
                          <a:pt x="118" y="38"/>
                          <a:pt x="118" y="38"/>
                          <a:pt x="117" y="38"/>
                        </a:cubicBezTo>
                        <a:cubicBezTo>
                          <a:pt x="117" y="38"/>
                          <a:pt x="118" y="38"/>
                          <a:pt x="118" y="38"/>
                        </a:cubicBezTo>
                        <a:cubicBezTo>
                          <a:pt x="118" y="38"/>
                          <a:pt x="118" y="38"/>
                          <a:pt x="118" y="38"/>
                        </a:cubicBezTo>
                        <a:cubicBezTo>
                          <a:pt x="118" y="37"/>
                          <a:pt x="118" y="37"/>
                          <a:pt x="118" y="37"/>
                        </a:cubicBezTo>
                        <a:cubicBezTo>
                          <a:pt x="118" y="37"/>
                          <a:pt x="119" y="38"/>
                          <a:pt x="119" y="37"/>
                        </a:cubicBezTo>
                        <a:cubicBezTo>
                          <a:pt x="119" y="37"/>
                          <a:pt x="119" y="37"/>
                          <a:pt x="119" y="37"/>
                        </a:cubicBezTo>
                        <a:cubicBezTo>
                          <a:pt x="119" y="37"/>
                          <a:pt x="119" y="37"/>
                          <a:pt x="119" y="37"/>
                        </a:cubicBezTo>
                        <a:close/>
                        <a:moveTo>
                          <a:pt x="118" y="38"/>
                        </a:moveTo>
                        <a:cubicBezTo>
                          <a:pt x="118" y="38"/>
                          <a:pt x="119" y="38"/>
                          <a:pt x="119" y="38"/>
                        </a:cubicBezTo>
                        <a:cubicBezTo>
                          <a:pt x="119" y="38"/>
                          <a:pt x="119" y="38"/>
                          <a:pt x="119" y="38"/>
                        </a:cubicBezTo>
                        <a:cubicBezTo>
                          <a:pt x="119" y="38"/>
                          <a:pt x="118" y="38"/>
                          <a:pt x="118" y="38"/>
                        </a:cubicBezTo>
                        <a:close/>
                        <a:moveTo>
                          <a:pt x="120" y="37"/>
                        </a:moveTo>
                        <a:cubicBezTo>
                          <a:pt x="121" y="37"/>
                          <a:pt x="122" y="37"/>
                          <a:pt x="123" y="37"/>
                        </a:cubicBezTo>
                        <a:cubicBezTo>
                          <a:pt x="123" y="37"/>
                          <a:pt x="123" y="37"/>
                          <a:pt x="122" y="37"/>
                        </a:cubicBezTo>
                        <a:cubicBezTo>
                          <a:pt x="122" y="37"/>
                          <a:pt x="122" y="37"/>
                          <a:pt x="122" y="37"/>
                        </a:cubicBezTo>
                        <a:cubicBezTo>
                          <a:pt x="122" y="37"/>
                          <a:pt x="122" y="37"/>
                          <a:pt x="122" y="37"/>
                        </a:cubicBezTo>
                        <a:cubicBezTo>
                          <a:pt x="122" y="37"/>
                          <a:pt x="122" y="37"/>
                          <a:pt x="121" y="37"/>
                        </a:cubicBezTo>
                        <a:cubicBezTo>
                          <a:pt x="121" y="37"/>
                          <a:pt x="121" y="37"/>
                          <a:pt x="121" y="37"/>
                        </a:cubicBezTo>
                        <a:cubicBezTo>
                          <a:pt x="121" y="37"/>
                          <a:pt x="120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8"/>
                        </a:cubicBezTo>
                        <a:cubicBezTo>
                          <a:pt x="120" y="37"/>
                          <a:pt x="120" y="37"/>
                          <a:pt x="120" y="37"/>
                        </a:cubicBezTo>
                        <a:close/>
                        <a:moveTo>
                          <a:pt x="123" y="37"/>
                        </a:moveTo>
                        <a:cubicBezTo>
                          <a:pt x="123" y="37"/>
                          <a:pt x="124" y="37"/>
                          <a:pt x="124" y="36"/>
                        </a:cubicBezTo>
                        <a:cubicBezTo>
                          <a:pt x="124" y="37"/>
                          <a:pt x="123" y="37"/>
                          <a:pt x="123" y="37"/>
                        </a:cubicBezTo>
                        <a:close/>
                        <a:moveTo>
                          <a:pt x="129" y="36"/>
                        </a:moveTo>
                        <a:cubicBezTo>
                          <a:pt x="129" y="35"/>
                          <a:pt x="129" y="35"/>
                          <a:pt x="130" y="35"/>
                        </a:cubicBezTo>
                        <a:cubicBezTo>
                          <a:pt x="130" y="35"/>
                          <a:pt x="130" y="35"/>
                          <a:pt x="130" y="35"/>
                        </a:cubicBezTo>
                        <a:cubicBezTo>
                          <a:pt x="130" y="35"/>
                          <a:pt x="130" y="35"/>
                          <a:pt x="130" y="35"/>
                        </a:cubicBezTo>
                        <a:cubicBezTo>
                          <a:pt x="129" y="35"/>
                          <a:pt x="130" y="35"/>
                          <a:pt x="129" y="35"/>
                        </a:cubicBezTo>
                        <a:cubicBezTo>
                          <a:pt x="129" y="35"/>
                          <a:pt x="129" y="36"/>
                          <a:pt x="129" y="36"/>
                        </a:cubicBezTo>
                        <a:close/>
                        <a:moveTo>
                          <a:pt x="130" y="35"/>
                        </a:moveTo>
                        <a:cubicBezTo>
                          <a:pt x="130" y="35"/>
                          <a:pt x="131" y="35"/>
                          <a:pt x="130" y="35"/>
                        </a:cubicBezTo>
                        <a:cubicBezTo>
                          <a:pt x="131" y="35"/>
                          <a:pt x="131" y="35"/>
                          <a:pt x="131" y="35"/>
                        </a:cubicBezTo>
                        <a:cubicBezTo>
                          <a:pt x="131" y="35"/>
                          <a:pt x="131" y="35"/>
                          <a:pt x="131" y="35"/>
                        </a:cubicBezTo>
                        <a:cubicBezTo>
                          <a:pt x="130" y="35"/>
                          <a:pt x="130" y="35"/>
                          <a:pt x="130" y="35"/>
                        </a:cubicBezTo>
                        <a:close/>
                        <a:moveTo>
                          <a:pt x="134" y="34"/>
                        </a:moveTo>
                        <a:cubicBezTo>
                          <a:pt x="134" y="34"/>
                          <a:pt x="134" y="34"/>
                          <a:pt x="134" y="34"/>
                        </a:cubicBezTo>
                        <a:cubicBezTo>
                          <a:pt x="134" y="34"/>
                          <a:pt x="133" y="34"/>
                          <a:pt x="133" y="34"/>
                        </a:cubicBezTo>
                        <a:cubicBezTo>
                          <a:pt x="134" y="34"/>
                          <a:pt x="134" y="34"/>
                          <a:pt x="133" y="34"/>
                        </a:cubicBezTo>
                        <a:cubicBezTo>
                          <a:pt x="133" y="34"/>
                          <a:pt x="133" y="34"/>
                          <a:pt x="134" y="34"/>
                        </a:cubicBezTo>
                        <a:close/>
                        <a:moveTo>
                          <a:pt x="130" y="35"/>
                        </a:moveTo>
                        <a:cubicBezTo>
                          <a:pt x="130" y="35"/>
                          <a:pt x="129" y="35"/>
                          <a:pt x="129" y="35"/>
                        </a:cubicBezTo>
                        <a:cubicBezTo>
                          <a:pt x="130" y="35"/>
                          <a:pt x="130" y="35"/>
                          <a:pt x="130" y="35"/>
                        </a:cubicBezTo>
                        <a:close/>
                        <a:moveTo>
                          <a:pt x="135" y="34"/>
                        </a:moveTo>
                        <a:cubicBezTo>
                          <a:pt x="134" y="34"/>
                          <a:pt x="134" y="34"/>
                          <a:pt x="134" y="34"/>
                        </a:cubicBezTo>
                        <a:cubicBezTo>
                          <a:pt x="134" y="34"/>
                          <a:pt x="135" y="34"/>
                          <a:pt x="135" y="34"/>
                        </a:cubicBezTo>
                        <a:cubicBezTo>
                          <a:pt x="135" y="34"/>
                          <a:pt x="135" y="34"/>
                          <a:pt x="135" y="34"/>
                        </a:cubicBezTo>
                        <a:cubicBezTo>
                          <a:pt x="135" y="34"/>
                          <a:pt x="135" y="34"/>
                          <a:pt x="135" y="34"/>
                        </a:cubicBezTo>
                        <a:close/>
                        <a:moveTo>
                          <a:pt x="135" y="34"/>
                        </a:moveTo>
                        <a:cubicBezTo>
                          <a:pt x="135" y="34"/>
                          <a:pt x="135" y="34"/>
                          <a:pt x="135" y="34"/>
                        </a:cubicBezTo>
                        <a:cubicBezTo>
                          <a:pt x="136" y="34"/>
                          <a:pt x="136" y="34"/>
                          <a:pt x="136" y="34"/>
                        </a:cubicBezTo>
                        <a:cubicBezTo>
                          <a:pt x="135" y="34"/>
                          <a:pt x="136" y="33"/>
                          <a:pt x="136" y="33"/>
                        </a:cubicBezTo>
                        <a:cubicBezTo>
                          <a:pt x="136" y="33"/>
                          <a:pt x="136" y="33"/>
                          <a:pt x="136" y="33"/>
                        </a:cubicBezTo>
                        <a:cubicBezTo>
                          <a:pt x="136" y="33"/>
                          <a:pt x="136" y="33"/>
                          <a:pt x="136" y="33"/>
                        </a:cubicBezTo>
                        <a:cubicBezTo>
                          <a:pt x="136" y="33"/>
                          <a:pt x="135" y="34"/>
                          <a:pt x="135" y="34"/>
                        </a:cubicBezTo>
                        <a:close/>
                        <a:moveTo>
                          <a:pt x="133" y="34"/>
                        </a:moveTo>
                        <a:cubicBezTo>
                          <a:pt x="133" y="34"/>
                          <a:pt x="133" y="34"/>
                          <a:pt x="133" y="34"/>
                        </a:cubicBezTo>
                        <a:cubicBezTo>
                          <a:pt x="133" y="34"/>
                          <a:pt x="133" y="34"/>
                          <a:pt x="133" y="34"/>
                        </a:cubicBezTo>
                        <a:close/>
                        <a:moveTo>
                          <a:pt x="128" y="35"/>
                        </a:moveTo>
                        <a:cubicBezTo>
                          <a:pt x="128" y="35"/>
                          <a:pt x="128" y="35"/>
                          <a:pt x="128" y="35"/>
                        </a:cubicBezTo>
                        <a:cubicBezTo>
                          <a:pt x="128" y="35"/>
                          <a:pt x="128" y="35"/>
                          <a:pt x="128" y="35"/>
                        </a:cubicBezTo>
                        <a:close/>
                        <a:moveTo>
                          <a:pt x="123" y="36"/>
                        </a:moveTo>
                        <a:cubicBezTo>
                          <a:pt x="123" y="36"/>
                          <a:pt x="123" y="36"/>
                          <a:pt x="123" y="36"/>
                        </a:cubicBezTo>
                        <a:cubicBezTo>
                          <a:pt x="122" y="36"/>
                          <a:pt x="122" y="36"/>
                          <a:pt x="123" y="36"/>
                        </a:cubicBezTo>
                        <a:cubicBezTo>
                          <a:pt x="123" y="36"/>
                          <a:pt x="122" y="36"/>
                          <a:pt x="123" y="36"/>
                        </a:cubicBezTo>
                        <a:cubicBezTo>
                          <a:pt x="123" y="36"/>
                          <a:pt x="123" y="36"/>
                          <a:pt x="123" y="36"/>
                        </a:cubicBezTo>
                        <a:cubicBezTo>
                          <a:pt x="124" y="36"/>
                          <a:pt x="124" y="36"/>
                          <a:pt x="125" y="36"/>
                        </a:cubicBezTo>
                        <a:cubicBezTo>
                          <a:pt x="124" y="36"/>
                          <a:pt x="124" y="36"/>
                          <a:pt x="124" y="36"/>
                        </a:cubicBezTo>
                        <a:cubicBezTo>
                          <a:pt x="124" y="36"/>
                          <a:pt x="125" y="36"/>
                          <a:pt x="126" y="36"/>
                        </a:cubicBezTo>
                        <a:cubicBezTo>
                          <a:pt x="125" y="36"/>
                          <a:pt x="126" y="36"/>
                          <a:pt x="125" y="36"/>
                        </a:cubicBezTo>
                        <a:cubicBezTo>
                          <a:pt x="125" y="36"/>
                          <a:pt x="125" y="36"/>
                          <a:pt x="125" y="36"/>
                        </a:cubicBezTo>
                        <a:cubicBezTo>
                          <a:pt x="125" y="36"/>
                          <a:pt x="125" y="36"/>
                          <a:pt x="126" y="36"/>
                        </a:cubicBezTo>
                        <a:cubicBezTo>
                          <a:pt x="126" y="36"/>
                          <a:pt x="126" y="36"/>
                          <a:pt x="125" y="36"/>
                        </a:cubicBezTo>
                        <a:cubicBezTo>
                          <a:pt x="125" y="36"/>
                          <a:pt x="125" y="36"/>
                          <a:pt x="125" y="36"/>
                        </a:cubicBezTo>
                        <a:cubicBezTo>
                          <a:pt x="125" y="36"/>
                          <a:pt x="125" y="36"/>
                          <a:pt x="125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7" y="36"/>
                          <a:pt x="127" y="36"/>
                        </a:cubicBezTo>
                        <a:cubicBezTo>
                          <a:pt x="127" y="36"/>
                          <a:pt x="127" y="36"/>
                          <a:pt x="127" y="36"/>
                        </a:cubicBezTo>
                        <a:cubicBezTo>
                          <a:pt x="127" y="36"/>
                          <a:pt x="126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5"/>
                        </a:cubicBezTo>
                        <a:cubicBezTo>
                          <a:pt x="126" y="35"/>
                          <a:pt x="127" y="35"/>
                          <a:pt x="128" y="35"/>
                        </a:cubicBezTo>
                        <a:cubicBezTo>
                          <a:pt x="127" y="35"/>
                          <a:pt x="127" y="35"/>
                          <a:pt x="127" y="35"/>
                        </a:cubicBezTo>
                        <a:cubicBezTo>
                          <a:pt x="127" y="35"/>
                          <a:pt x="128" y="35"/>
                          <a:pt x="128" y="35"/>
                        </a:cubicBezTo>
                        <a:cubicBezTo>
                          <a:pt x="127" y="35"/>
                          <a:pt x="126" y="35"/>
                          <a:pt x="126" y="35"/>
                        </a:cubicBezTo>
                        <a:cubicBezTo>
                          <a:pt x="126" y="36"/>
                          <a:pt x="124" y="35"/>
                          <a:pt x="123" y="36"/>
                        </a:cubicBezTo>
                        <a:close/>
                        <a:moveTo>
                          <a:pt x="121" y="36"/>
                        </a:moveTo>
                        <a:cubicBezTo>
                          <a:pt x="121" y="36"/>
                          <a:pt x="121" y="36"/>
                          <a:pt x="121" y="37"/>
                        </a:cubicBezTo>
                        <a:cubicBezTo>
                          <a:pt x="121" y="36"/>
                          <a:pt x="122" y="36"/>
                          <a:pt x="122" y="36"/>
                        </a:cubicBezTo>
                        <a:cubicBezTo>
                          <a:pt x="121" y="36"/>
                          <a:pt x="122" y="36"/>
                          <a:pt x="121" y="36"/>
                        </a:cubicBezTo>
                        <a:cubicBezTo>
                          <a:pt x="121" y="36"/>
                          <a:pt x="121" y="36"/>
                          <a:pt x="121" y="36"/>
                        </a:cubicBezTo>
                        <a:close/>
                        <a:moveTo>
                          <a:pt x="119" y="37"/>
                        </a:moveTo>
                        <a:cubicBezTo>
                          <a:pt x="119" y="37"/>
                          <a:pt x="119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6"/>
                        </a:cubicBezTo>
                        <a:cubicBezTo>
                          <a:pt x="120" y="37"/>
                          <a:pt x="119" y="36"/>
                          <a:pt x="119" y="37"/>
                        </a:cubicBezTo>
                        <a:close/>
                        <a:moveTo>
                          <a:pt x="116" y="37"/>
                        </a:moveTo>
                        <a:cubicBezTo>
                          <a:pt x="115" y="37"/>
                          <a:pt x="115" y="37"/>
                          <a:pt x="115" y="38"/>
                        </a:cubicBezTo>
                        <a:cubicBezTo>
                          <a:pt x="115" y="38"/>
                          <a:pt x="116" y="38"/>
                          <a:pt x="116" y="37"/>
                        </a:cubicBezTo>
                        <a:close/>
                        <a:moveTo>
                          <a:pt x="116" y="37"/>
                        </a:moveTo>
                        <a:cubicBezTo>
                          <a:pt x="116" y="37"/>
                          <a:pt x="116" y="37"/>
                          <a:pt x="116" y="37"/>
                        </a:cubicBezTo>
                        <a:cubicBezTo>
                          <a:pt x="116" y="37"/>
                          <a:pt x="116" y="37"/>
                          <a:pt x="116" y="37"/>
                        </a:cubicBezTo>
                        <a:cubicBezTo>
                          <a:pt x="116" y="37"/>
                          <a:pt x="117" y="37"/>
                          <a:pt x="117" y="37"/>
                        </a:cubicBezTo>
                        <a:cubicBezTo>
                          <a:pt x="116" y="37"/>
                          <a:pt x="116" y="37"/>
                          <a:pt x="115" y="37"/>
                        </a:cubicBezTo>
                        <a:cubicBezTo>
                          <a:pt x="115" y="37"/>
                          <a:pt x="114" y="37"/>
                          <a:pt x="115" y="37"/>
                        </a:cubicBezTo>
                        <a:cubicBezTo>
                          <a:pt x="115" y="37"/>
                          <a:pt x="115" y="37"/>
                          <a:pt x="116" y="37"/>
                        </a:cubicBezTo>
                        <a:cubicBezTo>
                          <a:pt x="116" y="37"/>
                          <a:pt x="116" y="37"/>
                          <a:pt x="116" y="37"/>
                        </a:cubicBezTo>
                        <a:cubicBezTo>
                          <a:pt x="116" y="37"/>
                          <a:pt x="116" y="37"/>
                          <a:pt x="116" y="37"/>
                        </a:cubicBezTo>
                        <a:close/>
                        <a:moveTo>
                          <a:pt x="122" y="36"/>
                        </a:moveTo>
                        <a:cubicBezTo>
                          <a:pt x="122" y="36"/>
                          <a:pt x="121" y="36"/>
                          <a:pt x="121" y="36"/>
                        </a:cubicBezTo>
                        <a:cubicBezTo>
                          <a:pt x="121" y="36"/>
                          <a:pt x="122" y="36"/>
                          <a:pt x="122" y="36"/>
                        </a:cubicBezTo>
                        <a:cubicBezTo>
                          <a:pt x="122" y="36"/>
                          <a:pt x="122" y="36"/>
                          <a:pt x="122" y="36"/>
                        </a:cubicBezTo>
                        <a:cubicBezTo>
                          <a:pt x="122" y="36"/>
                          <a:pt x="122" y="36"/>
                          <a:pt x="122" y="36"/>
                        </a:cubicBezTo>
                        <a:close/>
                        <a:moveTo>
                          <a:pt x="117" y="36"/>
                        </a:moveTo>
                        <a:cubicBezTo>
                          <a:pt x="117" y="37"/>
                          <a:pt x="117" y="37"/>
                          <a:pt x="117" y="37"/>
                        </a:cubicBezTo>
                        <a:cubicBezTo>
                          <a:pt x="117" y="37"/>
                          <a:pt x="118" y="37"/>
                          <a:pt x="118" y="37"/>
                        </a:cubicBezTo>
                        <a:cubicBezTo>
                          <a:pt x="118" y="37"/>
                          <a:pt x="118" y="37"/>
                          <a:pt x="118" y="37"/>
                        </a:cubicBezTo>
                        <a:cubicBezTo>
                          <a:pt x="117" y="37"/>
                          <a:pt x="118" y="36"/>
                          <a:pt x="117" y="36"/>
                        </a:cubicBezTo>
                        <a:close/>
                        <a:moveTo>
                          <a:pt x="119" y="36"/>
                        </a:moveTo>
                        <a:cubicBezTo>
                          <a:pt x="119" y="36"/>
                          <a:pt x="119" y="36"/>
                          <a:pt x="119" y="36"/>
                        </a:cubicBezTo>
                        <a:cubicBezTo>
                          <a:pt x="119" y="36"/>
                          <a:pt x="119" y="36"/>
                          <a:pt x="119" y="36"/>
                        </a:cubicBezTo>
                        <a:close/>
                        <a:moveTo>
                          <a:pt x="118" y="36"/>
                        </a:moveTo>
                        <a:cubicBezTo>
                          <a:pt x="118" y="36"/>
                          <a:pt x="118" y="36"/>
                          <a:pt x="118" y="36"/>
                        </a:cubicBezTo>
                        <a:cubicBezTo>
                          <a:pt x="118" y="36"/>
                          <a:pt x="117" y="36"/>
                          <a:pt x="117" y="36"/>
                        </a:cubicBezTo>
                        <a:cubicBezTo>
                          <a:pt x="117" y="36"/>
                          <a:pt x="117" y="36"/>
                          <a:pt x="118" y="36"/>
                        </a:cubicBezTo>
                        <a:close/>
                        <a:moveTo>
                          <a:pt x="112" y="38"/>
                        </a:moveTo>
                        <a:cubicBezTo>
                          <a:pt x="112" y="38"/>
                          <a:pt x="112" y="38"/>
                          <a:pt x="111" y="38"/>
                        </a:cubicBezTo>
                        <a:cubicBezTo>
                          <a:pt x="111" y="38"/>
                          <a:pt x="113" y="38"/>
                          <a:pt x="112" y="38"/>
                        </a:cubicBezTo>
                        <a:close/>
                        <a:moveTo>
                          <a:pt x="109" y="38"/>
                        </a:moveTo>
                        <a:cubicBezTo>
                          <a:pt x="109" y="38"/>
                          <a:pt x="109" y="38"/>
                          <a:pt x="109" y="38"/>
                        </a:cubicBezTo>
                        <a:cubicBezTo>
                          <a:pt x="109" y="38"/>
                          <a:pt x="109" y="38"/>
                          <a:pt x="109" y="38"/>
                        </a:cubicBezTo>
                        <a:cubicBezTo>
                          <a:pt x="109" y="38"/>
                          <a:pt x="109" y="38"/>
                          <a:pt x="109" y="38"/>
                        </a:cubicBezTo>
                        <a:cubicBezTo>
                          <a:pt x="109" y="38"/>
                          <a:pt x="109" y="38"/>
                          <a:pt x="109" y="38"/>
                        </a:cubicBezTo>
                        <a:cubicBezTo>
                          <a:pt x="109" y="38"/>
                          <a:pt x="109" y="38"/>
                          <a:pt x="109" y="38"/>
                        </a:cubicBezTo>
                        <a:cubicBezTo>
                          <a:pt x="109" y="38"/>
                          <a:pt x="109" y="38"/>
                          <a:pt x="109" y="38"/>
                        </a:cubicBezTo>
                        <a:close/>
                        <a:moveTo>
                          <a:pt x="108" y="38"/>
                        </a:moveTo>
                        <a:cubicBezTo>
                          <a:pt x="108" y="38"/>
                          <a:pt x="108" y="38"/>
                          <a:pt x="108" y="38"/>
                        </a:cubicBezTo>
                        <a:cubicBezTo>
                          <a:pt x="108" y="38"/>
                          <a:pt x="109" y="38"/>
                          <a:pt x="108" y="38"/>
                        </a:cubicBezTo>
                        <a:cubicBezTo>
                          <a:pt x="108" y="38"/>
                          <a:pt x="108" y="38"/>
                          <a:pt x="108" y="38"/>
                        </a:cubicBezTo>
                        <a:cubicBezTo>
                          <a:pt x="108" y="38"/>
                          <a:pt x="108" y="38"/>
                          <a:pt x="108" y="38"/>
                        </a:cubicBezTo>
                        <a:close/>
                        <a:moveTo>
                          <a:pt x="107" y="38"/>
                        </a:moveTo>
                        <a:cubicBezTo>
                          <a:pt x="107" y="38"/>
                          <a:pt x="107" y="38"/>
                          <a:pt x="107" y="39"/>
                        </a:cubicBezTo>
                        <a:cubicBezTo>
                          <a:pt x="107" y="38"/>
                          <a:pt x="107" y="38"/>
                          <a:pt x="108" y="38"/>
                        </a:cubicBezTo>
                        <a:cubicBezTo>
                          <a:pt x="107" y="38"/>
                          <a:pt x="107" y="38"/>
                          <a:pt x="107" y="38"/>
                        </a:cubicBezTo>
                        <a:close/>
                        <a:moveTo>
                          <a:pt x="109" y="38"/>
                        </a:moveTo>
                        <a:cubicBezTo>
                          <a:pt x="109" y="38"/>
                          <a:pt x="110" y="38"/>
                          <a:pt x="110" y="37"/>
                        </a:cubicBezTo>
                        <a:cubicBezTo>
                          <a:pt x="110" y="37"/>
                          <a:pt x="109" y="38"/>
                          <a:pt x="109" y="38"/>
                        </a:cubicBezTo>
                        <a:close/>
                        <a:moveTo>
                          <a:pt x="102" y="39"/>
                        </a:moveTo>
                        <a:cubicBezTo>
                          <a:pt x="102" y="39"/>
                          <a:pt x="102" y="39"/>
                          <a:pt x="102" y="40"/>
                        </a:cubicBezTo>
                        <a:cubicBezTo>
                          <a:pt x="102" y="40"/>
                          <a:pt x="102" y="39"/>
                          <a:pt x="102" y="40"/>
                        </a:cubicBezTo>
                        <a:cubicBezTo>
                          <a:pt x="102" y="40"/>
                          <a:pt x="102" y="40"/>
                          <a:pt x="102" y="40"/>
                        </a:cubicBezTo>
                        <a:cubicBezTo>
                          <a:pt x="102" y="40"/>
                          <a:pt x="102" y="40"/>
                          <a:pt x="102" y="40"/>
                        </a:cubicBezTo>
                        <a:cubicBezTo>
                          <a:pt x="102" y="40"/>
                          <a:pt x="102" y="40"/>
                          <a:pt x="103" y="40"/>
                        </a:cubicBezTo>
                        <a:cubicBezTo>
                          <a:pt x="102" y="40"/>
                          <a:pt x="102" y="40"/>
                          <a:pt x="102" y="40"/>
                        </a:cubicBezTo>
                        <a:cubicBezTo>
                          <a:pt x="102" y="40"/>
                          <a:pt x="103" y="39"/>
                          <a:pt x="103" y="39"/>
                        </a:cubicBezTo>
                        <a:cubicBezTo>
                          <a:pt x="103" y="39"/>
                          <a:pt x="103" y="40"/>
                          <a:pt x="103" y="40"/>
                        </a:cubicBezTo>
                        <a:cubicBezTo>
                          <a:pt x="103" y="39"/>
                          <a:pt x="104" y="39"/>
                          <a:pt x="104" y="39"/>
                        </a:cubicBezTo>
                        <a:cubicBezTo>
                          <a:pt x="104" y="39"/>
                          <a:pt x="104" y="39"/>
                          <a:pt x="104" y="39"/>
                        </a:cubicBezTo>
                        <a:cubicBezTo>
                          <a:pt x="104" y="39"/>
                          <a:pt x="104" y="39"/>
                          <a:pt x="104" y="39"/>
                        </a:cubicBezTo>
                        <a:cubicBezTo>
                          <a:pt x="104" y="39"/>
                          <a:pt x="103" y="39"/>
                          <a:pt x="103" y="39"/>
                        </a:cubicBezTo>
                        <a:cubicBezTo>
                          <a:pt x="103" y="39"/>
                          <a:pt x="103" y="39"/>
                          <a:pt x="103" y="39"/>
                        </a:cubicBezTo>
                        <a:cubicBezTo>
                          <a:pt x="103" y="39"/>
                          <a:pt x="103" y="39"/>
                          <a:pt x="102" y="39"/>
                        </a:cubicBezTo>
                        <a:cubicBezTo>
                          <a:pt x="102" y="39"/>
                          <a:pt x="102" y="39"/>
                          <a:pt x="102" y="39"/>
                        </a:cubicBezTo>
                        <a:close/>
                        <a:moveTo>
                          <a:pt x="97" y="40"/>
                        </a:moveTo>
                        <a:cubicBezTo>
                          <a:pt x="97" y="40"/>
                          <a:pt x="97" y="40"/>
                          <a:pt x="97" y="40"/>
                        </a:cubicBezTo>
                        <a:cubicBezTo>
                          <a:pt x="97" y="40"/>
                          <a:pt x="96" y="40"/>
                          <a:pt x="96" y="40"/>
                        </a:cubicBezTo>
                        <a:cubicBezTo>
                          <a:pt x="97" y="40"/>
                          <a:pt x="96" y="40"/>
                          <a:pt x="97" y="40"/>
                        </a:cubicBezTo>
                        <a:cubicBezTo>
                          <a:pt x="97" y="40"/>
                          <a:pt x="97" y="40"/>
                          <a:pt x="97" y="40"/>
                        </a:cubicBezTo>
                        <a:close/>
                        <a:moveTo>
                          <a:pt x="120" y="34"/>
                        </a:moveTo>
                        <a:cubicBezTo>
                          <a:pt x="121" y="34"/>
                          <a:pt x="121" y="34"/>
                          <a:pt x="122" y="34"/>
                        </a:cubicBezTo>
                        <a:cubicBezTo>
                          <a:pt x="121" y="34"/>
                          <a:pt x="121" y="34"/>
                          <a:pt x="120" y="34"/>
                        </a:cubicBezTo>
                        <a:close/>
                        <a:moveTo>
                          <a:pt x="145" y="27"/>
                        </a:moveTo>
                        <a:cubicBezTo>
                          <a:pt x="146" y="27"/>
                          <a:pt x="144" y="27"/>
                          <a:pt x="144" y="27"/>
                        </a:cubicBezTo>
                        <a:cubicBezTo>
                          <a:pt x="144" y="27"/>
                          <a:pt x="145" y="27"/>
                          <a:pt x="145" y="27"/>
                        </a:cubicBezTo>
                        <a:cubicBezTo>
                          <a:pt x="145" y="27"/>
                          <a:pt x="145" y="27"/>
                          <a:pt x="146" y="27"/>
                        </a:cubicBezTo>
                        <a:cubicBezTo>
                          <a:pt x="146" y="27"/>
                          <a:pt x="145" y="27"/>
                          <a:pt x="145" y="27"/>
                        </a:cubicBezTo>
                        <a:close/>
                        <a:moveTo>
                          <a:pt x="143" y="23"/>
                        </a:moveTo>
                        <a:cubicBezTo>
                          <a:pt x="143" y="23"/>
                          <a:pt x="144" y="23"/>
                          <a:pt x="144" y="23"/>
                        </a:cubicBezTo>
                        <a:cubicBezTo>
                          <a:pt x="143" y="23"/>
                          <a:pt x="143" y="23"/>
                          <a:pt x="143" y="23"/>
                        </a:cubicBezTo>
                        <a:cubicBezTo>
                          <a:pt x="143" y="23"/>
                          <a:pt x="144" y="23"/>
                          <a:pt x="144" y="23"/>
                        </a:cubicBezTo>
                        <a:cubicBezTo>
                          <a:pt x="144" y="23"/>
                          <a:pt x="144" y="23"/>
                          <a:pt x="143" y="23"/>
                        </a:cubicBezTo>
                        <a:close/>
                        <a:moveTo>
                          <a:pt x="145" y="29"/>
                        </a:moveTo>
                        <a:cubicBezTo>
                          <a:pt x="145" y="29"/>
                          <a:pt x="145" y="29"/>
                          <a:pt x="145" y="29"/>
                        </a:cubicBezTo>
                        <a:cubicBezTo>
                          <a:pt x="145" y="29"/>
                          <a:pt x="145" y="29"/>
                          <a:pt x="145" y="28"/>
                        </a:cubicBezTo>
                        <a:cubicBezTo>
                          <a:pt x="145" y="28"/>
                          <a:pt x="145" y="29"/>
                          <a:pt x="145" y="29"/>
                        </a:cubicBezTo>
                        <a:cubicBezTo>
                          <a:pt x="145" y="29"/>
                          <a:pt x="145" y="29"/>
                          <a:pt x="145" y="29"/>
                        </a:cubicBezTo>
                        <a:cubicBezTo>
                          <a:pt x="145" y="29"/>
                          <a:pt x="145" y="29"/>
                          <a:pt x="145" y="29"/>
                        </a:cubicBezTo>
                        <a:cubicBezTo>
                          <a:pt x="145" y="29"/>
                          <a:pt x="145" y="29"/>
                          <a:pt x="145" y="29"/>
                        </a:cubicBezTo>
                        <a:cubicBezTo>
                          <a:pt x="145" y="29"/>
                          <a:pt x="145" y="29"/>
                          <a:pt x="145" y="29"/>
                        </a:cubicBezTo>
                        <a:close/>
                        <a:moveTo>
                          <a:pt x="143" y="28"/>
                        </a:moveTo>
                        <a:cubicBezTo>
                          <a:pt x="144" y="28"/>
                          <a:pt x="144" y="28"/>
                          <a:pt x="145" y="27"/>
                        </a:cubicBezTo>
                        <a:cubicBezTo>
                          <a:pt x="145" y="28"/>
                          <a:pt x="145" y="28"/>
                          <a:pt x="145" y="28"/>
                        </a:cubicBezTo>
                        <a:cubicBezTo>
                          <a:pt x="145" y="28"/>
                          <a:pt x="145" y="28"/>
                          <a:pt x="145" y="28"/>
                        </a:cubicBezTo>
                        <a:cubicBezTo>
                          <a:pt x="145" y="28"/>
                          <a:pt x="144" y="29"/>
                          <a:pt x="144" y="28"/>
                        </a:cubicBezTo>
                        <a:cubicBezTo>
                          <a:pt x="145" y="28"/>
                          <a:pt x="145" y="28"/>
                          <a:pt x="145" y="28"/>
                        </a:cubicBezTo>
                        <a:cubicBezTo>
                          <a:pt x="145" y="28"/>
                          <a:pt x="145" y="28"/>
                          <a:pt x="145" y="28"/>
                        </a:cubicBezTo>
                        <a:cubicBezTo>
                          <a:pt x="145" y="28"/>
                          <a:pt x="144" y="28"/>
                          <a:pt x="144" y="28"/>
                        </a:cubicBezTo>
                        <a:cubicBezTo>
                          <a:pt x="144" y="28"/>
                          <a:pt x="144" y="28"/>
                          <a:pt x="144" y="28"/>
                        </a:cubicBezTo>
                        <a:cubicBezTo>
                          <a:pt x="144" y="28"/>
                          <a:pt x="144" y="28"/>
                          <a:pt x="144" y="28"/>
                        </a:cubicBezTo>
                        <a:cubicBezTo>
                          <a:pt x="143" y="28"/>
                          <a:pt x="143" y="28"/>
                          <a:pt x="143" y="28"/>
                        </a:cubicBezTo>
                        <a:cubicBezTo>
                          <a:pt x="143" y="28"/>
                          <a:pt x="143" y="28"/>
                          <a:pt x="142" y="29"/>
                        </a:cubicBezTo>
                        <a:cubicBezTo>
                          <a:pt x="142" y="28"/>
                          <a:pt x="142" y="28"/>
                          <a:pt x="142" y="28"/>
                        </a:cubicBezTo>
                        <a:cubicBezTo>
                          <a:pt x="143" y="28"/>
                          <a:pt x="143" y="28"/>
                          <a:pt x="143" y="28"/>
                        </a:cubicBezTo>
                        <a:close/>
                        <a:moveTo>
                          <a:pt x="145" y="30"/>
                        </a:moveTo>
                        <a:cubicBezTo>
                          <a:pt x="145" y="30"/>
                          <a:pt x="145" y="30"/>
                          <a:pt x="145" y="30"/>
                        </a:cubicBezTo>
                        <a:cubicBezTo>
                          <a:pt x="145" y="30"/>
                          <a:pt x="145" y="30"/>
                          <a:pt x="145" y="30"/>
                        </a:cubicBezTo>
                        <a:cubicBezTo>
                          <a:pt x="146" y="30"/>
                          <a:pt x="145" y="30"/>
                          <a:pt x="145" y="30"/>
                        </a:cubicBezTo>
                        <a:close/>
                        <a:moveTo>
                          <a:pt x="143" y="23"/>
                        </a:moveTo>
                        <a:cubicBezTo>
                          <a:pt x="143" y="23"/>
                          <a:pt x="143" y="23"/>
                          <a:pt x="143" y="23"/>
                        </a:cubicBezTo>
                        <a:cubicBezTo>
                          <a:pt x="143" y="23"/>
                          <a:pt x="143" y="23"/>
                          <a:pt x="143" y="23"/>
                        </a:cubicBezTo>
                        <a:cubicBezTo>
                          <a:pt x="143" y="23"/>
                          <a:pt x="143" y="23"/>
                          <a:pt x="143" y="23"/>
                        </a:cubicBezTo>
                        <a:cubicBezTo>
                          <a:pt x="143" y="23"/>
                          <a:pt x="143" y="23"/>
                          <a:pt x="143" y="23"/>
                        </a:cubicBezTo>
                        <a:close/>
                        <a:moveTo>
                          <a:pt x="138" y="31"/>
                        </a:moveTo>
                        <a:cubicBezTo>
                          <a:pt x="138" y="31"/>
                          <a:pt x="138" y="32"/>
                          <a:pt x="138" y="32"/>
                        </a:cubicBezTo>
                        <a:cubicBezTo>
                          <a:pt x="139" y="31"/>
                          <a:pt x="139" y="32"/>
                          <a:pt x="139" y="31"/>
                        </a:cubicBezTo>
                        <a:cubicBezTo>
                          <a:pt x="138" y="32"/>
                          <a:pt x="139" y="31"/>
                          <a:pt x="139" y="31"/>
                        </a:cubicBezTo>
                        <a:cubicBezTo>
                          <a:pt x="138" y="31"/>
                          <a:pt x="137" y="31"/>
                          <a:pt x="136" y="31"/>
                        </a:cubicBezTo>
                        <a:cubicBezTo>
                          <a:pt x="136" y="31"/>
                          <a:pt x="136" y="31"/>
                          <a:pt x="136" y="31"/>
                        </a:cubicBezTo>
                        <a:cubicBezTo>
                          <a:pt x="136" y="31"/>
                          <a:pt x="137" y="31"/>
                          <a:pt x="137" y="31"/>
                        </a:cubicBezTo>
                        <a:cubicBezTo>
                          <a:pt x="138" y="31"/>
                          <a:pt x="138" y="31"/>
                          <a:pt x="138" y="31"/>
                        </a:cubicBezTo>
                        <a:cubicBezTo>
                          <a:pt x="138" y="31"/>
                          <a:pt x="138" y="31"/>
                          <a:pt x="138" y="31"/>
                        </a:cubicBezTo>
                        <a:cubicBezTo>
                          <a:pt x="139" y="31"/>
                          <a:pt x="139" y="31"/>
                          <a:pt x="139" y="31"/>
                        </a:cubicBezTo>
                        <a:cubicBezTo>
                          <a:pt x="139" y="31"/>
                          <a:pt x="139" y="31"/>
                          <a:pt x="139" y="31"/>
                        </a:cubicBezTo>
                        <a:cubicBezTo>
                          <a:pt x="139" y="31"/>
                          <a:pt x="139" y="30"/>
                          <a:pt x="140" y="30"/>
                        </a:cubicBezTo>
                        <a:cubicBezTo>
                          <a:pt x="140" y="30"/>
                          <a:pt x="140" y="30"/>
                          <a:pt x="140" y="30"/>
                        </a:cubicBezTo>
                        <a:cubicBezTo>
                          <a:pt x="140" y="31"/>
                          <a:pt x="139" y="31"/>
                          <a:pt x="139" y="31"/>
                        </a:cubicBezTo>
                        <a:cubicBezTo>
                          <a:pt x="140" y="31"/>
                          <a:pt x="141" y="31"/>
                          <a:pt x="141" y="31"/>
                        </a:cubicBezTo>
                        <a:cubicBezTo>
                          <a:pt x="141" y="31"/>
                          <a:pt x="141" y="30"/>
                          <a:pt x="142" y="31"/>
                        </a:cubicBezTo>
                        <a:cubicBezTo>
                          <a:pt x="142" y="30"/>
                          <a:pt x="143" y="30"/>
                          <a:pt x="143" y="30"/>
                        </a:cubicBezTo>
                        <a:cubicBezTo>
                          <a:pt x="143" y="30"/>
                          <a:pt x="143" y="30"/>
                          <a:pt x="143" y="30"/>
                        </a:cubicBezTo>
                        <a:cubicBezTo>
                          <a:pt x="144" y="30"/>
                          <a:pt x="144" y="30"/>
                          <a:pt x="145" y="30"/>
                        </a:cubicBezTo>
                        <a:cubicBezTo>
                          <a:pt x="145" y="30"/>
                          <a:pt x="145" y="30"/>
                          <a:pt x="145" y="30"/>
                        </a:cubicBezTo>
                        <a:cubicBezTo>
                          <a:pt x="145" y="30"/>
                          <a:pt x="145" y="30"/>
                          <a:pt x="145" y="30"/>
                        </a:cubicBezTo>
                        <a:cubicBezTo>
                          <a:pt x="144" y="30"/>
                          <a:pt x="144" y="30"/>
                          <a:pt x="144" y="30"/>
                        </a:cubicBezTo>
                        <a:cubicBezTo>
                          <a:pt x="144" y="30"/>
                          <a:pt x="144" y="30"/>
                          <a:pt x="144" y="30"/>
                        </a:cubicBezTo>
                        <a:cubicBezTo>
                          <a:pt x="144" y="30"/>
                          <a:pt x="144" y="30"/>
                          <a:pt x="143" y="30"/>
                        </a:cubicBezTo>
                        <a:cubicBezTo>
                          <a:pt x="143" y="30"/>
                          <a:pt x="144" y="30"/>
                          <a:pt x="144" y="30"/>
                        </a:cubicBezTo>
                        <a:cubicBezTo>
                          <a:pt x="144" y="30"/>
                          <a:pt x="143" y="31"/>
                          <a:pt x="143" y="30"/>
                        </a:cubicBezTo>
                        <a:cubicBezTo>
                          <a:pt x="142" y="30"/>
                          <a:pt x="142" y="31"/>
                          <a:pt x="142" y="31"/>
                        </a:cubicBezTo>
                        <a:cubicBezTo>
                          <a:pt x="142" y="31"/>
                          <a:pt x="142" y="31"/>
                          <a:pt x="142" y="31"/>
                        </a:cubicBezTo>
                        <a:cubicBezTo>
                          <a:pt x="142" y="31"/>
                          <a:pt x="141" y="31"/>
                          <a:pt x="141" y="31"/>
                        </a:cubicBezTo>
                        <a:cubicBezTo>
                          <a:pt x="141" y="31"/>
                          <a:pt x="140" y="31"/>
                          <a:pt x="140" y="31"/>
                        </a:cubicBezTo>
                        <a:cubicBezTo>
                          <a:pt x="140" y="31"/>
                          <a:pt x="140" y="31"/>
                          <a:pt x="140" y="31"/>
                        </a:cubicBezTo>
                        <a:cubicBezTo>
                          <a:pt x="140" y="32"/>
                          <a:pt x="140" y="31"/>
                          <a:pt x="140" y="32"/>
                        </a:cubicBezTo>
                        <a:cubicBezTo>
                          <a:pt x="140" y="31"/>
                          <a:pt x="139" y="32"/>
                          <a:pt x="139" y="31"/>
                        </a:cubicBezTo>
                        <a:cubicBezTo>
                          <a:pt x="139" y="32"/>
                          <a:pt x="139" y="32"/>
                          <a:pt x="139" y="32"/>
                        </a:cubicBezTo>
                        <a:cubicBezTo>
                          <a:pt x="139" y="32"/>
                          <a:pt x="139" y="32"/>
                          <a:pt x="139" y="32"/>
                        </a:cubicBezTo>
                        <a:cubicBezTo>
                          <a:pt x="139" y="32"/>
                          <a:pt x="139" y="32"/>
                          <a:pt x="139" y="32"/>
                        </a:cubicBezTo>
                        <a:cubicBezTo>
                          <a:pt x="138" y="32"/>
                          <a:pt x="138" y="32"/>
                          <a:pt x="137" y="32"/>
                        </a:cubicBezTo>
                        <a:cubicBezTo>
                          <a:pt x="137" y="32"/>
                          <a:pt x="138" y="32"/>
                          <a:pt x="138" y="32"/>
                        </a:cubicBezTo>
                        <a:cubicBezTo>
                          <a:pt x="138" y="32"/>
                          <a:pt x="138" y="32"/>
                          <a:pt x="138" y="31"/>
                        </a:cubicBezTo>
                        <a:close/>
                        <a:moveTo>
                          <a:pt x="141" y="31"/>
                        </a:moveTo>
                        <a:cubicBezTo>
                          <a:pt x="141" y="31"/>
                          <a:pt x="141" y="31"/>
                          <a:pt x="141" y="31"/>
                        </a:cubicBezTo>
                        <a:cubicBezTo>
                          <a:pt x="141" y="31"/>
                          <a:pt x="141" y="31"/>
                          <a:pt x="141" y="31"/>
                        </a:cubicBezTo>
                        <a:cubicBezTo>
                          <a:pt x="141" y="31"/>
                          <a:pt x="140" y="31"/>
                          <a:pt x="141" y="31"/>
                        </a:cubicBezTo>
                        <a:cubicBezTo>
                          <a:pt x="140" y="31"/>
                          <a:pt x="142" y="31"/>
                          <a:pt x="141" y="31"/>
                        </a:cubicBezTo>
                        <a:close/>
                        <a:moveTo>
                          <a:pt x="142" y="26"/>
                        </a:moveTo>
                        <a:cubicBezTo>
                          <a:pt x="143" y="26"/>
                          <a:pt x="142" y="26"/>
                          <a:pt x="143" y="26"/>
                        </a:cubicBezTo>
                        <a:cubicBezTo>
                          <a:pt x="142" y="26"/>
                          <a:pt x="142" y="26"/>
                          <a:pt x="142" y="27"/>
                        </a:cubicBezTo>
                        <a:cubicBezTo>
                          <a:pt x="142" y="26"/>
                          <a:pt x="142" y="26"/>
                          <a:pt x="142" y="26"/>
                        </a:cubicBezTo>
                        <a:cubicBezTo>
                          <a:pt x="142" y="26"/>
                          <a:pt x="142" y="27"/>
                          <a:pt x="141" y="27"/>
                        </a:cubicBezTo>
                        <a:cubicBezTo>
                          <a:pt x="141" y="26"/>
                          <a:pt x="141" y="26"/>
                          <a:pt x="141" y="26"/>
                        </a:cubicBezTo>
                        <a:cubicBezTo>
                          <a:pt x="142" y="26"/>
                          <a:pt x="142" y="26"/>
                          <a:pt x="142" y="26"/>
                        </a:cubicBezTo>
                        <a:close/>
                        <a:moveTo>
                          <a:pt x="142" y="24"/>
                        </a:moveTo>
                        <a:cubicBezTo>
                          <a:pt x="141" y="24"/>
                          <a:pt x="142" y="24"/>
                          <a:pt x="142" y="24"/>
                        </a:cubicBezTo>
                        <a:cubicBezTo>
                          <a:pt x="142" y="24"/>
                          <a:pt x="142" y="24"/>
                          <a:pt x="142" y="24"/>
                        </a:cubicBezTo>
                        <a:cubicBezTo>
                          <a:pt x="142" y="24"/>
                          <a:pt x="141" y="24"/>
                          <a:pt x="141" y="24"/>
                        </a:cubicBezTo>
                        <a:cubicBezTo>
                          <a:pt x="141" y="24"/>
                          <a:pt x="141" y="24"/>
                          <a:pt x="141" y="24"/>
                        </a:cubicBezTo>
                        <a:cubicBezTo>
                          <a:pt x="141" y="24"/>
                          <a:pt x="140" y="24"/>
                          <a:pt x="140" y="25"/>
                        </a:cubicBezTo>
                        <a:cubicBezTo>
                          <a:pt x="140" y="25"/>
                          <a:pt x="140" y="25"/>
                          <a:pt x="140" y="25"/>
                        </a:cubicBezTo>
                        <a:cubicBezTo>
                          <a:pt x="140" y="25"/>
                          <a:pt x="140" y="25"/>
                          <a:pt x="140" y="25"/>
                        </a:cubicBezTo>
                        <a:cubicBezTo>
                          <a:pt x="140" y="24"/>
                          <a:pt x="141" y="24"/>
                          <a:pt x="142" y="24"/>
                        </a:cubicBezTo>
                        <a:close/>
                        <a:moveTo>
                          <a:pt x="142" y="25"/>
                        </a:moveTo>
                        <a:cubicBezTo>
                          <a:pt x="142" y="25"/>
                          <a:pt x="142" y="25"/>
                          <a:pt x="142" y="25"/>
                        </a:cubicBezTo>
                        <a:cubicBezTo>
                          <a:pt x="141" y="25"/>
                          <a:pt x="141" y="25"/>
                          <a:pt x="140" y="25"/>
                        </a:cubicBezTo>
                        <a:cubicBezTo>
                          <a:pt x="140" y="25"/>
                          <a:pt x="141" y="25"/>
                          <a:pt x="141" y="25"/>
                        </a:cubicBezTo>
                        <a:cubicBezTo>
                          <a:pt x="141" y="25"/>
                          <a:pt x="141" y="25"/>
                          <a:pt x="142" y="25"/>
                        </a:cubicBezTo>
                        <a:cubicBezTo>
                          <a:pt x="142" y="25"/>
                          <a:pt x="141" y="25"/>
                          <a:pt x="141" y="25"/>
                        </a:cubicBezTo>
                        <a:cubicBezTo>
                          <a:pt x="141" y="26"/>
                          <a:pt x="141" y="26"/>
                          <a:pt x="140" y="26"/>
                        </a:cubicBezTo>
                        <a:cubicBezTo>
                          <a:pt x="140" y="26"/>
                          <a:pt x="141" y="26"/>
                          <a:pt x="141" y="26"/>
                        </a:cubicBezTo>
                        <a:cubicBezTo>
                          <a:pt x="140" y="26"/>
                          <a:pt x="140" y="26"/>
                          <a:pt x="140" y="26"/>
                        </a:cubicBezTo>
                        <a:cubicBezTo>
                          <a:pt x="140" y="26"/>
                          <a:pt x="140" y="26"/>
                          <a:pt x="141" y="26"/>
                        </a:cubicBezTo>
                        <a:cubicBezTo>
                          <a:pt x="140" y="26"/>
                          <a:pt x="139" y="26"/>
                          <a:pt x="138" y="26"/>
                        </a:cubicBezTo>
                        <a:cubicBezTo>
                          <a:pt x="139" y="26"/>
                          <a:pt x="139" y="26"/>
                          <a:pt x="139" y="26"/>
                        </a:cubicBezTo>
                        <a:cubicBezTo>
                          <a:pt x="139" y="26"/>
                          <a:pt x="139" y="26"/>
                          <a:pt x="139" y="26"/>
                        </a:cubicBezTo>
                        <a:cubicBezTo>
                          <a:pt x="139" y="26"/>
                          <a:pt x="139" y="26"/>
                          <a:pt x="139" y="26"/>
                        </a:cubicBezTo>
                        <a:cubicBezTo>
                          <a:pt x="140" y="26"/>
                          <a:pt x="140" y="26"/>
                          <a:pt x="140" y="26"/>
                        </a:cubicBezTo>
                        <a:cubicBezTo>
                          <a:pt x="140" y="25"/>
                          <a:pt x="140" y="25"/>
                          <a:pt x="140" y="25"/>
                        </a:cubicBezTo>
                        <a:cubicBezTo>
                          <a:pt x="140" y="25"/>
                          <a:pt x="140" y="25"/>
                          <a:pt x="140" y="25"/>
                        </a:cubicBezTo>
                        <a:cubicBezTo>
                          <a:pt x="140" y="26"/>
                          <a:pt x="140" y="25"/>
                          <a:pt x="140" y="26"/>
                        </a:cubicBezTo>
                        <a:cubicBezTo>
                          <a:pt x="140" y="26"/>
                          <a:pt x="140" y="26"/>
                          <a:pt x="140" y="25"/>
                        </a:cubicBezTo>
                        <a:cubicBezTo>
                          <a:pt x="138" y="26"/>
                          <a:pt x="138" y="26"/>
                          <a:pt x="137" y="26"/>
                        </a:cubicBezTo>
                        <a:cubicBezTo>
                          <a:pt x="137" y="26"/>
                          <a:pt x="137" y="26"/>
                          <a:pt x="136" y="26"/>
                        </a:cubicBezTo>
                        <a:cubicBezTo>
                          <a:pt x="137" y="26"/>
                          <a:pt x="139" y="25"/>
                          <a:pt x="140" y="25"/>
                        </a:cubicBezTo>
                        <a:cubicBezTo>
                          <a:pt x="140" y="25"/>
                          <a:pt x="141" y="25"/>
                          <a:pt x="142" y="25"/>
                        </a:cubicBezTo>
                        <a:cubicBezTo>
                          <a:pt x="142" y="25"/>
                          <a:pt x="142" y="25"/>
                          <a:pt x="141" y="25"/>
                        </a:cubicBezTo>
                        <a:cubicBezTo>
                          <a:pt x="142" y="25"/>
                          <a:pt x="141" y="25"/>
                          <a:pt x="141" y="24"/>
                        </a:cubicBezTo>
                        <a:cubicBezTo>
                          <a:pt x="141" y="24"/>
                          <a:pt x="141" y="24"/>
                          <a:pt x="142" y="24"/>
                        </a:cubicBezTo>
                        <a:cubicBezTo>
                          <a:pt x="142" y="25"/>
                          <a:pt x="142" y="25"/>
                          <a:pt x="142" y="25"/>
                        </a:cubicBezTo>
                        <a:close/>
                        <a:moveTo>
                          <a:pt x="141" y="27"/>
                        </a:moveTo>
                        <a:cubicBezTo>
                          <a:pt x="141" y="27"/>
                          <a:pt x="141" y="27"/>
                          <a:pt x="141" y="27"/>
                        </a:cubicBezTo>
                        <a:cubicBezTo>
                          <a:pt x="141" y="27"/>
                          <a:pt x="141" y="27"/>
                          <a:pt x="141" y="27"/>
                        </a:cubicBezTo>
                        <a:cubicBezTo>
                          <a:pt x="141" y="27"/>
                          <a:pt x="141" y="27"/>
                          <a:pt x="141" y="27"/>
                        </a:cubicBezTo>
                        <a:cubicBezTo>
                          <a:pt x="141" y="27"/>
                          <a:pt x="141" y="27"/>
                          <a:pt x="141" y="27"/>
                        </a:cubicBezTo>
                        <a:cubicBezTo>
                          <a:pt x="141" y="26"/>
                          <a:pt x="141" y="26"/>
                          <a:pt x="141" y="26"/>
                        </a:cubicBezTo>
                        <a:cubicBezTo>
                          <a:pt x="141" y="27"/>
                          <a:pt x="141" y="27"/>
                          <a:pt x="141" y="27"/>
                        </a:cubicBezTo>
                        <a:close/>
                        <a:moveTo>
                          <a:pt x="140" y="27"/>
                        </a:moveTo>
                        <a:cubicBezTo>
                          <a:pt x="140" y="28"/>
                          <a:pt x="140" y="27"/>
                          <a:pt x="140" y="28"/>
                        </a:cubicBezTo>
                        <a:cubicBezTo>
                          <a:pt x="140" y="28"/>
                          <a:pt x="140" y="28"/>
                          <a:pt x="140" y="28"/>
                        </a:cubicBezTo>
                        <a:cubicBezTo>
                          <a:pt x="140" y="28"/>
                          <a:pt x="140" y="28"/>
                          <a:pt x="140" y="28"/>
                        </a:cubicBezTo>
                        <a:cubicBezTo>
                          <a:pt x="140" y="28"/>
                          <a:pt x="140" y="28"/>
                          <a:pt x="140" y="28"/>
                        </a:cubicBezTo>
                        <a:cubicBezTo>
                          <a:pt x="141" y="28"/>
                          <a:pt x="141" y="28"/>
                          <a:pt x="141" y="28"/>
                        </a:cubicBezTo>
                        <a:cubicBezTo>
                          <a:pt x="141" y="28"/>
                          <a:pt x="140" y="28"/>
                          <a:pt x="140" y="28"/>
                        </a:cubicBezTo>
                        <a:cubicBezTo>
                          <a:pt x="140" y="28"/>
                          <a:pt x="140" y="28"/>
                          <a:pt x="140" y="28"/>
                        </a:cubicBezTo>
                        <a:cubicBezTo>
                          <a:pt x="140" y="28"/>
                          <a:pt x="140" y="28"/>
                          <a:pt x="140" y="28"/>
                        </a:cubicBezTo>
                        <a:cubicBezTo>
                          <a:pt x="139" y="28"/>
                          <a:pt x="140" y="28"/>
                          <a:pt x="140" y="28"/>
                        </a:cubicBezTo>
                        <a:cubicBezTo>
                          <a:pt x="139" y="28"/>
                          <a:pt x="139" y="28"/>
                          <a:pt x="139" y="28"/>
                        </a:cubicBezTo>
                        <a:cubicBezTo>
                          <a:pt x="140" y="28"/>
                          <a:pt x="140" y="27"/>
                          <a:pt x="140" y="27"/>
                        </a:cubicBezTo>
                        <a:close/>
                        <a:moveTo>
                          <a:pt x="139" y="27"/>
                        </a:moveTo>
                        <a:cubicBezTo>
                          <a:pt x="139" y="27"/>
                          <a:pt x="139" y="27"/>
                          <a:pt x="139" y="27"/>
                        </a:cubicBezTo>
                        <a:cubicBezTo>
                          <a:pt x="139" y="27"/>
                          <a:pt x="139" y="27"/>
                          <a:pt x="139" y="27"/>
                        </a:cubicBezTo>
                        <a:cubicBezTo>
                          <a:pt x="139" y="27"/>
                          <a:pt x="139" y="27"/>
                          <a:pt x="139" y="27"/>
                        </a:cubicBezTo>
                        <a:cubicBezTo>
                          <a:pt x="138" y="27"/>
                          <a:pt x="139" y="27"/>
                          <a:pt x="139" y="27"/>
                        </a:cubicBezTo>
                        <a:close/>
                        <a:moveTo>
                          <a:pt x="139" y="33"/>
                        </a:moveTo>
                        <a:cubicBezTo>
                          <a:pt x="139" y="33"/>
                          <a:pt x="139" y="33"/>
                          <a:pt x="139" y="33"/>
                        </a:cubicBezTo>
                        <a:cubicBezTo>
                          <a:pt x="138" y="33"/>
                          <a:pt x="139" y="33"/>
                          <a:pt x="139" y="33"/>
                        </a:cubicBezTo>
                        <a:cubicBezTo>
                          <a:pt x="139" y="33"/>
                          <a:pt x="139" y="33"/>
                          <a:pt x="139" y="33"/>
                        </a:cubicBezTo>
                        <a:cubicBezTo>
                          <a:pt x="139" y="33"/>
                          <a:pt x="140" y="32"/>
                          <a:pt x="140" y="32"/>
                        </a:cubicBezTo>
                        <a:cubicBezTo>
                          <a:pt x="140" y="33"/>
                          <a:pt x="140" y="33"/>
                          <a:pt x="140" y="33"/>
                        </a:cubicBezTo>
                        <a:cubicBezTo>
                          <a:pt x="140" y="33"/>
                          <a:pt x="139" y="33"/>
                          <a:pt x="139" y="33"/>
                        </a:cubicBezTo>
                        <a:cubicBezTo>
                          <a:pt x="139" y="33"/>
                          <a:pt x="139" y="33"/>
                          <a:pt x="139" y="33"/>
                        </a:cubicBezTo>
                        <a:cubicBezTo>
                          <a:pt x="139" y="33"/>
                          <a:pt x="139" y="33"/>
                          <a:pt x="139" y="33"/>
                        </a:cubicBezTo>
                        <a:close/>
                        <a:moveTo>
                          <a:pt x="137" y="29"/>
                        </a:moveTo>
                        <a:cubicBezTo>
                          <a:pt x="137" y="29"/>
                          <a:pt x="137" y="29"/>
                          <a:pt x="137" y="29"/>
                        </a:cubicBezTo>
                        <a:cubicBezTo>
                          <a:pt x="137" y="29"/>
                          <a:pt x="137" y="29"/>
                          <a:pt x="137" y="29"/>
                        </a:cubicBezTo>
                        <a:cubicBezTo>
                          <a:pt x="137" y="29"/>
                          <a:pt x="137" y="29"/>
                          <a:pt x="137" y="30"/>
                        </a:cubicBezTo>
                        <a:cubicBezTo>
                          <a:pt x="136" y="30"/>
                          <a:pt x="136" y="29"/>
                          <a:pt x="136" y="30"/>
                        </a:cubicBezTo>
                        <a:cubicBezTo>
                          <a:pt x="136" y="30"/>
                          <a:pt x="136" y="29"/>
                          <a:pt x="136" y="29"/>
                        </a:cubicBezTo>
                        <a:cubicBezTo>
                          <a:pt x="136" y="29"/>
                          <a:pt x="136" y="29"/>
                          <a:pt x="137" y="29"/>
                        </a:cubicBezTo>
                        <a:cubicBezTo>
                          <a:pt x="137" y="29"/>
                          <a:pt x="136" y="29"/>
                          <a:pt x="136" y="29"/>
                        </a:cubicBezTo>
                        <a:cubicBezTo>
                          <a:pt x="136" y="29"/>
                          <a:pt x="136" y="29"/>
                          <a:pt x="136" y="29"/>
                        </a:cubicBezTo>
                        <a:cubicBezTo>
                          <a:pt x="136" y="29"/>
                          <a:pt x="136" y="29"/>
                          <a:pt x="135" y="29"/>
                        </a:cubicBezTo>
                        <a:cubicBezTo>
                          <a:pt x="136" y="29"/>
                          <a:pt x="136" y="29"/>
                          <a:pt x="136" y="29"/>
                        </a:cubicBezTo>
                        <a:cubicBezTo>
                          <a:pt x="136" y="29"/>
                          <a:pt x="137" y="29"/>
                          <a:pt x="137" y="28"/>
                        </a:cubicBezTo>
                        <a:cubicBezTo>
                          <a:pt x="137" y="28"/>
                          <a:pt x="137" y="28"/>
                          <a:pt x="137" y="28"/>
                        </a:cubicBezTo>
                        <a:cubicBezTo>
                          <a:pt x="137" y="28"/>
                          <a:pt x="137" y="28"/>
                          <a:pt x="137" y="28"/>
                        </a:cubicBezTo>
                        <a:cubicBezTo>
                          <a:pt x="138" y="28"/>
                          <a:pt x="138" y="28"/>
                          <a:pt x="138" y="28"/>
                        </a:cubicBezTo>
                        <a:cubicBezTo>
                          <a:pt x="138" y="28"/>
                          <a:pt x="138" y="28"/>
                          <a:pt x="138" y="28"/>
                        </a:cubicBezTo>
                        <a:cubicBezTo>
                          <a:pt x="138" y="28"/>
                          <a:pt x="139" y="28"/>
                          <a:pt x="138" y="28"/>
                        </a:cubicBezTo>
                        <a:cubicBezTo>
                          <a:pt x="139" y="28"/>
                          <a:pt x="139" y="28"/>
                          <a:pt x="139" y="28"/>
                        </a:cubicBezTo>
                        <a:cubicBezTo>
                          <a:pt x="139" y="28"/>
                          <a:pt x="139" y="28"/>
                          <a:pt x="139" y="28"/>
                        </a:cubicBezTo>
                        <a:cubicBezTo>
                          <a:pt x="139" y="28"/>
                          <a:pt x="139" y="28"/>
                          <a:pt x="139" y="28"/>
                        </a:cubicBezTo>
                        <a:cubicBezTo>
                          <a:pt x="138" y="28"/>
                          <a:pt x="137" y="29"/>
                          <a:pt x="137" y="29"/>
                        </a:cubicBezTo>
                        <a:close/>
                        <a:moveTo>
                          <a:pt x="136" y="28"/>
                        </a:moveTo>
                        <a:cubicBezTo>
                          <a:pt x="137" y="28"/>
                          <a:pt x="137" y="28"/>
                          <a:pt x="137" y="27"/>
                        </a:cubicBezTo>
                        <a:cubicBezTo>
                          <a:pt x="137" y="28"/>
                          <a:pt x="137" y="28"/>
                          <a:pt x="138" y="27"/>
                        </a:cubicBezTo>
                        <a:cubicBezTo>
                          <a:pt x="138" y="27"/>
                          <a:pt x="137" y="28"/>
                          <a:pt x="137" y="28"/>
                        </a:cubicBezTo>
                        <a:cubicBezTo>
                          <a:pt x="137" y="28"/>
                          <a:pt x="137" y="28"/>
                          <a:pt x="137" y="28"/>
                        </a:cubicBezTo>
                        <a:cubicBezTo>
                          <a:pt x="137" y="28"/>
                          <a:pt x="136" y="28"/>
                          <a:pt x="136" y="28"/>
                        </a:cubicBezTo>
                        <a:close/>
                        <a:moveTo>
                          <a:pt x="132" y="27"/>
                        </a:moveTo>
                        <a:cubicBezTo>
                          <a:pt x="132" y="27"/>
                          <a:pt x="132" y="27"/>
                          <a:pt x="132" y="27"/>
                        </a:cubicBezTo>
                        <a:cubicBezTo>
                          <a:pt x="132" y="27"/>
                          <a:pt x="132" y="27"/>
                          <a:pt x="132" y="27"/>
                        </a:cubicBezTo>
                        <a:close/>
                        <a:moveTo>
                          <a:pt x="132" y="27"/>
                        </a:moveTo>
                        <a:cubicBezTo>
                          <a:pt x="132" y="26"/>
                          <a:pt x="132" y="26"/>
                          <a:pt x="132" y="26"/>
                        </a:cubicBezTo>
                        <a:cubicBezTo>
                          <a:pt x="132" y="27"/>
                          <a:pt x="132" y="27"/>
                          <a:pt x="132" y="27"/>
                        </a:cubicBezTo>
                        <a:close/>
                        <a:moveTo>
                          <a:pt x="131" y="26"/>
                        </a:moveTo>
                        <a:cubicBezTo>
                          <a:pt x="132" y="26"/>
                          <a:pt x="132" y="26"/>
                          <a:pt x="133" y="26"/>
                        </a:cubicBezTo>
                        <a:cubicBezTo>
                          <a:pt x="133" y="26"/>
                          <a:pt x="133" y="26"/>
                          <a:pt x="133" y="26"/>
                        </a:cubicBezTo>
                        <a:cubicBezTo>
                          <a:pt x="134" y="26"/>
                          <a:pt x="134" y="26"/>
                          <a:pt x="134" y="25"/>
                        </a:cubicBezTo>
                        <a:cubicBezTo>
                          <a:pt x="134" y="25"/>
                          <a:pt x="135" y="25"/>
                          <a:pt x="135" y="25"/>
                        </a:cubicBezTo>
                        <a:cubicBezTo>
                          <a:pt x="135" y="25"/>
                          <a:pt x="134" y="25"/>
                          <a:pt x="134" y="26"/>
                        </a:cubicBezTo>
                        <a:cubicBezTo>
                          <a:pt x="134" y="26"/>
                          <a:pt x="135" y="25"/>
                          <a:pt x="135" y="25"/>
                        </a:cubicBezTo>
                        <a:cubicBezTo>
                          <a:pt x="135" y="26"/>
                          <a:pt x="135" y="26"/>
                          <a:pt x="135" y="26"/>
                        </a:cubicBezTo>
                        <a:cubicBezTo>
                          <a:pt x="135" y="26"/>
                          <a:pt x="134" y="26"/>
                          <a:pt x="135" y="26"/>
                        </a:cubicBezTo>
                        <a:cubicBezTo>
                          <a:pt x="135" y="26"/>
                          <a:pt x="134" y="26"/>
                          <a:pt x="133" y="26"/>
                        </a:cubicBezTo>
                        <a:cubicBezTo>
                          <a:pt x="133" y="26"/>
                          <a:pt x="134" y="26"/>
                          <a:pt x="134" y="26"/>
                        </a:cubicBezTo>
                        <a:cubicBezTo>
                          <a:pt x="133" y="26"/>
                          <a:pt x="132" y="26"/>
                          <a:pt x="132" y="26"/>
                        </a:cubicBezTo>
                        <a:cubicBezTo>
                          <a:pt x="132" y="26"/>
                          <a:pt x="131" y="27"/>
                          <a:pt x="131" y="26"/>
                        </a:cubicBezTo>
                        <a:close/>
                        <a:moveTo>
                          <a:pt x="133" y="26"/>
                        </a:moveTo>
                        <a:cubicBezTo>
                          <a:pt x="133" y="26"/>
                          <a:pt x="134" y="26"/>
                          <a:pt x="134" y="26"/>
                        </a:cubicBezTo>
                        <a:cubicBezTo>
                          <a:pt x="134" y="26"/>
                          <a:pt x="133" y="26"/>
                          <a:pt x="133" y="26"/>
                        </a:cubicBezTo>
                        <a:close/>
                        <a:moveTo>
                          <a:pt x="136" y="29"/>
                        </a:moveTo>
                        <a:cubicBezTo>
                          <a:pt x="135" y="29"/>
                          <a:pt x="135" y="29"/>
                          <a:pt x="135" y="29"/>
                        </a:cubicBezTo>
                        <a:cubicBezTo>
                          <a:pt x="135" y="29"/>
                          <a:pt x="135" y="29"/>
                          <a:pt x="135" y="29"/>
                        </a:cubicBezTo>
                        <a:cubicBezTo>
                          <a:pt x="135" y="29"/>
                          <a:pt x="135" y="29"/>
                          <a:pt x="135" y="29"/>
                        </a:cubicBezTo>
                        <a:cubicBezTo>
                          <a:pt x="135" y="29"/>
                          <a:pt x="136" y="29"/>
                          <a:pt x="136" y="29"/>
                        </a:cubicBezTo>
                        <a:close/>
                        <a:moveTo>
                          <a:pt x="133" y="28"/>
                        </a:moveTo>
                        <a:cubicBezTo>
                          <a:pt x="133" y="28"/>
                          <a:pt x="134" y="28"/>
                          <a:pt x="134" y="28"/>
                        </a:cubicBezTo>
                        <a:cubicBezTo>
                          <a:pt x="134" y="28"/>
                          <a:pt x="134" y="28"/>
                          <a:pt x="134" y="28"/>
                        </a:cubicBezTo>
                        <a:cubicBezTo>
                          <a:pt x="135" y="28"/>
                          <a:pt x="134" y="28"/>
                          <a:pt x="135" y="28"/>
                        </a:cubicBezTo>
                        <a:cubicBezTo>
                          <a:pt x="135" y="28"/>
                          <a:pt x="135" y="28"/>
                          <a:pt x="135" y="28"/>
                        </a:cubicBezTo>
                        <a:cubicBezTo>
                          <a:pt x="135" y="28"/>
                          <a:pt x="135" y="29"/>
                          <a:pt x="134" y="29"/>
                        </a:cubicBezTo>
                        <a:cubicBezTo>
                          <a:pt x="134" y="29"/>
                          <a:pt x="134" y="29"/>
                          <a:pt x="135" y="29"/>
                        </a:cubicBezTo>
                        <a:cubicBezTo>
                          <a:pt x="134" y="29"/>
                          <a:pt x="134" y="29"/>
                          <a:pt x="134" y="29"/>
                        </a:cubicBezTo>
                        <a:cubicBezTo>
                          <a:pt x="134" y="29"/>
                          <a:pt x="134" y="29"/>
                          <a:pt x="134" y="29"/>
                        </a:cubicBezTo>
                        <a:cubicBezTo>
                          <a:pt x="134" y="29"/>
                          <a:pt x="134" y="29"/>
                          <a:pt x="134" y="29"/>
                        </a:cubicBezTo>
                        <a:cubicBezTo>
                          <a:pt x="134" y="29"/>
                          <a:pt x="134" y="29"/>
                          <a:pt x="134" y="29"/>
                        </a:cubicBezTo>
                        <a:cubicBezTo>
                          <a:pt x="134" y="29"/>
                          <a:pt x="134" y="29"/>
                          <a:pt x="134" y="29"/>
                        </a:cubicBezTo>
                        <a:cubicBezTo>
                          <a:pt x="133" y="29"/>
                          <a:pt x="133" y="29"/>
                          <a:pt x="133" y="29"/>
                        </a:cubicBezTo>
                        <a:cubicBezTo>
                          <a:pt x="133" y="29"/>
                          <a:pt x="133" y="29"/>
                          <a:pt x="133" y="29"/>
                        </a:cubicBezTo>
                        <a:cubicBezTo>
                          <a:pt x="132" y="29"/>
                          <a:pt x="132" y="29"/>
                          <a:pt x="132" y="29"/>
                        </a:cubicBezTo>
                        <a:cubicBezTo>
                          <a:pt x="132" y="29"/>
                          <a:pt x="132" y="29"/>
                          <a:pt x="133" y="29"/>
                        </a:cubicBezTo>
                        <a:cubicBezTo>
                          <a:pt x="132" y="29"/>
                          <a:pt x="133" y="30"/>
                          <a:pt x="132" y="30"/>
                        </a:cubicBezTo>
                        <a:cubicBezTo>
                          <a:pt x="132" y="30"/>
                          <a:pt x="132" y="30"/>
                          <a:pt x="132" y="29"/>
                        </a:cubicBezTo>
                        <a:cubicBezTo>
                          <a:pt x="132" y="29"/>
                          <a:pt x="131" y="30"/>
                          <a:pt x="131" y="30"/>
                        </a:cubicBezTo>
                        <a:cubicBezTo>
                          <a:pt x="130" y="30"/>
                          <a:pt x="131" y="30"/>
                          <a:pt x="130" y="30"/>
                        </a:cubicBezTo>
                        <a:cubicBezTo>
                          <a:pt x="130" y="30"/>
                          <a:pt x="130" y="30"/>
                          <a:pt x="130" y="30"/>
                        </a:cubicBezTo>
                        <a:cubicBezTo>
                          <a:pt x="130" y="30"/>
                          <a:pt x="129" y="30"/>
                          <a:pt x="129" y="30"/>
                        </a:cubicBezTo>
                        <a:cubicBezTo>
                          <a:pt x="129" y="30"/>
                          <a:pt x="130" y="30"/>
                          <a:pt x="130" y="29"/>
                        </a:cubicBezTo>
                        <a:cubicBezTo>
                          <a:pt x="130" y="30"/>
                          <a:pt x="130" y="30"/>
                          <a:pt x="130" y="30"/>
                        </a:cubicBezTo>
                        <a:cubicBezTo>
                          <a:pt x="131" y="30"/>
                          <a:pt x="131" y="29"/>
                          <a:pt x="131" y="29"/>
                        </a:cubicBezTo>
                        <a:cubicBezTo>
                          <a:pt x="132" y="29"/>
                          <a:pt x="131" y="29"/>
                          <a:pt x="131" y="29"/>
                        </a:cubicBezTo>
                        <a:cubicBezTo>
                          <a:pt x="132" y="29"/>
                          <a:pt x="133" y="29"/>
                          <a:pt x="134" y="29"/>
                        </a:cubicBezTo>
                        <a:cubicBezTo>
                          <a:pt x="134" y="29"/>
                          <a:pt x="134" y="28"/>
                          <a:pt x="133" y="28"/>
                        </a:cubicBezTo>
                        <a:close/>
                        <a:moveTo>
                          <a:pt x="132" y="27"/>
                        </a:moveTo>
                        <a:cubicBezTo>
                          <a:pt x="132" y="27"/>
                          <a:pt x="132" y="27"/>
                          <a:pt x="132" y="27"/>
                        </a:cubicBezTo>
                        <a:cubicBezTo>
                          <a:pt x="132" y="27"/>
                          <a:pt x="132" y="27"/>
                          <a:pt x="132" y="27"/>
                        </a:cubicBezTo>
                        <a:cubicBezTo>
                          <a:pt x="133" y="26"/>
                          <a:pt x="134" y="26"/>
                          <a:pt x="135" y="26"/>
                        </a:cubicBezTo>
                        <a:cubicBezTo>
                          <a:pt x="135" y="26"/>
                          <a:pt x="135" y="26"/>
                          <a:pt x="135" y="26"/>
                        </a:cubicBezTo>
                        <a:cubicBezTo>
                          <a:pt x="135" y="26"/>
                          <a:pt x="135" y="26"/>
                          <a:pt x="135" y="26"/>
                        </a:cubicBezTo>
                        <a:cubicBezTo>
                          <a:pt x="135" y="26"/>
                          <a:pt x="135" y="26"/>
                          <a:pt x="135" y="26"/>
                        </a:cubicBezTo>
                        <a:cubicBezTo>
                          <a:pt x="136" y="26"/>
                          <a:pt x="136" y="26"/>
                          <a:pt x="136" y="26"/>
                        </a:cubicBezTo>
                        <a:cubicBezTo>
                          <a:pt x="136" y="26"/>
                          <a:pt x="135" y="26"/>
                          <a:pt x="135" y="26"/>
                        </a:cubicBezTo>
                        <a:cubicBezTo>
                          <a:pt x="135" y="26"/>
                          <a:pt x="136" y="26"/>
                          <a:pt x="136" y="26"/>
                        </a:cubicBezTo>
                        <a:cubicBezTo>
                          <a:pt x="136" y="26"/>
                          <a:pt x="135" y="26"/>
                          <a:pt x="135" y="26"/>
                        </a:cubicBezTo>
                        <a:cubicBezTo>
                          <a:pt x="135" y="27"/>
                          <a:pt x="135" y="27"/>
                          <a:pt x="134" y="27"/>
                        </a:cubicBezTo>
                        <a:cubicBezTo>
                          <a:pt x="134" y="27"/>
                          <a:pt x="134" y="27"/>
                          <a:pt x="134" y="27"/>
                        </a:cubicBezTo>
                        <a:cubicBezTo>
                          <a:pt x="134" y="27"/>
                          <a:pt x="133" y="27"/>
                          <a:pt x="133" y="27"/>
                        </a:cubicBezTo>
                        <a:cubicBezTo>
                          <a:pt x="133" y="27"/>
                          <a:pt x="133" y="27"/>
                          <a:pt x="133" y="27"/>
                        </a:cubicBezTo>
                        <a:cubicBezTo>
                          <a:pt x="132" y="27"/>
                          <a:pt x="132" y="27"/>
                          <a:pt x="132" y="27"/>
                        </a:cubicBezTo>
                        <a:close/>
                        <a:moveTo>
                          <a:pt x="133" y="27"/>
                        </a:moveTo>
                        <a:cubicBezTo>
                          <a:pt x="133" y="27"/>
                          <a:pt x="133" y="27"/>
                          <a:pt x="133" y="27"/>
                        </a:cubicBezTo>
                        <a:cubicBezTo>
                          <a:pt x="133" y="27"/>
                          <a:pt x="133" y="27"/>
                          <a:pt x="133" y="27"/>
                        </a:cubicBezTo>
                        <a:close/>
                        <a:moveTo>
                          <a:pt x="134" y="32"/>
                        </a:moveTo>
                        <a:cubicBezTo>
                          <a:pt x="134" y="32"/>
                          <a:pt x="135" y="32"/>
                          <a:pt x="135" y="32"/>
                        </a:cubicBezTo>
                        <a:cubicBezTo>
                          <a:pt x="135" y="32"/>
                          <a:pt x="135" y="32"/>
                          <a:pt x="136" y="32"/>
                        </a:cubicBezTo>
                        <a:cubicBezTo>
                          <a:pt x="135" y="32"/>
                          <a:pt x="134" y="32"/>
                          <a:pt x="134" y="32"/>
                        </a:cubicBezTo>
                        <a:cubicBezTo>
                          <a:pt x="134" y="32"/>
                          <a:pt x="134" y="32"/>
                          <a:pt x="134" y="32"/>
                        </a:cubicBezTo>
                        <a:close/>
                        <a:moveTo>
                          <a:pt x="132" y="30"/>
                        </a:moveTo>
                        <a:cubicBezTo>
                          <a:pt x="133" y="30"/>
                          <a:pt x="133" y="30"/>
                          <a:pt x="132" y="30"/>
                        </a:cubicBezTo>
                        <a:cubicBezTo>
                          <a:pt x="133" y="30"/>
                          <a:pt x="134" y="30"/>
                          <a:pt x="134" y="30"/>
                        </a:cubicBezTo>
                        <a:cubicBezTo>
                          <a:pt x="134" y="30"/>
                          <a:pt x="134" y="30"/>
                          <a:pt x="134" y="30"/>
                        </a:cubicBezTo>
                        <a:cubicBezTo>
                          <a:pt x="135" y="30"/>
                          <a:pt x="134" y="30"/>
                          <a:pt x="135" y="30"/>
                        </a:cubicBezTo>
                        <a:cubicBezTo>
                          <a:pt x="135" y="30"/>
                          <a:pt x="135" y="30"/>
                          <a:pt x="135" y="30"/>
                        </a:cubicBezTo>
                        <a:cubicBezTo>
                          <a:pt x="134" y="30"/>
                          <a:pt x="134" y="30"/>
                          <a:pt x="133" y="30"/>
                        </a:cubicBezTo>
                        <a:cubicBezTo>
                          <a:pt x="134" y="30"/>
                          <a:pt x="132" y="31"/>
                          <a:pt x="131" y="31"/>
                        </a:cubicBezTo>
                        <a:cubicBezTo>
                          <a:pt x="132" y="30"/>
                          <a:pt x="132" y="30"/>
                          <a:pt x="132" y="30"/>
                        </a:cubicBezTo>
                        <a:close/>
                        <a:moveTo>
                          <a:pt x="134" y="31"/>
                        </a:moveTo>
                        <a:cubicBezTo>
                          <a:pt x="134" y="32"/>
                          <a:pt x="134" y="32"/>
                          <a:pt x="134" y="32"/>
                        </a:cubicBezTo>
                        <a:cubicBezTo>
                          <a:pt x="134" y="32"/>
                          <a:pt x="135" y="31"/>
                          <a:pt x="135" y="32"/>
                        </a:cubicBezTo>
                        <a:cubicBezTo>
                          <a:pt x="134" y="32"/>
                          <a:pt x="134" y="32"/>
                          <a:pt x="133" y="32"/>
                        </a:cubicBezTo>
                        <a:cubicBezTo>
                          <a:pt x="133" y="32"/>
                          <a:pt x="134" y="32"/>
                          <a:pt x="134" y="32"/>
                        </a:cubicBezTo>
                        <a:cubicBezTo>
                          <a:pt x="134" y="32"/>
                          <a:pt x="133" y="32"/>
                          <a:pt x="133" y="32"/>
                        </a:cubicBezTo>
                        <a:cubicBezTo>
                          <a:pt x="133" y="32"/>
                          <a:pt x="133" y="32"/>
                          <a:pt x="134" y="31"/>
                        </a:cubicBezTo>
                        <a:close/>
                        <a:moveTo>
                          <a:pt x="135" y="33"/>
                        </a:moveTo>
                        <a:cubicBezTo>
                          <a:pt x="135" y="33"/>
                          <a:pt x="135" y="33"/>
                          <a:pt x="135" y="33"/>
                        </a:cubicBezTo>
                        <a:cubicBezTo>
                          <a:pt x="135" y="33"/>
                          <a:pt x="135" y="33"/>
                          <a:pt x="135" y="33"/>
                        </a:cubicBezTo>
                        <a:cubicBezTo>
                          <a:pt x="136" y="33"/>
                          <a:pt x="135" y="33"/>
                          <a:pt x="135" y="33"/>
                        </a:cubicBezTo>
                        <a:close/>
                        <a:moveTo>
                          <a:pt x="132" y="28"/>
                        </a:moveTo>
                        <a:cubicBezTo>
                          <a:pt x="133" y="27"/>
                          <a:pt x="133" y="28"/>
                          <a:pt x="133" y="28"/>
                        </a:cubicBezTo>
                        <a:cubicBezTo>
                          <a:pt x="133" y="28"/>
                          <a:pt x="133" y="28"/>
                          <a:pt x="133" y="28"/>
                        </a:cubicBezTo>
                        <a:cubicBezTo>
                          <a:pt x="134" y="28"/>
                          <a:pt x="133" y="28"/>
                          <a:pt x="132" y="28"/>
                        </a:cubicBezTo>
                        <a:close/>
                        <a:moveTo>
                          <a:pt x="130" y="33"/>
                        </a:moveTo>
                        <a:cubicBezTo>
                          <a:pt x="130" y="32"/>
                          <a:pt x="129" y="33"/>
                          <a:pt x="129" y="32"/>
                        </a:cubicBezTo>
                        <a:cubicBezTo>
                          <a:pt x="130" y="32"/>
                          <a:pt x="130" y="32"/>
                          <a:pt x="130" y="32"/>
                        </a:cubicBezTo>
                        <a:cubicBezTo>
                          <a:pt x="130" y="32"/>
                          <a:pt x="131" y="32"/>
                          <a:pt x="131" y="32"/>
                        </a:cubicBezTo>
                        <a:cubicBezTo>
                          <a:pt x="131" y="32"/>
                          <a:pt x="131" y="32"/>
                          <a:pt x="131" y="32"/>
                        </a:cubicBezTo>
                        <a:cubicBezTo>
                          <a:pt x="132" y="32"/>
                          <a:pt x="132" y="32"/>
                          <a:pt x="133" y="32"/>
                        </a:cubicBezTo>
                        <a:cubicBezTo>
                          <a:pt x="132" y="32"/>
                          <a:pt x="132" y="32"/>
                          <a:pt x="132" y="32"/>
                        </a:cubicBezTo>
                        <a:cubicBezTo>
                          <a:pt x="133" y="32"/>
                          <a:pt x="133" y="32"/>
                          <a:pt x="133" y="32"/>
                        </a:cubicBezTo>
                        <a:cubicBezTo>
                          <a:pt x="133" y="32"/>
                          <a:pt x="133" y="32"/>
                          <a:pt x="133" y="32"/>
                        </a:cubicBezTo>
                        <a:cubicBezTo>
                          <a:pt x="133" y="32"/>
                          <a:pt x="133" y="32"/>
                          <a:pt x="133" y="32"/>
                        </a:cubicBezTo>
                        <a:cubicBezTo>
                          <a:pt x="133" y="32"/>
                          <a:pt x="131" y="32"/>
                          <a:pt x="131" y="33"/>
                        </a:cubicBezTo>
                        <a:cubicBezTo>
                          <a:pt x="130" y="33"/>
                          <a:pt x="129" y="33"/>
                          <a:pt x="129" y="33"/>
                        </a:cubicBezTo>
                        <a:cubicBezTo>
                          <a:pt x="129" y="33"/>
                          <a:pt x="130" y="33"/>
                          <a:pt x="130" y="33"/>
                        </a:cubicBezTo>
                        <a:close/>
                        <a:moveTo>
                          <a:pt x="132" y="28"/>
                        </a:moveTo>
                        <a:cubicBezTo>
                          <a:pt x="132" y="28"/>
                          <a:pt x="132" y="28"/>
                          <a:pt x="132" y="27"/>
                        </a:cubicBezTo>
                        <a:cubicBezTo>
                          <a:pt x="132" y="27"/>
                          <a:pt x="131" y="28"/>
                          <a:pt x="131" y="28"/>
                        </a:cubicBezTo>
                        <a:cubicBezTo>
                          <a:pt x="131" y="28"/>
                          <a:pt x="131" y="27"/>
                          <a:pt x="131" y="27"/>
                        </a:cubicBezTo>
                        <a:cubicBezTo>
                          <a:pt x="130" y="28"/>
                          <a:pt x="130" y="28"/>
                          <a:pt x="129" y="28"/>
                        </a:cubicBezTo>
                        <a:cubicBezTo>
                          <a:pt x="129" y="28"/>
                          <a:pt x="129" y="28"/>
                          <a:pt x="129" y="28"/>
                        </a:cubicBezTo>
                        <a:cubicBezTo>
                          <a:pt x="128" y="28"/>
                          <a:pt x="128" y="28"/>
                          <a:pt x="128" y="28"/>
                        </a:cubicBezTo>
                        <a:cubicBezTo>
                          <a:pt x="128" y="28"/>
                          <a:pt x="128" y="28"/>
                          <a:pt x="128" y="28"/>
                        </a:cubicBezTo>
                        <a:cubicBezTo>
                          <a:pt x="127" y="28"/>
                          <a:pt x="127" y="28"/>
                          <a:pt x="127" y="29"/>
                        </a:cubicBezTo>
                        <a:cubicBezTo>
                          <a:pt x="126" y="28"/>
                          <a:pt x="127" y="28"/>
                          <a:pt x="128" y="28"/>
                        </a:cubicBezTo>
                        <a:cubicBezTo>
                          <a:pt x="129" y="28"/>
                          <a:pt x="130" y="27"/>
                          <a:pt x="131" y="27"/>
                        </a:cubicBezTo>
                        <a:cubicBezTo>
                          <a:pt x="131" y="27"/>
                          <a:pt x="131" y="27"/>
                          <a:pt x="131" y="27"/>
                        </a:cubicBezTo>
                        <a:cubicBezTo>
                          <a:pt x="131" y="27"/>
                          <a:pt x="131" y="27"/>
                          <a:pt x="132" y="27"/>
                        </a:cubicBezTo>
                        <a:cubicBezTo>
                          <a:pt x="132" y="27"/>
                          <a:pt x="132" y="27"/>
                          <a:pt x="132" y="27"/>
                        </a:cubicBezTo>
                        <a:cubicBezTo>
                          <a:pt x="132" y="27"/>
                          <a:pt x="132" y="27"/>
                          <a:pt x="132" y="28"/>
                        </a:cubicBezTo>
                        <a:cubicBezTo>
                          <a:pt x="132" y="28"/>
                          <a:pt x="132" y="28"/>
                          <a:pt x="132" y="28"/>
                        </a:cubicBezTo>
                        <a:close/>
                        <a:moveTo>
                          <a:pt x="130" y="32"/>
                        </a:moveTo>
                        <a:cubicBezTo>
                          <a:pt x="130" y="32"/>
                          <a:pt x="131" y="32"/>
                          <a:pt x="130" y="32"/>
                        </a:cubicBezTo>
                        <a:cubicBezTo>
                          <a:pt x="130" y="32"/>
                          <a:pt x="130" y="32"/>
                          <a:pt x="129" y="32"/>
                        </a:cubicBezTo>
                        <a:cubicBezTo>
                          <a:pt x="130" y="32"/>
                          <a:pt x="132" y="31"/>
                          <a:pt x="133" y="31"/>
                        </a:cubicBezTo>
                        <a:cubicBezTo>
                          <a:pt x="132" y="32"/>
                          <a:pt x="131" y="32"/>
                          <a:pt x="130" y="32"/>
                        </a:cubicBezTo>
                        <a:close/>
                        <a:moveTo>
                          <a:pt x="130" y="27"/>
                        </a:moveTo>
                        <a:cubicBezTo>
                          <a:pt x="130" y="27"/>
                          <a:pt x="130" y="27"/>
                          <a:pt x="131" y="27"/>
                        </a:cubicBezTo>
                        <a:cubicBezTo>
                          <a:pt x="130" y="27"/>
                          <a:pt x="130" y="27"/>
                          <a:pt x="130" y="27"/>
                        </a:cubicBezTo>
                        <a:close/>
                        <a:moveTo>
                          <a:pt x="130" y="34"/>
                        </a:moveTo>
                        <a:cubicBezTo>
                          <a:pt x="130" y="34"/>
                          <a:pt x="130" y="34"/>
                          <a:pt x="130" y="34"/>
                        </a:cubicBezTo>
                        <a:cubicBezTo>
                          <a:pt x="130" y="34"/>
                          <a:pt x="130" y="34"/>
                          <a:pt x="130" y="34"/>
                        </a:cubicBezTo>
                        <a:close/>
                        <a:moveTo>
                          <a:pt x="128" y="30"/>
                        </a:moveTo>
                        <a:cubicBezTo>
                          <a:pt x="128" y="30"/>
                          <a:pt x="128" y="30"/>
                          <a:pt x="127" y="30"/>
                        </a:cubicBezTo>
                        <a:cubicBezTo>
                          <a:pt x="128" y="30"/>
                          <a:pt x="126" y="31"/>
                          <a:pt x="126" y="31"/>
                        </a:cubicBezTo>
                        <a:cubicBezTo>
                          <a:pt x="126" y="31"/>
                          <a:pt x="127" y="30"/>
                          <a:pt x="128" y="30"/>
                        </a:cubicBezTo>
                        <a:cubicBezTo>
                          <a:pt x="128" y="30"/>
                          <a:pt x="128" y="30"/>
                          <a:pt x="128" y="30"/>
                        </a:cubicBezTo>
                        <a:cubicBezTo>
                          <a:pt x="128" y="30"/>
                          <a:pt x="129" y="30"/>
                          <a:pt x="129" y="30"/>
                        </a:cubicBezTo>
                        <a:cubicBezTo>
                          <a:pt x="129" y="30"/>
                          <a:pt x="129" y="30"/>
                          <a:pt x="129" y="30"/>
                        </a:cubicBezTo>
                        <a:cubicBezTo>
                          <a:pt x="129" y="30"/>
                          <a:pt x="129" y="30"/>
                          <a:pt x="129" y="30"/>
                        </a:cubicBezTo>
                        <a:cubicBezTo>
                          <a:pt x="129" y="30"/>
                          <a:pt x="128" y="30"/>
                          <a:pt x="128" y="30"/>
                        </a:cubicBezTo>
                        <a:cubicBezTo>
                          <a:pt x="128" y="30"/>
                          <a:pt x="128" y="30"/>
                          <a:pt x="128" y="30"/>
                        </a:cubicBezTo>
                        <a:close/>
                        <a:moveTo>
                          <a:pt x="129" y="36"/>
                        </a:moveTo>
                        <a:cubicBezTo>
                          <a:pt x="129" y="36"/>
                          <a:pt x="129" y="36"/>
                          <a:pt x="129" y="36"/>
                        </a:cubicBezTo>
                        <a:cubicBezTo>
                          <a:pt x="130" y="36"/>
                          <a:pt x="130" y="36"/>
                          <a:pt x="130" y="36"/>
                        </a:cubicBezTo>
                        <a:cubicBezTo>
                          <a:pt x="129" y="36"/>
                          <a:pt x="129" y="36"/>
                          <a:pt x="129" y="36"/>
                        </a:cubicBezTo>
                        <a:close/>
                        <a:moveTo>
                          <a:pt x="126" y="27"/>
                        </a:moveTo>
                        <a:cubicBezTo>
                          <a:pt x="126" y="27"/>
                          <a:pt x="126" y="27"/>
                          <a:pt x="126" y="27"/>
                        </a:cubicBezTo>
                        <a:cubicBezTo>
                          <a:pt x="126" y="27"/>
                          <a:pt x="126" y="27"/>
                          <a:pt x="125" y="27"/>
                        </a:cubicBezTo>
                        <a:cubicBezTo>
                          <a:pt x="125" y="27"/>
                          <a:pt x="126" y="27"/>
                          <a:pt x="126" y="27"/>
                        </a:cubicBezTo>
                        <a:close/>
                        <a:moveTo>
                          <a:pt x="127" y="30"/>
                        </a:moveTo>
                        <a:cubicBezTo>
                          <a:pt x="127" y="30"/>
                          <a:pt x="127" y="30"/>
                          <a:pt x="126" y="30"/>
                        </a:cubicBezTo>
                        <a:cubicBezTo>
                          <a:pt x="126" y="30"/>
                          <a:pt x="127" y="30"/>
                          <a:pt x="127" y="30"/>
                        </a:cubicBezTo>
                        <a:close/>
                        <a:moveTo>
                          <a:pt x="126" y="38"/>
                        </a:moveTo>
                        <a:cubicBezTo>
                          <a:pt x="126" y="37"/>
                          <a:pt x="125" y="38"/>
                          <a:pt x="125" y="38"/>
                        </a:cubicBezTo>
                        <a:cubicBezTo>
                          <a:pt x="125" y="38"/>
                          <a:pt x="125" y="38"/>
                          <a:pt x="126" y="37"/>
                        </a:cubicBez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6" y="38"/>
                          <a:pt x="127" y="38"/>
                          <a:pt x="126" y="38"/>
                        </a:cubicBezTo>
                        <a:close/>
                        <a:moveTo>
                          <a:pt x="126" y="37"/>
                        </a:moveTo>
                        <a:cubicBezTo>
                          <a:pt x="126" y="37"/>
                          <a:pt x="126" y="37"/>
                          <a:pt x="126" y="37"/>
                        </a:cubicBezTo>
                        <a:cubicBezTo>
                          <a:pt x="125" y="38"/>
                          <a:pt x="125" y="38"/>
                          <a:pt x="125" y="38"/>
                        </a:cubicBezTo>
                        <a:cubicBezTo>
                          <a:pt x="125" y="37"/>
                          <a:pt x="123" y="38"/>
                          <a:pt x="123" y="38"/>
                        </a:cubicBezTo>
                        <a:cubicBezTo>
                          <a:pt x="124" y="38"/>
                          <a:pt x="124" y="37"/>
                          <a:pt x="125" y="37"/>
                        </a:cubicBezTo>
                        <a:cubicBezTo>
                          <a:pt x="125" y="37"/>
                          <a:pt x="125" y="37"/>
                          <a:pt x="126" y="37"/>
                        </a:cubicBezTo>
                        <a:cubicBezTo>
                          <a:pt x="126" y="37"/>
                          <a:pt x="126" y="37"/>
                          <a:pt x="126" y="37"/>
                        </a:cubicBezTo>
                        <a:cubicBezTo>
                          <a:pt x="126" y="37"/>
                          <a:pt x="126" y="37"/>
                          <a:pt x="126" y="37"/>
                        </a:cubicBezTo>
                        <a:cubicBezTo>
                          <a:pt x="126" y="37"/>
                          <a:pt x="126" y="37"/>
                          <a:pt x="126" y="37"/>
                        </a:cubicBezTo>
                        <a:close/>
                        <a:moveTo>
                          <a:pt x="121" y="30"/>
                        </a:moveTo>
                        <a:cubicBezTo>
                          <a:pt x="122" y="30"/>
                          <a:pt x="122" y="30"/>
                          <a:pt x="122" y="29"/>
                        </a:cubicBezTo>
                        <a:cubicBezTo>
                          <a:pt x="122" y="30"/>
                          <a:pt x="122" y="29"/>
                          <a:pt x="123" y="29"/>
                        </a:cubicBezTo>
                        <a:cubicBezTo>
                          <a:pt x="123" y="29"/>
                          <a:pt x="123" y="30"/>
                          <a:pt x="122" y="29"/>
                        </a:cubicBezTo>
                        <a:cubicBezTo>
                          <a:pt x="122" y="30"/>
                          <a:pt x="122" y="30"/>
                          <a:pt x="123" y="30"/>
                        </a:cubicBezTo>
                        <a:cubicBezTo>
                          <a:pt x="122" y="30"/>
                          <a:pt x="122" y="30"/>
                          <a:pt x="121" y="30"/>
                        </a:cubicBezTo>
                        <a:close/>
                        <a:moveTo>
                          <a:pt x="122" y="28"/>
                        </a:moveTo>
                        <a:cubicBezTo>
                          <a:pt x="122" y="28"/>
                          <a:pt x="122" y="28"/>
                          <a:pt x="122" y="28"/>
                        </a:cubicBezTo>
                        <a:cubicBezTo>
                          <a:pt x="122" y="28"/>
                          <a:pt x="122" y="28"/>
                          <a:pt x="122" y="28"/>
                        </a:cubicBezTo>
                        <a:cubicBezTo>
                          <a:pt x="122" y="28"/>
                          <a:pt x="122" y="28"/>
                          <a:pt x="122" y="28"/>
                        </a:cubicBezTo>
                        <a:cubicBezTo>
                          <a:pt x="122" y="28"/>
                          <a:pt x="122" y="28"/>
                          <a:pt x="122" y="28"/>
                        </a:cubicBezTo>
                        <a:cubicBezTo>
                          <a:pt x="122" y="28"/>
                          <a:pt x="122" y="28"/>
                          <a:pt x="122" y="28"/>
                        </a:cubicBezTo>
                        <a:close/>
                        <a:moveTo>
                          <a:pt x="118" y="29"/>
                        </a:moveTo>
                        <a:cubicBezTo>
                          <a:pt x="118" y="29"/>
                          <a:pt x="118" y="29"/>
                          <a:pt x="118" y="29"/>
                        </a:cubicBezTo>
                        <a:cubicBezTo>
                          <a:pt x="118" y="29"/>
                          <a:pt x="118" y="29"/>
                          <a:pt x="117" y="29"/>
                        </a:cubicBezTo>
                        <a:cubicBezTo>
                          <a:pt x="118" y="29"/>
                          <a:pt x="120" y="29"/>
                          <a:pt x="121" y="28"/>
                        </a:cubicBezTo>
                        <a:cubicBezTo>
                          <a:pt x="121" y="28"/>
                          <a:pt x="121" y="28"/>
                          <a:pt x="120" y="29"/>
                        </a:cubicBezTo>
                        <a:cubicBezTo>
                          <a:pt x="120" y="29"/>
                          <a:pt x="121" y="29"/>
                          <a:pt x="121" y="29"/>
                        </a:cubicBezTo>
                        <a:cubicBezTo>
                          <a:pt x="121" y="29"/>
                          <a:pt x="120" y="29"/>
                          <a:pt x="120" y="29"/>
                        </a:cubicBezTo>
                        <a:cubicBezTo>
                          <a:pt x="120" y="29"/>
                          <a:pt x="120" y="29"/>
                          <a:pt x="120" y="29"/>
                        </a:cubicBezTo>
                        <a:cubicBezTo>
                          <a:pt x="119" y="29"/>
                          <a:pt x="119" y="29"/>
                          <a:pt x="118" y="29"/>
                        </a:cubicBezTo>
                        <a:cubicBezTo>
                          <a:pt x="118" y="29"/>
                          <a:pt x="118" y="29"/>
                          <a:pt x="119" y="29"/>
                        </a:cubicBezTo>
                        <a:cubicBezTo>
                          <a:pt x="119" y="29"/>
                          <a:pt x="118" y="29"/>
                          <a:pt x="118" y="29"/>
                        </a:cubicBezTo>
                        <a:close/>
                        <a:moveTo>
                          <a:pt x="121" y="30"/>
                        </a:moveTo>
                        <a:cubicBezTo>
                          <a:pt x="121" y="30"/>
                          <a:pt x="121" y="30"/>
                          <a:pt x="120" y="30"/>
                        </a:cubicBezTo>
                        <a:cubicBezTo>
                          <a:pt x="121" y="30"/>
                          <a:pt x="121" y="30"/>
                          <a:pt x="121" y="30"/>
                        </a:cubicBezTo>
                        <a:cubicBezTo>
                          <a:pt x="122" y="30"/>
                          <a:pt x="121" y="30"/>
                          <a:pt x="121" y="30"/>
                        </a:cubicBezTo>
                        <a:close/>
                        <a:moveTo>
                          <a:pt x="116" y="32"/>
                        </a:moveTo>
                        <a:cubicBezTo>
                          <a:pt x="118" y="31"/>
                          <a:pt x="119" y="31"/>
                          <a:pt x="120" y="31"/>
                        </a:cubicBezTo>
                        <a:cubicBezTo>
                          <a:pt x="120" y="31"/>
                          <a:pt x="120" y="31"/>
                          <a:pt x="119" y="31"/>
                        </a:cubicBezTo>
                        <a:cubicBezTo>
                          <a:pt x="119" y="31"/>
                          <a:pt x="119" y="31"/>
                          <a:pt x="119" y="31"/>
                        </a:cubicBezTo>
                        <a:cubicBezTo>
                          <a:pt x="120" y="31"/>
                          <a:pt x="121" y="31"/>
                          <a:pt x="121" y="31"/>
                        </a:cubicBezTo>
                        <a:cubicBezTo>
                          <a:pt x="121" y="31"/>
                          <a:pt x="121" y="31"/>
                          <a:pt x="121" y="31"/>
                        </a:cubicBezTo>
                        <a:cubicBezTo>
                          <a:pt x="120" y="31"/>
                          <a:pt x="120" y="31"/>
                          <a:pt x="119" y="31"/>
                        </a:cubicBezTo>
                        <a:cubicBezTo>
                          <a:pt x="120" y="32"/>
                          <a:pt x="120" y="31"/>
                          <a:pt x="120" y="31"/>
                        </a:cubicBezTo>
                        <a:cubicBezTo>
                          <a:pt x="121" y="31"/>
                          <a:pt x="121" y="31"/>
                          <a:pt x="121" y="31"/>
                        </a:cubicBezTo>
                        <a:cubicBezTo>
                          <a:pt x="121" y="31"/>
                          <a:pt x="121" y="31"/>
                          <a:pt x="121" y="31"/>
                        </a:cubicBezTo>
                        <a:cubicBezTo>
                          <a:pt x="121" y="32"/>
                          <a:pt x="121" y="32"/>
                          <a:pt x="121" y="32"/>
                        </a:cubicBezTo>
                        <a:cubicBezTo>
                          <a:pt x="121" y="32"/>
                          <a:pt x="121" y="31"/>
                          <a:pt x="120" y="32"/>
                        </a:cubicBezTo>
                        <a:cubicBezTo>
                          <a:pt x="120" y="32"/>
                          <a:pt x="121" y="32"/>
                          <a:pt x="121" y="32"/>
                        </a:cubicBezTo>
                        <a:cubicBezTo>
                          <a:pt x="120" y="32"/>
                          <a:pt x="120" y="32"/>
                          <a:pt x="119" y="32"/>
                        </a:cubicBezTo>
                        <a:cubicBezTo>
                          <a:pt x="119" y="32"/>
                          <a:pt x="119" y="32"/>
                          <a:pt x="119" y="32"/>
                        </a:cubicBezTo>
                        <a:cubicBezTo>
                          <a:pt x="119" y="32"/>
                          <a:pt x="119" y="32"/>
                          <a:pt x="119" y="32"/>
                        </a:cubicBezTo>
                        <a:cubicBezTo>
                          <a:pt x="119" y="32"/>
                          <a:pt x="119" y="32"/>
                          <a:pt x="119" y="32"/>
                        </a:cubicBezTo>
                        <a:cubicBezTo>
                          <a:pt x="119" y="32"/>
                          <a:pt x="119" y="32"/>
                          <a:pt x="119" y="32"/>
                        </a:cubicBezTo>
                        <a:cubicBezTo>
                          <a:pt x="118" y="32"/>
                          <a:pt x="118" y="32"/>
                          <a:pt x="118" y="32"/>
                        </a:cubicBezTo>
                        <a:cubicBezTo>
                          <a:pt x="118" y="32"/>
                          <a:pt x="118" y="32"/>
                          <a:pt x="118" y="32"/>
                        </a:cubicBezTo>
                        <a:cubicBezTo>
                          <a:pt x="118" y="32"/>
                          <a:pt x="118" y="32"/>
                          <a:pt x="119" y="32"/>
                        </a:cubicBezTo>
                        <a:cubicBezTo>
                          <a:pt x="119" y="32"/>
                          <a:pt x="119" y="32"/>
                          <a:pt x="119" y="32"/>
                        </a:cubicBezTo>
                        <a:cubicBezTo>
                          <a:pt x="118" y="32"/>
                          <a:pt x="118" y="32"/>
                          <a:pt x="117" y="32"/>
                        </a:cubicBezTo>
                        <a:cubicBezTo>
                          <a:pt x="117" y="32"/>
                          <a:pt x="117" y="32"/>
                          <a:pt x="117" y="32"/>
                        </a:cubicBezTo>
                        <a:cubicBezTo>
                          <a:pt x="117" y="33"/>
                          <a:pt x="117" y="33"/>
                          <a:pt x="116" y="33"/>
                        </a:cubicBezTo>
                        <a:cubicBezTo>
                          <a:pt x="116" y="33"/>
                          <a:pt x="116" y="33"/>
                          <a:pt x="116" y="33"/>
                        </a:cubicBezTo>
                        <a:cubicBezTo>
                          <a:pt x="116" y="33"/>
                          <a:pt x="115" y="33"/>
                          <a:pt x="114" y="33"/>
                        </a:cubicBezTo>
                        <a:cubicBezTo>
                          <a:pt x="114" y="33"/>
                          <a:pt x="115" y="33"/>
                          <a:pt x="115" y="33"/>
                        </a:cubicBezTo>
                        <a:cubicBezTo>
                          <a:pt x="115" y="32"/>
                          <a:pt x="115" y="32"/>
                          <a:pt x="115" y="33"/>
                        </a:cubicBezTo>
                        <a:cubicBezTo>
                          <a:pt x="115" y="32"/>
                          <a:pt x="116" y="32"/>
                          <a:pt x="116" y="32"/>
                        </a:cubicBezTo>
                        <a:cubicBezTo>
                          <a:pt x="116" y="32"/>
                          <a:pt x="117" y="32"/>
                          <a:pt x="118" y="32"/>
                        </a:cubicBezTo>
                        <a:cubicBezTo>
                          <a:pt x="118" y="32"/>
                          <a:pt x="118" y="32"/>
                          <a:pt x="118" y="32"/>
                        </a:cubicBezTo>
                        <a:cubicBezTo>
                          <a:pt x="118" y="32"/>
                          <a:pt x="118" y="32"/>
                          <a:pt x="118" y="32"/>
                        </a:cubicBezTo>
                        <a:cubicBezTo>
                          <a:pt x="118" y="32"/>
                          <a:pt x="118" y="32"/>
                          <a:pt x="118" y="32"/>
                        </a:cubicBezTo>
                        <a:cubicBezTo>
                          <a:pt x="118" y="32"/>
                          <a:pt x="117" y="32"/>
                          <a:pt x="116" y="32"/>
                        </a:cubicBezTo>
                        <a:cubicBezTo>
                          <a:pt x="116" y="32"/>
                          <a:pt x="116" y="32"/>
                          <a:pt x="116" y="32"/>
                        </a:cubicBezTo>
                        <a:cubicBezTo>
                          <a:pt x="116" y="32"/>
                          <a:pt x="116" y="32"/>
                          <a:pt x="116" y="32"/>
                        </a:cubicBezTo>
                        <a:close/>
                        <a:moveTo>
                          <a:pt x="120" y="30"/>
                        </a:moveTo>
                        <a:cubicBezTo>
                          <a:pt x="119" y="30"/>
                          <a:pt x="120" y="30"/>
                          <a:pt x="120" y="30"/>
                        </a:cubicBezTo>
                        <a:cubicBezTo>
                          <a:pt x="120" y="30"/>
                          <a:pt x="120" y="30"/>
                          <a:pt x="120" y="30"/>
                        </a:cubicBezTo>
                        <a:cubicBezTo>
                          <a:pt x="120" y="30"/>
                          <a:pt x="120" y="30"/>
                          <a:pt x="120" y="30"/>
                        </a:cubicBezTo>
                        <a:cubicBezTo>
                          <a:pt x="119" y="30"/>
                          <a:pt x="120" y="30"/>
                          <a:pt x="120" y="30"/>
                        </a:cubicBezTo>
                        <a:cubicBezTo>
                          <a:pt x="120" y="30"/>
                          <a:pt x="120" y="30"/>
                          <a:pt x="121" y="30"/>
                        </a:cubicBezTo>
                        <a:cubicBezTo>
                          <a:pt x="120" y="30"/>
                          <a:pt x="120" y="30"/>
                          <a:pt x="120" y="30"/>
                        </a:cubicBezTo>
                        <a:cubicBezTo>
                          <a:pt x="120" y="30"/>
                          <a:pt x="120" y="30"/>
                          <a:pt x="120" y="30"/>
                        </a:cubicBezTo>
                        <a:cubicBezTo>
                          <a:pt x="120" y="30"/>
                          <a:pt x="120" y="30"/>
                          <a:pt x="120" y="30"/>
                        </a:cubicBezTo>
                        <a:close/>
                        <a:moveTo>
                          <a:pt x="118" y="33"/>
                        </a:moveTo>
                        <a:cubicBezTo>
                          <a:pt x="118" y="33"/>
                          <a:pt x="118" y="33"/>
                          <a:pt x="118" y="33"/>
                        </a:cubicBezTo>
                        <a:cubicBezTo>
                          <a:pt x="118" y="33"/>
                          <a:pt x="117" y="33"/>
                          <a:pt x="118" y="33"/>
                        </a:cubicBezTo>
                        <a:cubicBezTo>
                          <a:pt x="117" y="33"/>
                          <a:pt x="117" y="33"/>
                          <a:pt x="116" y="33"/>
                        </a:cubicBezTo>
                        <a:cubicBezTo>
                          <a:pt x="116" y="33"/>
                          <a:pt x="117" y="33"/>
                          <a:pt x="118" y="33"/>
                        </a:cubicBezTo>
                        <a:close/>
                        <a:moveTo>
                          <a:pt x="113" y="37"/>
                        </a:moveTo>
                        <a:cubicBezTo>
                          <a:pt x="113" y="37"/>
                          <a:pt x="113" y="37"/>
                          <a:pt x="112" y="37"/>
                        </a:cubicBezTo>
                        <a:cubicBezTo>
                          <a:pt x="112" y="37"/>
                          <a:pt x="112" y="37"/>
                          <a:pt x="112" y="37"/>
                        </a:cubicBezTo>
                        <a:cubicBezTo>
                          <a:pt x="112" y="37"/>
                          <a:pt x="113" y="37"/>
                          <a:pt x="113" y="37"/>
                        </a:cubicBezTo>
                        <a:close/>
                        <a:moveTo>
                          <a:pt x="109" y="33"/>
                        </a:moveTo>
                        <a:cubicBezTo>
                          <a:pt x="109" y="33"/>
                          <a:pt x="109" y="33"/>
                          <a:pt x="109" y="32"/>
                        </a:cubicBezTo>
                        <a:cubicBezTo>
                          <a:pt x="109" y="32"/>
                          <a:pt x="109" y="33"/>
                          <a:pt x="108" y="33"/>
                        </a:cubicBezTo>
                        <a:cubicBezTo>
                          <a:pt x="109" y="32"/>
                          <a:pt x="107" y="33"/>
                          <a:pt x="107" y="33"/>
                        </a:cubicBezTo>
                        <a:cubicBezTo>
                          <a:pt x="107" y="33"/>
                          <a:pt x="107" y="33"/>
                          <a:pt x="107" y="33"/>
                        </a:cubicBezTo>
                        <a:cubicBezTo>
                          <a:pt x="108" y="32"/>
                          <a:pt x="109" y="32"/>
                          <a:pt x="110" y="32"/>
                        </a:cubicBezTo>
                        <a:cubicBezTo>
                          <a:pt x="110" y="32"/>
                          <a:pt x="110" y="32"/>
                          <a:pt x="110" y="32"/>
                        </a:cubicBezTo>
                        <a:cubicBezTo>
                          <a:pt x="110" y="32"/>
                          <a:pt x="110" y="32"/>
                          <a:pt x="110" y="32"/>
                        </a:cubicBezTo>
                        <a:cubicBezTo>
                          <a:pt x="110" y="32"/>
                          <a:pt x="109" y="32"/>
                          <a:pt x="109" y="32"/>
                        </a:cubicBezTo>
                        <a:cubicBezTo>
                          <a:pt x="109" y="32"/>
                          <a:pt x="109" y="32"/>
                          <a:pt x="109" y="32"/>
                        </a:cubicBezTo>
                        <a:cubicBezTo>
                          <a:pt x="110" y="32"/>
                          <a:pt x="109" y="32"/>
                          <a:pt x="109" y="32"/>
                        </a:cubicBezTo>
                        <a:cubicBezTo>
                          <a:pt x="110" y="32"/>
                          <a:pt x="110" y="32"/>
                          <a:pt x="110" y="32"/>
                        </a:cubicBezTo>
                        <a:cubicBezTo>
                          <a:pt x="111" y="32"/>
                          <a:pt x="110" y="32"/>
                          <a:pt x="111" y="32"/>
                        </a:cubicBezTo>
                        <a:cubicBezTo>
                          <a:pt x="110" y="32"/>
                          <a:pt x="109" y="33"/>
                          <a:pt x="109" y="33"/>
                        </a:cubicBezTo>
                        <a:close/>
                        <a:moveTo>
                          <a:pt x="109" y="32"/>
                        </a:moveTo>
                        <a:cubicBezTo>
                          <a:pt x="109" y="32"/>
                          <a:pt x="109" y="32"/>
                          <a:pt x="109" y="32"/>
                        </a:cubicBezTo>
                        <a:cubicBezTo>
                          <a:pt x="109" y="32"/>
                          <a:pt x="109" y="32"/>
                          <a:pt x="109" y="32"/>
                        </a:cubicBezTo>
                        <a:cubicBezTo>
                          <a:pt x="109" y="33"/>
                          <a:pt x="109" y="32"/>
                          <a:pt x="109" y="32"/>
                        </a:cubicBezTo>
                        <a:close/>
                        <a:moveTo>
                          <a:pt x="110" y="42"/>
                        </a:moveTo>
                        <a:cubicBezTo>
                          <a:pt x="110" y="41"/>
                          <a:pt x="110" y="41"/>
                          <a:pt x="110" y="41"/>
                        </a:cubicBezTo>
                        <a:cubicBezTo>
                          <a:pt x="110" y="41"/>
                          <a:pt x="110" y="42"/>
                          <a:pt x="110" y="42"/>
                        </a:cubicBezTo>
                        <a:close/>
                        <a:moveTo>
                          <a:pt x="106" y="37"/>
                        </a:moveTo>
                        <a:cubicBezTo>
                          <a:pt x="106" y="37"/>
                          <a:pt x="106" y="37"/>
                          <a:pt x="106" y="37"/>
                        </a:cubicBezTo>
                        <a:cubicBezTo>
                          <a:pt x="106" y="37"/>
                          <a:pt x="106" y="37"/>
                          <a:pt x="106" y="37"/>
                        </a:cubicBezTo>
                        <a:cubicBezTo>
                          <a:pt x="106" y="37"/>
                          <a:pt x="107" y="37"/>
                          <a:pt x="107" y="37"/>
                        </a:cubicBezTo>
                        <a:cubicBezTo>
                          <a:pt x="108" y="37"/>
                          <a:pt x="107" y="37"/>
                          <a:pt x="107" y="37"/>
                        </a:cubicBezTo>
                        <a:cubicBezTo>
                          <a:pt x="107" y="37"/>
                          <a:pt x="106" y="37"/>
                          <a:pt x="106" y="37"/>
                        </a:cubicBezTo>
                        <a:cubicBezTo>
                          <a:pt x="106" y="38"/>
                          <a:pt x="105" y="38"/>
                          <a:pt x="105" y="38"/>
                        </a:cubicBezTo>
                        <a:cubicBezTo>
                          <a:pt x="105" y="38"/>
                          <a:pt x="106" y="37"/>
                          <a:pt x="105" y="37"/>
                        </a:cubicBezTo>
                        <a:cubicBezTo>
                          <a:pt x="105" y="37"/>
                          <a:pt x="105" y="37"/>
                          <a:pt x="105" y="37"/>
                        </a:cubicBezTo>
                        <a:cubicBezTo>
                          <a:pt x="105" y="37"/>
                          <a:pt x="105" y="37"/>
                          <a:pt x="105" y="37"/>
                        </a:cubicBezTo>
                        <a:cubicBezTo>
                          <a:pt x="105" y="37"/>
                          <a:pt x="104" y="38"/>
                          <a:pt x="103" y="38"/>
                        </a:cubicBezTo>
                        <a:cubicBezTo>
                          <a:pt x="104" y="37"/>
                          <a:pt x="104" y="37"/>
                          <a:pt x="104" y="37"/>
                        </a:cubicBezTo>
                        <a:cubicBezTo>
                          <a:pt x="104" y="37"/>
                          <a:pt x="105" y="37"/>
                          <a:pt x="106" y="37"/>
                        </a:cubicBezTo>
                        <a:close/>
                        <a:moveTo>
                          <a:pt x="109" y="37"/>
                        </a:moveTo>
                        <a:cubicBezTo>
                          <a:pt x="109" y="37"/>
                          <a:pt x="108" y="37"/>
                          <a:pt x="108" y="37"/>
                        </a:cubicBezTo>
                        <a:cubicBezTo>
                          <a:pt x="108" y="37"/>
                          <a:pt x="108" y="37"/>
                          <a:pt x="108" y="37"/>
                        </a:cubicBezTo>
                        <a:cubicBezTo>
                          <a:pt x="109" y="37"/>
                          <a:pt x="108" y="37"/>
                          <a:pt x="108" y="37"/>
                        </a:cubicBezTo>
                        <a:cubicBezTo>
                          <a:pt x="108" y="37"/>
                          <a:pt x="108" y="37"/>
                          <a:pt x="108" y="37"/>
                        </a:cubicBezTo>
                        <a:cubicBezTo>
                          <a:pt x="108" y="37"/>
                          <a:pt x="108" y="37"/>
                          <a:pt x="107" y="37"/>
                        </a:cubicBezTo>
                        <a:cubicBezTo>
                          <a:pt x="108" y="37"/>
                          <a:pt x="108" y="37"/>
                          <a:pt x="109" y="37"/>
                        </a:cubicBezTo>
                        <a:close/>
                        <a:moveTo>
                          <a:pt x="108" y="42"/>
                        </a:moveTo>
                        <a:cubicBezTo>
                          <a:pt x="108" y="42"/>
                          <a:pt x="108" y="42"/>
                          <a:pt x="108" y="42"/>
                        </a:cubicBezTo>
                        <a:cubicBezTo>
                          <a:pt x="108" y="42"/>
                          <a:pt x="108" y="42"/>
                          <a:pt x="108" y="42"/>
                        </a:cubicBezTo>
                        <a:cubicBezTo>
                          <a:pt x="108" y="42"/>
                          <a:pt x="108" y="42"/>
                          <a:pt x="108" y="42"/>
                        </a:cubicBezTo>
                        <a:cubicBezTo>
                          <a:pt x="109" y="42"/>
                          <a:pt x="108" y="42"/>
                          <a:pt x="108" y="42"/>
                        </a:cubicBezTo>
                        <a:cubicBezTo>
                          <a:pt x="108" y="42"/>
                          <a:pt x="108" y="42"/>
                          <a:pt x="108" y="42"/>
                        </a:cubicBezTo>
                        <a:cubicBezTo>
                          <a:pt x="107" y="42"/>
                          <a:pt x="107" y="42"/>
                          <a:pt x="106" y="42"/>
                        </a:cubicBezTo>
                        <a:cubicBezTo>
                          <a:pt x="107" y="42"/>
                          <a:pt x="108" y="42"/>
                          <a:pt x="108" y="42"/>
                        </a:cubicBezTo>
                        <a:close/>
                        <a:moveTo>
                          <a:pt x="105" y="33"/>
                        </a:moveTo>
                        <a:cubicBezTo>
                          <a:pt x="105" y="33"/>
                          <a:pt x="104" y="33"/>
                          <a:pt x="104" y="34"/>
                        </a:cubicBezTo>
                        <a:cubicBezTo>
                          <a:pt x="104" y="34"/>
                          <a:pt x="104" y="33"/>
                          <a:pt x="104" y="33"/>
                        </a:cubicBezTo>
                        <a:cubicBezTo>
                          <a:pt x="104" y="33"/>
                          <a:pt x="104" y="33"/>
                          <a:pt x="104" y="33"/>
                        </a:cubicBezTo>
                        <a:cubicBezTo>
                          <a:pt x="104" y="33"/>
                          <a:pt x="104" y="33"/>
                          <a:pt x="104" y="33"/>
                        </a:cubicBezTo>
                        <a:cubicBezTo>
                          <a:pt x="104" y="33"/>
                          <a:pt x="104" y="33"/>
                          <a:pt x="103" y="33"/>
                        </a:cubicBezTo>
                        <a:cubicBezTo>
                          <a:pt x="103" y="33"/>
                          <a:pt x="104" y="33"/>
                          <a:pt x="104" y="33"/>
                        </a:cubicBezTo>
                        <a:cubicBezTo>
                          <a:pt x="104" y="33"/>
                          <a:pt x="105" y="33"/>
                          <a:pt x="105" y="33"/>
                        </a:cubicBezTo>
                        <a:cubicBezTo>
                          <a:pt x="105" y="33"/>
                          <a:pt x="105" y="33"/>
                          <a:pt x="105" y="33"/>
                        </a:cubicBezTo>
                        <a:cubicBezTo>
                          <a:pt x="105" y="33"/>
                          <a:pt x="106" y="33"/>
                          <a:pt x="106" y="33"/>
                        </a:cubicBezTo>
                        <a:cubicBezTo>
                          <a:pt x="106" y="33"/>
                          <a:pt x="105" y="33"/>
                          <a:pt x="104" y="33"/>
                        </a:cubicBezTo>
                        <a:cubicBezTo>
                          <a:pt x="105" y="33"/>
                          <a:pt x="105" y="33"/>
                          <a:pt x="105" y="33"/>
                        </a:cubicBezTo>
                        <a:close/>
                        <a:moveTo>
                          <a:pt x="107" y="43"/>
                        </a:moveTo>
                        <a:cubicBezTo>
                          <a:pt x="107" y="43"/>
                          <a:pt x="107" y="43"/>
                          <a:pt x="107" y="43"/>
                        </a:cubicBezTo>
                        <a:cubicBezTo>
                          <a:pt x="107" y="43"/>
                          <a:pt x="107" y="43"/>
                          <a:pt x="108" y="43"/>
                        </a:cubicBezTo>
                        <a:cubicBezTo>
                          <a:pt x="108" y="43"/>
                          <a:pt x="107" y="43"/>
                          <a:pt x="107" y="43"/>
                        </a:cubicBezTo>
                        <a:close/>
                        <a:moveTo>
                          <a:pt x="98" y="43"/>
                        </a:moveTo>
                        <a:cubicBezTo>
                          <a:pt x="98" y="43"/>
                          <a:pt x="97" y="43"/>
                          <a:pt x="97" y="43"/>
                        </a:cubicBezTo>
                        <a:cubicBezTo>
                          <a:pt x="97" y="43"/>
                          <a:pt x="97" y="43"/>
                          <a:pt x="97" y="43"/>
                        </a:cubicBezTo>
                        <a:cubicBezTo>
                          <a:pt x="97" y="43"/>
                          <a:pt x="98" y="43"/>
                          <a:pt x="98" y="43"/>
                        </a:cubicBezTo>
                        <a:cubicBezTo>
                          <a:pt x="98" y="43"/>
                          <a:pt x="98" y="43"/>
                          <a:pt x="98" y="43"/>
                        </a:cubicBezTo>
                        <a:cubicBezTo>
                          <a:pt x="99" y="43"/>
                          <a:pt x="99" y="43"/>
                          <a:pt x="99" y="43"/>
                        </a:cubicBezTo>
                        <a:cubicBezTo>
                          <a:pt x="98" y="43"/>
                          <a:pt x="99" y="43"/>
                          <a:pt x="99" y="43"/>
                        </a:cubicBezTo>
                        <a:cubicBezTo>
                          <a:pt x="99" y="43"/>
                          <a:pt x="98" y="43"/>
                          <a:pt x="98" y="43"/>
                        </a:cubicBezTo>
                        <a:close/>
                        <a:moveTo>
                          <a:pt x="91" y="44"/>
                        </a:moveTo>
                        <a:cubicBezTo>
                          <a:pt x="91" y="44"/>
                          <a:pt x="92" y="44"/>
                          <a:pt x="92" y="44"/>
                        </a:cubicBezTo>
                        <a:cubicBezTo>
                          <a:pt x="92" y="44"/>
                          <a:pt x="92" y="44"/>
                          <a:pt x="93" y="43"/>
                        </a:cubicBezTo>
                        <a:cubicBezTo>
                          <a:pt x="93" y="44"/>
                          <a:pt x="92" y="44"/>
                          <a:pt x="93" y="44"/>
                        </a:cubicBezTo>
                        <a:cubicBezTo>
                          <a:pt x="92" y="44"/>
                          <a:pt x="92" y="44"/>
                          <a:pt x="92" y="44"/>
                        </a:cubicBezTo>
                        <a:cubicBezTo>
                          <a:pt x="92" y="44"/>
                          <a:pt x="91" y="44"/>
                          <a:pt x="91" y="44"/>
                        </a:cubicBezTo>
                        <a:cubicBezTo>
                          <a:pt x="91" y="44"/>
                          <a:pt x="91" y="44"/>
                          <a:pt x="91" y="44"/>
                        </a:cubicBezTo>
                        <a:close/>
                        <a:moveTo>
                          <a:pt x="97" y="44"/>
                        </a:moveTo>
                        <a:cubicBezTo>
                          <a:pt x="96" y="44"/>
                          <a:pt x="96" y="44"/>
                          <a:pt x="96" y="44"/>
                        </a:cubicBezTo>
                        <a:cubicBezTo>
                          <a:pt x="96" y="44"/>
                          <a:pt x="96" y="44"/>
                          <a:pt x="96" y="44"/>
                        </a:cubicBezTo>
                        <a:cubicBezTo>
                          <a:pt x="96" y="44"/>
                          <a:pt x="97" y="44"/>
                          <a:pt x="97" y="44"/>
                        </a:cubicBezTo>
                        <a:cubicBezTo>
                          <a:pt x="97" y="44"/>
                          <a:pt x="96" y="44"/>
                          <a:pt x="97" y="44"/>
                        </a:cubicBezTo>
                        <a:close/>
                        <a:moveTo>
                          <a:pt x="92" y="43"/>
                        </a:moveTo>
                        <a:cubicBezTo>
                          <a:pt x="92" y="42"/>
                          <a:pt x="92" y="42"/>
                          <a:pt x="93" y="42"/>
                        </a:cubicBezTo>
                        <a:cubicBezTo>
                          <a:pt x="93" y="42"/>
                          <a:pt x="92" y="42"/>
                          <a:pt x="92" y="42"/>
                        </a:cubicBezTo>
                        <a:cubicBezTo>
                          <a:pt x="92" y="43"/>
                          <a:pt x="92" y="42"/>
                          <a:pt x="93" y="42"/>
                        </a:cubicBezTo>
                        <a:cubicBezTo>
                          <a:pt x="92" y="43"/>
                          <a:pt x="92" y="43"/>
                          <a:pt x="92" y="43"/>
                        </a:cubicBezTo>
                        <a:close/>
                        <a:moveTo>
                          <a:pt x="89" y="44"/>
                        </a:moveTo>
                        <a:cubicBezTo>
                          <a:pt x="89" y="44"/>
                          <a:pt x="89" y="44"/>
                          <a:pt x="90" y="44"/>
                        </a:cubicBezTo>
                        <a:cubicBezTo>
                          <a:pt x="89" y="44"/>
                          <a:pt x="89" y="44"/>
                          <a:pt x="89" y="44"/>
                        </a:cubicBezTo>
                        <a:cubicBezTo>
                          <a:pt x="89" y="44"/>
                          <a:pt x="89" y="44"/>
                          <a:pt x="89" y="44"/>
                        </a:cubicBezTo>
                        <a:cubicBezTo>
                          <a:pt x="89" y="44"/>
                          <a:pt x="89" y="44"/>
                          <a:pt x="89" y="44"/>
                        </a:cubicBezTo>
                        <a:cubicBezTo>
                          <a:pt x="89" y="44"/>
                          <a:pt x="89" y="44"/>
                          <a:pt x="89" y="43"/>
                        </a:cubicBezTo>
                        <a:cubicBezTo>
                          <a:pt x="89" y="43"/>
                          <a:pt x="88" y="44"/>
                          <a:pt x="88" y="44"/>
                        </a:cubicBezTo>
                        <a:cubicBezTo>
                          <a:pt x="88" y="44"/>
                          <a:pt x="88" y="43"/>
                          <a:pt x="89" y="43"/>
                        </a:cubicBezTo>
                        <a:cubicBezTo>
                          <a:pt x="89" y="43"/>
                          <a:pt x="89" y="43"/>
                          <a:pt x="88" y="43"/>
                        </a:cubicBezTo>
                        <a:cubicBezTo>
                          <a:pt x="89" y="43"/>
                          <a:pt x="89" y="43"/>
                          <a:pt x="90" y="43"/>
                        </a:cubicBezTo>
                        <a:cubicBezTo>
                          <a:pt x="90" y="43"/>
                          <a:pt x="89" y="43"/>
                          <a:pt x="90" y="43"/>
                        </a:cubicBezTo>
                        <a:cubicBezTo>
                          <a:pt x="90" y="43"/>
                          <a:pt x="90" y="43"/>
                          <a:pt x="91" y="43"/>
                        </a:cubicBezTo>
                        <a:cubicBezTo>
                          <a:pt x="90" y="43"/>
                          <a:pt x="90" y="43"/>
                          <a:pt x="89" y="43"/>
                        </a:cubicBezTo>
                        <a:cubicBezTo>
                          <a:pt x="90" y="43"/>
                          <a:pt x="91" y="43"/>
                          <a:pt x="91" y="43"/>
                        </a:cubicBezTo>
                        <a:cubicBezTo>
                          <a:pt x="91" y="43"/>
                          <a:pt x="91" y="43"/>
                          <a:pt x="91" y="43"/>
                        </a:cubicBezTo>
                        <a:cubicBezTo>
                          <a:pt x="91" y="43"/>
                          <a:pt x="91" y="43"/>
                          <a:pt x="92" y="43"/>
                        </a:cubicBezTo>
                        <a:cubicBezTo>
                          <a:pt x="92" y="43"/>
                          <a:pt x="91" y="43"/>
                          <a:pt x="91" y="43"/>
                        </a:cubicBezTo>
                        <a:cubicBezTo>
                          <a:pt x="92" y="43"/>
                          <a:pt x="92" y="43"/>
                          <a:pt x="92" y="43"/>
                        </a:cubicBezTo>
                        <a:cubicBezTo>
                          <a:pt x="92" y="43"/>
                          <a:pt x="91" y="43"/>
                          <a:pt x="91" y="43"/>
                        </a:cubicBezTo>
                        <a:cubicBezTo>
                          <a:pt x="91" y="43"/>
                          <a:pt x="91" y="43"/>
                          <a:pt x="90" y="43"/>
                        </a:cubicBezTo>
                        <a:cubicBezTo>
                          <a:pt x="90" y="43"/>
                          <a:pt x="91" y="43"/>
                          <a:pt x="91" y="43"/>
                        </a:cubicBezTo>
                        <a:cubicBezTo>
                          <a:pt x="91" y="43"/>
                          <a:pt x="92" y="43"/>
                          <a:pt x="92" y="43"/>
                        </a:cubicBezTo>
                        <a:cubicBezTo>
                          <a:pt x="92" y="43"/>
                          <a:pt x="92" y="43"/>
                          <a:pt x="92" y="43"/>
                        </a:cubicBezTo>
                        <a:cubicBezTo>
                          <a:pt x="92" y="43"/>
                          <a:pt x="92" y="43"/>
                          <a:pt x="92" y="43"/>
                        </a:cubicBezTo>
                        <a:cubicBezTo>
                          <a:pt x="93" y="43"/>
                          <a:pt x="92" y="43"/>
                          <a:pt x="93" y="43"/>
                        </a:cubicBezTo>
                        <a:cubicBezTo>
                          <a:pt x="93" y="43"/>
                          <a:pt x="93" y="43"/>
                          <a:pt x="93" y="43"/>
                        </a:cubicBezTo>
                        <a:cubicBezTo>
                          <a:pt x="93" y="43"/>
                          <a:pt x="94" y="42"/>
                          <a:pt x="93" y="42"/>
                        </a:cubicBezTo>
                        <a:cubicBezTo>
                          <a:pt x="94" y="42"/>
                          <a:pt x="94" y="42"/>
                          <a:pt x="94" y="42"/>
                        </a:cubicBezTo>
                        <a:cubicBezTo>
                          <a:pt x="94" y="42"/>
                          <a:pt x="95" y="42"/>
                          <a:pt x="95" y="42"/>
                        </a:cubicBezTo>
                        <a:cubicBezTo>
                          <a:pt x="95" y="42"/>
                          <a:pt x="96" y="42"/>
                          <a:pt x="96" y="42"/>
                        </a:cubicBezTo>
                        <a:cubicBezTo>
                          <a:pt x="96" y="42"/>
                          <a:pt x="96" y="42"/>
                          <a:pt x="96" y="42"/>
                        </a:cubicBezTo>
                        <a:cubicBezTo>
                          <a:pt x="96" y="42"/>
                          <a:pt x="96" y="42"/>
                          <a:pt x="95" y="42"/>
                        </a:cubicBezTo>
                        <a:cubicBezTo>
                          <a:pt x="95" y="42"/>
                          <a:pt x="95" y="42"/>
                          <a:pt x="96" y="42"/>
                        </a:cubicBezTo>
                        <a:cubicBezTo>
                          <a:pt x="95" y="43"/>
                          <a:pt x="95" y="43"/>
                          <a:pt x="94" y="43"/>
                        </a:cubicBezTo>
                        <a:cubicBezTo>
                          <a:pt x="94" y="43"/>
                          <a:pt x="94" y="43"/>
                          <a:pt x="94" y="43"/>
                        </a:cubicBezTo>
                        <a:cubicBezTo>
                          <a:pt x="94" y="43"/>
                          <a:pt x="94" y="43"/>
                          <a:pt x="94" y="43"/>
                        </a:cubicBezTo>
                        <a:cubicBezTo>
                          <a:pt x="94" y="43"/>
                          <a:pt x="94" y="43"/>
                          <a:pt x="93" y="43"/>
                        </a:cubicBezTo>
                        <a:cubicBezTo>
                          <a:pt x="93" y="43"/>
                          <a:pt x="93" y="43"/>
                          <a:pt x="93" y="43"/>
                        </a:cubicBezTo>
                        <a:cubicBezTo>
                          <a:pt x="93" y="43"/>
                          <a:pt x="93" y="43"/>
                          <a:pt x="93" y="43"/>
                        </a:cubicBezTo>
                        <a:cubicBezTo>
                          <a:pt x="93" y="43"/>
                          <a:pt x="93" y="43"/>
                          <a:pt x="93" y="43"/>
                        </a:cubicBezTo>
                        <a:cubicBezTo>
                          <a:pt x="93" y="43"/>
                          <a:pt x="93" y="43"/>
                          <a:pt x="93" y="43"/>
                        </a:cubicBezTo>
                        <a:cubicBezTo>
                          <a:pt x="92" y="43"/>
                          <a:pt x="92" y="43"/>
                          <a:pt x="92" y="44"/>
                        </a:cubicBezTo>
                        <a:cubicBezTo>
                          <a:pt x="92" y="43"/>
                          <a:pt x="92" y="43"/>
                          <a:pt x="92" y="43"/>
                        </a:cubicBezTo>
                        <a:cubicBezTo>
                          <a:pt x="91" y="43"/>
                          <a:pt x="92" y="43"/>
                          <a:pt x="92" y="43"/>
                        </a:cubicBezTo>
                        <a:cubicBezTo>
                          <a:pt x="92" y="43"/>
                          <a:pt x="91" y="43"/>
                          <a:pt x="91" y="43"/>
                        </a:cubicBezTo>
                        <a:cubicBezTo>
                          <a:pt x="91" y="43"/>
                          <a:pt x="90" y="44"/>
                          <a:pt x="90" y="43"/>
                        </a:cubicBezTo>
                        <a:cubicBezTo>
                          <a:pt x="90" y="44"/>
                          <a:pt x="90" y="44"/>
                          <a:pt x="89" y="44"/>
                        </a:cubicBezTo>
                        <a:close/>
                        <a:moveTo>
                          <a:pt x="93" y="43"/>
                        </a:moveTo>
                        <a:cubicBezTo>
                          <a:pt x="93" y="43"/>
                          <a:pt x="93" y="43"/>
                          <a:pt x="93" y="43"/>
                        </a:cubicBezTo>
                        <a:cubicBezTo>
                          <a:pt x="93" y="43"/>
                          <a:pt x="93" y="43"/>
                          <a:pt x="93" y="43"/>
                        </a:cubicBezTo>
                        <a:cubicBezTo>
                          <a:pt x="93" y="43"/>
                          <a:pt x="93" y="43"/>
                          <a:pt x="93" y="43"/>
                        </a:cubicBezTo>
                        <a:close/>
                        <a:moveTo>
                          <a:pt x="97" y="43"/>
                        </a:moveTo>
                        <a:cubicBezTo>
                          <a:pt x="96" y="44"/>
                          <a:pt x="96" y="43"/>
                          <a:pt x="96" y="43"/>
                        </a:cubicBezTo>
                        <a:cubicBezTo>
                          <a:pt x="96" y="43"/>
                          <a:pt x="97" y="43"/>
                          <a:pt x="97" y="43"/>
                        </a:cubicBezTo>
                        <a:close/>
                        <a:moveTo>
                          <a:pt x="94" y="42"/>
                        </a:moveTo>
                        <a:cubicBezTo>
                          <a:pt x="94" y="42"/>
                          <a:pt x="94" y="42"/>
                          <a:pt x="93" y="42"/>
                        </a:cubicBezTo>
                        <a:cubicBezTo>
                          <a:pt x="93" y="42"/>
                          <a:pt x="93" y="42"/>
                          <a:pt x="93" y="42"/>
                        </a:cubicBezTo>
                        <a:cubicBezTo>
                          <a:pt x="93" y="42"/>
                          <a:pt x="94" y="42"/>
                          <a:pt x="94" y="42"/>
                        </a:cubicBezTo>
                        <a:cubicBezTo>
                          <a:pt x="94" y="42"/>
                          <a:pt x="95" y="41"/>
                          <a:pt x="95" y="42"/>
                        </a:cubicBezTo>
                        <a:cubicBezTo>
                          <a:pt x="95" y="42"/>
                          <a:pt x="95" y="42"/>
                          <a:pt x="95" y="42"/>
                        </a:cubicBezTo>
                        <a:cubicBezTo>
                          <a:pt x="95" y="42"/>
                          <a:pt x="95" y="42"/>
                          <a:pt x="94" y="42"/>
                        </a:cubicBezTo>
                        <a:close/>
                        <a:moveTo>
                          <a:pt x="95" y="45"/>
                        </a:moveTo>
                        <a:cubicBezTo>
                          <a:pt x="95" y="45"/>
                          <a:pt x="94" y="45"/>
                          <a:pt x="95" y="45"/>
                        </a:cubicBezTo>
                        <a:cubicBezTo>
                          <a:pt x="95" y="45"/>
                          <a:pt x="95" y="45"/>
                          <a:pt x="95" y="45"/>
                        </a:cubicBezTo>
                        <a:cubicBezTo>
                          <a:pt x="95" y="45"/>
                          <a:pt x="95" y="45"/>
                          <a:pt x="95" y="45"/>
                        </a:cubicBezTo>
                        <a:cubicBezTo>
                          <a:pt x="95" y="45"/>
                          <a:pt x="95" y="45"/>
                          <a:pt x="94" y="45"/>
                        </a:cubicBezTo>
                        <a:cubicBezTo>
                          <a:pt x="94" y="45"/>
                          <a:pt x="94" y="45"/>
                          <a:pt x="94" y="45"/>
                        </a:cubicBezTo>
                        <a:cubicBezTo>
                          <a:pt x="94" y="45"/>
                          <a:pt x="95" y="45"/>
                          <a:pt x="94" y="45"/>
                        </a:cubicBezTo>
                        <a:cubicBezTo>
                          <a:pt x="94" y="45"/>
                          <a:pt x="95" y="45"/>
                          <a:pt x="95" y="45"/>
                        </a:cubicBezTo>
                        <a:close/>
                        <a:moveTo>
                          <a:pt x="92" y="39"/>
                        </a:moveTo>
                        <a:cubicBezTo>
                          <a:pt x="92" y="39"/>
                          <a:pt x="92" y="39"/>
                          <a:pt x="92" y="39"/>
                        </a:cubicBezTo>
                        <a:cubicBezTo>
                          <a:pt x="92" y="39"/>
                          <a:pt x="93" y="39"/>
                          <a:pt x="93" y="39"/>
                        </a:cubicBezTo>
                        <a:cubicBezTo>
                          <a:pt x="93" y="39"/>
                          <a:pt x="92" y="40"/>
                          <a:pt x="92" y="39"/>
                        </a:cubicBezTo>
                        <a:close/>
                        <a:moveTo>
                          <a:pt x="95" y="45"/>
                        </a:moveTo>
                        <a:cubicBezTo>
                          <a:pt x="95" y="45"/>
                          <a:pt x="95" y="45"/>
                          <a:pt x="95" y="45"/>
                        </a:cubicBezTo>
                        <a:cubicBezTo>
                          <a:pt x="94" y="45"/>
                          <a:pt x="94" y="46"/>
                          <a:pt x="93" y="45"/>
                        </a:cubicBezTo>
                        <a:cubicBezTo>
                          <a:pt x="94" y="45"/>
                          <a:pt x="94" y="45"/>
                          <a:pt x="94" y="45"/>
                        </a:cubicBezTo>
                        <a:cubicBezTo>
                          <a:pt x="94" y="45"/>
                          <a:pt x="94" y="45"/>
                          <a:pt x="94" y="45"/>
                        </a:cubicBezTo>
                        <a:cubicBezTo>
                          <a:pt x="94" y="45"/>
                          <a:pt x="94" y="45"/>
                          <a:pt x="95" y="45"/>
                        </a:cubicBezTo>
                        <a:close/>
                        <a:moveTo>
                          <a:pt x="93" y="45"/>
                        </a:moveTo>
                        <a:cubicBezTo>
                          <a:pt x="93" y="45"/>
                          <a:pt x="93" y="45"/>
                          <a:pt x="92" y="45"/>
                        </a:cubicBezTo>
                        <a:cubicBezTo>
                          <a:pt x="92" y="45"/>
                          <a:pt x="93" y="45"/>
                          <a:pt x="92" y="45"/>
                        </a:cubicBezTo>
                        <a:cubicBezTo>
                          <a:pt x="92" y="45"/>
                          <a:pt x="93" y="45"/>
                          <a:pt x="93" y="45"/>
                        </a:cubicBezTo>
                        <a:cubicBezTo>
                          <a:pt x="93" y="45"/>
                          <a:pt x="93" y="45"/>
                          <a:pt x="93" y="45"/>
                        </a:cubicBezTo>
                        <a:cubicBezTo>
                          <a:pt x="93" y="45"/>
                          <a:pt x="93" y="45"/>
                          <a:pt x="93" y="45"/>
                        </a:cubicBezTo>
                        <a:cubicBezTo>
                          <a:pt x="93" y="45"/>
                          <a:pt x="93" y="45"/>
                          <a:pt x="93" y="45"/>
                        </a:cubicBezTo>
                        <a:cubicBezTo>
                          <a:pt x="93" y="45"/>
                          <a:pt x="93" y="45"/>
                          <a:pt x="93" y="45"/>
                        </a:cubicBezTo>
                        <a:close/>
                        <a:moveTo>
                          <a:pt x="89" y="46"/>
                        </a:moveTo>
                        <a:cubicBezTo>
                          <a:pt x="89" y="46"/>
                          <a:pt x="88" y="46"/>
                          <a:pt x="88" y="46"/>
                        </a:cubicBezTo>
                        <a:cubicBezTo>
                          <a:pt x="89" y="46"/>
                          <a:pt x="90" y="45"/>
                          <a:pt x="90" y="45"/>
                        </a:cubicBezTo>
                        <a:cubicBezTo>
                          <a:pt x="90" y="45"/>
                          <a:pt x="92" y="45"/>
                          <a:pt x="92" y="46"/>
                        </a:cubicBezTo>
                        <a:cubicBezTo>
                          <a:pt x="91" y="46"/>
                          <a:pt x="91" y="46"/>
                          <a:pt x="91" y="46"/>
                        </a:cubicBezTo>
                        <a:cubicBezTo>
                          <a:pt x="91" y="46"/>
                          <a:pt x="90" y="46"/>
                          <a:pt x="89" y="46"/>
                        </a:cubicBezTo>
                        <a:cubicBezTo>
                          <a:pt x="89" y="46"/>
                          <a:pt x="89" y="46"/>
                          <a:pt x="89" y="46"/>
                        </a:cubicBezTo>
                        <a:cubicBezTo>
                          <a:pt x="88" y="46"/>
                          <a:pt x="88" y="46"/>
                          <a:pt x="88" y="46"/>
                        </a:cubicBezTo>
                        <a:cubicBezTo>
                          <a:pt x="88" y="46"/>
                          <a:pt x="89" y="46"/>
                          <a:pt x="89" y="46"/>
                        </a:cubicBezTo>
                        <a:cubicBezTo>
                          <a:pt x="89" y="46"/>
                          <a:pt x="88" y="46"/>
                          <a:pt x="88" y="46"/>
                        </a:cubicBezTo>
                        <a:cubicBezTo>
                          <a:pt x="87" y="47"/>
                          <a:pt x="86" y="47"/>
                          <a:pt x="86" y="47"/>
                        </a:cubicBezTo>
                        <a:cubicBezTo>
                          <a:pt x="86" y="47"/>
                          <a:pt x="86" y="47"/>
                          <a:pt x="86" y="47"/>
                        </a:cubicBezTo>
                        <a:cubicBezTo>
                          <a:pt x="86" y="46"/>
                          <a:pt x="88" y="46"/>
                          <a:pt x="88" y="46"/>
                        </a:cubicBezTo>
                        <a:cubicBezTo>
                          <a:pt x="88" y="46"/>
                          <a:pt x="88" y="46"/>
                          <a:pt x="88" y="46"/>
                        </a:cubicBezTo>
                        <a:cubicBezTo>
                          <a:pt x="88" y="46"/>
                          <a:pt x="88" y="46"/>
                          <a:pt x="88" y="46"/>
                        </a:cubicBezTo>
                        <a:cubicBezTo>
                          <a:pt x="88" y="46"/>
                          <a:pt x="88" y="46"/>
                          <a:pt x="88" y="46"/>
                        </a:cubicBezTo>
                        <a:cubicBezTo>
                          <a:pt x="87" y="46"/>
                          <a:pt x="87" y="46"/>
                          <a:pt x="88" y="46"/>
                        </a:cubicBezTo>
                        <a:cubicBezTo>
                          <a:pt x="88" y="46"/>
                          <a:pt x="88" y="46"/>
                          <a:pt x="88" y="46"/>
                        </a:cubicBezTo>
                        <a:cubicBezTo>
                          <a:pt x="87" y="46"/>
                          <a:pt x="87" y="46"/>
                          <a:pt x="86" y="46"/>
                        </a:cubicBezTo>
                        <a:cubicBezTo>
                          <a:pt x="87" y="46"/>
                          <a:pt x="88" y="46"/>
                          <a:pt x="89" y="46"/>
                        </a:cubicBezTo>
                        <a:close/>
                        <a:moveTo>
                          <a:pt x="88" y="45"/>
                        </a:moveTo>
                        <a:cubicBezTo>
                          <a:pt x="88" y="45"/>
                          <a:pt x="87" y="45"/>
                          <a:pt x="87" y="45"/>
                        </a:cubicBezTo>
                        <a:cubicBezTo>
                          <a:pt x="87" y="45"/>
                          <a:pt x="87" y="45"/>
                          <a:pt x="87" y="45"/>
                        </a:cubicBezTo>
                        <a:cubicBezTo>
                          <a:pt x="87" y="45"/>
                          <a:pt x="87" y="45"/>
                          <a:pt x="87" y="45"/>
                        </a:cubicBezTo>
                        <a:cubicBezTo>
                          <a:pt x="87" y="45"/>
                          <a:pt x="87" y="46"/>
                          <a:pt x="87" y="46"/>
                        </a:cubicBezTo>
                        <a:cubicBezTo>
                          <a:pt x="87" y="46"/>
                          <a:pt x="87" y="46"/>
                          <a:pt x="87" y="46"/>
                        </a:cubicBezTo>
                        <a:cubicBezTo>
                          <a:pt x="87" y="46"/>
                          <a:pt x="87" y="46"/>
                          <a:pt x="87" y="46"/>
                        </a:cubicBezTo>
                        <a:cubicBezTo>
                          <a:pt x="87" y="46"/>
                          <a:pt x="87" y="45"/>
                          <a:pt x="86" y="45"/>
                        </a:cubicBezTo>
                        <a:cubicBezTo>
                          <a:pt x="87" y="45"/>
                          <a:pt x="87" y="45"/>
                          <a:pt x="88" y="45"/>
                        </a:cubicBezTo>
                        <a:close/>
                        <a:moveTo>
                          <a:pt x="90" y="44"/>
                        </a:moveTo>
                        <a:cubicBezTo>
                          <a:pt x="90" y="44"/>
                          <a:pt x="89" y="44"/>
                          <a:pt x="89" y="45"/>
                        </a:cubicBezTo>
                        <a:cubicBezTo>
                          <a:pt x="89" y="45"/>
                          <a:pt x="89" y="44"/>
                          <a:pt x="89" y="45"/>
                        </a:cubicBezTo>
                        <a:cubicBezTo>
                          <a:pt x="89" y="44"/>
                          <a:pt x="90" y="44"/>
                          <a:pt x="90" y="44"/>
                        </a:cubicBezTo>
                        <a:close/>
                        <a:moveTo>
                          <a:pt x="88" y="45"/>
                        </a:moveTo>
                        <a:cubicBezTo>
                          <a:pt x="88" y="45"/>
                          <a:pt x="88" y="45"/>
                          <a:pt x="88" y="45"/>
                        </a:cubicBezTo>
                        <a:cubicBezTo>
                          <a:pt x="89" y="45"/>
                          <a:pt x="89" y="45"/>
                          <a:pt x="89" y="45"/>
                        </a:cubicBezTo>
                        <a:cubicBezTo>
                          <a:pt x="88" y="45"/>
                          <a:pt x="88" y="45"/>
                          <a:pt x="88" y="45"/>
                        </a:cubicBezTo>
                        <a:close/>
                        <a:moveTo>
                          <a:pt x="89" y="44"/>
                        </a:moveTo>
                        <a:cubicBezTo>
                          <a:pt x="89" y="44"/>
                          <a:pt x="89" y="44"/>
                          <a:pt x="88" y="45"/>
                        </a:cubicBezTo>
                        <a:cubicBezTo>
                          <a:pt x="88" y="44"/>
                          <a:pt x="88" y="44"/>
                          <a:pt x="88" y="44"/>
                        </a:cubicBezTo>
                        <a:cubicBezTo>
                          <a:pt x="88" y="44"/>
                          <a:pt x="89" y="44"/>
                          <a:pt x="89" y="44"/>
                        </a:cubicBezTo>
                        <a:cubicBezTo>
                          <a:pt x="89" y="44"/>
                          <a:pt x="89" y="44"/>
                          <a:pt x="89" y="44"/>
                        </a:cubicBezTo>
                        <a:close/>
                        <a:moveTo>
                          <a:pt x="89" y="45"/>
                        </a:moveTo>
                        <a:cubicBezTo>
                          <a:pt x="89" y="45"/>
                          <a:pt x="89" y="45"/>
                          <a:pt x="89" y="45"/>
                        </a:cubicBezTo>
                        <a:cubicBezTo>
                          <a:pt x="89" y="45"/>
                          <a:pt x="88" y="45"/>
                          <a:pt x="88" y="45"/>
                        </a:cubicBezTo>
                        <a:lnTo>
                          <a:pt x="89" y="45"/>
                        </a:lnTo>
                        <a:close/>
                        <a:moveTo>
                          <a:pt x="86" y="45"/>
                        </a:moveTo>
                        <a:cubicBezTo>
                          <a:pt x="86" y="45"/>
                          <a:pt x="85" y="45"/>
                          <a:pt x="85" y="45"/>
                        </a:cubicBezTo>
                        <a:cubicBezTo>
                          <a:pt x="85" y="45"/>
                          <a:pt x="85" y="45"/>
                          <a:pt x="85" y="45"/>
                        </a:cubicBezTo>
                        <a:cubicBezTo>
                          <a:pt x="86" y="45"/>
                          <a:pt x="86" y="44"/>
                          <a:pt x="87" y="45"/>
                        </a:cubicBezTo>
                        <a:cubicBezTo>
                          <a:pt x="87" y="44"/>
                          <a:pt x="86" y="45"/>
                          <a:pt x="86" y="45"/>
                        </a:cubicBezTo>
                        <a:close/>
                        <a:moveTo>
                          <a:pt x="84" y="47"/>
                        </a:moveTo>
                        <a:cubicBezTo>
                          <a:pt x="84" y="47"/>
                          <a:pt x="84" y="47"/>
                          <a:pt x="84" y="47"/>
                        </a:cubicBezTo>
                        <a:cubicBezTo>
                          <a:pt x="84" y="47"/>
                          <a:pt x="83" y="47"/>
                          <a:pt x="84" y="47"/>
                        </a:cubicBezTo>
                        <a:cubicBezTo>
                          <a:pt x="84" y="47"/>
                          <a:pt x="84" y="48"/>
                          <a:pt x="83" y="48"/>
                        </a:cubicBezTo>
                        <a:cubicBezTo>
                          <a:pt x="83" y="47"/>
                          <a:pt x="84" y="47"/>
                          <a:pt x="84" y="47"/>
                        </a:cubicBezTo>
                        <a:close/>
                        <a:moveTo>
                          <a:pt x="83" y="48"/>
                        </a:moveTo>
                        <a:cubicBezTo>
                          <a:pt x="84" y="48"/>
                          <a:pt x="84" y="48"/>
                          <a:pt x="84" y="48"/>
                        </a:cubicBezTo>
                        <a:cubicBezTo>
                          <a:pt x="84" y="48"/>
                          <a:pt x="84" y="48"/>
                          <a:pt x="83" y="48"/>
                        </a:cubicBezTo>
                        <a:close/>
                        <a:moveTo>
                          <a:pt x="78" y="46"/>
                        </a:moveTo>
                        <a:cubicBezTo>
                          <a:pt x="78" y="46"/>
                          <a:pt x="78" y="46"/>
                          <a:pt x="78" y="46"/>
                        </a:cubicBezTo>
                        <a:cubicBezTo>
                          <a:pt x="78" y="46"/>
                          <a:pt x="78" y="46"/>
                          <a:pt x="78" y="46"/>
                        </a:cubicBezTo>
                        <a:cubicBezTo>
                          <a:pt x="79" y="46"/>
                          <a:pt x="78" y="46"/>
                          <a:pt x="79" y="46"/>
                        </a:cubicBezTo>
                        <a:cubicBezTo>
                          <a:pt x="79" y="46"/>
                          <a:pt x="78" y="46"/>
                          <a:pt x="78" y="46"/>
                        </a:cubicBezTo>
                        <a:close/>
                        <a:moveTo>
                          <a:pt x="78" y="46"/>
                        </a:moveTo>
                        <a:cubicBezTo>
                          <a:pt x="78" y="46"/>
                          <a:pt x="77" y="46"/>
                          <a:pt x="77" y="46"/>
                        </a:cubicBezTo>
                        <a:cubicBezTo>
                          <a:pt x="77" y="46"/>
                          <a:pt x="77" y="46"/>
                          <a:pt x="76" y="46"/>
                        </a:cubicBezTo>
                        <a:cubicBezTo>
                          <a:pt x="76" y="46"/>
                          <a:pt x="77" y="46"/>
                          <a:pt x="77" y="46"/>
                        </a:cubicBezTo>
                        <a:cubicBezTo>
                          <a:pt x="77" y="46"/>
                          <a:pt x="77" y="46"/>
                          <a:pt x="78" y="46"/>
                        </a:cubicBezTo>
                        <a:cubicBezTo>
                          <a:pt x="78" y="46"/>
                          <a:pt x="77" y="46"/>
                          <a:pt x="78" y="46"/>
                        </a:cubicBezTo>
                        <a:cubicBezTo>
                          <a:pt x="78" y="46"/>
                          <a:pt x="78" y="46"/>
                          <a:pt x="78" y="46"/>
                        </a:cubicBezTo>
                        <a:cubicBezTo>
                          <a:pt x="78" y="46"/>
                          <a:pt x="78" y="46"/>
                          <a:pt x="78" y="46"/>
                        </a:cubicBezTo>
                        <a:cubicBezTo>
                          <a:pt x="78" y="46"/>
                          <a:pt x="78" y="46"/>
                          <a:pt x="78" y="46"/>
                        </a:cubicBezTo>
                        <a:cubicBezTo>
                          <a:pt x="77" y="46"/>
                          <a:pt x="77" y="46"/>
                          <a:pt x="77" y="46"/>
                        </a:cubicBezTo>
                        <a:cubicBezTo>
                          <a:pt x="78" y="46"/>
                          <a:pt x="78" y="46"/>
                          <a:pt x="78" y="46"/>
                        </a:cubicBezTo>
                        <a:close/>
                        <a:moveTo>
                          <a:pt x="72" y="49"/>
                        </a:moveTo>
                        <a:cubicBezTo>
                          <a:pt x="72" y="49"/>
                          <a:pt x="71" y="49"/>
                          <a:pt x="71" y="50"/>
                        </a:cubicBezTo>
                        <a:cubicBezTo>
                          <a:pt x="70" y="50"/>
                          <a:pt x="69" y="50"/>
                          <a:pt x="70" y="50"/>
                        </a:cubicBezTo>
                        <a:cubicBezTo>
                          <a:pt x="70" y="50"/>
                          <a:pt x="70" y="49"/>
                          <a:pt x="70" y="49"/>
                        </a:cubicBezTo>
                        <a:cubicBezTo>
                          <a:pt x="70" y="49"/>
                          <a:pt x="71" y="49"/>
                          <a:pt x="71" y="49"/>
                        </a:cubicBezTo>
                        <a:cubicBezTo>
                          <a:pt x="72" y="49"/>
                          <a:pt x="72" y="49"/>
                          <a:pt x="72" y="49"/>
                        </a:cubicBezTo>
                        <a:cubicBezTo>
                          <a:pt x="72" y="49"/>
                          <a:pt x="72" y="49"/>
                          <a:pt x="72" y="49"/>
                        </a:cubicBezTo>
                        <a:cubicBezTo>
                          <a:pt x="72" y="49"/>
                          <a:pt x="72" y="49"/>
                          <a:pt x="72" y="49"/>
                        </a:cubicBezTo>
                        <a:close/>
                        <a:moveTo>
                          <a:pt x="71" y="49"/>
                        </a:moveTo>
                        <a:cubicBezTo>
                          <a:pt x="71" y="49"/>
                          <a:pt x="70" y="49"/>
                          <a:pt x="70" y="50"/>
                        </a:cubicBezTo>
                        <a:cubicBezTo>
                          <a:pt x="70" y="50"/>
                          <a:pt x="71" y="50"/>
                          <a:pt x="71" y="49"/>
                        </a:cubicBezTo>
                        <a:close/>
                        <a:moveTo>
                          <a:pt x="70" y="50"/>
                        </a:moveTo>
                        <a:cubicBezTo>
                          <a:pt x="71" y="50"/>
                          <a:pt x="71" y="50"/>
                          <a:pt x="72" y="50"/>
                        </a:cubicBezTo>
                        <a:cubicBezTo>
                          <a:pt x="72" y="50"/>
                          <a:pt x="72" y="50"/>
                          <a:pt x="71" y="50"/>
                        </a:cubicBezTo>
                        <a:cubicBezTo>
                          <a:pt x="71" y="50"/>
                          <a:pt x="72" y="50"/>
                          <a:pt x="71" y="51"/>
                        </a:cubicBezTo>
                        <a:cubicBezTo>
                          <a:pt x="71" y="50"/>
                          <a:pt x="71" y="50"/>
                          <a:pt x="71" y="50"/>
                        </a:cubicBezTo>
                        <a:cubicBezTo>
                          <a:pt x="71" y="50"/>
                          <a:pt x="70" y="50"/>
                          <a:pt x="70" y="50"/>
                        </a:cubicBezTo>
                        <a:close/>
                        <a:moveTo>
                          <a:pt x="69" y="51"/>
                        </a:moveTo>
                        <a:cubicBezTo>
                          <a:pt x="69" y="51"/>
                          <a:pt x="70" y="51"/>
                          <a:pt x="70" y="50"/>
                        </a:cubicBezTo>
                        <a:cubicBezTo>
                          <a:pt x="70" y="51"/>
                          <a:pt x="69" y="51"/>
                          <a:pt x="69" y="51"/>
                        </a:cubicBezTo>
                        <a:cubicBezTo>
                          <a:pt x="69" y="51"/>
                          <a:pt x="69" y="51"/>
                          <a:pt x="68" y="51"/>
                        </a:cubicBezTo>
                        <a:cubicBezTo>
                          <a:pt x="69" y="51"/>
                          <a:pt x="69" y="51"/>
                          <a:pt x="69" y="51"/>
                        </a:cubicBezTo>
                        <a:close/>
                        <a:moveTo>
                          <a:pt x="63" y="52"/>
                        </a:moveTo>
                        <a:cubicBezTo>
                          <a:pt x="63" y="52"/>
                          <a:pt x="62" y="52"/>
                          <a:pt x="62" y="52"/>
                        </a:cubicBezTo>
                        <a:cubicBezTo>
                          <a:pt x="62" y="52"/>
                          <a:pt x="62" y="52"/>
                          <a:pt x="62" y="52"/>
                        </a:cubicBezTo>
                        <a:cubicBezTo>
                          <a:pt x="61" y="52"/>
                          <a:pt x="60" y="52"/>
                          <a:pt x="58" y="53"/>
                        </a:cubicBezTo>
                        <a:cubicBezTo>
                          <a:pt x="58" y="53"/>
                          <a:pt x="58" y="53"/>
                          <a:pt x="58" y="53"/>
                        </a:cubicBezTo>
                        <a:cubicBezTo>
                          <a:pt x="58" y="53"/>
                          <a:pt x="58" y="53"/>
                          <a:pt x="57" y="53"/>
                        </a:cubicBezTo>
                        <a:cubicBezTo>
                          <a:pt x="57" y="53"/>
                          <a:pt x="57" y="53"/>
                          <a:pt x="58" y="53"/>
                        </a:cubicBezTo>
                        <a:cubicBezTo>
                          <a:pt x="58" y="53"/>
                          <a:pt x="57" y="53"/>
                          <a:pt x="57" y="53"/>
                        </a:cubicBezTo>
                        <a:cubicBezTo>
                          <a:pt x="57" y="53"/>
                          <a:pt x="57" y="53"/>
                          <a:pt x="57" y="53"/>
                        </a:cubicBezTo>
                        <a:cubicBezTo>
                          <a:pt x="56" y="53"/>
                          <a:pt x="56" y="53"/>
                          <a:pt x="56" y="53"/>
                        </a:cubicBezTo>
                        <a:cubicBezTo>
                          <a:pt x="56" y="53"/>
                          <a:pt x="56" y="53"/>
                          <a:pt x="55" y="53"/>
                        </a:cubicBezTo>
                        <a:cubicBezTo>
                          <a:pt x="56" y="53"/>
                          <a:pt x="56" y="53"/>
                          <a:pt x="57" y="53"/>
                        </a:cubicBezTo>
                        <a:cubicBezTo>
                          <a:pt x="57" y="53"/>
                          <a:pt x="57" y="53"/>
                          <a:pt x="57" y="53"/>
                        </a:cubicBezTo>
                        <a:cubicBezTo>
                          <a:pt x="58" y="53"/>
                          <a:pt x="58" y="53"/>
                          <a:pt x="59" y="52"/>
                        </a:cubicBezTo>
                        <a:cubicBezTo>
                          <a:pt x="59" y="52"/>
                          <a:pt x="59" y="52"/>
                          <a:pt x="59" y="52"/>
                        </a:cubicBezTo>
                        <a:cubicBezTo>
                          <a:pt x="59" y="52"/>
                          <a:pt x="59" y="52"/>
                          <a:pt x="59" y="52"/>
                        </a:cubicBezTo>
                        <a:cubicBezTo>
                          <a:pt x="60" y="52"/>
                          <a:pt x="59" y="52"/>
                          <a:pt x="59" y="52"/>
                        </a:cubicBezTo>
                        <a:cubicBezTo>
                          <a:pt x="60" y="52"/>
                          <a:pt x="60" y="52"/>
                          <a:pt x="60" y="52"/>
                        </a:cubicBezTo>
                        <a:cubicBezTo>
                          <a:pt x="62" y="52"/>
                          <a:pt x="63" y="51"/>
                          <a:pt x="64" y="51"/>
                        </a:cubicBezTo>
                        <a:cubicBezTo>
                          <a:pt x="64" y="51"/>
                          <a:pt x="65" y="51"/>
                          <a:pt x="65" y="51"/>
                        </a:cubicBezTo>
                        <a:cubicBezTo>
                          <a:pt x="65" y="51"/>
                          <a:pt x="66" y="51"/>
                          <a:pt x="66" y="51"/>
                        </a:cubicBezTo>
                        <a:cubicBezTo>
                          <a:pt x="67" y="51"/>
                          <a:pt x="68" y="50"/>
                          <a:pt x="70" y="50"/>
                        </a:cubicBezTo>
                        <a:cubicBezTo>
                          <a:pt x="68" y="51"/>
                          <a:pt x="65" y="51"/>
                          <a:pt x="63" y="52"/>
                        </a:cubicBezTo>
                        <a:cubicBezTo>
                          <a:pt x="63" y="52"/>
                          <a:pt x="63" y="52"/>
                          <a:pt x="63" y="52"/>
                        </a:cubicBezTo>
                        <a:close/>
                        <a:moveTo>
                          <a:pt x="69" y="50"/>
                        </a:moveTo>
                        <a:cubicBezTo>
                          <a:pt x="69" y="50"/>
                          <a:pt x="69" y="50"/>
                          <a:pt x="69" y="50"/>
                        </a:cubicBezTo>
                        <a:cubicBezTo>
                          <a:pt x="69" y="50"/>
                          <a:pt x="69" y="50"/>
                          <a:pt x="69" y="50"/>
                        </a:cubicBezTo>
                        <a:cubicBezTo>
                          <a:pt x="69" y="50"/>
                          <a:pt x="69" y="50"/>
                          <a:pt x="69" y="50"/>
                        </a:cubicBezTo>
                        <a:cubicBezTo>
                          <a:pt x="69" y="49"/>
                          <a:pt x="69" y="50"/>
                          <a:pt x="69" y="50"/>
                        </a:cubicBezTo>
                        <a:close/>
                        <a:moveTo>
                          <a:pt x="53" y="54"/>
                        </a:moveTo>
                        <a:cubicBezTo>
                          <a:pt x="55" y="54"/>
                          <a:pt x="57" y="54"/>
                          <a:pt x="59" y="53"/>
                        </a:cubicBezTo>
                        <a:cubicBezTo>
                          <a:pt x="57" y="54"/>
                          <a:pt x="55" y="54"/>
                          <a:pt x="53" y="54"/>
                        </a:cubicBezTo>
                        <a:close/>
                        <a:moveTo>
                          <a:pt x="47" y="55"/>
                        </a:moveTo>
                        <a:cubicBezTo>
                          <a:pt x="47" y="55"/>
                          <a:pt x="47" y="55"/>
                          <a:pt x="47" y="55"/>
                        </a:cubicBezTo>
                        <a:cubicBezTo>
                          <a:pt x="48" y="55"/>
                          <a:pt x="48" y="55"/>
                          <a:pt x="48" y="55"/>
                        </a:cubicBezTo>
                        <a:cubicBezTo>
                          <a:pt x="48" y="55"/>
                          <a:pt x="48" y="55"/>
                          <a:pt x="47" y="55"/>
                        </a:cubicBezTo>
                        <a:cubicBezTo>
                          <a:pt x="47" y="55"/>
                          <a:pt x="48" y="55"/>
                          <a:pt x="48" y="55"/>
                        </a:cubicBezTo>
                        <a:cubicBezTo>
                          <a:pt x="48" y="55"/>
                          <a:pt x="48" y="55"/>
                          <a:pt x="48" y="55"/>
                        </a:cubicBezTo>
                        <a:cubicBezTo>
                          <a:pt x="48" y="55"/>
                          <a:pt x="48" y="55"/>
                          <a:pt x="48" y="55"/>
                        </a:cubicBezTo>
                        <a:cubicBezTo>
                          <a:pt x="47" y="55"/>
                          <a:pt x="47" y="55"/>
                          <a:pt x="47" y="55"/>
                        </a:cubicBezTo>
                        <a:close/>
                        <a:moveTo>
                          <a:pt x="39" y="58"/>
                        </a:moveTo>
                        <a:cubicBezTo>
                          <a:pt x="39" y="58"/>
                          <a:pt x="38" y="58"/>
                          <a:pt x="38" y="58"/>
                        </a:cubicBezTo>
                        <a:cubicBezTo>
                          <a:pt x="38" y="58"/>
                          <a:pt x="38" y="58"/>
                          <a:pt x="38" y="58"/>
                        </a:cubicBezTo>
                        <a:cubicBezTo>
                          <a:pt x="38" y="58"/>
                          <a:pt x="39" y="58"/>
                          <a:pt x="39" y="58"/>
                        </a:cubicBezTo>
                        <a:cubicBezTo>
                          <a:pt x="39" y="58"/>
                          <a:pt x="39" y="58"/>
                          <a:pt x="39" y="58"/>
                        </a:cubicBezTo>
                        <a:cubicBezTo>
                          <a:pt x="40" y="58"/>
                          <a:pt x="39" y="58"/>
                          <a:pt x="40" y="58"/>
                        </a:cubicBezTo>
                        <a:cubicBezTo>
                          <a:pt x="40" y="58"/>
                          <a:pt x="40" y="58"/>
                          <a:pt x="40" y="58"/>
                        </a:cubicBezTo>
                        <a:cubicBezTo>
                          <a:pt x="40" y="58"/>
                          <a:pt x="40" y="58"/>
                          <a:pt x="40" y="58"/>
                        </a:cubicBezTo>
                        <a:cubicBezTo>
                          <a:pt x="40" y="58"/>
                          <a:pt x="40" y="58"/>
                          <a:pt x="40" y="58"/>
                        </a:cubicBezTo>
                        <a:cubicBezTo>
                          <a:pt x="39" y="58"/>
                          <a:pt x="40" y="58"/>
                          <a:pt x="39" y="58"/>
                        </a:cubicBezTo>
                        <a:close/>
                        <a:moveTo>
                          <a:pt x="24" y="62"/>
                        </a:moveTo>
                        <a:cubicBezTo>
                          <a:pt x="25" y="62"/>
                          <a:pt x="26" y="61"/>
                          <a:pt x="27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8" y="61"/>
                          <a:pt x="28" y="61"/>
                          <a:pt x="28" y="61"/>
                        </a:cubicBezTo>
                        <a:cubicBezTo>
                          <a:pt x="28" y="61"/>
                          <a:pt x="27" y="61"/>
                          <a:pt x="27" y="61"/>
                        </a:cubicBezTo>
                        <a:cubicBezTo>
                          <a:pt x="29" y="61"/>
                          <a:pt x="30" y="60"/>
                          <a:pt x="31" y="60"/>
                        </a:cubicBezTo>
                        <a:cubicBezTo>
                          <a:pt x="31" y="60"/>
                          <a:pt x="31" y="60"/>
                          <a:pt x="31" y="60"/>
                        </a:cubicBezTo>
                        <a:cubicBezTo>
                          <a:pt x="30" y="60"/>
                          <a:pt x="30" y="60"/>
                          <a:pt x="30" y="60"/>
                        </a:cubicBezTo>
                        <a:cubicBezTo>
                          <a:pt x="31" y="60"/>
                          <a:pt x="32" y="60"/>
                          <a:pt x="32" y="60"/>
                        </a:cubicBezTo>
                        <a:cubicBezTo>
                          <a:pt x="32" y="60"/>
                          <a:pt x="32" y="60"/>
                          <a:pt x="33" y="60"/>
                        </a:cubicBezTo>
                        <a:cubicBezTo>
                          <a:pt x="32" y="60"/>
                          <a:pt x="32" y="60"/>
                          <a:pt x="33" y="60"/>
                        </a:cubicBezTo>
                        <a:cubicBezTo>
                          <a:pt x="33" y="60"/>
                          <a:pt x="32" y="60"/>
                          <a:pt x="32" y="60"/>
                        </a:cubicBezTo>
                        <a:cubicBezTo>
                          <a:pt x="32" y="60"/>
                          <a:pt x="32" y="60"/>
                          <a:pt x="32" y="60"/>
                        </a:cubicBezTo>
                        <a:cubicBezTo>
                          <a:pt x="31" y="60"/>
                          <a:pt x="31" y="60"/>
                          <a:pt x="31" y="60"/>
                        </a:cubicBezTo>
                        <a:cubicBezTo>
                          <a:pt x="31" y="60"/>
                          <a:pt x="31" y="61"/>
                          <a:pt x="30" y="60"/>
                        </a:cubicBezTo>
                        <a:cubicBezTo>
                          <a:pt x="30" y="60"/>
                          <a:pt x="30" y="60"/>
                          <a:pt x="30" y="61"/>
                        </a:cubicBezTo>
                        <a:cubicBezTo>
                          <a:pt x="30" y="61"/>
                          <a:pt x="30" y="61"/>
                          <a:pt x="30" y="61"/>
                        </a:cubicBezTo>
                        <a:cubicBezTo>
                          <a:pt x="30" y="61"/>
                          <a:pt x="30" y="60"/>
                          <a:pt x="30" y="61"/>
                        </a:cubicBezTo>
                        <a:cubicBezTo>
                          <a:pt x="29" y="61"/>
                          <a:pt x="30" y="60"/>
                          <a:pt x="30" y="60"/>
                        </a:cubicBezTo>
                        <a:cubicBezTo>
                          <a:pt x="30" y="60"/>
                          <a:pt x="29" y="61"/>
                          <a:pt x="29" y="61"/>
                        </a:cubicBezTo>
                        <a:cubicBezTo>
                          <a:pt x="29" y="61"/>
                          <a:pt x="29" y="61"/>
                          <a:pt x="29" y="61"/>
                        </a:cubicBezTo>
                        <a:cubicBezTo>
                          <a:pt x="28" y="61"/>
                          <a:pt x="29" y="61"/>
                          <a:pt x="29" y="61"/>
                        </a:cubicBezTo>
                        <a:cubicBezTo>
                          <a:pt x="29" y="61"/>
                          <a:pt x="28" y="61"/>
                          <a:pt x="28" y="61"/>
                        </a:cubicBezTo>
                        <a:cubicBezTo>
                          <a:pt x="28" y="61"/>
                          <a:pt x="28" y="61"/>
                          <a:pt x="28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7" y="62"/>
                        </a:cubicBezTo>
                        <a:cubicBezTo>
                          <a:pt x="27" y="61"/>
                          <a:pt x="26" y="61"/>
                          <a:pt x="26" y="62"/>
                        </a:cubicBezTo>
                        <a:cubicBezTo>
                          <a:pt x="26" y="62"/>
                          <a:pt x="26" y="62"/>
                          <a:pt x="26" y="62"/>
                        </a:cubicBezTo>
                        <a:cubicBezTo>
                          <a:pt x="26" y="62"/>
                          <a:pt x="26" y="62"/>
                          <a:pt x="25" y="62"/>
                        </a:cubicBezTo>
                        <a:cubicBezTo>
                          <a:pt x="25" y="62"/>
                          <a:pt x="26" y="62"/>
                          <a:pt x="26" y="62"/>
                        </a:cubicBezTo>
                        <a:cubicBezTo>
                          <a:pt x="25" y="62"/>
                          <a:pt x="24" y="62"/>
                          <a:pt x="23" y="63"/>
                        </a:cubicBezTo>
                        <a:cubicBezTo>
                          <a:pt x="23" y="62"/>
                          <a:pt x="24" y="62"/>
                          <a:pt x="24" y="62"/>
                        </a:cubicBezTo>
                        <a:cubicBezTo>
                          <a:pt x="24" y="62"/>
                          <a:pt x="24" y="62"/>
                          <a:pt x="25" y="62"/>
                        </a:cubicBezTo>
                        <a:cubicBezTo>
                          <a:pt x="24" y="62"/>
                          <a:pt x="24" y="62"/>
                          <a:pt x="24" y="62"/>
                        </a:cubicBezTo>
                        <a:cubicBezTo>
                          <a:pt x="24" y="62"/>
                          <a:pt x="24" y="62"/>
                          <a:pt x="24" y="62"/>
                        </a:cubicBezTo>
                        <a:cubicBezTo>
                          <a:pt x="25" y="62"/>
                          <a:pt x="25" y="62"/>
                          <a:pt x="25" y="62"/>
                        </a:cubicBezTo>
                        <a:cubicBezTo>
                          <a:pt x="25" y="62"/>
                          <a:pt x="25" y="62"/>
                          <a:pt x="24" y="62"/>
                        </a:cubicBezTo>
                        <a:close/>
                        <a:moveTo>
                          <a:pt x="32" y="59"/>
                        </a:moveTo>
                        <a:cubicBezTo>
                          <a:pt x="32" y="59"/>
                          <a:pt x="31" y="59"/>
                          <a:pt x="31" y="59"/>
                        </a:cubicBezTo>
                        <a:cubicBezTo>
                          <a:pt x="31" y="59"/>
                          <a:pt x="32" y="59"/>
                          <a:pt x="32" y="59"/>
                        </a:cubicBezTo>
                        <a:close/>
                        <a:moveTo>
                          <a:pt x="30" y="59"/>
                        </a:moveTo>
                        <a:cubicBezTo>
                          <a:pt x="30" y="60"/>
                          <a:pt x="30" y="60"/>
                          <a:pt x="30" y="60"/>
                        </a:cubicBezTo>
                        <a:cubicBezTo>
                          <a:pt x="30" y="59"/>
                          <a:pt x="31" y="59"/>
                          <a:pt x="30" y="59"/>
                        </a:cubicBezTo>
                        <a:close/>
                        <a:moveTo>
                          <a:pt x="30" y="59"/>
                        </a:moveTo>
                        <a:cubicBezTo>
                          <a:pt x="29" y="59"/>
                          <a:pt x="29" y="59"/>
                          <a:pt x="28" y="60"/>
                        </a:cubicBezTo>
                        <a:cubicBezTo>
                          <a:pt x="28" y="59"/>
                          <a:pt x="30" y="59"/>
                          <a:pt x="30" y="59"/>
                        </a:cubicBezTo>
                        <a:close/>
                        <a:moveTo>
                          <a:pt x="20" y="64"/>
                        </a:moveTo>
                        <a:cubicBezTo>
                          <a:pt x="19" y="63"/>
                          <a:pt x="20" y="63"/>
                          <a:pt x="20" y="63"/>
                        </a:cubicBezTo>
                        <a:cubicBezTo>
                          <a:pt x="20" y="63"/>
                          <a:pt x="20" y="64"/>
                          <a:pt x="20" y="64"/>
                        </a:cubicBezTo>
                        <a:close/>
                        <a:moveTo>
                          <a:pt x="17" y="62"/>
                        </a:moveTo>
                        <a:cubicBezTo>
                          <a:pt x="17" y="62"/>
                          <a:pt x="16" y="62"/>
                          <a:pt x="16" y="62"/>
                        </a:cubicBezTo>
                        <a:cubicBezTo>
                          <a:pt x="17" y="62"/>
                          <a:pt x="17" y="62"/>
                          <a:pt x="17" y="62"/>
                        </a:cubicBezTo>
                        <a:cubicBezTo>
                          <a:pt x="17" y="62"/>
                          <a:pt x="18" y="62"/>
                          <a:pt x="18" y="62"/>
                        </a:cubicBezTo>
                        <a:cubicBezTo>
                          <a:pt x="17" y="62"/>
                          <a:pt x="17" y="62"/>
                          <a:pt x="17" y="62"/>
                        </a:cubicBezTo>
                        <a:close/>
                        <a:moveTo>
                          <a:pt x="16" y="63"/>
                        </a:moveTo>
                        <a:cubicBezTo>
                          <a:pt x="16" y="63"/>
                          <a:pt x="16" y="62"/>
                          <a:pt x="16" y="62"/>
                        </a:cubicBezTo>
                        <a:cubicBezTo>
                          <a:pt x="16" y="62"/>
                          <a:pt x="16" y="62"/>
                          <a:pt x="16" y="62"/>
                        </a:cubicBezTo>
                        <a:cubicBezTo>
                          <a:pt x="16" y="62"/>
                          <a:pt x="16" y="62"/>
                          <a:pt x="16" y="62"/>
                        </a:cubicBezTo>
                        <a:cubicBezTo>
                          <a:pt x="16" y="62"/>
                          <a:pt x="16" y="62"/>
                          <a:pt x="16" y="63"/>
                        </a:cubicBezTo>
                        <a:close/>
                        <a:moveTo>
                          <a:pt x="5" y="62"/>
                        </a:moveTo>
                        <a:cubicBezTo>
                          <a:pt x="5" y="62"/>
                          <a:pt x="5" y="62"/>
                          <a:pt x="5" y="62"/>
                        </a:cubicBezTo>
                        <a:cubicBezTo>
                          <a:pt x="4" y="62"/>
                          <a:pt x="4" y="62"/>
                          <a:pt x="4" y="63"/>
                        </a:cubicBezTo>
                        <a:cubicBezTo>
                          <a:pt x="4" y="62"/>
                          <a:pt x="5" y="62"/>
                          <a:pt x="5" y="62"/>
                        </a:cubicBezTo>
                        <a:close/>
                        <a:moveTo>
                          <a:pt x="3" y="66"/>
                        </a:moveTo>
                        <a:cubicBezTo>
                          <a:pt x="3" y="66"/>
                          <a:pt x="2" y="66"/>
                          <a:pt x="2" y="66"/>
                        </a:cubicBezTo>
                        <a:cubicBezTo>
                          <a:pt x="2" y="66"/>
                          <a:pt x="2" y="66"/>
                          <a:pt x="3" y="66"/>
                        </a:cubicBezTo>
                        <a:close/>
                        <a:moveTo>
                          <a:pt x="225" y="1"/>
                        </a:moveTo>
                        <a:cubicBezTo>
                          <a:pt x="225" y="1"/>
                          <a:pt x="226" y="1"/>
                          <a:pt x="226" y="2"/>
                        </a:cubicBezTo>
                        <a:cubicBezTo>
                          <a:pt x="225" y="2"/>
                          <a:pt x="225" y="2"/>
                          <a:pt x="225" y="2"/>
                        </a:cubicBezTo>
                        <a:cubicBezTo>
                          <a:pt x="225" y="1"/>
                          <a:pt x="224" y="2"/>
                          <a:pt x="225" y="1"/>
                        </a:cubicBezTo>
                        <a:close/>
                        <a:moveTo>
                          <a:pt x="193" y="12"/>
                        </a:moveTo>
                        <a:cubicBezTo>
                          <a:pt x="193" y="12"/>
                          <a:pt x="193" y="12"/>
                          <a:pt x="193" y="12"/>
                        </a:cubicBezTo>
                        <a:cubicBezTo>
                          <a:pt x="193" y="12"/>
                          <a:pt x="193" y="12"/>
                          <a:pt x="192" y="12"/>
                        </a:cubicBezTo>
                        <a:cubicBezTo>
                          <a:pt x="192" y="12"/>
                          <a:pt x="193" y="12"/>
                          <a:pt x="193" y="12"/>
                        </a:cubicBezTo>
                        <a:close/>
                        <a:moveTo>
                          <a:pt x="194" y="14"/>
                        </a:moveTo>
                        <a:cubicBezTo>
                          <a:pt x="194" y="14"/>
                          <a:pt x="194" y="14"/>
                          <a:pt x="194" y="14"/>
                        </a:cubicBezTo>
                        <a:cubicBezTo>
                          <a:pt x="193" y="14"/>
                          <a:pt x="193" y="14"/>
                          <a:pt x="193" y="14"/>
                        </a:cubicBezTo>
                        <a:cubicBezTo>
                          <a:pt x="193" y="14"/>
                          <a:pt x="193" y="14"/>
                          <a:pt x="194" y="14"/>
                        </a:cubicBezTo>
                        <a:close/>
                        <a:moveTo>
                          <a:pt x="191" y="14"/>
                        </a:moveTo>
                        <a:cubicBezTo>
                          <a:pt x="191" y="14"/>
                          <a:pt x="191" y="14"/>
                          <a:pt x="190" y="14"/>
                        </a:cubicBezTo>
                        <a:cubicBezTo>
                          <a:pt x="190" y="14"/>
                          <a:pt x="190" y="14"/>
                          <a:pt x="190" y="14"/>
                        </a:cubicBezTo>
                        <a:cubicBezTo>
                          <a:pt x="190" y="14"/>
                          <a:pt x="190" y="14"/>
                          <a:pt x="190" y="14"/>
                        </a:cubicBezTo>
                        <a:cubicBezTo>
                          <a:pt x="191" y="14"/>
                          <a:pt x="191" y="14"/>
                          <a:pt x="191" y="14"/>
                        </a:cubicBezTo>
                        <a:cubicBezTo>
                          <a:pt x="191" y="14"/>
                          <a:pt x="191" y="14"/>
                          <a:pt x="191" y="14"/>
                        </a:cubicBezTo>
                        <a:close/>
                        <a:moveTo>
                          <a:pt x="191" y="17"/>
                        </a:moveTo>
                        <a:cubicBezTo>
                          <a:pt x="191" y="17"/>
                          <a:pt x="191" y="17"/>
                          <a:pt x="191" y="18"/>
                        </a:cubicBezTo>
                        <a:cubicBezTo>
                          <a:pt x="191" y="18"/>
                          <a:pt x="191" y="18"/>
                          <a:pt x="191" y="18"/>
                        </a:cubicBezTo>
                        <a:cubicBezTo>
                          <a:pt x="190" y="18"/>
                          <a:pt x="191" y="17"/>
                          <a:pt x="191" y="17"/>
                        </a:cubicBezTo>
                        <a:cubicBezTo>
                          <a:pt x="190" y="17"/>
                          <a:pt x="190" y="17"/>
                          <a:pt x="189" y="18"/>
                        </a:cubicBezTo>
                        <a:cubicBezTo>
                          <a:pt x="190" y="17"/>
                          <a:pt x="191" y="17"/>
                          <a:pt x="191" y="17"/>
                        </a:cubicBezTo>
                        <a:cubicBezTo>
                          <a:pt x="191" y="17"/>
                          <a:pt x="191" y="17"/>
                          <a:pt x="191" y="17"/>
                        </a:cubicBezTo>
                        <a:cubicBezTo>
                          <a:pt x="191" y="18"/>
                          <a:pt x="191" y="17"/>
                          <a:pt x="191" y="17"/>
                        </a:cubicBezTo>
                        <a:close/>
                        <a:moveTo>
                          <a:pt x="181" y="23"/>
                        </a:moveTo>
                        <a:cubicBezTo>
                          <a:pt x="181" y="23"/>
                          <a:pt x="181" y="23"/>
                          <a:pt x="181" y="23"/>
                        </a:cubicBezTo>
                        <a:cubicBezTo>
                          <a:pt x="181" y="23"/>
                          <a:pt x="181" y="23"/>
                          <a:pt x="181" y="23"/>
                        </a:cubicBezTo>
                        <a:cubicBezTo>
                          <a:pt x="181" y="23"/>
                          <a:pt x="181" y="23"/>
                          <a:pt x="182" y="23"/>
                        </a:cubicBezTo>
                        <a:cubicBezTo>
                          <a:pt x="182" y="23"/>
                          <a:pt x="182" y="23"/>
                          <a:pt x="182" y="23"/>
                        </a:cubicBezTo>
                        <a:cubicBezTo>
                          <a:pt x="182" y="23"/>
                          <a:pt x="182" y="23"/>
                          <a:pt x="181" y="23"/>
                        </a:cubicBezTo>
                        <a:close/>
                        <a:moveTo>
                          <a:pt x="176" y="18"/>
                        </a:moveTo>
                        <a:cubicBezTo>
                          <a:pt x="176" y="18"/>
                          <a:pt x="175" y="18"/>
                          <a:pt x="175" y="18"/>
                        </a:cubicBezTo>
                        <a:cubicBezTo>
                          <a:pt x="175" y="18"/>
                          <a:pt x="176" y="18"/>
                          <a:pt x="177" y="18"/>
                        </a:cubicBezTo>
                        <a:cubicBezTo>
                          <a:pt x="177" y="18"/>
                          <a:pt x="176" y="18"/>
                          <a:pt x="176" y="18"/>
                        </a:cubicBezTo>
                        <a:close/>
                        <a:moveTo>
                          <a:pt x="164" y="28"/>
                        </a:moveTo>
                        <a:cubicBezTo>
                          <a:pt x="164" y="28"/>
                          <a:pt x="164" y="28"/>
                          <a:pt x="164" y="28"/>
                        </a:cubicBezTo>
                        <a:cubicBezTo>
                          <a:pt x="164" y="28"/>
                          <a:pt x="164" y="28"/>
                          <a:pt x="164" y="28"/>
                        </a:cubicBezTo>
                        <a:cubicBezTo>
                          <a:pt x="164" y="27"/>
                          <a:pt x="165" y="28"/>
                          <a:pt x="165" y="28"/>
                        </a:cubicBezTo>
                        <a:cubicBezTo>
                          <a:pt x="165" y="28"/>
                          <a:pt x="164" y="28"/>
                          <a:pt x="164" y="28"/>
                        </a:cubicBezTo>
                        <a:close/>
                        <a:moveTo>
                          <a:pt x="157" y="30"/>
                        </a:moveTo>
                        <a:cubicBezTo>
                          <a:pt x="157" y="30"/>
                          <a:pt x="157" y="30"/>
                          <a:pt x="157" y="30"/>
                        </a:cubicBezTo>
                        <a:cubicBezTo>
                          <a:pt x="157" y="30"/>
                          <a:pt x="156" y="31"/>
                          <a:pt x="156" y="31"/>
                        </a:cubicBezTo>
                        <a:cubicBezTo>
                          <a:pt x="155" y="31"/>
                          <a:pt x="155" y="31"/>
                          <a:pt x="155" y="31"/>
                        </a:cubicBezTo>
                        <a:cubicBezTo>
                          <a:pt x="155" y="31"/>
                          <a:pt x="156" y="30"/>
                          <a:pt x="157" y="30"/>
                        </a:cubicBezTo>
                        <a:close/>
                        <a:moveTo>
                          <a:pt x="154" y="25"/>
                        </a:moveTo>
                        <a:cubicBezTo>
                          <a:pt x="154" y="25"/>
                          <a:pt x="154" y="25"/>
                          <a:pt x="154" y="25"/>
                        </a:cubicBezTo>
                        <a:cubicBezTo>
                          <a:pt x="154" y="25"/>
                          <a:pt x="154" y="25"/>
                          <a:pt x="153" y="25"/>
                        </a:cubicBezTo>
                        <a:cubicBezTo>
                          <a:pt x="153" y="25"/>
                          <a:pt x="153" y="25"/>
                          <a:pt x="154" y="25"/>
                        </a:cubicBezTo>
                        <a:cubicBezTo>
                          <a:pt x="153" y="25"/>
                          <a:pt x="153" y="25"/>
                          <a:pt x="153" y="25"/>
                        </a:cubicBezTo>
                        <a:lnTo>
                          <a:pt x="154" y="25"/>
                        </a:lnTo>
                        <a:close/>
                        <a:moveTo>
                          <a:pt x="146" y="28"/>
                        </a:moveTo>
                        <a:cubicBezTo>
                          <a:pt x="146" y="28"/>
                          <a:pt x="147" y="28"/>
                          <a:pt x="147" y="28"/>
                        </a:cubicBezTo>
                        <a:cubicBezTo>
                          <a:pt x="147" y="28"/>
                          <a:pt x="147" y="28"/>
                          <a:pt x="147" y="28"/>
                        </a:cubicBezTo>
                        <a:cubicBezTo>
                          <a:pt x="147" y="29"/>
                          <a:pt x="146" y="28"/>
                          <a:pt x="146" y="28"/>
                        </a:cubicBezTo>
                        <a:close/>
                        <a:moveTo>
                          <a:pt x="139" y="25"/>
                        </a:moveTo>
                        <a:cubicBezTo>
                          <a:pt x="139" y="25"/>
                          <a:pt x="140" y="25"/>
                          <a:pt x="140" y="25"/>
                        </a:cubicBezTo>
                        <a:cubicBezTo>
                          <a:pt x="140" y="25"/>
                          <a:pt x="140" y="25"/>
                          <a:pt x="140" y="25"/>
                        </a:cubicBezTo>
                        <a:cubicBezTo>
                          <a:pt x="141" y="25"/>
                          <a:pt x="141" y="25"/>
                          <a:pt x="141" y="25"/>
                        </a:cubicBezTo>
                        <a:cubicBezTo>
                          <a:pt x="141" y="25"/>
                          <a:pt x="140" y="25"/>
                          <a:pt x="139" y="25"/>
                        </a:cubicBezTo>
                        <a:close/>
                        <a:moveTo>
                          <a:pt x="136" y="31"/>
                        </a:moveTo>
                        <a:cubicBezTo>
                          <a:pt x="136" y="30"/>
                          <a:pt x="137" y="30"/>
                          <a:pt x="138" y="30"/>
                        </a:cubicBezTo>
                        <a:cubicBezTo>
                          <a:pt x="139" y="30"/>
                          <a:pt x="139" y="30"/>
                          <a:pt x="139" y="30"/>
                        </a:cubicBezTo>
                        <a:cubicBezTo>
                          <a:pt x="138" y="30"/>
                          <a:pt x="138" y="30"/>
                          <a:pt x="138" y="30"/>
                        </a:cubicBezTo>
                        <a:cubicBezTo>
                          <a:pt x="138" y="29"/>
                          <a:pt x="138" y="29"/>
                          <a:pt x="139" y="29"/>
                        </a:cubicBezTo>
                        <a:cubicBezTo>
                          <a:pt x="138" y="29"/>
                          <a:pt x="139" y="29"/>
                          <a:pt x="139" y="29"/>
                        </a:cubicBezTo>
                        <a:cubicBezTo>
                          <a:pt x="139" y="30"/>
                          <a:pt x="139" y="29"/>
                          <a:pt x="139" y="29"/>
                        </a:cubicBezTo>
                        <a:cubicBezTo>
                          <a:pt x="139" y="29"/>
                          <a:pt x="139" y="29"/>
                          <a:pt x="140" y="29"/>
                        </a:cubicBezTo>
                        <a:cubicBezTo>
                          <a:pt x="139" y="29"/>
                          <a:pt x="139" y="29"/>
                          <a:pt x="139" y="29"/>
                        </a:cubicBezTo>
                        <a:cubicBezTo>
                          <a:pt x="139" y="29"/>
                          <a:pt x="140" y="29"/>
                          <a:pt x="140" y="29"/>
                        </a:cubicBezTo>
                        <a:cubicBezTo>
                          <a:pt x="141" y="29"/>
                          <a:pt x="140" y="29"/>
                          <a:pt x="140" y="29"/>
                        </a:cubicBezTo>
                        <a:cubicBezTo>
                          <a:pt x="140" y="29"/>
                          <a:pt x="140" y="30"/>
                          <a:pt x="139" y="30"/>
                        </a:cubicBezTo>
                        <a:cubicBezTo>
                          <a:pt x="139" y="30"/>
                          <a:pt x="139" y="30"/>
                          <a:pt x="139" y="30"/>
                        </a:cubicBezTo>
                        <a:cubicBezTo>
                          <a:pt x="139" y="30"/>
                          <a:pt x="139" y="30"/>
                          <a:pt x="139" y="30"/>
                        </a:cubicBezTo>
                        <a:cubicBezTo>
                          <a:pt x="139" y="30"/>
                          <a:pt x="139" y="30"/>
                          <a:pt x="139" y="30"/>
                        </a:cubicBezTo>
                        <a:cubicBezTo>
                          <a:pt x="139" y="30"/>
                          <a:pt x="138" y="30"/>
                          <a:pt x="138" y="31"/>
                        </a:cubicBezTo>
                        <a:cubicBezTo>
                          <a:pt x="137" y="31"/>
                          <a:pt x="137" y="31"/>
                          <a:pt x="137" y="31"/>
                        </a:cubicBezTo>
                        <a:cubicBezTo>
                          <a:pt x="137" y="31"/>
                          <a:pt x="137" y="31"/>
                          <a:pt x="137" y="31"/>
                        </a:cubicBezTo>
                        <a:cubicBezTo>
                          <a:pt x="137" y="31"/>
                          <a:pt x="136" y="31"/>
                          <a:pt x="136" y="31"/>
                        </a:cubicBezTo>
                        <a:close/>
                        <a:moveTo>
                          <a:pt x="135" y="31"/>
                        </a:moveTo>
                        <a:cubicBezTo>
                          <a:pt x="135" y="31"/>
                          <a:pt x="135" y="31"/>
                          <a:pt x="135" y="30"/>
                        </a:cubicBezTo>
                        <a:cubicBezTo>
                          <a:pt x="135" y="30"/>
                          <a:pt x="135" y="30"/>
                          <a:pt x="135" y="30"/>
                        </a:cubicBezTo>
                        <a:cubicBezTo>
                          <a:pt x="135" y="30"/>
                          <a:pt x="135" y="30"/>
                          <a:pt x="135" y="30"/>
                        </a:cubicBezTo>
                        <a:cubicBezTo>
                          <a:pt x="135" y="30"/>
                          <a:pt x="135" y="30"/>
                          <a:pt x="135" y="30"/>
                        </a:cubicBezTo>
                        <a:cubicBezTo>
                          <a:pt x="135" y="30"/>
                          <a:pt x="135" y="30"/>
                          <a:pt x="136" y="30"/>
                        </a:cubicBezTo>
                        <a:cubicBezTo>
                          <a:pt x="136" y="30"/>
                          <a:pt x="135" y="30"/>
                          <a:pt x="135" y="30"/>
                        </a:cubicBezTo>
                        <a:cubicBezTo>
                          <a:pt x="135" y="31"/>
                          <a:pt x="135" y="30"/>
                          <a:pt x="135" y="31"/>
                        </a:cubicBezTo>
                        <a:close/>
                        <a:moveTo>
                          <a:pt x="129" y="30"/>
                        </a:moveTo>
                        <a:cubicBezTo>
                          <a:pt x="130" y="30"/>
                          <a:pt x="130" y="30"/>
                          <a:pt x="130" y="30"/>
                        </a:cubicBezTo>
                        <a:cubicBezTo>
                          <a:pt x="130" y="30"/>
                          <a:pt x="130" y="30"/>
                          <a:pt x="130" y="30"/>
                        </a:cubicBezTo>
                        <a:cubicBezTo>
                          <a:pt x="130" y="30"/>
                          <a:pt x="130" y="30"/>
                          <a:pt x="131" y="30"/>
                        </a:cubicBezTo>
                        <a:cubicBezTo>
                          <a:pt x="131" y="30"/>
                          <a:pt x="130" y="30"/>
                          <a:pt x="131" y="30"/>
                        </a:cubicBezTo>
                        <a:cubicBezTo>
                          <a:pt x="131" y="30"/>
                          <a:pt x="131" y="30"/>
                          <a:pt x="131" y="30"/>
                        </a:cubicBezTo>
                        <a:cubicBezTo>
                          <a:pt x="132" y="30"/>
                          <a:pt x="132" y="30"/>
                          <a:pt x="132" y="30"/>
                        </a:cubicBezTo>
                        <a:cubicBezTo>
                          <a:pt x="132" y="30"/>
                          <a:pt x="132" y="30"/>
                          <a:pt x="132" y="30"/>
                        </a:cubicBezTo>
                        <a:cubicBezTo>
                          <a:pt x="132" y="30"/>
                          <a:pt x="132" y="30"/>
                          <a:pt x="132" y="30"/>
                        </a:cubicBezTo>
                        <a:cubicBezTo>
                          <a:pt x="132" y="30"/>
                          <a:pt x="132" y="30"/>
                          <a:pt x="131" y="30"/>
                        </a:cubicBezTo>
                        <a:cubicBezTo>
                          <a:pt x="132" y="30"/>
                          <a:pt x="130" y="31"/>
                          <a:pt x="130" y="31"/>
                        </a:cubicBezTo>
                        <a:cubicBezTo>
                          <a:pt x="130" y="31"/>
                          <a:pt x="130" y="30"/>
                          <a:pt x="129" y="30"/>
                        </a:cubicBezTo>
                        <a:close/>
                        <a:moveTo>
                          <a:pt x="127" y="28"/>
                        </a:moveTo>
                        <a:cubicBezTo>
                          <a:pt x="127" y="27"/>
                          <a:pt x="128" y="27"/>
                          <a:pt x="129" y="27"/>
                        </a:cubicBezTo>
                        <a:cubicBezTo>
                          <a:pt x="129" y="27"/>
                          <a:pt x="129" y="27"/>
                          <a:pt x="129" y="28"/>
                        </a:cubicBezTo>
                        <a:cubicBezTo>
                          <a:pt x="129" y="28"/>
                          <a:pt x="129" y="28"/>
                          <a:pt x="128" y="28"/>
                        </a:cubicBezTo>
                        <a:cubicBezTo>
                          <a:pt x="128" y="28"/>
                          <a:pt x="128" y="28"/>
                          <a:pt x="128" y="28"/>
                        </a:cubicBezTo>
                        <a:cubicBezTo>
                          <a:pt x="128" y="28"/>
                          <a:pt x="127" y="28"/>
                          <a:pt x="126" y="28"/>
                        </a:cubicBezTo>
                        <a:cubicBezTo>
                          <a:pt x="126" y="28"/>
                          <a:pt x="127" y="28"/>
                          <a:pt x="127" y="28"/>
                        </a:cubicBezTo>
                        <a:close/>
                        <a:moveTo>
                          <a:pt x="127" y="33"/>
                        </a:moveTo>
                        <a:cubicBezTo>
                          <a:pt x="127" y="33"/>
                          <a:pt x="127" y="33"/>
                          <a:pt x="126" y="33"/>
                        </a:cubicBezTo>
                        <a:cubicBezTo>
                          <a:pt x="126" y="33"/>
                          <a:pt x="127" y="33"/>
                          <a:pt x="126" y="33"/>
                        </a:cubicBezTo>
                        <a:cubicBezTo>
                          <a:pt x="126" y="33"/>
                          <a:pt x="127" y="33"/>
                          <a:pt x="127" y="33"/>
                        </a:cubicBezTo>
                        <a:cubicBezTo>
                          <a:pt x="127" y="33"/>
                          <a:pt x="128" y="33"/>
                          <a:pt x="127" y="33"/>
                        </a:cubicBezTo>
                        <a:close/>
                        <a:moveTo>
                          <a:pt x="96" y="41"/>
                        </a:moveTo>
                        <a:cubicBezTo>
                          <a:pt x="96" y="41"/>
                          <a:pt x="97" y="41"/>
                          <a:pt x="97" y="41"/>
                        </a:cubicBezTo>
                        <a:cubicBezTo>
                          <a:pt x="97" y="41"/>
                          <a:pt x="97" y="41"/>
                          <a:pt x="97" y="41"/>
                        </a:cubicBezTo>
                        <a:cubicBezTo>
                          <a:pt x="97" y="41"/>
                          <a:pt x="97" y="41"/>
                          <a:pt x="97" y="41"/>
                        </a:cubicBezTo>
                        <a:cubicBezTo>
                          <a:pt x="97" y="41"/>
                          <a:pt x="97" y="41"/>
                          <a:pt x="97" y="41"/>
                        </a:cubicBezTo>
                        <a:cubicBezTo>
                          <a:pt x="97" y="41"/>
                          <a:pt x="97" y="41"/>
                          <a:pt x="97" y="41"/>
                        </a:cubicBezTo>
                        <a:cubicBezTo>
                          <a:pt x="97" y="42"/>
                          <a:pt x="96" y="42"/>
                          <a:pt x="96" y="42"/>
                        </a:cubicBezTo>
                        <a:cubicBezTo>
                          <a:pt x="96" y="41"/>
                          <a:pt x="96" y="41"/>
                          <a:pt x="96" y="41"/>
                        </a:cubicBezTo>
                        <a:cubicBezTo>
                          <a:pt x="97" y="41"/>
                          <a:pt x="96" y="41"/>
                          <a:pt x="96" y="41"/>
                        </a:cubicBezTo>
                        <a:cubicBezTo>
                          <a:pt x="96" y="41"/>
                          <a:pt x="96" y="41"/>
                          <a:pt x="96" y="42"/>
                        </a:cubicBezTo>
                        <a:cubicBezTo>
                          <a:pt x="96" y="42"/>
                          <a:pt x="95" y="42"/>
                          <a:pt x="95" y="42"/>
                        </a:cubicBezTo>
                        <a:cubicBezTo>
                          <a:pt x="95" y="42"/>
                          <a:pt x="95" y="42"/>
                          <a:pt x="95" y="42"/>
                        </a:cubicBezTo>
                        <a:cubicBezTo>
                          <a:pt x="95" y="41"/>
                          <a:pt x="96" y="41"/>
                          <a:pt x="96" y="41"/>
                        </a:cubicBezTo>
                        <a:close/>
                        <a:moveTo>
                          <a:pt x="86" y="45"/>
                        </a:moveTo>
                        <a:cubicBezTo>
                          <a:pt x="86" y="45"/>
                          <a:pt x="86" y="45"/>
                          <a:pt x="86" y="45"/>
                        </a:cubicBezTo>
                        <a:cubicBezTo>
                          <a:pt x="86" y="45"/>
                          <a:pt x="86" y="45"/>
                          <a:pt x="86" y="45"/>
                        </a:cubicBezTo>
                        <a:cubicBezTo>
                          <a:pt x="86" y="45"/>
                          <a:pt x="86" y="45"/>
                          <a:pt x="86" y="45"/>
                        </a:cubicBezTo>
                        <a:cubicBezTo>
                          <a:pt x="86" y="45"/>
                          <a:pt x="86" y="46"/>
                          <a:pt x="87" y="46"/>
                        </a:cubicBezTo>
                        <a:cubicBezTo>
                          <a:pt x="87" y="46"/>
                          <a:pt x="86" y="46"/>
                          <a:pt x="86" y="46"/>
                        </a:cubicBezTo>
                        <a:cubicBezTo>
                          <a:pt x="86" y="46"/>
                          <a:pt x="86" y="46"/>
                          <a:pt x="86" y="46"/>
                        </a:cubicBezTo>
                        <a:cubicBezTo>
                          <a:pt x="86" y="46"/>
                          <a:pt x="85" y="46"/>
                          <a:pt x="85" y="46"/>
                        </a:cubicBezTo>
                        <a:cubicBezTo>
                          <a:pt x="85" y="45"/>
                          <a:pt x="85" y="46"/>
                          <a:pt x="86" y="45"/>
                        </a:cubicBezTo>
                        <a:cubicBezTo>
                          <a:pt x="86" y="45"/>
                          <a:pt x="86" y="45"/>
                          <a:pt x="86" y="45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84000">
                        <a:schemeClr val="accent2">
                          <a:lumMod val="40000"/>
                          <a:lumOff val="60000"/>
                        </a:schemeClr>
                      </a:gs>
                      <a:gs pos="0">
                        <a:schemeClr val="accent2"/>
                      </a:gs>
                      <a:gs pos="55000">
                        <a:schemeClr val="accent2"/>
                      </a:gs>
                    </a:gsLst>
                    <a:lin ang="135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/>
                  </a:p>
                </p:txBody>
              </p:sp>
              <p:sp>
                <p:nvSpPr>
                  <p:cNvPr id="201" name="任意多边形: 形状 200">
                    <a:extLst>
                      <a:ext uri="{FF2B5EF4-FFF2-40B4-BE49-F238E27FC236}">
                        <a16:creationId xmlns:a16="http://schemas.microsoft.com/office/drawing/2014/main" id="{2EC41620-5008-4413-B518-30E81228FC30}"/>
                      </a:ext>
                    </a:extLst>
                  </p:cNvPr>
                  <p:cNvSpPr/>
                  <p:nvPr/>
                </p:nvSpPr>
                <p:spPr bwMode="auto">
                  <a:xfrm rot="17177646" flipV="1">
                    <a:off x="7374241" y="2283067"/>
                    <a:ext cx="171971" cy="58443"/>
                  </a:xfrm>
                  <a:custGeom>
                    <a:avLst/>
                    <a:gdLst>
                      <a:gd name="T0" fmla="*/ 127 w 164"/>
                      <a:gd name="T1" fmla="*/ 36 h 56"/>
                      <a:gd name="T2" fmla="*/ 122 w 164"/>
                      <a:gd name="T3" fmla="*/ 37 h 56"/>
                      <a:gd name="T4" fmla="*/ 117 w 164"/>
                      <a:gd name="T5" fmla="*/ 34 h 56"/>
                      <a:gd name="T6" fmla="*/ 114 w 164"/>
                      <a:gd name="T7" fmla="*/ 33 h 56"/>
                      <a:gd name="T8" fmla="*/ 108 w 164"/>
                      <a:gd name="T9" fmla="*/ 30 h 56"/>
                      <a:gd name="T10" fmla="*/ 101 w 164"/>
                      <a:gd name="T11" fmla="*/ 37 h 56"/>
                      <a:gd name="T12" fmla="*/ 93 w 164"/>
                      <a:gd name="T13" fmla="*/ 34 h 56"/>
                      <a:gd name="T14" fmla="*/ 92 w 164"/>
                      <a:gd name="T15" fmla="*/ 26 h 56"/>
                      <a:gd name="T16" fmla="*/ 88 w 164"/>
                      <a:gd name="T17" fmla="*/ 29 h 56"/>
                      <a:gd name="T18" fmla="*/ 83 w 164"/>
                      <a:gd name="T19" fmla="*/ 23 h 56"/>
                      <a:gd name="T20" fmla="*/ 75 w 164"/>
                      <a:gd name="T21" fmla="*/ 21 h 56"/>
                      <a:gd name="T22" fmla="*/ 69 w 164"/>
                      <a:gd name="T23" fmla="*/ 20 h 56"/>
                      <a:gd name="T24" fmla="*/ 59 w 164"/>
                      <a:gd name="T25" fmla="*/ 24 h 56"/>
                      <a:gd name="T26" fmla="*/ 57 w 164"/>
                      <a:gd name="T27" fmla="*/ 18 h 56"/>
                      <a:gd name="T28" fmla="*/ 46 w 164"/>
                      <a:gd name="T29" fmla="*/ 20 h 56"/>
                      <a:gd name="T30" fmla="*/ 16 w 164"/>
                      <a:gd name="T31" fmla="*/ 11 h 56"/>
                      <a:gd name="T32" fmla="*/ 4 w 164"/>
                      <a:gd name="T33" fmla="*/ 9 h 56"/>
                      <a:gd name="T34" fmla="*/ 122 w 164"/>
                      <a:gd name="T35" fmla="*/ 44 h 56"/>
                      <a:gd name="T36" fmla="*/ 116 w 164"/>
                      <a:gd name="T37" fmla="*/ 40 h 56"/>
                      <a:gd name="T38" fmla="*/ 121 w 164"/>
                      <a:gd name="T39" fmla="*/ 41 h 56"/>
                      <a:gd name="T40" fmla="*/ 117 w 164"/>
                      <a:gd name="T41" fmla="*/ 38 h 56"/>
                      <a:gd name="T42" fmla="*/ 130 w 164"/>
                      <a:gd name="T43" fmla="*/ 40 h 56"/>
                      <a:gd name="T44" fmla="*/ 131 w 164"/>
                      <a:gd name="T45" fmla="*/ 37 h 56"/>
                      <a:gd name="T46" fmla="*/ 143 w 164"/>
                      <a:gd name="T47" fmla="*/ 37 h 56"/>
                      <a:gd name="T48" fmla="*/ 139 w 164"/>
                      <a:gd name="T49" fmla="*/ 37 h 56"/>
                      <a:gd name="T50" fmla="*/ 127 w 164"/>
                      <a:gd name="T51" fmla="*/ 38 h 56"/>
                      <a:gd name="T52" fmla="*/ 118 w 164"/>
                      <a:gd name="T53" fmla="*/ 38 h 56"/>
                      <a:gd name="T54" fmla="*/ 130 w 164"/>
                      <a:gd name="T55" fmla="*/ 44 h 56"/>
                      <a:gd name="T56" fmla="*/ 129 w 164"/>
                      <a:gd name="T57" fmla="*/ 46 h 56"/>
                      <a:gd name="T58" fmla="*/ 124 w 164"/>
                      <a:gd name="T59" fmla="*/ 35 h 56"/>
                      <a:gd name="T60" fmla="*/ 119 w 164"/>
                      <a:gd name="T61" fmla="*/ 35 h 56"/>
                      <a:gd name="T62" fmla="*/ 106 w 164"/>
                      <a:gd name="T63" fmla="*/ 39 h 56"/>
                      <a:gd name="T64" fmla="*/ 99 w 164"/>
                      <a:gd name="T65" fmla="*/ 36 h 56"/>
                      <a:gd name="T66" fmla="*/ 97 w 164"/>
                      <a:gd name="T67" fmla="*/ 35 h 56"/>
                      <a:gd name="T68" fmla="*/ 101 w 164"/>
                      <a:gd name="T69" fmla="*/ 34 h 56"/>
                      <a:gd name="T70" fmla="*/ 99 w 164"/>
                      <a:gd name="T71" fmla="*/ 35 h 56"/>
                      <a:gd name="T72" fmla="*/ 99 w 164"/>
                      <a:gd name="T73" fmla="*/ 27 h 56"/>
                      <a:gd name="T74" fmla="*/ 61 w 164"/>
                      <a:gd name="T75" fmla="*/ 20 h 56"/>
                      <a:gd name="T76" fmla="*/ 71 w 164"/>
                      <a:gd name="T77" fmla="*/ 24 h 56"/>
                      <a:gd name="T78" fmla="*/ 72 w 164"/>
                      <a:gd name="T79" fmla="*/ 23 h 56"/>
                      <a:gd name="T80" fmla="*/ 79 w 164"/>
                      <a:gd name="T81" fmla="*/ 26 h 56"/>
                      <a:gd name="T82" fmla="*/ 90 w 164"/>
                      <a:gd name="T83" fmla="*/ 32 h 56"/>
                      <a:gd name="T84" fmla="*/ 91 w 164"/>
                      <a:gd name="T85" fmla="*/ 35 h 56"/>
                      <a:gd name="T86" fmla="*/ 76 w 164"/>
                      <a:gd name="T87" fmla="*/ 29 h 56"/>
                      <a:gd name="T88" fmla="*/ 63 w 164"/>
                      <a:gd name="T89" fmla="*/ 26 h 56"/>
                      <a:gd name="T90" fmla="*/ 67 w 164"/>
                      <a:gd name="T91" fmla="*/ 23 h 56"/>
                      <a:gd name="T92" fmla="*/ 89 w 164"/>
                      <a:gd name="T93" fmla="*/ 33 h 56"/>
                      <a:gd name="T94" fmla="*/ 77 w 164"/>
                      <a:gd name="T95" fmla="*/ 26 h 56"/>
                      <a:gd name="T96" fmla="*/ 76 w 164"/>
                      <a:gd name="T97" fmla="*/ 27 h 56"/>
                      <a:gd name="T98" fmla="*/ 63 w 164"/>
                      <a:gd name="T99" fmla="*/ 25 h 56"/>
                      <a:gd name="T100" fmla="*/ 75 w 164"/>
                      <a:gd name="T101" fmla="*/ 27 h 56"/>
                      <a:gd name="T102" fmla="*/ 84 w 164"/>
                      <a:gd name="T103" fmla="*/ 30 h 56"/>
                      <a:gd name="T104" fmla="*/ 67 w 164"/>
                      <a:gd name="T105" fmla="*/ 23 h 56"/>
                      <a:gd name="T106" fmla="*/ 91 w 164"/>
                      <a:gd name="T107" fmla="*/ 31 h 56"/>
                      <a:gd name="T108" fmla="*/ 91 w 164"/>
                      <a:gd name="T109" fmla="*/ 28 h 56"/>
                      <a:gd name="T110" fmla="*/ 90 w 164"/>
                      <a:gd name="T111" fmla="*/ 25 h 56"/>
                      <a:gd name="T112" fmla="*/ 85 w 164"/>
                      <a:gd name="T113" fmla="*/ 22 h 56"/>
                      <a:gd name="T114" fmla="*/ 79 w 164"/>
                      <a:gd name="T115" fmla="*/ 23 h 56"/>
                      <a:gd name="T116" fmla="*/ 62 w 164"/>
                      <a:gd name="T117" fmla="*/ 24 h 56"/>
                      <a:gd name="T118" fmla="*/ 60 w 164"/>
                      <a:gd name="T119" fmla="*/ 24 h 56"/>
                      <a:gd name="T120" fmla="*/ 46 w 164"/>
                      <a:gd name="T121" fmla="*/ 20 h 56"/>
                      <a:gd name="T122" fmla="*/ 15 w 164"/>
                      <a:gd name="T123" fmla="*/ 12 h 56"/>
                      <a:gd name="T124" fmla="*/ 95 w 164"/>
                      <a:gd name="T125" fmla="*/ 26 h 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164" h="56">
                        <a:moveTo>
                          <a:pt x="161" y="55"/>
                        </a:moveTo>
                        <a:cubicBezTo>
                          <a:pt x="161" y="55"/>
                          <a:pt x="161" y="55"/>
                          <a:pt x="161" y="55"/>
                        </a:cubicBezTo>
                        <a:cubicBezTo>
                          <a:pt x="161" y="54"/>
                          <a:pt x="161" y="55"/>
                          <a:pt x="160" y="55"/>
                        </a:cubicBezTo>
                        <a:cubicBezTo>
                          <a:pt x="160" y="54"/>
                          <a:pt x="161" y="54"/>
                          <a:pt x="161" y="55"/>
                        </a:cubicBezTo>
                        <a:close/>
                        <a:moveTo>
                          <a:pt x="152" y="39"/>
                        </a:moveTo>
                        <a:cubicBezTo>
                          <a:pt x="152" y="40"/>
                          <a:pt x="152" y="40"/>
                          <a:pt x="152" y="40"/>
                        </a:cubicBezTo>
                        <a:cubicBezTo>
                          <a:pt x="152" y="40"/>
                          <a:pt x="152" y="40"/>
                          <a:pt x="152" y="40"/>
                        </a:cubicBezTo>
                        <a:cubicBezTo>
                          <a:pt x="152" y="40"/>
                          <a:pt x="152" y="40"/>
                          <a:pt x="152" y="39"/>
                        </a:cubicBezTo>
                        <a:close/>
                        <a:moveTo>
                          <a:pt x="150" y="39"/>
                        </a:moveTo>
                        <a:cubicBezTo>
                          <a:pt x="150" y="39"/>
                          <a:pt x="150" y="39"/>
                          <a:pt x="149" y="39"/>
                        </a:cubicBezTo>
                        <a:cubicBezTo>
                          <a:pt x="149" y="39"/>
                          <a:pt x="150" y="39"/>
                          <a:pt x="150" y="39"/>
                        </a:cubicBezTo>
                        <a:cubicBezTo>
                          <a:pt x="150" y="39"/>
                          <a:pt x="150" y="39"/>
                          <a:pt x="150" y="39"/>
                        </a:cubicBezTo>
                        <a:close/>
                        <a:moveTo>
                          <a:pt x="148" y="38"/>
                        </a:moveTo>
                        <a:cubicBezTo>
                          <a:pt x="149" y="38"/>
                          <a:pt x="148" y="38"/>
                          <a:pt x="149" y="39"/>
                        </a:cubicBezTo>
                        <a:cubicBezTo>
                          <a:pt x="149" y="39"/>
                          <a:pt x="149" y="39"/>
                          <a:pt x="149" y="39"/>
                        </a:cubicBezTo>
                        <a:cubicBezTo>
                          <a:pt x="148" y="39"/>
                          <a:pt x="148" y="38"/>
                          <a:pt x="148" y="38"/>
                        </a:cubicBezTo>
                        <a:close/>
                        <a:moveTo>
                          <a:pt x="146" y="37"/>
                        </a:moveTo>
                        <a:cubicBezTo>
                          <a:pt x="146" y="37"/>
                          <a:pt x="146" y="37"/>
                          <a:pt x="146" y="37"/>
                        </a:cubicBezTo>
                        <a:cubicBezTo>
                          <a:pt x="145" y="37"/>
                          <a:pt x="145" y="37"/>
                          <a:pt x="145" y="37"/>
                        </a:cubicBezTo>
                        <a:cubicBezTo>
                          <a:pt x="145" y="37"/>
                          <a:pt x="145" y="37"/>
                          <a:pt x="146" y="37"/>
                        </a:cubicBezTo>
                        <a:close/>
                        <a:moveTo>
                          <a:pt x="141" y="36"/>
                        </a:moveTo>
                        <a:cubicBezTo>
                          <a:pt x="141" y="36"/>
                          <a:pt x="141" y="36"/>
                          <a:pt x="141" y="36"/>
                        </a:cubicBezTo>
                        <a:cubicBezTo>
                          <a:pt x="141" y="36"/>
                          <a:pt x="141" y="36"/>
                          <a:pt x="141" y="36"/>
                        </a:cubicBezTo>
                        <a:cubicBezTo>
                          <a:pt x="141" y="36"/>
                          <a:pt x="142" y="36"/>
                          <a:pt x="141" y="36"/>
                        </a:cubicBezTo>
                        <a:close/>
                        <a:moveTo>
                          <a:pt x="141" y="35"/>
                        </a:moveTo>
                        <a:cubicBezTo>
                          <a:pt x="141" y="35"/>
                          <a:pt x="141" y="35"/>
                          <a:pt x="141" y="35"/>
                        </a:cubicBezTo>
                        <a:cubicBezTo>
                          <a:pt x="141" y="36"/>
                          <a:pt x="141" y="35"/>
                          <a:pt x="141" y="35"/>
                        </a:cubicBezTo>
                        <a:close/>
                        <a:moveTo>
                          <a:pt x="139" y="36"/>
                        </a:moveTo>
                        <a:cubicBezTo>
                          <a:pt x="139" y="36"/>
                          <a:pt x="140" y="36"/>
                          <a:pt x="140" y="36"/>
                        </a:cubicBezTo>
                        <a:cubicBezTo>
                          <a:pt x="140" y="36"/>
                          <a:pt x="139" y="36"/>
                          <a:pt x="139" y="36"/>
                        </a:cubicBezTo>
                        <a:close/>
                        <a:moveTo>
                          <a:pt x="135" y="37"/>
                        </a:moveTo>
                        <a:cubicBezTo>
                          <a:pt x="136" y="37"/>
                          <a:pt x="136" y="37"/>
                          <a:pt x="136" y="37"/>
                        </a:cubicBezTo>
                        <a:cubicBezTo>
                          <a:pt x="136" y="37"/>
                          <a:pt x="136" y="37"/>
                          <a:pt x="136" y="37"/>
                        </a:cubicBezTo>
                        <a:cubicBezTo>
                          <a:pt x="136" y="37"/>
                          <a:pt x="137" y="37"/>
                          <a:pt x="137" y="37"/>
                        </a:cubicBezTo>
                        <a:cubicBezTo>
                          <a:pt x="137" y="37"/>
                          <a:pt x="136" y="37"/>
                          <a:pt x="136" y="37"/>
                        </a:cubicBezTo>
                        <a:cubicBezTo>
                          <a:pt x="136" y="37"/>
                          <a:pt x="136" y="37"/>
                          <a:pt x="135" y="37"/>
                        </a:cubicBezTo>
                        <a:close/>
                        <a:moveTo>
                          <a:pt x="136" y="36"/>
                        </a:moveTo>
                        <a:cubicBezTo>
                          <a:pt x="136" y="36"/>
                          <a:pt x="136" y="36"/>
                          <a:pt x="135" y="36"/>
                        </a:cubicBezTo>
                        <a:cubicBezTo>
                          <a:pt x="135" y="35"/>
                          <a:pt x="136" y="36"/>
                          <a:pt x="136" y="36"/>
                        </a:cubicBezTo>
                        <a:cubicBezTo>
                          <a:pt x="136" y="36"/>
                          <a:pt x="136" y="36"/>
                          <a:pt x="136" y="36"/>
                        </a:cubicBezTo>
                        <a:close/>
                        <a:moveTo>
                          <a:pt x="134" y="36"/>
                        </a:moveTo>
                        <a:cubicBezTo>
                          <a:pt x="134" y="35"/>
                          <a:pt x="133" y="36"/>
                          <a:pt x="133" y="35"/>
                        </a:cubicBezTo>
                        <a:cubicBezTo>
                          <a:pt x="134" y="35"/>
                          <a:pt x="134" y="36"/>
                          <a:pt x="134" y="35"/>
                        </a:cubicBezTo>
                        <a:cubicBezTo>
                          <a:pt x="134" y="35"/>
                          <a:pt x="134" y="36"/>
                          <a:pt x="134" y="36"/>
                        </a:cubicBezTo>
                        <a:close/>
                        <a:moveTo>
                          <a:pt x="132" y="35"/>
                        </a:moveTo>
                        <a:cubicBezTo>
                          <a:pt x="132" y="35"/>
                          <a:pt x="132" y="35"/>
                          <a:pt x="132" y="35"/>
                        </a:cubicBezTo>
                        <a:cubicBezTo>
                          <a:pt x="133" y="35"/>
                          <a:pt x="133" y="35"/>
                          <a:pt x="133" y="35"/>
                        </a:cubicBezTo>
                        <a:cubicBezTo>
                          <a:pt x="133" y="35"/>
                          <a:pt x="132" y="35"/>
                          <a:pt x="132" y="35"/>
                        </a:cubicBezTo>
                        <a:close/>
                        <a:moveTo>
                          <a:pt x="132" y="34"/>
                        </a:moveTo>
                        <a:cubicBezTo>
                          <a:pt x="132" y="34"/>
                          <a:pt x="133" y="34"/>
                          <a:pt x="133" y="34"/>
                        </a:cubicBezTo>
                        <a:cubicBezTo>
                          <a:pt x="133" y="34"/>
                          <a:pt x="132" y="34"/>
                          <a:pt x="132" y="34"/>
                        </a:cubicBezTo>
                        <a:close/>
                        <a:moveTo>
                          <a:pt x="132" y="34"/>
                        </a:moveTo>
                        <a:cubicBezTo>
                          <a:pt x="132" y="34"/>
                          <a:pt x="132" y="34"/>
                          <a:pt x="132" y="34"/>
                        </a:cubicBezTo>
                        <a:cubicBezTo>
                          <a:pt x="132" y="34"/>
                          <a:pt x="132" y="34"/>
                          <a:pt x="132" y="34"/>
                        </a:cubicBezTo>
                        <a:close/>
                        <a:moveTo>
                          <a:pt x="129" y="40"/>
                        </a:moveTo>
                        <a:cubicBezTo>
                          <a:pt x="129" y="40"/>
                          <a:pt x="129" y="39"/>
                          <a:pt x="129" y="40"/>
                        </a:cubicBezTo>
                        <a:cubicBezTo>
                          <a:pt x="129" y="40"/>
                          <a:pt x="129" y="40"/>
                          <a:pt x="129" y="40"/>
                        </a:cubicBezTo>
                        <a:close/>
                        <a:moveTo>
                          <a:pt x="130" y="36"/>
                        </a:moveTo>
                        <a:cubicBezTo>
                          <a:pt x="130" y="36"/>
                          <a:pt x="130" y="36"/>
                          <a:pt x="130" y="36"/>
                        </a:cubicBezTo>
                        <a:cubicBezTo>
                          <a:pt x="130" y="36"/>
                          <a:pt x="130" y="36"/>
                          <a:pt x="129" y="36"/>
                        </a:cubicBezTo>
                        <a:cubicBezTo>
                          <a:pt x="129" y="36"/>
                          <a:pt x="130" y="36"/>
                          <a:pt x="130" y="36"/>
                        </a:cubicBezTo>
                        <a:close/>
                        <a:moveTo>
                          <a:pt x="129" y="39"/>
                        </a:moveTo>
                        <a:cubicBezTo>
                          <a:pt x="129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9"/>
                          <a:pt x="129" y="39"/>
                        </a:cubicBezTo>
                        <a:close/>
                        <a:moveTo>
                          <a:pt x="127" y="44"/>
                        </a:moveTo>
                        <a:cubicBezTo>
                          <a:pt x="127" y="44"/>
                          <a:pt x="127" y="44"/>
                          <a:pt x="127" y="44"/>
                        </a:cubicBezTo>
                        <a:cubicBezTo>
                          <a:pt x="127" y="44"/>
                          <a:pt x="127" y="44"/>
                          <a:pt x="127" y="44"/>
                        </a:cubicBezTo>
                        <a:close/>
                        <a:moveTo>
                          <a:pt x="127" y="40"/>
                        </a:moveTo>
                        <a:cubicBezTo>
                          <a:pt x="127" y="39"/>
                          <a:pt x="127" y="39"/>
                          <a:pt x="127" y="39"/>
                        </a:cubicBezTo>
                        <a:cubicBezTo>
                          <a:pt x="127" y="39"/>
                          <a:pt x="127" y="39"/>
                          <a:pt x="127" y="39"/>
                        </a:cubicBezTo>
                        <a:cubicBezTo>
                          <a:pt x="127" y="39"/>
                          <a:pt x="127" y="40"/>
                          <a:pt x="127" y="40"/>
                        </a:cubicBezTo>
                        <a:close/>
                        <a:moveTo>
                          <a:pt x="128" y="36"/>
                        </a:moveTo>
                        <a:cubicBezTo>
                          <a:pt x="128" y="36"/>
                          <a:pt x="128" y="36"/>
                          <a:pt x="128" y="36"/>
                        </a:cubicBezTo>
                        <a:cubicBezTo>
                          <a:pt x="128" y="36"/>
                          <a:pt x="128" y="36"/>
                          <a:pt x="128" y="36"/>
                        </a:cubicBezTo>
                        <a:cubicBezTo>
                          <a:pt x="128" y="36"/>
                          <a:pt x="127" y="36"/>
                          <a:pt x="127" y="36"/>
                        </a:cubicBezTo>
                        <a:cubicBezTo>
                          <a:pt x="127" y="36"/>
                          <a:pt x="127" y="36"/>
                          <a:pt x="127" y="36"/>
                        </a:cubicBezTo>
                        <a:cubicBezTo>
                          <a:pt x="127" y="36"/>
                          <a:pt x="127" y="36"/>
                          <a:pt x="127" y="36"/>
                        </a:cubicBezTo>
                        <a:cubicBezTo>
                          <a:pt x="127" y="36"/>
                          <a:pt x="128" y="36"/>
                          <a:pt x="128" y="36"/>
                        </a:cubicBezTo>
                        <a:close/>
                        <a:moveTo>
                          <a:pt x="127" y="40"/>
                        </a:moveTo>
                        <a:cubicBezTo>
                          <a:pt x="127" y="40"/>
                          <a:pt x="127" y="40"/>
                          <a:pt x="126" y="40"/>
                        </a:cubicBezTo>
                        <a:cubicBezTo>
                          <a:pt x="126" y="39"/>
                          <a:pt x="127" y="40"/>
                          <a:pt x="127" y="40"/>
                        </a:cubicBezTo>
                        <a:cubicBezTo>
                          <a:pt x="127" y="40"/>
                          <a:pt x="127" y="40"/>
                          <a:pt x="127" y="40"/>
                        </a:cubicBezTo>
                        <a:close/>
                        <a:moveTo>
                          <a:pt x="128" y="35"/>
                        </a:moveTo>
                        <a:cubicBezTo>
                          <a:pt x="128" y="35"/>
                          <a:pt x="128" y="35"/>
                          <a:pt x="128" y="35"/>
                        </a:cubicBezTo>
                        <a:cubicBezTo>
                          <a:pt x="128" y="35"/>
                          <a:pt x="128" y="35"/>
                          <a:pt x="128" y="35"/>
                        </a:cubicBezTo>
                        <a:cubicBezTo>
                          <a:pt x="128" y="35"/>
                          <a:pt x="128" y="35"/>
                          <a:pt x="128" y="35"/>
                        </a:cubicBezTo>
                        <a:close/>
                        <a:moveTo>
                          <a:pt x="126" y="39"/>
                        </a:moveTo>
                        <a:cubicBezTo>
                          <a:pt x="127" y="39"/>
                          <a:pt x="127" y="39"/>
                          <a:pt x="127" y="39"/>
                        </a:cubicBezTo>
                        <a:cubicBezTo>
                          <a:pt x="127" y="39"/>
                          <a:pt x="126" y="39"/>
                          <a:pt x="126" y="39"/>
                        </a:cubicBezTo>
                        <a:cubicBezTo>
                          <a:pt x="126" y="39"/>
                          <a:pt x="126" y="39"/>
                          <a:pt x="126" y="39"/>
                        </a:cubicBezTo>
                        <a:close/>
                        <a:moveTo>
                          <a:pt x="127" y="36"/>
                        </a:moveTo>
                        <a:cubicBezTo>
                          <a:pt x="127" y="35"/>
                          <a:pt x="127" y="35"/>
                          <a:pt x="127" y="36"/>
                        </a:cubicBezTo>
                        <a:cubicBezTo>
                          <a:pt x="127" y="36"/>
                          <a:pt x="127" y="36"/>
                          <a:pt x="127" y="36"/>
                        </a:cubicBezTo>
                        <a:close/>
                        <a:moveTo>
                          <a:pt x="124" y="45"/>
                        </a:moveTo>
                        <a:cubicBezTo>
                          <a:pt x="124" y="45"/>
                          <a:pt x="124" y="45"/>
                          <a:pt x="124" y="45"/>
                        </a:cubicBezTo>
                        <a:cubicBezTo>
                          <a:pt x="124" y="45"/>
                          <a:pt x="124" y="45"/>
                          <a:pt x="124" y="45"/>
                        </a:cubicBezTo>
                        <a:cubicBezTo>
                          <a:pt x="124" y="45"/>
                          <a:pt x="124" y="45"/>
                          <a:pt x="124" y="45"/>
                        </a:cubicBezTo>
                        <a:cubicBezTo>
                          <a:pt x="124" y="45"/>
                          <a:pt x="124" y="44"/>
                          <a:pt x="124" y="44"/>
                        </a:cubicBezTo>
                        <a:cubicBezTo>
                          <a:pt x="124" y="44"/>
                          <a:pt x="124" y="45"/>
                          <a:pt x="124" y="45"/>
                        </a:cubicBezTo>
                        <a:close/>
                        <a:moveTo>
                          <a:pt x="126" y="39"/>
                        </a:moveTo>
                        <a:cubicBezTo>
                          <a:pt x="125" y="38"/>
                          <a:pt x="125" y="38"/>
                          <a:pt x="124" y="38"/>
                        </a:cubicBezTo>
                        <a:cubicBezTo>
                          <a:pt x="125" y="38"/>
                          <a:pt x="125" y="38"/>
                          <a:pt x="126" y="39"/>
                        </a:cubicBezTo>
                        <a:close/>
                        <a:moveTo>
                          <a:pt x="126" y="35"/>
                        </a:moveTo>
                        <a:cubicBezTo>
                          <a:pt x="126" y="35"/>
                          <a:pt x="126" y="35"/>
                          <a:pt x="127" y="35"/>
                        </a:cubicBezTo>
                        <a:cubicBezTo>
                          <a:pt x="127" y="35"/>
                          <a:pt x="127" y="35"/>
                          <a:pt x="127" y="35"/>
                        </a:cubicBezTo>
                        <a:lnTo>
                          <a:pt x="126" y="35"/>
                        </a:lnTo>
                        <a:close/>
                        <a:moveTo>
                          <a:pt x="127" y="33"/>
                        </a:moveTo>
                        <a:cubicBezTo>
                          <a:pt x="127" y="32"/>
                          <a:pt x="127" y="32"/>
                          <a:pt x="127" y="33"/>
                        </a:cubicBezTo>
                        <a:cubicBezTo>
                          <a:pt x="127" y="33"/>
                          <a:pt x="127" y="32"/>
                          <a:pt x="127" y="32"/>
                        </a:cubicBezTo>
                        <a:cubicBezTo>
                          <a:pt x="127" y="32"/>
                          <a:pt x="127" y="32"/>
                          <a:pt x="127" y="33"/>
                        </a:cubicBezTo>
                        <a:close/>
                        <a:moveTo>
                          <a:pt x="123" y="44"/>
                        </a:moveTo>
                        <a:cubicBezTo>
                          <a:pt x="123" y="44"/>
                          <a:pt x="123" y="44"/>
                          <a:pt x="123" y="44"/>
                        </a:cubicBezTo>
                        <a:cubicBezTo>
                          <a:pt x="123" y="44"/>
                          <a:pt x="123" y="44"/>
                          <a:pt x="124" y="44"/>
                        </a:cubicBezTo>
                        <a:cubicBezTo>
                          <a:pt x="123" y="44"/>
                          <a:pt x="123" y="44"/>
                          <a:pt x="123" y="44"/>
                        </a:cubicBezTo>
                        <a:close/>
                        <a:moveTo>
                          <a:pt x="125" y="40"/>
                        </a:moveTo>
                        <a:cubicBezTo>
                          <a:pt x="125" y="40"/>
                          <a:pt x="125" y="39"/>
                          <a:pt x="125" y="39"/>
                        </a:cubicBezTo>
                        <a:cubicBezTo>
                          <a:pt x="125" y="39"/>
                          <a:pt x="125" y="39"/>
                          <a:pt x="125" y="39"/>
                        </a:cubicBezTo>
                        <a:cubicBezTo>
                          <a:pt x="125" y="39"/>
                          <a:pt x="125" y="39"/>
                          <a:pt x="125" y="39"/>
                        </a:cubicBezTo>
                        <a:cubicBezTo>
                          <a:pt x="125" y="39"/>
                          <a:pt x="125" y="39"/>
                          <a:pt x="125" y="40"/>
                        </a:cubicBezTo>
                        <a:close/>
                        <a:moveTo>
                          <a:pt x="125" y="36"/>
                        </a:moveTo>
                        <a:cubicBezTo>
                          <a:pt x="125" y="36"/>
                          <a:pt x="125" y="36"/>
                          <a:pt x="125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6" y="36"/>
                          <a:pt x="125" y="36"/>
                        </a:cubicBezTo>
                        <a:close/>
                        <a:moveTo>
                          <a:pt x="124" y="38"/>
                        </a:moveTo>
                        <a:cubicBezTo>
                          <a:pt x="124" y="39"/>
                          <a:pt x="124" y="38"/>
                          <a:pt x="124" y="39"/>
                        </a:cubicBezTo>
                        <a:cubicBezTo>
                          <a:pt x="124" y="39"/>
                          <a:pt x="124" y="39"/>
                          <a:pt x="124" y="39"/>
                        </a:cubicBezTo>
                        <a:cubicBezTo>
                          <a:pt x="124" y="38"/>
                          <a:pt x="124" y="38"/>
                          <a:pt x="124" y="38"/>
                        </a:cubicBezTo>
                        <a:cubicBezTo>
                          <a:pt x="124" y="38"/>
                          <a:pt x="124" y="38"/>
                          <a:pt x="124" y="38"/>
                        </a:cubicBezTo>
                        <a:cubicBezTo>
                          <a:pt x="124" y="39"/>
                          <a:pt x="124" y="38"/>
                          <a:pt x="124" y="38"/>
                        </a:cubicBezTo>
                        <a:close/>
                        <a:moveTo>
                          <a:pt x="125" y="34"/>
                        </a:moveTo>
                        <a:cubicBezTo>
                          <a:pt x="125" y="35"/>
                          <a:pt x="125" y="34"/>
                          <a:pt x="125" y="34"/>
                        </a:cubicBezTo>
                        <a:cubicBezTo>
                          <a:pt x="125" y="34"/>
                          <a:pt x="125" y="34"/>
                          <a:pt x="125" y="34"/>
                        </a:cubicBezTo>
                        <a:close/>
                        <a:moveTo>
                          <a:pt x="124" y="37"/>
                        </a:moveTo>
                        <a:cubicBezTo>
                          <a:pt x="124" y="36"/>
                          <a:pt x="125" y="36"/>
                          <a:pt x="125" y="36"/>
                        </a:cubicBezTo>
                        <a:cubicBezTo>
                          <a:pt x="125" y="36"/>
                          <a:pt x="125" y="36"/>
                          <a:pt x="125" y="37"/>
                        </a:cubicBezTo>
                        <a:cubicBezTo>
                          <a:pt x="125" y="37"/>
                          <a:pt x="125" y="37"/>
                          <a:pt x="125" y="37"/>
                        </a:cubicBezTo>
                        <a:cubicBezTo>
                          <a:pt x="125" y="37"/>
                          <a:pt x="124" y="37"/>
                          <a:pt x="124" y="37"/>
                        </a:cubicBezTo>
                        <a:close/>
                        <a:moveTo>
                          <a:pt x="124" y="36"/>
                        </a:moveTo>
                        <a:cubicBezTo>
                          <a:pt x="124" y="36"/>
                          <a:pt x="124" y="36"/>
                          <a:pt x="124" y="36"/>
                        </a:cubicBezTo>
                        <a:cubicBezTo>
                          <a:pt x="124" y="36"/>
                          <a:pt x="124" y="36"/>
                          <a:pt x="124" y="36"/>
                        </a:cubicBezTo>
                        <a:cubicBezTo>
                          <a:pt x="124" y="36"/>
                          <a:pt x="124" y="36"/>
                          <a:pt x="124" y="36"/>
                        </a:cubicBezTo>
                        <a:close/>
                        <a:moveTo>
                          <a:pt x="122" y="39"/>
                        </a:moveTo>
                        <a:cubicBezTo>
                          <a:pt x="123" y="39"/>
                          <a:pt x="122" y="39"/>
                          <a:pt x="123" y="39"/>
                        </a:cubicBezTo>
                        <a:cubicBezTo>
                          <a:pt x="123" y="39"/>
                          <a:pt x="123" y="39"/>
                          <a:pt x="123" y="39"/>
                        </a:cubicBezTo>
                        <a:cubicBezTo>
                          <a:pt x="123" y="39"/>
                          <a:pt x="123" y="39"/>
                          <a:pt x="122" y="39"/>
                        </a:cubicBezTo>
                        <a:close/>
                        <a:moveTo>
                          <a:pt x="124" y="32"/>
                        </a:moveTo>
                        <a:cubicBezTo>
                          <a:pt x="124" y="32"/>
                          <a:pt x="124" y="32"/>
                          <a:pt x="124" y="32"/>
                        </a:cubicBezTo>
                        <a:cubicBezTo>
                          <a:pt x="124" y="31"/>
                          <a:pt x="124" y="32"/>
                          <a:pt x="124" y="31"/>
                        </a:cubicBezTo>
                        <a:cubicBezTo>
                          <a:pt x="124" y="31"/>
                          <a:pt x="124" y="31"/>
                          <a:pt x="124" y="31"/>
                        </a:cubicBezTo>
                        <a:cubicBezTo>
                          <a:pt x="125" y="31"/>
                          <a:pt x="125" y="31"/>
                          <a:pt x="125" y="31"/>
                        </a:cubicBezTo>
                        <a:cubicBezTo>
                          <a:pt x="124" y="31"/>
                          <a:pt x="124" y="32"/>
                          <a:pt x="124" y="31"/>
                        </a:cubicBezTo>
                        <a:cubicBezTo>
                          <a:pt x="124" y="32"/>
                          <a:pt x="124" y="32"/>
                          <a:pt x="124" y="32"/>
                        </a:cubicBezTo>
                        <a:cubicBezTo>
                          <a:pt x="124" y="32"/>
                          <a:pt x="124" y="32"/>
                          <a:pt x="124" y="32"/>
                        </a:cubicBezTo>
                        <a:close/>
                        <a:moveTo>
                          <a:pt x="122" y="38"/>
                        </a:moveTo>
                        <a:cubicBezTo>
                          <a:pt x="122" y="39"/>
                          <a:pt x="122" y="39"/>
                          <a:pt x="122" y="39"/>
                        </a:cubicBezTo>
                        <a:cubicBezTo>
                          <a:pt x="122" y="39"/>
                          <a:pt x="122" y="39"/>
                          <a:pt x="122" y="39"/>
                        </a:cubicBezTo>
                        <a:cubicBezTo>
                          <a:pt x="122" y="39"/>
                          <a:pt x="122" y="39"/>
                          <a:pt x="122" y="39"/>
                        </a:cubicBezTo>
                        <a:cubicBezTo>
                          <a:pt x="122" y="39"/>
                          <a:pt x="122" y="39"/>
                          <a:pt x="122" y="38"/>
                        </a:cubicBezTo>
                        <a:close/>
                        <a:moveTo>
                          <a:pt x="121" y="42"/>
                        </a:moveTo>
                        <a:cubicBezTo>
                          <a:pt x="121" y="42"/>
                          <a:pt x="121" y="42"/>
                          <a:pt x="120" y="42"/>
                        </a:cubicBezTo>
                        <a:cubicBezTo>
                          <a:pt x="120" y="41"/>
                          <a:pt x="121" y="42"/>
                          <a:pt x="121" y="42"/>
                        </a:cubicBezTo>
                        <a:close/>
                        <a:moveTo>
                          <a:pt x="121" y="39"/>
                        </a:moveTo>
                        <a:cubicBezTo>
                          <a:pt x="121" y="38"/>
                          <a:pt x="121" y="38"/>
                          <a:pt x="121" y="38"/>
                        </a:cubicBezTo>
                        <a:cubicBezTo>
                          <a:pt x="121" y="38"/>
                          <a:pt x="121" y="38"/>
                          <a:pt x="121" y="38"/>
                        </a:cubicBezTo>
                        <a:cubicBezTo>
                          <a:pt x="121" y="38"/>
                          <a:pt x="121" y="38"/>
                          <a:pt x="122" y="38"/>
                        </a:cubicBezTo>
                        <a:cubicBezTo>
                          <a:pt x="122" y="39"/>
                          <a:pt x="121" y="38"/>
                          <a:pt x="121" y="39"/>
                        </a:cubicBezTo>
                        <a:close/>
                        <a:moveTo>
                          <a:pt x="121" y="36"/>
                        </a:moveTo>
                        <a:cubicBezTo>
                          <a:pt x="122" y="36"/>
                          <a:pt x="122" y="36"/>
                          <a:pt x="122" y="36"/>
                        </a:cubicBezTo>
                        <a:cubicBezTo>
                          <a:pt x="122" y="36"/>
                          <a:pt x="122" y="35"/>
                          <a:pt x="122" y="36"/>
                        </a:cubicBezTo>
                        <a:cubicBezTo>
                          <a:pt x="122" y="36"/>
                          <a:pt x="122" y="36"/>
                          <a:pt x="121" y="36"/>
                        </a:cubicBezTo>
                        <a:close/>
                        <a:moveTo>
                          <a:pt x="123" y="34"/>
                        </a:moveTo>
                        <a:cubicBezTo>
                          <a:pt x="123" y="34"/>
                          <a:pt x="122" y="33"/>
                          <a:pt x="122" y="33"/>
                        </a:cubicBezTo>
                        <a:cubicBezTo>
                          <a:pt x="122" y="33"/>
                          <a:pt x="123" y="33"/>
                          <a:pt x="123" y="34"/>
                        </a:cubicBezTo>
                        <a:close/>
                        <a:moveTo>
                          <a:pt x="121" y="37"/>
                        </a:moveTo>
                        <a:cubicBezTo>
                          <a:pt x="121" y="37"/>
                          <a:pt x="121" y="37"/>
                          <a:pt x="122" y="38"/>
                        </a:cubicBezTo>
                        <a:cubicBezTo>
                          <a:pt x="121" y="38"/>
                          <a:pt x="121" y="37"/>
                          <a:pt x="121" y="37"/>
                        </a:cubicBezTo>
                        <a:close/>
                        <a:moveTo>
                          <a:pt x="121" y="38"/>
                        </a:moveTo>
                        <a:cubicBezTo>
                          <a:pt x="121" y="38"/>
                          <a:pt x="121" y="39"/>
                          <a:pt x="121" y="39"/>
                        </a:cubicBezTo>
                        <a:cubicBezTo>
                          <a:pt x="121" y="39"/>
                          <a:pt x="121" y="39"/>
                          <a:pt x="121" y="39"/>
                        </a:cubicBezTo>
                        <a:cubicBezTo>
                          <a:pt x="121" y="39"/>
                          <a:pt x="121" y="38"/>
                          <a:pt x="121" y="38"/>
                        </a:cubicBezTo>
                        <a:close/>
                        <a:moveTo>
                          <a:pt x="121" y="37"/>
                        </a:moveTo>
                        <a:cubicBezTo>
                          <a:pt x="121" y="37"/>
                          <a:pt x="121" y="37"/>
                          <a:pt x="121" y="37"/>
                        </a:cubicBezTo>
                        <a:cubicBezTo>
                          <a:pt x="121" y="37"/>
                          <a:pt x="121" y="37"/>
                          <a:pt x="122" y="37"/>
                        </a:cubicBezTo>
                        <a:cubicBezTo>
                          <a:pt x="121" y="37"/>
                          <a:pt x="121" y="37"/>
                          <a:pt x="121" y="37"/>
                        </a:cubicBezTo>
                        <a:cubicBezTo>
                          <a:pt x="121" y="37"/>
                          <a:pt x="121" y="37"/>
                          <a:pt x="121" y="37"/>
                        </a:cubicBezTo>
                        <a:cubicBezTo>
                          <a:pt x="121" y="37"/>
                          <a:pt x="121" y="37"/>
                          <a:pt x="121" y="37"/>
                        </a:cubicBezTo>
                        <a:close/>
                        <a:moveTo>
                          <a:pt x="120" y="40"/>
                        </a:moveTo>
                        <a:cubicBezTo>
                          <a:pt x="120" y="40"/>
                          <a:pt x="120" y="40"/>
                          <a:pt x="120" y="40"/>
                        </a:cubicBezTo>
                        <a:cubicBezTo>
                          <a:pt x="120" y="40"/>
                          <a:pt x="120" y="40"/>
                          <a:pt x="120" y="40"/>
                        </a:cubicBezTo>
                        <a:close/>
                        <a:moveTo>
                          <a:pt x="121" y="36"/>
                        </a:moveTo>
                        <a:cubicBezTo>
                          <a:pt x="121" y="36"/>
                          <a:pt x="121" y="36"/>
                          <a:pt x="121" y="36"/>
                        </a:cubicBezTo>
                        <a:cubicBezTo>
                          <a:pt x="121" y="36"/>
                          <a:pt x="121" y="35"/>
                          <a:pt x="121" y="35"/>
                        </a:cubicBezTo>
                        <a:cubicBezTo>
                          <a:pt x="121" y="35"/>
                          <a:pt x="121" y="36"/>
                          <a:pt x="121" y="36"/>
                        </a:cubicBezTo>
                        <a:close/>
                        <a:moveTo>
                          <a:pt x="119" y="38"/>
                        </a:moveTo>
                        <a:cubicBezTo>
                          <a:pt x="119" y="38"/>
                          <a:pt x="120" y="38"/>
                          <a:pt x="120" y="38"/>
                        </a:cubicBezTo>
                        <a:cubicBezTo>
                          <a:pt x="120" y="38"/>
                          <a:pt x="120" y="38"/>
                          <a:pt x="120" y="38"/>
                        </a:cubicBezTo>
                        <a:cubicBezTo>
                          <a:pt x="120" y="38"/>
                          <a:pt x="119" y="38"/>
                          <a:pt x="119" y="38"/>
                        </a:cubicBezTo>
                        <a:close/>
                        <a:moveTo>
                          <a:pt x="122" y="33"/>
                        </a:moveTo>
                        <a:cubicBezTo>
                          <a:pt x="122" y="33"/>
                          <a:pt x="122" y="33"/>
                          <a:pt x="122" y="33"/>
                        </a:cubicBezTo>
                        <a:cubicBezTo>
                          <a:pt x="122" y="33"/>
                          <a:pt x="122" y="33"/>
                          <a:pt x="122" y="33"/>
                        </a:cubicBezTo>
                        <a:cubicBezTo>
                          <a:pt x="121" y="33"/>
                          <a:pt x="122" y="33"/>
                          <a:pt x="121" y="33"/>
                        </a:cubicBezTo>
                        <a:cubicBezTo>
                          <a:pt x="121" y="33"/>
                          <a:pt x="121" y="33"/>
                          <a:pt x="121" y="33"/>
                        </a:cubicBezTo>
                        <a:cubicBezTo>
                          <a:pt x="121" y="33"/>
                          <a:pt x="122" y="33"/>
                          <a:pt x="122" y="33"/>
                        </a:cubicBezTo>
                        <a:close/>
                        <a:moveTo>
                          <a:pt x="120" y="37"/>
                        </a:moveTo>
                        <a:cubicBezTo>
                          <a:pt x="120" y="37"/>
                          <a:pt x="120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7"/>
                        </a:cubicBezTo>
                        <a:close/>
                        <a:moveTo>
                          <a:pt x="120" y="37"/>
                        </a:moveTo>
                        <a:cubicBezTo>
                          <a:pt x="119" y="37"/>
                          <a:pt x="119" y="37"/>
                          <a:pt x="119" y="37"/>
                        </a:cubicBezTo>
                        <a:cubicBezTo>
                          <a:pt x="119" y="36"/>
                          <a:pt x="119" y="37"/>
                          <a:pt x="120" y="37"/>
                        </a:cubicBezTo>
                        <a:close/>
                        <a:moveTo>
                          <a:pt x="121" y="31"/>
                        </a:moveTo>
                        <a:cubicBezTo>
                          <a:pt x="121" y="31"/>
                          <a:pt x="121" y="31"/>
                          <a:pt x="121" y="31"/>
                        </a:cubicBezTo>
                        <a:cubicBezTo>
                          <a:pt x="121" y="31"/>
                          <a:pt x="121" y="31"/>
                          <a:pt x="121" y="31"/>
                        </a:cubicBezTo>
                        <a:cubicBezTo>
                          <a:pt x="121" y="31"/>
                          <a:pt x="121" y="31"/>
                          <a:pt x="121" y="31"/>
                        </a:cubicBezTo>
                        <a:close/>
                        <a:moveTo>
                          <a:pt x="120" y="35"/>
                        </a:moveTo>
                        <a:cubicBezTo>
                          <a:pt x="120" y="35"/>
                          <a:pt x="120" y="35"/>
                          <a:pt x="120" y="35"/>
                        </a:cubicBezTo>
                        <a:cubicBezTo>
                          <a:pt x="120" y="35"/>
                          <a:pt x="120" y="35"/>
                          <a:pt x="120" y="35"/>
                        </a:cubicBezTo>
                        <a:cubicBezTo>
                          <a:pt x="120" y="35"/>
                          <a:pt x="120" y="35"/>
                          <a:pt x="120" y="35"/>
                        </a:cubicBezTo>
                        <a:close/>
                        <a:moveTo>
                          <a:pt x="119" y="38"/>
                        </a:moveTo>
                        <a:cubicBezTo>
                          <a:pt x="119" y="37"/>
                          <a:pt x="119" y="37"/>
                          <a:pt x="119" y="38"/>
                        </a:cubicBezTo>
                        <a:cubicBezTo>
                          <a:pt x="119" y="38"/>
                          <a:pt x="119" y="38"/>
                          <a:pt x="119" y="38"/>
                        </a:cubicBezTo>
                        <a:close/>
                        <a:moveTo>
                          <a:pt x="120" y="33"/>
                        </a:moveTo>
                        <a:cubicBezTo>
                          <a:pt x="120" y="33"/>
                          <a:pt x="120" y="33"/>
                          <a:pt x="120" y="33"/>
                        </a:cubicBezTo>
                        <a:cubicBezTo>
                          <a:pt x="120" y="33"/>
                          <a:pt x="120" y="33"/>
                          <a:pt x="120" y="33"/>
                        </a:cubicBezTo>
                        <a:cubicBezTo>
                          <a:pt x="120" y="33"/>
                          <a:pt x="120" y="33"/>
                          <a:pt x="120" y="33"/>
                        </a:cubicBezTo>
                        <a:close/>
                        <a:moveTo>
                          <a:pt x="119" y="34"/>
                        </a:moveTo>
                        <a:cubicBezTo>
                          <a:pt x="120" y="34"/>
                          <a:pt x="120" y="34"/>
                          <a:pt x="120" y="34"/>
                        </a:cubicBezTo>
                        <a:cubicBezTo>
                          <a:pt x="119" y="34"/>
                          <a:pt x="119" y="34"/>
                          <a:pt x="119" y="34"/>
                        </a:cubicBezTo>
                        <a:close/>
                        <a:moveTo>
                          <a:pt x="119" y="36"/>
                        </a:moveTo>
                        <a:cubicBezTo>
                          <a:pt x="119" y="36"/>
                          <a:pt x="118" y="36"/>
                          <a:pt x="118" y="36"/>
                        </a:cubicBezTo>
                        <a:cubicBezTo>
                          <a:pt x="118" y="36"/>
                          <a:pt x="118" y="36"/>
                          <a:pt x="118" y="36"/>
                        </a:cubicBezTo>
                        <a:cubicBezTo>
                          <a:pt x="118" y="36"/>
                          <a:pt x="118" y="36"/>
                          <a:pt x="118" y="36"/>
                        </a:cubicBezTo>
                        <a:cubicBezTo>
                          <a:pt x="118" y="36"/>
                          <a:pt x="118" y="36"/>
                          <a:pt x="118" y="36"/>
                        </a:cubicBezTo>
                        <a:cubicBezTo>
                          <a:pt x="118" y="36"/>
                          <a:pt x="119" y="36"/>
                          <a:pt x="119" y="36"/>
                        </a:cubicBezTo>
                        <a:close/>
                        <a:moveTo>
                          <a:pt x="117" y="39"/>
                        </a:moveTo>
                        <a:cubicBezTo>
                          <a:pt x="117" y="39"/>
                          <a:pt x="117" y="39"/>
                          <a:pt x="118" y="39"/>
                        </a:cubicBezTo>
                        <a:cubicBezTo>
                          <a:pt x="117" y="40"/>
                          <a:pt x="117" y="39"/>
                          <a:pt x="117" y="39"/>
                        </a:cubicBezTo>
                        <a:cubicBezTo>
                          <a:pt x="117" y="39"/>
                          <a:pt x="117" y="39"/>
                          <a:pt x="117" y="39"/>
                        </a:cubicBezTo>
                        <a:close/>
                        <a:moveTo>
                          <a:pt x="119" y="33"/>
                        </a:moveTo>
                        <a:cubicBezTo>
                          <a:pt x="119" y="33"/>
                          <a:pt x="119" y="33"/>
                          <a:pt x="119" y="33"/>
                        </a:cubicBezTo>
                        <a:cubicBezTo>
                          <a:pt x="119" y="33"/>
                          <a:pt x="119" y="33"/>
                          <a:pt x="119" y="33"/>
                        </a:cubicBezTo>
                        <a:cubicBezTo>
                          <a:pt x="119" y="33"/>
                          <a:pt x="119" y="33"/>
                          <a:pt x="119" y="33"/>
                        </a:cubicBezTo>
                        <a:close/>
                        <a:moveTo>
                          <a:pt x="117" y="42"/>
                        </a:moveTo>
                        <a:cubicBezTo>
                          <a:pt x="116" y="42"/>
                          <a:pt x="116" y="42"/>
                          <a:pt x="116" y="42"/>
                        </a:cubicBezTo>
                        <a:cubicBezTo>
                          <a:pt x="116" y="42"/>
                          <a:pt x="116" y="41"/>
                          <a:pt x="116" y="42"/>
                        </a:cubicBezTo>
                        <a:cubicBezTo>
                          <a:pt x="116" y="41"/>
                          <a:pt x="116" y="41"/>
                          <a:pt x="116" y="41"/>
                        </a:cubicBezTo>
                        <a:cubicBezTo>
                          <a:pt x="116" y="41"/>
                          <a:pt x="116" y="41"/>
                          <a:pt x="116" y="41"/>
                        </a:cubicBezTo>
                        <a:cubicBezTo>
                          <a:pt x="116" y="41"/>
                          <a:pt x="116" y="42"/>
                          <a:pt x="117" y="42"/>
                        </a:cubicBezTo>
                        <a:close/>
                        <a:moveTo>
                          <a:pt x="118" y="35"/>
                        </a:moveTo>
                        <a:cubicBezTo>
                          <a:pt x="118" y="35"/>
                          <a:pt x="118" y="35"/>
                          <a:pt x="118" y="35"/>
                        </a:cubicBezTo>
                        <a:cubicBezTo>
                          <a:pt x="118" y="34"/>
                          <a:pt x="118" y="35"/>
                          <a:pt x="118" y="35"/>
                        </a:cubicBezTo>
                        <a:cubicBezTo>
                          <a:pt x="118" y="35"/>
                          <a:pt x="118" y="34"/>
                          <a:pt x="118" y="35"/>
                        </a:cubicBezTo>
                        <a:close/>
                        <a:moveTo>
                          <a:pt x="118" y="34"/>
                        </a:moveTo>
                        <a:cubicBezTo>
                          <a:pt x="118" y="34"/>
                          <a:pt x="118" y="34"/>
                          <a:pt x="118" y="34"/>
                        </a:cubicBezTo>
                        <a:cubicBezTo>
                          <a:pt x="118" y="34"/>
                          <a:pt x="118" y="34"/>
                          <a:pt x="118" y="34"/>
                        </a:cubicBezTo>
                        <a:cubicBezTo>
                          <a:pt x="118" y="34"/>
                          <a:pt x="118" y="34"/>
                          <a:pt x="118" y="34"/>
                        </a:cubicBezTo>
                        <a:cubicBezTo>
                          <a:pt x="118" y="34"/>
                          <a:pt x="118" y="34"/>
                          <a:pt x="118" y="34"/>
                        </a:cubicBezTo>
                        <a:close/>
                        <a:moveTo>
                          <a:pt x="118" y="34"/>
                        </a:moveTo>
                        <a:cubicBezTo>
                          <a:pt x="118" y="34"/>
                          <a:pt x="118" y="34"/>
                          <a:pt x="118" y="34"/>
                        </a:cubicBezTo>
                        <a:cubicBezTo>
                          <a:pt x="118" y="34"/>
                          <a:pt x="118" y="34"/>
                          <a:pt x="117" y="34"/>
                        </a:cubicBezTo>
                        <a:cubicBezTo>
                          <a:pt x="118" y="34"/>
                          <a:pt x="118" y="34"/>
                          <a:pt x="118" y="34"/>
                        </a:cubicBezTo>
                        <a:cubicBezTo>
                          <a:pt x="118" y="34"/>
                          <a:pt x="118" y="34"/>
                          <a:pt x="118" y="34"/>
                        </a:cubicBezTo>
                        <a:close/>
                        <a:moveTo>
                          <a:pt x="117" y="36"/>
                        </a:moveTo>
                        <a:cubicBezTo>
                          <a:pt x="117" y="36"/>
                          <a:pt x="117" y="36"/>
                          <a:pt x="116" y="36"/>
                        </a:cubicBezTo>
                        <a:cubicBezTo>
                          <a:pt x="116" y="36"/>
                          <a:pt x="116" y="35"/>
                          <a:pt x="116" y="36"/>
                        </a:cubicBezTo>
                        <a:cubicBezTo>
                          <a:pt x="116" y="35"/>
                          <a:pt x="116" y="35"/>
                          <a:pt x="116" y="35"/>
                        </a:cubicBezTo>
                        <a:cubicBezTo>
                          <a:pt x="116" y="35"/>
                          <a:pt x="117" y="36"/>
                          <a:pt x="117" y="36"/>
                        </a:cubicBezTo>
                        <a:cubicBezTo>
                          <a:pt x="117" y="36"/>
                          <a:pt x="117" y="36"/>
                          <a:pt x="117" y="36"/>
                        </a:cubicBezTo>
                        <a:cubicBezTo>
                          <a:pt x="117" y="36"/>
                          <a:pt x="117" y="36"/>
                          <a:pt x="117" y="36"/>
                        </a:cubicBezTo>
                        <a:close/>
                        <a:moveTo>
                          <a:pt x="115" y="42"/>
                        </a:moveTo>
                        <a:cubicBezTo>
                          <a:pt x="115" y="42"/>
                          <a:pt x="115" y="42"/>
                          <a:pt x="116" y="42"/>
                        </a:cubicBezTo>
                        <a:cubicBezTo>
                          <a:pt x="115" y="42"/>
                          <a:pt x="115" y="42"/>
                          <a:pt x="115" y="42"/>
                        </a:cubicBezTo>
                        <a:close/>
                        <a:moveTo>
                          <a:pt x="117" y="34"/>
                        </a:moveTo>
                        <a:cubicBezTo>
                          <a:pt x="117" y="34"/>
                          <a:pt x="117" y="34"/>
                          <a:pt x="117" y="34"/>
                        </a:cubicBezTo>
                        <a:cubicBezTo>
                          <a:pt x="116" y="34"/>
                          <a:pt x="117" y="34"/>
                          <a:pt x="117" y="34"/>
                        </a:cubicBezTo>
                        <a:cubicBezTo>
                          <a:pt x="117" y="34"/>
                          <a:pt x="117" y="34"/>
                          <a:pt x="117" y="34"/>
                        </a:cubicBezTo>
                        <a:close/>
                        <a:moveTo>
                          <a:pt x="116" y="35"/>
                        </a:moveTo>
                        <a:cubicBezTo>
                          <a:pt x="116" y="35"/>
                          <a:pt x="116" y="35"/>
                          <a:pt x="117" y="35"/>
                        </a:cubicBezTo>
                        <a:cubicBezTo>
                          <a:pt x="117" y="35"/>
                          <a:pt x="116" y="35"/>
                          <a:pt x="116" y="35"/>
                        </a:cubicBezTo>
                        <a:close/>
                        <a:moveTo>
                          <a:pt x="116" y="37"/>
                        </a:moveTo>
                        <a:cubicBezTo>
                          <a:pt x="116" y="37"/>
                          <a:pt x="116" y="37"/>
                          <a:pt x="116" y="37"/>
                        </a:cubicBezTo>
                        <a:cubicBezTo>
                          <a:pt x="116" y="37"/>
                          <a:pt x="115" y="37"/>
                          <a:pt x="115" y="37"/>
                        </a:cubicBezTo>
                        <a:cubicBezTo>
                          <a:pt x="115" y="37"/>
                          <a:pt x="115" y="37"/>
                          <a:pt x="115" y="37"/>
                        </a:cubicBezTo>
                        <a:cubicBezTo>
                          <a:pt x="115" y="37"/>
                          <a:pt x="116" y="37"/>
                          <a:pt x="116" y="37"/>
                        </a:cubicBezTo>
                        <a:close/>
                        <a:moveTo>
                          <a:pt x="115" y="41"/>
                        </a:moveTo>
                        <a:cubicBezTo>
                          <a:pt x="115" y="41"/>
                          <a:pt x="115" y="41"/>
                          <a:pt x="115" y="41"/>
                        </a:cubicBezTo>
                        <a:cubicBezTo>
                          <a:pt x="114" y="41"/>
                          <a:pt x="114" y="41"/>
                          <a:pt x="114" y="41"/>
                        </a:cubicBezTo>
                        <a:cubicBezTo>
                          <a:pt x="114" y="41"/>
                          <a:pt x="114" y="41"/>
                          <a:pt x="114" y="41"/>
                        </a:cubicBezTo>
                        <a:cubicBezTo>
                          <a:pt x="114" y="41"/>
                          <a:pt x="114" y="41"/>
                          <a:pt x="115" y="41"/>
                        </a:cubicBezTo>
                        <a:close/>
                        <a:moveTo>
                          <a:pt x="116" y="33"/>
                        </a:moveTo>
                        <a:cubicBezTo>
                          <a:pt x="116" y="33"/>
                          <a:pt x="116" y="33"/>
                          <a:pt x="115" y="33"/>
                        </a:cubicBezTo>
                        <a:cubicBezTo>
                          <a:pt x="116" y="33"/>
                          <a:pt x="116" y="33"/>
                          <a:pt x="117" y="33"/>
                        </a:cubicBezTo>
                        <a:lnTo>
                          <a:pt x="116" y="33"/>
                        </a:lnTo>
                        <a:close/>
                        <a:moveTo>
                          <a:pt x="117" y="29"/>
                        </a:moveTo>
                        <a:cubicBezTo>
                          <a:pt x="117" y="29"/>
                          <a:pt x="117" y="29"/>
                          <a:pt x="118" y="29"/>
                        </a:cubicBezTo>
                        <a:cubicBezTo>
                          <a:pt x="118" y="30"/>
                          <a:pt x="117" y="29"/>
                          <a:pt x="117" y="29"/>
                        </a:cubicBezTo>
                        <a:close/>
                        <a:moveTo>
                          <a:pt x="115" y="36"/>
                        </a:moveTo>
                        <a:cubicBezTo>
                          <a:pt x="115" y="37"/>
                          <a:pt x="115" y="37"/>
                          <a:pt x="115" y="37"/>
                        </a:cubicBezTo>
                        <a:cubicBezTo>
                          <a:pt x="115" y="37"/>
                          <a:pt x="115" y="37"/>
                          <a:pt x="115" y="36"/>
                        </a:cubicBezTo>
                        <a:close/>
                        <a:moveTo>
                          <a:pt x="114" y="41"/>
                        </a:moveTo>
                        <a:cubicBezTo>
                          <a:pt x="114" y="41"/>
                          <a:pt x="114" y="41"/>
                          <a:pt x="114" y="41"/>
                        </a:cubicBezTo>
                        <a:cubicBezTo>
                          <a:pt x="114" y="41"/>
                          <a:pt x="113" y="41"/>
                          <a:pt x="113" y="41"/>
                        </a:cubicBezTo>
                        <a:cubicBezTo>
                          <a:pt x="113" y="41"/>
                          <a:pt x="113" y="41"/>
                          <a:pt x="113" y="41"/>
                        </a:cubicBezTo>
                        <a:cubicBezTo>
                          <a:pt x="114" y="41"/>
                          <a:pt x="114" y="41"/>
                          <a:pt x="114" y="41"/>
                        </a:cubicBezTo>
                        <a:close/>
                        <a:moveTo>
                          <a:pt x="113" y="40"/>
                        </a:moveTo>
                        <a:cubicBezTo>
                          <a:pt x="113" y="40"/>
                          <a:pt x="113" y="40"/>
                          <a:pt x="114" y="40"/>
                        </a:cubicBezTo>
                        <a:cubicBezTo>
                          <a:pt x="113" y="41"/>
                          <a:pt x="113" y="41"/>
                          <a:pt x="113" y="41"/>
                        </a:cubicBezTo>
                        <a:cubicBezTo>
                          <a:pt x="113" y="41"/>
                          <a:pt x="113" y="41"/>
                          <a:pt x="113" y="41"/>
                        </a:cubicBezTo>
                        <a:cubicBezTo>
                          <a:pt x="113" y="41"/>
                          <a:pt x="113" y="41"/>
                          <a:pt x="113" y="41"/>
                        </a:cubicBezTo>
                        <a:cubicBezTo>
                          <a:pt x="113" y="40"/>
                          <a:pt x="113" y="40"/>
                          <a:pt x="112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lose/>
                        <a:moveTo>
                          <a:pt x="115" y="33"/>
                        </a:moveTo>
                        <a:cubicBezTo>
                          <a:pt x="115" y="33"/>
                          <a:pt x="115" y="33"/>
                          <a:pt x="116" y="33"/>
                        </a:cubicBezTo>
                        <a:cubicBezTo>
                          <a:pt x="115" y="34"/>
                          <a:pt x="115" y="33"/>
                          <a:pt x="115" y="33"/>
                        </a:cubicBezTo>
                        <a:close/>
                        <a:moveTo>
                          <a:pt x="113" y="41"/>
                        </a:moveTo>
                        <a:cubicBezTo>
                          <a:pt x="113" y="41"/>
                          <a:pt x="113" y="41"/>
                          <a:pt x="113" y="41"/>
                        </a:cubicBezTo>
                        <a:cubicBezTo>
                          <a:pt x="113" y="41"/>
                          <a:pt x="113" y="41"/>
                          <a:pt x="113" y="41"/>
                        </a:cubicBezTo>
                        <a:close/>
                        <a:moveTo>
                          <a:pt x="114" y="33"/>
                        </a:moveTo>
                        <a:cubicBezTo>
                          <a:pt x="115" y="34"/>
                          <a:pt x="114" y="33"/>
                          <a:pt x="115" y="34"/>
                        </a:cubicBezTo>
                        <a:cubicBezTo>
                          <a:pt x="115" y="34"/>
                          <a:pt x="115" y="34"/>
                          <a:pt x="115" y="34"/>
                        </a:cubicBezTo>
                        <a:cubicBezTo>
                          <a:pt x="114" y="34"/>
                          <a:pt x="114" y="34"/>
                          <a:pt x="114" y="33"/>
                        </a:cubicBezTo>
                        <a:close/>
                        <a:moveTo>
                          <a:pt x="114" y="35"/>
                        </a:moveTo>
                        <a:cubicBezTo>
                          <a:pt x="114" y="35"/>
                          <a:pt x="114" y="34"/>
                          <a:pt x="114" y="35"/>
                        </a:cubicBezTo>
                        <a:cubicBezTo>
                          <a:pt x="114" y="35"/>
                          <a:pt x="114" y="35"/>
                          <a:pt x="114" y="35"/>
                        </a:cubicBezTo>
                        <a:cubicBezTo>
                          <a:pt x="114" y="35"/>
                          <a:pt x="114" y="35"/>
                          <a:pt x="114" y="35"/>
                        </a:cubicBezTo>
                        <a:cubicBezTo>
                          <a:pt x="114" y="35"/>
                          <a:pt x="113" y="35"/>
                          <a:pt x="113" y="35"/>
                        </a:cubicBezTo>
                        <a:cubicBezTo>
                          <a:pt x="113" y="35"/>
                          <a:pt x="113" y="35"/>
                          <a:pt x="113" y="34"/>
                        </a:cubicBezTo>
                        <a:cubicBezTo>
                          <a:pt x="113" y="34"/>
                          <a:pt x="113" y="35"/>
                          <a:pt x="113" y="35"/>
                        </a:cubicBezTo>
                        <a:cubicBezTo>
                          <a:pt x="114" y="35"/>
                          <a:pt x="113" y="34"/>
                          <a:pt x="113" y="34"/>
                        </a:cubicBezTo>
                        <a:cubicBezTo>
                          <a:pt x="114" y="34"/>
                          <a:pt x="114" y="34"/>
                          <a:pt x="114" y="35"/>
                        </a:cubicBezTo>
                        <a:close/>
                        <a:moveTo>
                          <a:pt x="112" y="41"/>
                        </a:moveTo>
                        <a:cubicBezTo>
                          <a:pt x="112" y="41"/>
                          <a:pt x="112" y="41"/>
                          <a:pt x="112" y="41"/>
                        </a:cubicBezTo>
                        <a:cubicBezTo>
                          <a:pt x="112" y="41"/>
                          <a:pt x="112" y="40"/>
                          <a:pt x="112" y="41"/>
                        </a:cubicBezTo>
                        <a:close/>
                        <a:moveTo>
                          <a:pt x="112" y="39"/>
                        </a:move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1" y="39"/>
                          <a:pt x="111" y="39"/>
                          <a:pt x="111" y="39"/>
                        </a:cubicBezTo>
                        <a:cubicBezTo>
                          <a:pt x="111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8"/>
                        </a:cubicBezTo>
                        <a:cubicBezTo>
                          <a:pt x="112" y="39"/>
                          <a:pt x="112" y="38"/>
                          <a:pt x="113" y="39"/>
                        </a:cubicBezTo>
                        <a:cubicBezTo>
                          <a:pt x="113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lose/>
                        <a:moveTo>
                          <a:pt x="112" y="40"/>
                        </a:moveTo>
                        <a:cubicBezTo>
                          <a:pt x="112" y="40"/>
                          <a:pt x="112" y="40"/>
                          <a:pt x="112" y="40"/>
                        </a:cubicBezTo>
                        <a:cubicBezTo>
                          <a:pt x="112" y="40"/>
                          <a:pt x="112" y="40"/>
                          <a:pt x="112" y="40"/>
                        </a:cubicBezTo>
                        <a:cubicBezTo>
                          <a:pt x="112" y="40"/>
                          <a:pt x="112" y="40"/>
                          <a:pt x="112" y="40"/>
                        </a:cubicBezTo>
                        <a:cubicBezTo>
                          <a:pt x="112" y="40"/>
                          <a:pt x="112" y="40"/>
                          <a:pt x="112" y="40"/>
                        </a:cubicBezTo>
                        <a:cubicBezTo>
                          <a:pt x="112" y="40"/>
                          <a:pt x="112" y="40"/>
                          <a:pt x="112" y="40"/>
                        </a:cubicBezTo>
                        <a:cubicBezTo>
                          <a:pt x="112" y="40"/>
                          <a:pt x="112" y="40"/>
                          <a:pt x="112" y="40"/>
                        </a:cubicBezTo>
                        <a:cubicBezTo>
                          <a:pt x="112" y="40"/>
                          <a:pt x="111" y="40"/>
                          <a:pt x="111" y="40"/>
                        </a:cubicBezTo>
                        <a:cubicBezTo>
                          <a:pt x="111" y="40"/>
                          <a:pt x="111" y="40"/>
                          <a:pt x="111" y="40"/>
                        </a:cubicBezTo>
                        <a:cubicBezTo>
                          <a:pt x="111" y="40"/>
                          <a:pt x="111" y="40"/>
                          <a:pt x="111" y="40"/>
                        </a:cubicBezTo>
                        <a:cubicBezTo>
                          <a:pt x="112" y="40"/>
                          <a:pt x="111" y="40"/>
                          <a:pt x="112" y="40"/>
                        </a:cubicBezTo>
                        <a:cubicBezTo>
                          <a:pt x="112" y="40"/>
                          <a:pt x="112" y="40"/>
                          <a:pt x="112" y="40"/>
                        </a:cubicBezTo>
                        <a:close/>
                        <a:moveTo>
                          <a:pt x="112" y="41"/>
                        </a:moveTo>
                        <a:cubicBezTo>
                          <a:pt x="112" y="41"/>
                          <a:pt x="111" y="41"/>
                          <a:pt x="111" y="41"/>
                        </a:cubicBezTo>
                        <a:cubicBezTo>
                          <a:pt x="111" y="40"/>
                          <a:pt x="111" y="41"/>
                          <a:pt x="111" y="41"/>
                        </a:cubicBezTo>
                        <a:cubicBezTo>
                          <a:pt x="112" y="41"/>
                          <a:pt x="112" y="41"/>
                          <a:pt x="112" y="41"/>
                        </a:cubicBezTo>
                        <a:close/>
                        <a:moveTo>
                          <a:pt x="114" y="32"/>
                        </a:moveTo>
                        <a:cubicBezTo>
                          <a:pt x="114" y="33"/>
                          <a:pt x="114" y="33"/>
                          <a:pt x="114" y="33"/>
                        </a:cubicBezTo>
                        <a:cubicBezTo>
                          <a:pt x="114" y="33"/>
                          <a:pt x="114" y="33"/>
                          <a:pt x="114" y="33"/>
                        </a:cubicBezTo>
                        <a:cubicBezTo>
                          <a:pt x="114" y="33"/>
                          <a:pt x="114" y="33"/>
                          <a:pt x="114" y="32"/>
                        </a:cubicBezTo>
                        <a:close/>
                        <a:moveTo>
                          <a:pt x="115" y="29"/>
                        </a:moveTo>
                        <a:cubicBezTo>
                          <a:pt x="115" y="28"/>
                          <a:pt x="115" y="29"/>
                          <a:pt x="115" y="28"/>
                        </a:cubicBezTo>
                        <a:cubicBezTo>
                          <a:pt x="115" y="28"/>
                          <a:pt x="115" y="29"/>
                          <a:pt x="115" y="29"/>
                        </a:cubicBezTo>
                        <a:cubicBezTo>
                          <a:pt x="115" y="29"/>
                          <a:pt x="115" y="29"/>
                          <a:pt x="115" y="29"/>
                        </a:cubicBezTo>
                        <a:close/>
                        <a:moveTo>
                          <a:pt x="113" y="33"/>
                        </a:moveTo>
                        <a:cubicBezTo>
                          <a:pt x="113" y="33"/>
                          <a:pt x="113" y="33"/>
                          <a:pt x="113" y="33"/>
                        </a:cubicBezTo>
                        <a:cubicBezTo>
                          <a:pt x="113" y="32"/>
                          <a:pt x="113" y="33"/>
                          <a:pt x="113" y="33"/>
                        </a:cubicBezTo>
                        <a:cubicBezTo>
                          <a:pt x="113" y="33"/>
                          <a:pt x="113" y="33"/>
                          <a:pt x="113" y="33"/>
                        </a:cubicBezTo>
                        <a:cubicBezTo>
                          <a:pt x="113" y="33"/>
                          <a:pt x="113" y="33"/>
                          <a:pt x="113" y="33"/>
                        </a:cubicBezTo>
                        <a:close/>
                        <a:moveTo>
                          <a:pt x="112" y="38"/>
                        </a:moveTo>
                        <a:cubicBezTo>
                          <a:pt x="112" y="38"/>
                          <a:pt x="111" y="39"/>
                          <a:pt x="111" y="39"/>
                        </a:cubicBezTo>
                        <a:cubicBezTo>
                          <a:pt x="111" y="39"/>
                          <a:pt x="110" y="38"/>
                          <a:pt x="110" y="38"/>
                        </a:cubicBezTo>
                        <a:cubicBezTo>
                          <a:pt x="110" y="38"/>
                          <a:pt x="110" y="38"/>
                          <a:pt x="111" y="38"/>
                        </a:cubicBezTo>
                        <a:cubicBezTo>
                          <a:pt x="111" y="38"/>
                          <a:pt x="111" y="38"/>
                          <a:pt x="111" y="38"/>
                        </a:cubicBezTo>
                        <a:cubicBezTo>
                          <a:pt x="111" y="38"/>
                          <a:pt x="111" y="38"/>
                          <a:pt x="112" y="38"/>
                        </a:cubicBezTo>
                        <a:close/>
                        <a:moveTo>
                          <a:pt x="111" y="39"/>
                        </a:moveTo>
                        <a:cubicBezTo>
                          <a:pt x="111" y="39"/>
                          <a:pt x="111" y="39"/>
                          <a:pt x="111" y="39"/>
                        </a:cubicBezTo>
                        <a:cubicBezTo>
                          <a:pt x="111" y="39"/>
                          <a:pt x="111" y="39"/>
                          <a:pt x="111" y="39"/>
                        </a:cubicBezTo>
                        <a:cubicBezTo>
                          <a:pt x="111" y="39"/>
                          <a:pt x="111" y="39"/>
                          <a:pt x="111" y="39"/>
                        </a:cubicBezTo>
                        <a:cubicBezTo>
                          <a:pt x="111" y="39"/>
                          <a:pt x="111" y="39"/>
                          <a:pt x="111" y="39"/>
                        </a:cubicBezTo>
                        <a:cubicBezTo>
                          <a:pt x="111" y="39"/>
                          <a:pt x="111" y="39"/>
                          <a:pt x="111" y="39"/>
                        </a:cubicBezTo>
                        <a:close/>
                        <a:moveTo>
                          <a:pt x="113" y="34"/>
                        </a:moveTo>
                        <a:cubicBezTo>
                          <a:pt x="113" y="34"/>
                          <a:pt x="112" y="34"/>
                          <a:pt x="112" y="34"/>
                        </a:cubicBezTo>
                        <a:cubicBezTo>
                          <a:pt x="112" y="34"/>
                          <a:pt x="112" y="34"/>
                          <a:pt x="113" y="34"/>
                        </a:cubicBezTo>
                        <a:close/>
                        <a:moveTo>
                          <a:pt x="113" y="32"/>
                        </a:moveTo>
                        <a:cubicBezTo>
                          <a:pt x="113" y="32"/>
                          <a:pt x="113" y="32"/>
                          <a:pt x="113" y="32"/>
                        </a:cubicBezTo>
                        <a:cubicBezTo>
                          <a:pt x="113" y="32"/>
                          <a:pt x="112" y="32"/>
                          <a:pt x="112" y="32"/>
                        </a:cubicBezTo>
                        <a:cubicBezTo>
                          <a:pt x="113" y="32"/>
                          <a:pt x="113" y="32"/>
                          <a:pt x="113" y="32"/>
                        </a:cubicBezTo>
                        <a:close/>
                        <a:moveTo>
                          <a:pt x="111" y="39"/>
                        </a:moveTo>
                        <a:cubicBezTo>
                          <a:pt x="111" y="39"/>
                          <a:pt x="110" y="39"/>
                          <a:pt x="110" y="39"/>
                        </a:cubicBezTo>
                        <a:cubicBezTo>
                          <a:pt x="110" y="38"/>
                          <a:pt x="111" y="39"/>
                          <a:pt x="111" y="39"/>
                        </a:cubicBezTo>
                        <a:close/>
                        <a:moveTo>
                          <a:pt x="111" y="32"/>
                        </a:moveTo>
                        <a:cubicBezTo>
                          <a:pt x="112" y="32"/>
                          <a:pt x="113" y="33"/>
                          <a:pt x="112" y="32"/>
                        </a:cubicBezTo>
                        <a:cubicBezTo>
                          <a:pt x="112" y="33"/>
                          <a:pt x="112" y="32"/>
                          <a:pt x="112" y="33"/>
                        </a:cubicBezTo>
                        <a:cubicBezTo>
                          <a:pt x="112" y="32"/>
                          <a:pt x="111" y="32"/>
                          <a:pt x="111" y="32"/>
                        </a:cubicBezTo>
                        <a:close/>
                        <a:moveTo>
                          <a:pt x="112" y="32"/>
                        </a:moveTo>
                        <a:cubicBezTo>
                          <a:pt x="112" y="31"/>
                          <a:pt x="112" y="31"/>
                          <a:pt x="112" y="31"/>
                        </a:cubicBezTo>
                        <a:cubicBezTo>
                          <a:pt x="112" y="32"/>
                          <a:pt x="112" y="32"/>
                          <a:pt x="112" y="32"/>
                        </a:cubicBezTo>
                        <a:cubicBezTo>
                          <a:pt x="112" y="32"/>
                          <a:pt x="112" y="32"/>
                          <a:pt x="112" y="32"/>
                        </a:cubicBezTo>
                        <a:close/>
                        <a:moveTo>
                          <a:pt x="111" y="37"/>
                        </a:moveTo>
                        <a:cubicBezTo>
                          <a:pt x="111" y="37"/>
                          <a:pt x="110" y="37"/>
                          <a:pt x="110" y="37"/>
                        </a:cubicBezTo>
                        <a:cubicBezTo>
                          <a:pt x="110" y="37"/>
                          <a:pt x="111" y="37"/>
                          <a:pt x="111" y="37"/>
                        </a:cubicBezTo>
                        <a:close/>
                        <a:moveTo>
                          <a:pt x="112" y="33"/>
                        </a:moveTo>
                        <a:cubicBezTo>
                          <a:pt x="112" y="33"/>
                          <a:pt x="112" y="33"/>
                          <a:pt x="111" y="33"/>
                        </a:cubicBezTo>
                        <a:cubicBezTo>
                          <a:pt x="111" y="33"/>
                          <a:pt x="111" y="33"/>
                          <a:pt x="111" y="33"/>
                        </a:cubicBezTo>
                        <a:cubicBezTo>
                          <a:pt x="112" y="33"/>
                          <a:pt x="112" y="33"/>
                          <a:pt x="112" y="33"/>
                        </a:cubicBezTo>
                        <a:close/>
                        <a:moveTo>
                          <a:pt x="111" y="31"/>
                        </a:moveTo>
                        <a:cubicBezTo>
                          <a:pt x="111" y="31"/>
                          <a:pt x="110" y="31"/>
                          <a:pt x="111" y="31"/>
                        </a:cubicBezTo>
                        <a:cubicBezTo>
                          <a:pt x="110" y="31"/>
                          <a:pt x="110" y="31"/>
                          <a:pt x="110" y="31"/>
                        </a:cubicBezTo>
                        <a:cubicBezTo>
                          <a:pt x="110" y="31"/>
                          <a:pt x="110" y="31"/>
                          <a:pt x="109" y="31"/>
                        </a:cubicBezTo>
                        <a:cubicBezTo>
                          <a:pt x="110" y="31"/>
                          <a:pt x="109" y="31"/>
                          <a:pt x="109" y="31"/>
                        </a:cubicBezTo>
                        <a:cubicBezTo>
                          <a:pt x="108" y="30"/>
                          <a:pt x="109" y="31"/>
                          <a:pt x="109" y="31"/>
                        </a:cubicBezTo>
                        <a:cubicBezTo>
                          <a:pt x="109" y="31"/>
                          <a:pt x="110" y="31"/>
                          <a:pt x="110" y="31"/>
                        </a:cubicBezTo>
                        <a:cubicBezTo>
                          <a:pt x="110" y="31"/>
                          <a:pt x="111" y="31"/>
                          <a:pt x="111" y="31"/>
                        </a:cubicBezTo>
                        <a:cubicBezTo>
                          <a:pt x="111" y="31"/>
                          <a:pt x="111" y="31"/>
                          <a:pt x="111" y="31"/>
                        </a:cubicBezTo>
                        <a:cubicBezTo>
                          <a:pt x="111" y="31"/>
                          <a:pt x="111" y="31"/>
                          <a:pt x="112" y="31"/>
                        </a:cubicBezTo>
                        <a:cubicBezTo>
                          <a:pt x="111" y="32"/>
                          <a:pt x="111" y="31"/>
                          <a:pt x="111" y="31"/>
                        </a:cubicBezTo>
                        <a:close/>
                        <a:moveTo>
                          <a:pt x="108" y="39"/>
                        </a:moveTo>
                        <a:cubicBezTo>
                          <a:pt x="108" y="39"/>
                          <a:pt x="109" y="39"/>
                          <a:pt x="109" y="39"/>
                        </a:cubicBezTo>
                        <a:cubicBezTo>
                          <a:pt x="109" y="39"/>
                          <a:pt x="109" y="39"/>
                          <a:pt x="108" y="39"/>
                        </a:cubicBezTo>
                        <a:close/>
                        <a:moveTo>
                          <a:pt x="110" y="34"/>
                        </a:moveTo>
                        <a:cubicBezTo>
                          <a:pt x="110" y="34"/>
                          <a:pt x="110" y="34"/>
                          <a:pt x="110" y="34"/>
                        </a:cubicBezTo>
                        <a:cubicBezTo>
                          <a:pt x="110" y="34"/>
                          <a:pt x="110" y="34"/>
                          <a:pt x="110" y="34"/>
                        </a:cubicBezTo>
                        <a:close/>
                        <a:moveTo>
                          <a:pt x="108" y="40"/>
                        </a:moveTo>
                        <a:cubicBezTo>
                          <a:pt x="108" y="40"/>
                          <a:pt x="108" y="40"/>
                          <a:pt x="108" y="40"/>
                        </a:cubicBezTo>
                        <a:cubicBezTo>
                          <a:pt x="108" y="40"/>
                          <a:pt x="108" y="40"/>
                          <a:pt x="108" y="40"/>
                        </a:cubicBezTo>
                        <a:cubicBezTo>
                          <a:pt x="108" y="40"/>
                          <a:pt x="108" y="40"/>
                          <a:pt x="108" y="40"/>
                        </a:cubicBezTo>
                        <a:close/>
                        <a:moveTo>
                          <a:pt x="109" y="36"/>
                        </a:moveTo>
                        <a:cubicBezTo>
                          <a:pt x="109" y="36"/>
                          <a:pt x="109" y="36"/>
                          <a:pt x="109" y="36"/>
                        </a:cubicBezTo>
                        <a:cubicBezTo>
                          <a:pt x="109" y="36"/>
                          <a:pt x="108" y="36"/>
                          <a:pt x="108" y="36"/>
                        </a:cubicBezTo>
                        <a:cubicBezTo>
                          <a:pt x="108" y="36"/>
                          <a:pt x="109" y="36"/>
                          <a:pt x="109" y="36"/>
                        </a:cubicBezTo>
                        <a:close/>
                        <a:moveTo>
                          <a:pt x="108" y="40"/>
                        </a:moveTo>
                        <a:cubicBezTo>
                          <a:pt x="108" y="40"/>
                          <a:pt x="108" y="40"/>
                          <a:pt x="107" y="40"/>
                        </a:cubicBezTo>
                        <a:cubicBezTo>
                          <a:pt x="107" y="40"/>
                          <a:pt x="108" y="39"/>
                          <a:pt x="108" y="40"/>
                        </a:cubicBezTo>
                        <a:close/>
                        <a:moveTo>
                          <a:pt x="109" y="35"/>
                        </a:moveTo>
                        <a:cubicBezTo>
                          <a:pt x="109" y="35"/>
                          <a:pt x="109" y="35"/>
                          <a:pt x="109" y="35"/>
                        </a:cubicBezTo>
                        <a:cubicBezTo>
                          <a:pt x="109" y="35"/>
                          <a:pt x="109" y="35"/>
                          <a:pt x="109" y="35"/>
                        </a:cubicBezTo>
                        <a:close/>
                        <a:moveTo>
                          <a:pt x="107" y="39"/>
                        </a:moveTo>
                        <a:cubicBezTo>
                          <a:pt x="107" y="39"/>
                          <a:pt x="107" y="39"/>
                          <a:pt x="107" y="39"/>
                        </a:cubicBezTo>
                        <a:cubicBezTo>
                          <a:pt x="107" y="39"/>
                          <a:pt x="107" y="39"/>
                          <a:pt x="107" y="39"/>
                        </a:cubicBezTo>
                        <a:cubicBezTo>
                          <a:pt x="107" y="39"/>
                          <a:pt x="107" y="39"/>
                          <a:pt x="107" y="39"/>
                        </a:cubicBezTo>
                        <a:close/>
                        <a:moveTo>
                          <a:pt x="110" y="28"/>
                        </a:moveTo>
                        <a:cubicBezTo>
                          <a:pt x="110" y="28"/>
                          <a:pt x="110" y="28"/>
                          <a:pt x="110" y="28"/>
                        </a:cubicBezTo>
                        <a:cubicBezTo>
                          <a:pt x="110" y="28"/>
                          <a:pt x="110" y="28"/>
                          <a:pt x="110" y="28"/>
                        </a:cubicBezTo>
                        <a:close/>
                        <a:moveTo>
                          <a:pt x="108" y="31"/>
                        </a:moveTo>
                        <a:cubicBezTo>
                          <a:pt x="109" y="31"/>
                          <a:pt x="109" y="31"/>
                          <a:pt x="109" y="31"/>
                        </a:cubicBezTo>
                        <a:cubicBezTo>
                          <a:pt x="109" y="31"/>
                          <a:pt x="108" y="31"/>
                          <a:pt x="108" y="31"/>
                        </a:cubicBezTo>
                        <a:close/>
                        <a:moveTo>
                          <a:pt x="108" y="30"/>
                        </a:moveTo>
                        <a:cubicBezTo>
                          <a:pt x="108" y="30"/>
                          <a:pt x="108" y="30"/>
                          <a:pt x="108" y="30"/>
                        </a:cubicBezTo>
                        <a:cubicBezTo>
                          <a:pt x="108" y="30"/>
                          <a:pt x="108" y="30"/>
                          <a:pt x="108" y="30"/>
                        </a:cubicBezTo>
                        <a:cubicBezTo>
                          <a:pt x="108" y="30"/>
                          <a:pt x="107" y="30"/>
                          <a:pt x="107" y="30"/>
                        </a:cubicBezTo>
                        <a:cubicBezTo>
                          <a:pt x="107" y="30"/>
                          <a:pt x="107" y="30"/>
                          <a:pt x="107" y="30"/>
                        </a:cubicBezTo>
                        <a:cubicBezTo>
                          <a:pt x="107" y="30"/>
                          <a:pt x="107" y="30"/>
                          <a:pt x="107" y="30"/>
                        </a:cubicBezTo>
                        <a:cubicBezTo>
                          <a:pt x="107" y="30"/>
                          <a:pt x="108" y="30"/>
                          <a:pt x="108" y="30"/>
                        </a:cubicBezTo>
                        <a:close/>
                        <a:moveTo>
                          <a:pt x="107" y="36"/>
                        </a:moveTo>
                        <a:cubicBezTo>
                          <a:pt x="106" y="36"/>
                          <a:pt x="106" y="36"/>
                          <a:pt x="106" y="36"/>
                        </a:cubicBezTo>
                        <a:cubicBezTo>
                          <a:pt x="106" y="36"/>
                          <a:pt x="106" y="35"/>
                          <a:pt x="106" y="35"/>
                        </a:cubicBezTo>
                        <a:cubicBezTo>
                          <a:pt x="106" y="35"/>
                          <a:pt x="107" y="35"/>
                          <a:pt x="107" y="36"/>
                        </a:cubicBezTo>
                        <a:close/>
                        <a:moveTo>
                          <a:pt x="106" y="33"/>
                        </a:moveTo>
                        <a:cubicBezTo>
                          <a:pt x="106" y="33"/>
                          <a:pt x="107" y="34"/>
                          <a:pt x="106" y="33"/>
                        </a:cubicBezTo>
                        <a:cubicBezTo>
                          <a:pt x="107" y="33"/>
                          <a:pt x="107" y="34"/>
                          <a:pt x="107" y="34"/>
                        </a:cubicBezTo>
                        <a:cubicBezTo>
                          <a:pt x="107" y="34"/>
                          <a:pt x="106" y="34"/>
                          <a:pt x="106" y="34"/>
                        </a:cubicBezTo>
                        <a:cubicBezTo>
                          <a:pt x="106" y="33"/>
                          <a:pt x="106" y="33"/>
                          <a:pt x="106" y="33"/>
                        </a:cubicBezTo>
                        <a:close/>
                        <a:moveTo>
                          <a:pt x="107" y="30"/>
                        </a:moveTo>
                        <a:cubicBezTo>
                          <a:pt x="107" y="30"/>
                          <a:pt x="107" y="30"/>
                          <a:pt x="107" y="30"/>
                        </a:cubicBezTo>
                        <a:cubicBezTo>
                          <a:pt x="107" y="31"/>
                          <a:pt x="107" y="30"/>
                          <a:pt x="107" y="30"/>
                        </a:cubicBezTo>
                        <a:close/>
                        <a:moveTo>
                          <a:pt x="105" y="35"/>
                        </a:moveTo>
                        <a:cubicBezTo>
                          <a:pt x="106" y="35"/>
                          <a:pt x="106" y="35"/>
                          <a:pt x="106" y="35"/>
                        </a:cubicBezTo>
                        <a:cubicBezTo>
                          <a:pt x="106" y="36"/>
                          <a:pt x="105" y="35"/>
                          <a:pt x="105" y="35"/>
                        </a:cubicBezTo>
                        <a:close/>
                        <a:moveTo>
                          <a:pt x="107" y="30"/>
                        </a:moveTo>
                        <a:cubicBezTo>
                          <a:pt x="107" y="30"/>
                          <a:pt x="107" y="30"/>
                          <a:pt x="107" y="29"/>
                        </a:cubicBezTo>
                        <a:cubicBezTo>
                          <a:pt x="107" y="29"/>
                          <a:pt x="107" y="29"/>
                          <a:pt x="107" y="30"/>
                        </a:cubicBezTo>
                        <a:close/>
                        <a:moveTo>
                          <a:pt x="106" y="34"/>
                        </a:moveTo>
                        <a:cubicBezTo>
                          <a:pt x="105" y="34"/>
                          <a:pt x="105" y="34"/>
                          <a:pt x="105" y="34"/>
                        </a:cubicBezTo>
                        <a:cubicBezTo>
                          <a:pt x="105" y="34"/>
                          <a:pt x="105" y="34"/>
                          <a:pt x="105" y="34"/>
                        </a:cubicBezTo>
                        <a:cubicBezTo>
                          <a:pt x="105" y="34"/>
                          <a:pt x="105" y="34"/>
                          <a:pt x="106" y="34"/>
                        </a:cubicBezTo>
                        <a:close/>
                        <a:moveTo>
                          <a:pt x="106" y="32"/>
                        </a:moveTo>
                        <a:cubicBezTo>
                          <a:pt x="106" y="32"/>
                          <a:pt x="105" y="32"/>
                          <a:pt x="105" y="31"/>
                        </a:cubicBezTo>
                        <a:cubicBezTo>
                          <a:pt x="106" y="31"/>
                          <a:pt x="106" y="31"/>
                          <a:pt x="106" y="32"/>
                        </a:cubicBezTo>
                        <a:close/>
                        <a:moveTo>
                          <a:pt x="106" y="31"/>
                        </a:moveTo>
                        <a:cubicBezTo>
                          <a:pt x="106" y="30"/>
                          <a:pt x="106" y="31"/>
                          <a:pt x="106" y="31"/>
                        </a:cubicBezTo>
                        <a:cubicBezTo>
                          <a:pt x="106" y="31"/>
                          <a:pt x="106" y="31"/>
                          <a:pt x="106" y="31"/>
                        </a:cubicBezTo>
                        <a:close/>
                        <a:moveTo>
                          <a:pt x="106" y="28"/>
                        </a:moveTo>
                        <a:cubicBezTo>
                          <a:pt x="106" y="28"/>
                          <a:pt x="107" y="28"/>
                          <a:pt x="107" y="28"/>
                        </a:cubicBezTo>
                        <a:cubicBezTo>
                          <a:pt x="107" y="28"/>
                          <a:pt x="106" y="28"/>
                          <a:pt x="106" y="28"/>
                        </a:cubicBezTo>
                        <a:close/>
                        <a:moveTo>
                          <a:pt x="104" y="35"/>
                        </a:moveTo>
                        <a:cubicBezTo>
                          <a:pt x="104" y="35"/>
                          <a:pt x="104" y="35"/>
                          <a:pt x="104" y="36"/>
                        </a:cubicBezTo>
                        <a:cubicBezTo>
                          <a:pt x="104" y="36"/>
                          <a:pt x="104" y="35"/>
                          <a:pt x="104" y="35"/>
                        </a:cubicBezTo>
                        <a:close/>
                        <a:moveTo>
                          <a:pt x="103" y="38"/>
                        </a:moveTo>
                        <a:cubicBezTo>
                          <a:pt x="103" y="38"/>
                          <a:pt x="103" y="38"/>
                          <a:pt x="103" y="38"/>
                        </a:cubicBezTo>
                        <a:cubicBezTo>
                          <a:pt x="103" y="38"/>
                          <a:pt x="103" y="38"/>
                          <a:pt x="103" y="38"/>
                        </a:cubicBezTo>
                        <a:cubicBezTo>
                          <a:pt x="103" y="38"/>
                          <a:pt x="103" y="38"/>
                          <a:pt x="103" y="38"/>
                        </a:cubicBezTo>
                        <a:close/>
                        <a:moveTo>
                          <a:pt x="104" y="33"/>
                        </a:moveTo>
                        <a:cubicBezTo>
                          <a:pt x="104" y="33"/>
                          <a:pt x="104" y="33"/>
                          <a:pt x="104" y="33"/>
                        </a:cubicBezTo>
                        <a:cubicBezTo>
                          <a:pt x="103" y="33"/>
                          <a:pt x="103" y="33"/>
                          <a:pt x="103" y="33"/>
                        </a:cubicBezTo>
                        <a:cubicBezTo>
                          <a:pt x="103" y="33"/>
                          <a:pt x="103" y="33"/>
                          <a:pt x="103" y="33"/>
                        </a:cubicBezTo>
                        <a:cubicBezTo>
                          <a:pt x="103" y="33"/>
                          <a:pt x="103" y="33"/>
                          <a:pt x="103" y="33"/>
                        </a:cubicBezTo>
                        <a:cubicBezTo>
                          <a:pt x="103" y="33"/>
                          <a:pt x="103" y="33"/>
                          <a:pt x="103" y="33"/>
                        </a:cubicBezTo>
                        <a:cubicBezTo>
                          <a:pt x="103" y="33"/>
                          <a:pt x="103" y="33"/>
                          <a:pt x="103" y="33"/>
                        </a:cubicBezTo>
                        <a:cubicBezTo>
                          <a:pt x="103" y="33"/>
                          <a:pt x="103" y="33"/>
                          <a:pt x="103" y="33"/>
                        </a:cubicBezTo>
                        <a:cubicBezTo>
                          <a:pt x="104" y="33"/>
                          <a:pt x="104" y="33"/>
                          <a:pt x="104" y="33"/>
                        </a:cubicBezTo>
                        <a:cubicBezTo>
                          <a:pt x="104" y="33"/>
                          <a:pt x="104" y="33"/>
                          <a:pt x="104" y="33"/>
                        </a:cubicBezTo>
                        <a:cubicBezTo>
                          <a:pt x="104" y="33"/>
                          <a:pt x="104" y="33"/>
                          <a:pt x="104" y="33"/>
                        </a:cubicBezTo>
                        <a:close/>
                        <a:moveTo>
                          <a:pt x="104" y="35"/>
                        </a:moveTo>
                        <a:cubicBezTo>
                          <a:pt x="104" y="35"/>
                          <a:pt x="104" y="35"/>
                          <a:pt x="103" y="35"/>
                        </a:cubicBezTo>
                        <a:cubicBezTo>
                          <a:pt x="104" y="35"/>
                          <a:pt x="103" y="35"/>
                          <a:pt x="103" y="35"/>
                        </a:cubicBezTo>
                        <a:cubicBezTo>
                          <a:pt x="103" y="35"/>
                          <a:pt x="103" y="35"/>
                          <a:pt x="103" y="35"/>
                        </a:cubicBezTo>
                        <a:cubicBezTo>
                          <a:pt x="103" y="35"/>
                          <a:pt x="103" y="35"/>
                          <a:pt x="103" y="35"/>
                        </a:cubicBezTo>
                        <a:cubicBezTo>
                          <a:pt x="103" y="35"/>
                          <a:pt x="103" y="35"/>
                          <a:pt x="103" y="35"/>
                        </a:cubicBezTo>
                        <a:cubicBezTo>
                          <a:pt x="103" y="35"/>
                          <a:pt x="103" y="35"/>
                          <a:pt x="103" y="35"/>
                        </a:cubicBezTo>
                        <a:cubicBezTo>
                          <a:pt x="103" y="35"/>
                          <a:pt x="103" y="35"/>
                          <a:pt x="104" y="35"/>
                        </a:cubicBezTo>
                        <a:cubicBezTo>
                          <a:pt x="104" y="35"/>
                          <a:pt x="103" y="35"/>
                          <a:pt x="104" y="35"/>
                        </a:cubicBezTo>
                        <a:cubicBezTo>
                          <a:pt x="104" y="35"/>
                          <a:pt x="104" y="35"/>
                          <a:pt x="104" y="35"/>
                        </a:cubicBezTo>
                        <a:close/>
                        <a:moveTo>
                          <a:pt x="103" y="34"/>
                        </a:moveTo>
                        <a:cubicBezTo>
                          <a:pt x="103" y="34"/>
                          <a:pt x="104" y="34"/>
                          <a:pt x="104" y="34"/>
                        </a:cubicBezTo>
                        <a:cubicBezTo>
                          <a:pt x="104" y="34"/>
                          <a:pt x="103" y="34"/>
                          <a:pt x="103" y="34"/>
                        </a:cubicBezTo>
                        <a:cubicBezTo>
                          <a:pt x="103" y="34"/>
                          <a:pt x="103" y="34"/>
                          <a:pt x="103" y="34"/>
                        </a:cubicBezTo>
                        <a:cubicBezTo>
                          <a:pt x="103" y="34"/>
                          <a:pt x="103" y="34"/>
                          <a:pt x="103" y="34"/>
                        </a:cubicBezTo>
                        <a:close/>
                        <a:moveTo>
                          <a:pt x="102" y="36"/>
                        </a:moveTo>
                        <a:cubicBezTo>
                          <a:pt x="102" y="36"/>
                          <a:pt x="102" y="36"/>
                          <a:pt x="103" y="36"/>
                        </a:cubicBezTo>
                        <a:cubicBezTo>
                          <a:pt x="102" y="36"/>
                          <a:pt x="102" y="36"/>
                          <a:pt x="102" y="36"/>
                        </a:cubicBezTo>
                        <a:cubicBezTo>
                          <a:pt x="102" y="36"/>
                          <a:pt x="102" y="36"/>
                          <a:pt x="102" y="36"/>
                        </a:cubicBezTo>
                        <a:cubicBezTo>
                          <a:pt x="102" y="36"/>
                          <a:pt x="102" y="36"/>
                          <a:pt x="102" y="36"/>
                        </a:cubicBezTo>
                        <a:cubicBezTo>
                          <a:pt x="102" y="36"/>
                          <a:pt x="102" y="36"/>
                          <a:pt x="102" y="35"/>
                        </a:cubicBezTo>
                        <a:cubicBezTo>
                          <a:pt x="102" y="35"/>
                          <a:pt x="102" y="36"/>
                          <a:pt x="102" y="36"/>
                        </a:cubicBezTo>
                        <a:close/>
                        <a:moveTo>
                          <a:pt x="104" y="30"/>
                        </a:moveTo>
                        <a:cubicBezTo>
                          <a:pt x="104" y="30"/>
                          <a:pt x="104" y="29"/>
                          <a:pt x="104" y="30"/>
                        </a:cubicBezTo>
                        <a:cubicBezTo>
                          <a:pt x="104" y="29"/>
                          <a:pt x="104" y="30"/>
                          <a:pt x="104" y="30"/>
                        </a:cubicBezTo>
                        <a:close/>
                        <a:moveTo>
                          <a:pt x="103" y="32"/>
                        </a:moveTo>
                        <a:cubicBezTo>
                          <a:pt x="103" y="32"/>
                          <a:pt x="103" y="32"/>
                          <a:pt x="103" y="32"/>
                        </a:cubicBezTo>
                        <a:cubicBezTo>
                          <a:pt x="103" y="32"/>
                          <a:pt x="103" y="32"/>
                          <a:pt x="103" y="32"/>
                        </a:cubicBezTo>
                        <a:close/>
                        <a:moveTo>
                          <a:pt x="103" y="34"/>
                        </a:moveTo>
                        <a:cubicBezTo>
                          <a:pt x="103" y="34"/>
                          <a:pt x="102" y="34"/>
                          <a:pt x="102" y="33"/>
                        </a:cubicBezTo>
                        <a:cubicBezTo>
                          <a:pt x="103" y="33"/>
                          <a:pt x="102" y="34"/>
                          <a:pt x="103" y="34"/>
                        </a:cubicBezTo>
                        <a:close/>
                        <a:moveTo>
                          <a:pt x="103" y="32"/>
                        </a:moveTo>
                        <a:cubicBezTo>
                          <a:pt x="103" y="32"/>
                          <a:pt x="103" y="32"/>
                          <a:pt x="103" y="32"/>
                        </a:cubicBezTo>
                        <a:cubicBezTo>
                          <a:pt x="102" y="32"/>
                          <a:pt x="102" y="32"/>
                          <a:pt x="102" y="32"/>
                        </a:cubicBezTo>
                        <a:cubicBezTo>
                          <a:pt x="102" y="32"/>
                          <a:pt x="102" y="32"/>
                          <a:pt x="101" y="32"/>
                        </a:cubicBezTo>
                        <a:cubicBezTo>
                          <a:pt x="101" y="32"/>
                          <a:pt x="101" y="32"/>
                          <a:pt x="101" y="31"/>
                        </a:cubicBezTo>
                        <a:cubicBezTo>
                          <a:pt x="102" y="32"/>
                          <a:pt x="102" y="32"/>
                          <a:pt x="103" y="32"/>
                        </a:cubicBezTo>
                        <a:close/>
                        <a:moveTo>
                          <a:pt x="101" y="37"/>
                        </a:moveTo>
                        <a:cubicBezTo>
                          <a:pt x="101" y="37"/>
                          <a:pt x="101" y="37"/>
                          <a:pt x="101" y="37"/>
                        </a:cubicBezTo>
                        <a:cubicBezTo>
                          <a:pt x="101" y="37"/>
                          <a:pt x="101" y="37"/>
                          <a:pt x="101" y="37"/>
                        </a:cubicBezTo>
                        <a:cubicBezTo>
                          <a:pt x="101" y="37"/>
                          <a:pt x="101" y="37"/>
                          <a:pt x="101" y="37"/>
                        </a:cubicBezTo>
                        <a:close/>
                        <a:moveTo>
                          <a:pt x="101" y="36"/>
                        </a:moveTo>
                        <a:cubicBezTo>
                          <a:pt x="102" y="36"/>
                          <a:pt x="102" y="36"/>
                          <a:pt x="102" y="36"/>
                        </a:cubicBezTo>
                        <a:cubicBezTo>
                          <a:pt x="101" y="36"/>
                          <a:pt x="101" y="36"/>
                          <a:pt x="101" y="36"/>
                        </a:cubicBezTo>
                        <a:close/>
                        <a:moveTo>
                          <a:pt x="100" y="37"/>
                        </a:moveTo>
                        <a:cubicBezTo>
                          <a:pt x="99" y="37"/>
                          <a:pt x="98" y="37"/>
                          <a:pt x="98" y="37"/>
                        </a:cubicBezTo>
                        <a:cubicBezTo>
                          <a:pt x="99" y="37"/>
                          <a:pt x="100" y="37"/>
                          <a:pt x="100" y="38"/>
                        </a:cubicBezTo>
                        <a:cubicBezTo>
                          <a:pt x="100" y="38"/>
                          <a:pt x="100" y="38"/>
                          <a:pt x="100" y="37"/>
                        </a:cubicBezTo>
                        <a:close/>
                        <a:moveTo>
                          <a:pt x="102" y="29"/>
                        </a:moveTo>
                        <a:cubicBezTo>
                          <a:pt x="102" y="29"/>
                          <a:pt x="102" y="29"/>
                          <a:pt x="103" y="29"/>
                        </a:cubicBezTo>
                        <a:cubicBezTo>
                          <a:pt x="102" y="29"/>
                          <a:pt x="102" y="29"/>
                          <a:pt x="102" y="29"/>
                        </a:cubicBezTo>
                        <a:close/>
                        <a:moveTo>
                          <a:pt x="101" y="35"/>
                        </a:moveTo>
                        <a:cubicBezTo>
                          <a:pt x="100" y="35"/>
                          <a:pt x="100" y="35"/>
                          <a:pt x="100" y="34"/>
                        </a:cubicBezTo>
                        <a:cubicBezTo>
                          <a:pt x="100" y="34"/>
                          <a:pt x="101" y="35"/>
                          <a:pt x="101" y="34"/>
                        </a:cubicBezTo>
                        <a:cubicBezTo>
                          <a:pt x="101" y="35"/>
                          <a:pt x="101" y="35"/>
                          <a:pt x="101" y="35"/>
                        </a:cubicBezTo>
                        <a:close/>
                        <a:moveTo>
                          <a:pt x="101" y="30"/>
                        </a:moveTo>
                        <a:cubicBezTo>
                          <a:pt x="101" y="30"/>
                          <a:pt x="101" y="30"/>
                          <a:pt x="101" y="30"/>
                        </a:cubicBezTo>
                        <a:cubicBezTo>
                          <a:pt x="101" y="31"/>
                          <a:pt x="101" y="30"/>
                          <a:pt x="100" y="30"/>
                        </a:cubicBezTo>
                        <a:cubicBezTo>
                          <a:pt x="100" y="30"/>
                          <a:pt x="101" y="30"/>
                          <a:pt x="101" y="30"/>
                        </a:cubicBezTo>
                        <a:close/>
                        <a:moveTo>
                          <a:pt x="101" y="30"/>
                        </a:moveTo>
                        <a:cubicBezTo>
                          <a:pt x="101" y="30"/>
                          <a:pt x="101" y="30"/>
                          <a:pt x="100" y="30"/>
                        </a:cubicBezTo>
                        <a:cubicBezTo>
                          <a:pt x="100" y="30"/>
                          <a:pt x="100" y="30"/>
                          <a:pt x="100" y="30"/>
                        </a:cubicBezTo>
                        <a:cubicBezTo>
                          <a:pt x="100" y="30"/>
                          <a:pt x="100" y="30"/>
                          <a:pt x="100" y="30"/>
                        </a:cubicBezTo>
                        <a:cubicBezTo>
                          <a:pt x="100" y="30"/>
                          <a:pt x="100" y="30"/>
                          <a:pt x="101" y="30"/>
                        </a:cubicBezTo>
                        <a:close/>
                        <a:moveTo>
                          <a:pt x="96" y="37"/>
                        </a:moveTo>
                        <a:cubicBezTo>
                          <a:pt x="96" y="36"/>
                          <a:pt x="97" y="37"/>
                          <a:pt x="96" y="37"/>
                        </a:cubicBezTo>
                        <a:close/>
                        <a:moveTo>
                          <a:pt x="98" y="33"/>
                        </a:moveTo>
                        <a:cubicBezTo>
                          <a:pt x="98" y="33"/>
                          <a:pt x="97" y="33"/>
                          <a:pt x="97" y="33"/>
                        </a:cubicBezTo>
                        <a:cubicBezTo>
                          <a:pt x="97" y="33"/>
                          <a:pt x="97" y="32"/>
                          <a:pt x="97" y="32"/>
                        </a:cubicBezTo>
                        <a:cubicBezTo>
                          <a:pt x="97" y="32"/>
                          <a:pt x="97" y="33"/>
                          <a:pt x="98" y="33"/>
                        </a:cubicBezTo>
                        <a:close/>
                        <a:moveTo>
                          <a:pt x="98" y="30"/>
                        </a:moveTo>
                        <a:cubicBezTo>
                          <a:pt x="98" y="30"/>
                          <a:pt x="98" y="30"/>
                          <a:pt x="98" y="30"/>
                        </a:cubicBezTo>
                        <a:cubicBezTo>
                          <a:pt x="98" y="31"/>
                          <a:pt x="98" y="30"/>
                          <a:pt x="98" y="30"/>
                        </a:cubicBezTo>
                        <a:close/>
                        <a:moveTo>
                          <a:pt x="97" y="34"/>
                        </a:moveTo>
                        <a:cubicBezTo>
                          <a:pt x="97" y="34"/>
                          <a:pt x="96" y="34"/>
                          <a:pt x="97" y="34"/>
                        </a:cubicBezTo>
                        <a:cubicBezTo>
                          <a:pt x="97" y="34"/>
                          <a:pt x="97" y="34"/>
                          <a:pt x="97" y="34"/>
                        </a:cubicBezTo>
                        <a:close/>
                        <a:moveTo>
                          <a:pt x="98" y="28"/>
                        </a:moveTo>
                        <a:cubicBezTo>
                          <a:pt x="98" y="28"/>
                          <a:pt x="98" y="28"/>
                          <a:pt x="98" y="28"/>
                        </a:cubicBezTo>
                        <a:cubicBezTo>
                          <a:pt x="98" y="28"/>
                          <a:pt x="98" y="29"/>
                          <a:pt x="98" y="28"/>
                        </a:cubicBezTo>
                        <a:close/>
                        <a:moveTo>
                          <a:pt x="96" y="30"/>
                        </a:moveTo>
                        <a:cubicBezTo>
                          <a:pt x="96" y="30"/>
                          <a:pt x="96" y="30"/>
                          <a:pt x="96" y="30"/>
                        </a:cubicBezTo>
                        <a:cubicBezTo>
                          <a:pt x="96" y="30"/>
                          <a:pt x="97" y="30"/>
                          <a:pt x="97" y="30"/>
                        </a:cubicBezTo>
                        <a:cubicBezTo>
                          <a:pt x="97" y="30"/>
                          <a:pt x="97" y="30"/>
                          <a:pt x="98" y="31"/>
                        </a:cubicBezTo>
                        <a:cubicBezTo>
                          <a:pt x="97" y="31"/>
                          <a:pt x="97" y="30"/>
                          <a:pt x="96" y="30"/>
                        </a:cubicBezTo>
                        <a:close/>
                        <a:moveTo>
                          <a:pt x="97" y="29"/>
                        </a:moveTo>
                        <a:cubicBezTo>
                          <a:pt x="97" y="29"/>
                          <a:pt x="97" y="29"/>
                          <a:pt x="97" y="29"/>
                        </a:cubicBezTo>
                        <a:cubicBezTo>
                          <a:pt x="98" y="29"/>
                          <a:pt x="97" y="30"/>
                          <a:pt x="97" y="29"/>
                        </a:cubicBezTo>
                        <a:close/>
                        <a:moveTo>
                          <a:pt x="96" y="32"/>
                        </a:moveTo>
                        <a:cubicBezTo>
                          <a:pt x="96" y="32"/>
                          <a:pt x="96" y="32"/>
                          <a:pt x="96" y="32"/>
                        </a:cubicBezTo>
                        <a:cubicBezTo>
                          <a:pt x="96" y="32"/>
                          <a:pt x="96" y="32"/>
                          <a:pt x="96" y="32"/>
                        </a:cubicBezTo>
                        <a:cubicBezTo>
                          <a:pt x="97" y="32"/>
                          <a:pt x="97" y="32"/>
                          <a:pt x="97" y="32"/>
                        </a:cubicBezTo>
                        <a:cubicBezTo>
                          <a:pt x="97" y="32"/>
                          <a:pt x="96" y="32"/>
                          <a:pt x="96" y="32"/>
                        </a:cubicBezTo>
                        <a:close/>
                        <a:moveTo>
                          <a:pt x="96" y="32"/>
                        </a:moveTo>
                        <a:cubicBezTo>
                          <a:pt x="96" y="32"/>
                          <a:pt x="96" y="32"/>
                          <a:pt x="96" y="32"/>
                        </a:cubicBezTo>
                        <a:cubicBezTo>
                          <a:pt x="96" y="33"/>
                          <a:pt x="96" y="32"/>
                          <a:pt x="96" y="32"/>
                        </a:cubicBezTo>
                        <a:close/>
                        <a:moveTo>
                          <a:pt x="96" y="31"/>
                        </a:moveTo>
                        <a:cubicBezTo>
                          <a:pt x="96" y="31"/>
                          <a:pt x="96" y="31"/>
                          <a:pt x="97" y="31"/>
                        </a:cubicBezTo>
                        <a:cubicBezTo>
                          <a:pt x="97" y="31"/>
                          <a:pt x="96" y="31"/>
                          <a:pt x="96" y="31"/>
                        </a:cubicBezTo>
                        <a:close/>
                        <a:moveTo>
                          <a:pt x="94" y="36"/>
                        </a:moveTo>
                        <a:cubicBezTo>
                          <a:pt x="94" y="36"/>
                          <a:pt x="94" y="36"/>
                          <a:pt x="95" y="36"/>
                        </a:cubicBezTo>
                        <a:cubicBezTo>
                          <a:pt x="94" y="36"/>
                          <a:pt x="94" y="36"/>
                          <a:pt x="94" y="36"/>
                        </a:cubicBezTo>
                        <a:close/>
                        <a:moveTo>
                          <a:pt x="98" y="26"/>
                        </a:moveTo>
                        <a:cubicBezTo>
                          <a:pt x="98" y="26"/>
                          <a:pt x="97" y="25"/>
                          <a:pt x="97" y="25"/>
                        </a:cubicBezTo>
                        <a:cubicBezTo>
                          <a:pt x="97" y="25"/>
                          <a:pt x="97" y="25"/>
                          <a:pt x="98" y="25"/>
                        </a:cubicBezTo>
                        <a:cubicBezTo>
                          <a:pt x="97" y="26"/>
                          <a:pt x="97" y="26"/>
                          <a:pt x="98" y="26"/>
                        </a:cubicBezTo>
                        <a:close/>
                        <a:moveTo>
                          <a:pt x="96" y="32"/>
                        </a:moveTo>
                        <a:cubicBezTo>
                          <a:pt x="96" y="32"/>
                          <a:pt x="96" y="32"/>
                          <a:pt x="96" y="32"/>
                        </a:cubicBezTo>
                        <a:cubicBezTo>
                          <a:pt x="96" y="31"/>
                          <a:pt x="96" y="32"/>
                          <a:pt x="95" y="31"/>
                        </a:cubicBezTo>
                        <a:cubicBezTo>
                          <a:pt x="95" y="31"/>
                          <a:pt x="96" y="32"/>
                          <a:pt x="96" y="31"/>
                        </a:cubicBezTo>
                        <a:cubicBezTo>
                          <a:pt x="96" y="31"/>
                          <a:pt x="96" y="32"/>
                          <a:pt x="96" y="32"/>
                        </a:cubicBezTo>
                        <a:close/>
                        <a:moveTo>
                          <a:pt x="97" y="27"/>
                        </a:moveTo>
                        <a:cubicBezTo>
                          <a:pt x="97" y="27"/>
                          <a:pt x="96" y="27"/>
                          <a:pt x="97" y="27"/>
                        </a:cubicBezTo>
                        <a:cubicBezTo>
                          <a:pt x="97" y="27"/>
                          <a:pt x="97" y="27"/>
                          <a:pt x="97" y="27"/>
                        </a:cubicBezTo>
                        <a:cubicBezTo>
                          <a:pt x="97" y="27"/>
                          <a:pt x="97" y="27"/>
                          <a:pt x="97" y="27"/>
                        </a:cubicBezTo>
                        <a:close/>
                        <a:moveTo>
                          <a:pt x="96" y="29"/>
                        </a:moveTo>
                        <a:cubicBezTo>
                          <a:pt x="96" y="29"/>
                          <a:pt x="96" y="29"/>
                          <a:pt x="96" y="29"/>
                        </a:cubicBezTo>
                        <a:cubicBezTo>
                          <a:pt x="96" y="29"/>
                          <a:pt x="97" y="29"/>
                          <a:pt x="96" y="29"/>
                        </a:cubicBezTo>
                        <a:close/>
                        <a:moveTo>
                          <a:pt x="94" y="34"/>
                        </a:moveTo>
                        <a:cubicBezTo>
                          <a:pt x="94" y="35"/>
                          <a:pt x="94" y="35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lose/>
                        <a:moveTo>
                          <a:pt x="95" y="30"/>
                        </a:moveTo>
                        <a:cubicBezTo>
                          <a:pt x="95" y="30"/>
                          <a:pt x="95" y="30"/>
                          <a:pt x="95" y="30"/>
                        </a:cubicBezTo>
                        <a:cubicBezTo>
                          <a:pt x="95" y="30"/>
                          <a:pt x="95" y="30"/>
                          <a:pt x="95" y="30"/>
                        </a:cubicBezTo>
                        <a:close/>
                        <a:moveTo>
                          <a:pt x="95" y="30"/>
                        </a:moveTo>
                        <a:cubicBezTo>
                          <a:pt x="95" y="30"/>
                          <a:pt x="95" y="31"/>
                          <a:pt x="95" y="31"/>
                        </a:cubicBezTo>
                        <a:cubicBezTo>
                          <a:pt x="95" y="31"/>
                          <a:pt x="95" y="31"/>
                          <a:pt x="95" y="30"/>
                        </a:cubicBezTo>
                        <a:close/>
                        <a:moveTo>
                          <a:pt x="95" y="26"/>
                        </a:moveTo>
                        <a:cubicBezTo>
                          <a:pt x="96" y="26"/>
                          <a:pt x="96" y="26"/>
                          <a:pt x="96" y="26"/>
                        </a:cubicBezTo>
                        <a:cubicBezTo>
                          <a:pt x="96" y="26"/>
                          <a:pt x="96" y="26"/>
                          <a:pt x="95" y="26"/>
                        </a:cubicBezTo>
                        <a:close/>
                        <a:moveTo>
                          <a:pt x="93" y="34"/>
                        </a:moveTo>
                        <a:cubicBezTo>
                          <a:pt x="93" y="34"/>
                          <a:pt x="93" y="34"/>
                          <a:pt x="93" y="34"/>
                        </a:cubicBezTo>
                        <a:cubicBezTo>
                          <a:pt x="93" y="34"/>
                          <a:pt x="93" y="34"/>
                          <a:pt x="94" y="34"/>
                        </a:cubicBezTo>
                        <a:cubicBezTo>
                          <a:pt x="93" y="34"/>
                          <a:pt x="93" y="34"/>
                          <a:pt x="94" y="34"/>
                        </a:cubicBezTo>
                        <a:cubicBezTo>
                          <a:pt x="94" y="35"/>
                          <a:pt x="93" y="34"/>
                          <a:pt x="93" y="34"/>
                        </a:cubicBezTo>
                        <a:cubicBezTo>
                          <a:pt x="93" y="34"/>
                          <a:pt x="93" y="34"/>
                          <a:pt x="93" y="34"/>
                        </a:cubicBezTo>
                        <a:cubicBezTo>
                          <a:pt x="93" y="34"/>
                          <a:pt x="93" y="34"/>
                          <a:pt x="93" y="34"/>
                        </a:cubicBezTo>
                        <a:close/>
                        <a:moveTo>
                          <a:pt x="95" y="27"/>
                        </a:moveTo>
                        <a:cubicBezTo>
                          <a:pt x="95" y="27"/>
                          <a:pt x="95" y="27"/>
                          <a:pt x="95" y="27"/>
                        </a:cubicBezTo>
                        <a:cubicBezTo>
                          <a:pt x="95" y="27"/>
                          <a:pt x="95" y="27"/>
                          <a:pt x="96" y="27"/>
                        </a:cubicBezTo>
                        <a:cubicBezTo>
                          <a:pt x="96" y="27"/>
                          <a:pt x="95" y="27"/>
                          <a:pt x="95" y="27"/>
                        </a:cubicBezTo>
                        <a:close/>
                        <a:moveTo>
                          <a:pt x="96" y="24"/>
                        </a:moveTo>
                        <a:cubicBezTo>
                          <a:pt x="96" y="24"/>
                          <a:pt x="96" y="24"/>
                          <a:pt x="96" y="24"/>
                        </a:cubicBezTo>
                        <a:cubicBezTo>
                          <a:pt x="96" y="24"/>
                          <a:pt x="96" y="24"/>
                          <a:pt x="96" y="24"/>
                        </a:cubicBezTo>
                        <a:cubicBezTo>
                          <a:pt x="96" y="24"/>
                          <a:pt x="96" y="24"/>
                          <a:pt x="96" y="24"/>
                        </a:cubicBezTo>
                        <a:close/>
                        <a:moveTo>
                          <a:pt x="95" y="24"/>
                        </a:moveTo>
                        <a:cubicBezTo>
                          <a:pt x="94" y="24"/>
                          <a:pt x="93" y="24"/>
                          <a:pt x="93" y="24"/>
                        </a:cubicBezTo>
                        <a:cubicBezTo>
                          <a:pt x="94" y="24"/>
                          <a:pt x="94" y="24"/>
                          <a:pt x="95" y="24"/>
                        </a:cubicBezTo>
                        <a:cubicBezTo>
                          <a:pt x="95" y="24"/>
                          <a:pt x="96" y="25"/>
                          <a:pt x="96" y="25"/>
                        </a:cubicBezTo>
                        <a:cubicBezTo>
                          <a:pt x="95" y="25"/>
                          <a:pt x="95" y="24"/>
                          <a:pt x="95" y="24"/>
                        </a:cubicBezTo>
                        <a:close/>
                        <a:moveTo>
                          <a:pt x="95" y="28"/>
                        </a:moveTo>
                        <a:cubicBezTo>
                          <a:pt x="95" y="28"/>
                          <a:pt x="94" y="28"/>
                          <a:pt x="94" y="28"/>
                        </a:cubicBezTo>
                        <a:cubicBezTo>
                          <a:pt x="94" y="28"/>
                          <a:pt x="95" y="28"/>
                          <a:pt x="95" y="28"/>
                        </a:cubicBezTo>
                        <a:close/>
                        <a:moveTo>
                          <a:pt x="95" y="29"/>
                        </a:moveTo>
                        <a:cubicBezTo>
                          <a:pt x="95" y="29"/>
                          <a:pt x="94" y="29"/>
                          <a:pt x="94" y="28"/>
                        </a:cubicBezTo>
                        <a:cubicBezTo>
                          <a:pt x="94" y="28"/>
                          <a:pt x="94" y="28"/>
                          <a:pt x="94" y="28"/>
                        </a:cubicBezTo>
                        <a:cubicBezTo>
                          <a:pt x="94" y="29"/>
                          <a:pt x="94" y="28"/>
                          <a:pt x="95" y="29"/>
                        </a:cubicBezTo>
                        <a:close/>
                        <a:moveTo>
                          <a:pt x="96" y="24"/>
                        </a:moveTo>
                        <a:cubicBezTo>
                          <a:pt x="96" y="24"/>
                          <a:pt x="96" y="24"/>
                          <a:pt x="95" y="24"/>
                        </a:cubicBezTo>
                        <a:cubicBezTo>
                          <a:pt x="95" y="24"/>
                          <a:pt x="96" y="24"/>
                          <a:pt x="96" y="24"/>
                        </a:cubicBezTo>
                        <a:close/>
                        <a:moveTo>
                          <a:pt x="95" y="27"/>
                        </a:moveTo>
                        <a:cubicBezTo>
                          <a:pt x="95" y="26"/>
                          <a:pt x="95" y="27"/>
                          <a:pt x="95" y="27"/>
                        </a:cubicBezTo>
                        <a:cubicBezTo>
                          <a:pt x="95" y="27"/>
                          <a:pt x="95" y="27"/>
                          <a:pt x="95" y="27"/>
                        </a:cubicBezTo>
                        <a:cubicBezTo>
                          <a:pt x="95" y="27"/>
                          <a:pt x="95" y="27"/>
                          <a:pt x="95" y="27"/>
                        </a:cubicBezTo>
                        <a:close/>
                        <a:moveTo>
                          <a:pt x="95" y="27"/>
                        </a:moveTo>
                        <a:cubicBezTo>
                          <a:pt x="95" y="27"/>
                          <a:pt x="95" y="27"/>
                          <a:pt x="95" y="27"/>
                        </a:cubicBezTo>
                        <a:cubicBezTo>
                          <a:pt x="95" y="27"/>
                          <a:pt x="94" y="27"/>
                          <a:pt x="94" y="27"/>
                        </a:cubicBezTo>
                        <a:cubicBezTo>
                          <a:pt x="95" y="27"/>
                          <a:pt x="95" y="27"/>
                          <a:pt x="95" y="27"/>
                        </a:cubicBezTo>
                        <a:cubicBezTo>
                          <a:pt x="95" y="27"/>
                          <a:pt x="95" y="27"/>
                          <a:pt x="95" y="27"/>
                        </a:cubicBezTo>
                        <a:close/>
                        <a:moveTo>
                          <a:pt x="94" y="24"/>
                        </a:moveTo>
                        <a:cubicBezTo>
                          <a:pt x="95" y="24"/>
                          <a:pt x="95" y="24"/>
                          <a:pt x="95" y="25"/>
                        </a:cubicBezTo>
                        <a:cubicBezTo>
                          <a:pt x="95" y="25"/>
                          <a:pt x="95" y="25"/>
                          <a:pt x="95" y="25"/>
                        </a:cubicBezTo>
                        <a:cubicBezTo>
                          <a:pt x="95" y="24"/>
                          <a:pt x="94" y="25"/>
                          <a:pt x="94" y="24"/>
                        </a:cubicBezTo>
                        <a:close/>
                        <a:moveTo>
                          <a:pt x="95" y="25"/>
                        </a:moveTo>
                        <a:cubicBezTo>
                          <a:pt x="95" y="25"/>
                          <a:pt x="95" y="25"/>
                          <a:pt x="95" y="25"/>
                        </a:cubicBezTo>
                        <a:cubicBezTo>
                          <a:pt x="95" y="25"/>
                          <a:pt x="95" y="25"/>
                          <a:pt x="95" y="25"/>
                        </a:cubicBezTo>
                        <a:cubicBezTo>
                          <a:pt x="95" y="25"/>
                          <a:pt x="95" y="25"/>
                          <a:pt x="95" y="25"/>
                        </a:cubicBezTo>
                        <a:close/>
                        <a:moveTo>
                          <a:pt x="93" y="29"/>
                        </a:moveTo>
                        <a:cubicBezTo>
                          <a:pt x="93" y="29"/>
                          <a:pt x="94" y="29"/>
                          <a:pt x="93" y="29"/>
                        </a:cubicBezTo>
                        <a:cubicBezTo>
                          <a:pt x="93" y="29"/>
                          <a:pt x="94" y="29"/>
                          <a:pt x="94" y="29"/>
                        </a:cubicBezTo>
                        <a:cubicBezTo>
                          <a:pt x="94" y="29"/>
                          <a:pt x="94" y="29"/>
                          <a:pt x="94" y="29"/>
                        </a:cubicBezTo>
                        <a:cubicBezTo>
                          <a:pt x="93" y="29"/>
                          <a:pt x="93" y="29"/>
                          <a:pt x="93" y="29"/>
                        </a:cubicBezTo>
                        <a:close/>
                        <a:moveTo>
                          <a:pt x="93" y="31"/>
                        </a:moveTo>
                        <a:cubicBezTo>
                          <a:pt x="93" y="31"/>
                          <a:pt x="93" y="31"/>
                          <a:pt x="93" y="31"/>
                        </a:cubicBezTo>
                        <a:cubicBezTo>
                          <a:pt x="93" y="31"/>
                          <a:pt x="93" y="31"/>
                          <a:pt x="93" y="31"/>
                        </a:cubicBezTo>
                        <a:close/>
                        <a:moveTo>
                          <a:pt x="93" y="30"/>
                        </a:moveTo>
                        <a:cubicBezTo>
                          <a:pt x="93" y="30"/>
                          <a:pt x="93" y="30"/>
                          <a:pt x="93" y="30"/>
                        </a:cubicBezTo>
                        <a:cubicBezTo>
                          <a:pt x="93" y="31"/>
                          <a:pt x="92" y="30"/>
                          <a:pt x="93" y="30"/>
                        </a:cubicBezTo>
                        <a:close/>
                        <a:moveTo>
                          <a:pt x="94" y="28"/>
                        </a:moveTo>
                        <a:cubicBezTo>
                          <a:pt x="94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7"/>
                          <a:pt x="94" y="28"/>
                          <a:pt x="94" y="28"/>
                        </a:cubicBezTo>
                        <a:cubicBezTo>
                          <a:pt x="94" y="28"/>
                          <a:pt x="94" y="28"/>
                          <a:pt x="94" y="28"/>
                        </a:cubicBezTo>
                        <a:close/>
                        <a:moveTo>
                          <a:pt x="93" y="28"/>
                        </a:move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9"/>
                          <a:pt x="93" y="29"/>
                        </a:cubicBezTo>
                        <a:cubicBezTo>
                          <a:pt x="93" y="29"/>
                          <a:pt x="93" y="29"/>
                          <a:pt x="93" y="29"/>
                        </a:cubicBezTo>
                        <a:cubicBezTo>
                          <a:pt x="93" y="29"/>
                          <a:pt x="93" y="29"/>
                          <a:pt x="93" y="28"/>
                        </a:cubicBezTo>
                        <a:close/>
                        <a:moveTo>
                          <a:pt x="93" y="30"/>
                        </a:moveTo>
                        <a:cubicBezTo>
                          <a:pt x="93" y="30"/>
                          <a:pt x="92" y="30"/>
                          <a:pt x="92" y="30"/>
                        </a:cubicBezTo>
                        <a:cubicBezTo>
                          <a:pt x="92" y="30"/>
                          <a:pt x="93" y="30"/>
                          <a:pt x="93" y="30"/>
                        </a:cubicBezTo>
                        <a:close/>
                        <a:moveTo>
                          <a:pt x="93" y="30"/>
                        </a:moveTo>
                        <a:cubicBezTo>
                          <a:pt x="93" y="31"/>
                          <a:pt x="92" y="31"/>
                          <a:pt x="92" y="31"/>
                        </a:cubicBezTo>
                        <a:cubicBezTo>
                          <a:pt x="92" y="31"/>
                          <a:pt x="92" y="30"/>
                          <a:pt x="93" y="30"/>
                        </a:cubicBezTo>
                        <a:close/>
                        <a:moveTo>
                          <a:pt x="94" y="25"/>
                        </a:moveTo>
                        <a:cubicBezTo>
                          <a:pt x="94" y="25"/>
                          <a:pt x="94" y="24"/>
                          <a:pt x="94" y="25"/>
                        </a:cubicBezTo>
                        <a:cubicBezTo>
                          <a:pt x="94" y="25"/>
                          <a:pt x="94" y="25"/>
                          <a:pt x="94" y="25"/>
                        </a:cubicBezTo>
                        <a:close/>
                        <a:moveTo>
                          <a:pt x="94" y="25"/>
                        </a:moveTo>
                        <a:cubicBezTo>
                          <a:pt x="94" y="25"/>
                          <a:pt x="93" y="25"/>
                          <a:pt x="93" y="25"/>
                        </a:cubicBezTo>
                        <a:cubicBezTo>
                          <a:pt x="93" y="25"/>
                          <a:pt x="94" y="25"/>
                          <a:pt x="94" y="25"/>
                        </a:cubicBezTo>
                        <a:close/>
                        <a:moveTo>
                          <a:pt x="92" y="29"/>
                        </a:moveTo>
                        <a:cubicBezTo>
                          <a:pt x="92" y="28"/>
                          <a:pt x="92" y="29"/>
                          <a:pt x="92" y="28"/>
                        </a:cubicBezTo>
                        <a:cubicBezTo>
                          <a:pt x="92" y="28"/>
                          <a:pt x="92" y="28"/>
                          <a:pt x="92" y="28"/>
                        </a:cubicBezTo>
                        <a:cubicBezTo>
                          <a:pt x="92" y="28"/>
                          <a:pt x="92" y="28"/>
                          <a:pt x="92" y="28"/>
                        </a:cubicBezTo>
                        <a:cubicBezTo>
                          <a:pt x="92" y="28"/>
                          <a:pt x="92" y="28"/>
                          <a:pt x="92" y="28"/>
                        </a:cubicBezTo>
                        <a:cubicBezTo>
                          <a:pt x="92" y="28"/>
                          <a:pt x="92" y="28"/>
                          <a:pt x="92" y="28"/>
                        </a:cubicBezTo>
                        <a:cubicBezTo>
                          <a:pt x="92" y="28"/>
                          <a:pt x="92" y="28"/>
                          <a:pt x="92" y="29"/>
                        </a:cubicBezTo>
                        <a:close/>
                        <a:moveTo>
                          <a:pt x="92" y="26"/>
                        </a:moveTo>
                        <a:cubicBezTo>
                          <a:pt x="93" y="26"/>
                          <a:pt x="93" y="26"/>
                          <a:pt x="93" y="26"/>
                        </a:cubicBezTo>
                        <a:cubicBezTo>
                          <a:pt x="93" y="26"/>
                          <a:pt x="93" y="26"/>
                          <a:pt x="93" y="26"/>
                        </a:cubicBezTo>
                        <a:cubicBezTo>
                          <a:pt x="92" y="26"/>
                          <a:pt x="92" y="26"/>
                          <a:pt x="92" y="26"/>
                        </a:cubicBezTo>
                        <a:cubicBezTo>
                          <a:pt x="92" y="26"/>
                          <a:pt x="92" y="26"/>
                          <a:pt x="92" y="25"/>
                        </a:cubicBezTo>
                        <a:cubicBezTo>
                          <a:pt x="92" y="26"/>
                          <a:pt x="92" y="26"/>
                          <a:pt x="93" y="26"/>
                        </a:cubicBezTo>
                        <a:cubicBezTo>
                          <a:pt x="93" y="26"/>
                          <a:pt x="92" y="26"/>
                          <a:pt x="92" y="26"/>
                        </a:cubicBezTo>
                        <a:close/>
                        <a:moveTo>
                          <a:pt x="92" y="26"/>
                        </a:moveTo>
                        <a:cubicBezTo>
                          <a:pt x="92" y="26"/>
                          <a:pt x="92" y="25"/>
                          <a:pt x="92" y="26"/>
                        </a:cubicBezTo>
                        <a:cubicBezTo>
                          <a:pt x="92" y="26"/>
                          <a:pt x="92" y="26"/>
                          <a:pt x="92" y="26"/>
                        </a:cubicBezTo>
                        <a:close/>
                        <a:moveTo>
                          <a:pt x="91" y="29"/>
                        </a:moveTo>
                        <a:cubicBezTo>
                          <a:pt x="91" y="29"/>
                          <a:pt x="91" y="28"/>
                          <a:pt x="91" y="28"/>
                        </a:cubicBezTo>
                        <a:cubicBezTo>
                          <a:pt x="91" y="28"/>
                          <a:pt x="91" y="28"/>
                          <a:pt x="91" y="28"/>
                        </a:cubicBezTo>
                        <a:cubicBezTo>
                          <a:pt x="91" y="28"/>
                          <a:pt x="91" y="28"/>
                          <a:pt x="91" y="28"/>
                        </a:cubicBezTo>
                        <a:cubicBezTo>
                          <a:pt x="91" y="28"/>
                          <a:pt x="91" y="28"/>
                          <a:pt x="92" y="28"/>
                        </a:cubicBezTo>
                        <a:cubicBezTo>
                          <a:pt x="92" y="28"/>
                          <a:pt x="91" y="29"/>
                          <a:pt x="91" y="29"/>
                        </a:cubicBezTo>
                        <a:cubicBezTo>
                          <a:pt x="91" y="29"/>
                          <a:pt x="91" y="29"/>
                          <a:pt x="91" y="29"/>
                        </a:cubicBezTo>
                        <a:close/>
                        <a:moveTo>
                          <a:pt x="93" y="25"/>
                        </a:moveTo>
                        <a:cubicBezTo>
                          <a:pt x="92" y="25"/>
                          <a:pt x="92" y="24"/>
                          <a:pt x="93" y="25"/>
                        </a:cubicBezTo>
                        <a:cubicBezTo>
                          <a:pt x="93" y="25"/>
                          <a:pt x="93" y="25"/>
                          <a:pt x="93" y="25"/>
                        </a:cubicBezTo>
                        <a:close/>
                        <a:moveTo>
                          <a:pt x="90" y="30"/>
                        </a:moveTo>
                        <a:cubicBezTo>
                          <a:pt x="90" y="30"/>
                          <a:pt x="91" y="30"/>
                          <a:pt x="91" y="30"/>
                        </a:cubicBezTo>
                        <a:cubicBezTo>
                          <a:pt x="91" y="31"/>
                          <a:pt x="90" y="30"/>
                          <a:pt x="90" y="30"/>
                        </a:cubicBezTo>
                        <a:close/>
                        <a:moveTo>
                          <a:pt x="90" y="32"/>
                        </a:moveTo>
                        <a:cubicBezTo>
                          <a:pt x="90" y="32"/>
                          <a:pt x="90" y="32"/>
                          <a:pt x="90" y="32"/>
                        </a:cubicBezTo>
                        <a:cubicBezTo>
                          <a:pt x="90" y="32"/>
                          <a:pt x="90" y="31"/>
                          <a:pt x="89" y="31"/>
                        </a:cubicBezTo>
                        <a:cubicBezTo>
                          <a:pt x="89" y="31"/>
                          <a:pt x="89" y="31"/>
                          <a:pt x="89" y="31"/>
                        </a:cubicBezTo>
                        <a:cubicBezTo>
                          <a:pt x="89" y="31"/>
                          <a:pt x="89" y="31"/>
                          <a:pt x="89" y="31"/>
                        </a:cubicBezTo>
                        <a:cubicBezTo>
                          <a:pt x="89" y="31"/>
                          <a:pt x="89" y="31"/>
                          <a:pt x="89" y="31"/>
                        </a:cubicBezTo>
                        <a:cubicBezTo>
                          <a:pt x="90" y="31"/>
                          <a:pt x="90" y="31"/>
                          <a:pt x="90" y="32"/>
                        </a:cubicBezTo>
                        <a:cubicBezTo>
                          <a:pt x="90" y="31"/>
                          <a:pt x="90" y="32"/>
                          <a:pt x="91" y="32"/>
                        </a:cubicBezTo>
                        <a:cubicBezTo>
                          <a:pt x="91" y="32"/>
                          <a:pt x="91" y="32"/>
                          <a:pt x="91" y="32"/>
                        </a:cubicBezTo>
                        <a:cubicBezTo>
                          <a:pt x="91" y="32"/>
                          <a:pt x="91" y="32"/>
                          <a:pt x="92" y="32"/>
                        </a:cubicBezTo>
                        <a:cubicBezTo>
                          <a:pt x="91" y="32"/>
                          <a:pt x="92" y="32"/>
                          <a:pt x="93" y="32"/>
                        </a:cubicBezTo>
                        <a:cubicBezTo>
                          <a:pt x="93" y="33"/>
                          <a:pt x="93" y="33"/>
                          <a:pt x="93" y="33"/>
                        </a:cubicBezTo>
                        <a:cubicBezTo>
                          <a:pt x="92" y="32"/>
                          <a:pt x="91" y="32"/>
                          <a:pt x="90" y="32"/>
                        </a:cubicBezTo>
                        <a:cubicBezTo>
                          <a:pt x="90" y="32"/>
                          <a:pt x="90" y="32"/>
                          <a:pt x="90" y="32"/>
                        </a:cubicBezTo>
                        <a:cubicBezTo>
                          <a:pt x="90" y="32"/>
                          <a:pt x="90" y="32"/>
                          <a:pt x="90" y="32"/>
                        </a:cubicBezTo>
                        <a:cubicBezTo>
                          <a:pt x="90" y="32"/>
                          <a:pt x="90" y="32"/>
                          <a:pt x="90" y="32"/>
                        </a:cubicBezTo>
                        <a:close/>
                        <a:moveTo>
                          <a:pt x="92" y="24"/>
                        </a:moveTo>
                        <a:cubicBezTo>
                          <a:pt x="92" y="24"/>
                          <a:pt x="92" y="24"/>
                          <a:pt x="92" y="24"/>
                        </a:cubicBezTo>
                        <a:cubicBezTo>
                          <a:pt x="92" y="25"/>
                          <a:pt x="92" y="24"/>
                          <a:pt x="92" y="25"/>
                        </a:cubicBezTo>
                        <a:cubicBezTo>
                          <a:pt x="92" y="25"/>
                          <a:pt x="92" y="24"/>
                          <a:pt x="92" y="24"/>
                        </a:cubicBezTo>
                        <a:cubicBezTo>
                          <a:pt x="92" y="24"/>
                          <a:pt x="92" y="24"/>
                          <a:pt x="92" y="24"/>
                        </a:cubicBezTo>
                        <a:close/>
                        <a:moveTo>
                          <a:pt x="91" y="29"/>
                        </a:moveTo>
                        <a:cubicBezTo>
                          <a:pt x="91" y="29"/>
                          <a:pt x="91" y="29"/>
                          <a:pt x="91" y="29"/>
                        </a:cubicBezTo>
                        <a:cubicBezTo>
                          <a:pt x="91" y="29"/>
                          <a:pt x="91" y="29"/>
                          <a:pt x="91" y="29"/>
                        </a:cubicBezTo>
                        <a:close/>
                        <a:moveTo>
                          <a:pt x="92" y="23"/>
                        </a:moveTo>
                        <a:cubicBezTo>
                          <a:pt x="92" y="23"/>
                          <a:pt x="92" y="23"/>
                          <a:pt x="92" y="23"/>
                        </a:cubicBezTo>
                        <a:cubicBezTo>
                          <a:pt x="92" y="23"/>
                          <a:pt x="92" y="23"/>
                          <a:pt x="92" y="23"/>
                        </a:cubicBezTo>
                        <a:close/>
                        <a:moveTo>
                          <a:pt x="92" y="24"/>
                        </a:moveTo>
                        <a:cubicBezTo>
                          <a:pt x="92" y="24"/>
                          <a:pt x="91" y="24"/>
                          <a:pt x="91" y="23"/>
                        </a:cubicBezTo>
                        <a:cubicBezTo>
                          <a:pt x="92" y="24"/>
                          <a:pt x="92" y="24"/>
                          <a:pt x="92" y="24"/>
                        </a:cubicBezTo>
                        <a:cubicBezTo>
                          <a:pt x="92" y="24"/>
                          <a:pt x="92" y="24"/>
                          <a:pt x="92" y="24"/>
                        </a:cubicBezTo>
                        <a:close/>
                        <a:moveTo>
                          <a:pt x="91" y="28"/>
                        </a:moveTo>
                        <a:cubicBezTo>
                          <a:pt x="91" y="29"/>
                          <a:pt x="91" y="29"/>
                          <a:pt x="91" y="29"/>
                        </a:cubicBezTo>
                        <a:cubicBezTo>
                          <a:pt x="90" y="29"/>
                          <a:pt x="90" y="28"/>
                          <a:pt x="91" y="28"/>
                        </a:cubicBezTo>
                        <a:close/>
                        <a:moveTo>
                          <a:pt x="90" y="27"/>
                        </a:moveTo>
                        <a:cubicBezTo>
                          <a:pt x="90" y="27"/>
                          <a:pt x="91" y="27"/>
                          <a:pt x="91" y="27"/>
                        </a:cubicBezTo>
                        <a:cubicBezTo>
                          <a:pt x="90" y="27"/>
                          <a:pt x="90" y="27"/>
                          <a:pt x="90" y="27"/>
                        </a:cubicBezTo>
                        <a:cubicBezTo>
                          <a:pt x="90" y="27"/>
                          <a:pt x="90" y="27"/>
                          <a:pt x="91" y="27"/>
                        </a:cubicBezTo>
                        <a:cubicBezTo>
                          <a:pt x="91" y="27"/>
                          <a:pt x="91" y="27"/>
                          <a:pt x="91" y="27"/>
                        </a:cubicBezTo>
                        <a:cubicBezTo>
                          <a:pt x="90" y="27"/>
                          <a:pt x="91" y="27"/>
                          <a:pt x="90" y="27"/>
                        </a:cubicBezTo>
                        <a:close/>
                        <a:moveTo>
                          <a:pt x="89" y="31"/>
                        </a:moveTo>
                        <a:cubicBezTo>
                          <a:pt x="89" y="30"/>
                          <a:pt x="89" y="30"/>
                          <a:pt x="89" y="31"/>
                        </a:cubicBezTo>
                        <a:cubicBezTo>
                          <a:pt x="89" y="30"/>
                          <a:pt x="89" y="30"/>
                          <a:pt x="89" y="30"/>
                        </a:cubicBezTo>
                        <a:cubicBezTo>
                          <a:pt x="89" y="30"/>
                          <a:pt x="90" y="31"/>
                          <a:pt x="90" y="31"/>
                        </a:cubicBezTo>
                        <a:cubicBezTo>
                          <a:pt x="89" y="31"/>
                          <a:pt x="89" y="31"/>
                          <a:pt x="89" y="31"/>
                        </a:cubicBezTo>
                        <a:cubicBezTo>
                          <a:pt x="89" y="31"/>
                          <a:pt x="88" y="31"/>
                          <a:pt x="89" y="30"/>
                        </a:cubicBezTo>
                        <a:cubicBezTo>
                          <a:pt x="89" y="30"/>
                          <a:pt x="89" y="31"/>
                          <a:pt x="89" y="31"/>
                        </a:cubicBezTo>
                        <a:close/>
                        <a:moveTo>
                          <a:pt x="90" y="28"/>
                        </a:moveTo>
                        <a:cubicBezTo>
                          <a:pt x="90" y="28"/>
                          <a:pt x="90" y="28"/>
                          <a:pt x="90" y="28"/>
                        </a:cubicBezTo>
                        <a:cubicBezTo>
                          <a:pt x="90" y="28"/>
                          <a:pt x="90" y="29"/>
                          <a:pt x="90" y="28"/>
                        </a:cubicBezTo>
                        <a:cubicBezTo>
                          <a:pt x="90" y="28"/>
                          <a:pt x="90" y="29"/>
                          <a:pt x="90" y="29"/>
                        </a:cubicBezTo>
                        <a:cubicBezTo>
                          <a:pt x="90" y="29"/>
                          <a:pt x="90" y="28"/>
                          <a:pt x="90" y="28"/>
                        </a:cubicBezTo>
                        <a:close/>
                        <a:moveTo>
                          <a:pt x="90" y="25"/>
                        </a:moveTo>
                        <a:cubicBezTo>
                          <a:pt x="91" y="25"/>
                          <a:pt x="90" y="25"/>
                          <a:pt x="91" y="25"/>
                        </a:cubicBezTo>
                        <a:cubicBezTo>
                          <a:pt x="91" y="25"/>
                          <a:pt x="90" y="25"/>
                          <a:pt x="90" y="25"/>
                        </a:cubicBezTo>
                        <a:cubicBezTo>
                          <a:pt x="90" y="25"/>
                          <a:pt x="90" y="25"/>
                          <a:pt x="90" y="25"/>
                        </a:cubicBezTo>
                        <a:close/>
                        <a:moveTo>
                          <a:pt x="91" y="23"/>
                        </a:moveTo>
                        <a:cubicBezTo>
                          <a:pt x="91" y="23"/>
                          <a:pt x="91" y="23"/>
                          <a:pt x="91" y="23"/>
                        </a:cubicBezTo>
                        <a:cubicBezTo>
                          <a:pt x="91" y="24"/>
                          <a:pt x="90" y="23"/>
                          <a:pt x="91" y="23"/>
                        </a:cubicBezTo>
                        <a:close/>
                        <a:moveTo>
                          <a:pt x="90" y="25"/>
                        </a:moveTo>
                        <a:cubicBezTo>
                          <a:pt x="90" y="25"/>
                          <a:pt x="90" y="25"/>
                          <a:pt x="90" y="25"/>
                        </a:cubicBezTo>
                        <a:cubicBezTo>
                          <a:pt x="90" y="25"/>
                          <a:pt x="90" y="25"/>
                          <a:pt x="90" y="25"/>
                        </a:cubicBezTo>
                        <a:close/>
                        <a:moveTo>
                          <a:pt x="88" y="28"/>
                        </a:moveTo>
                        <a:cubicBezTo>
                          <a:pt x="88" y="28"/>
                          <a:pt x="88" y="28"/>
                          <a:pt x="89" y="28"/>
                        </a:cubicBezTo>
                        <a:cubicBezTo>
                          <a:pt x="89" y="28"/>
                          <a:pt x="89" y="28"/>
                          <a:pt x="88" y="28"/>
                        </a:cubicBezTo>
                        <a:cubicBezTo>
                          <a:pt x="88" y="28"/>
                          <a:pt x="88" y="28"/>
                          <a:pt x="89" y="28"/>
                        </a:cubicBezTo>
                        <a:cubicBezTo>
                          <a:pt x="88" y="29"/>
                          <a:pt x="88" y="28"/>
                          <a:pt x="88" y="28"/>
                        </a:cubicBezTo>
                        <a:cubicBezTo>
                          <a:pt x="88" y="28"/>
                          <a:pt x="88" y="28"/>
                          <a:pt x="88" y="28"/>
                        </a:cubicBezTo>
                        <a:close/>
                        <a:moveTo>
                          <a:pt x="88" y="29"/>
                        </a:moveTo>
                        <a:cubicBezTo>
                          <a:pt x="88" y="29"/>
                          <a:pt x="88" y="29"/>
                          <a:pt x="89" y="29"/>
                        </a:cubicBezTo>
                        <a:cubicBezTo>
                          <a:pt x="88" y="29"/>
                          <a:pt x="88" y="29"/>
                          <a:pt x="88" y="29"/>
                        </a:cubicBezTo>
                        <a:close/>
                        <a:moveTo>
                          <a:pt x="90" y="23"/>
                        </a:moveTo>
                        <a:cubicBezTo>
                          <a:pt x="90" y="23"/>
                          <a:pt x="90" y="23"/>
                          <a:pt x="90" y="23"/>
                        </a:cubicBezTo>
                        <a:cubicBezTo>
                          <a:pt x="90" y="23"/>
                          <a:pt x="90" y="23"/>
                          <a:pt x="90" y="23"/>
                        </a:cubicBezTo>
                        <a:cubicBezTo>
                          <a:pt x="90" y="23"/>
                          <a:pt x="90" y="23"/>
                          <a:pt x="90" y="23"/>
                        </a:cubicBezTo>
                        <a:close/>
                        <a:moveTo>
                          <a:pt x="88" y="29"/>
                        </a:moveTo>
                        <a:cubicBezTo>
                          <a:pt x="88" y="29"/>
                          <a:pt x="87" y="29"/>
                          <a:pt x="87" y="29"/>
                        </a:cubicBezTo>
                        <a:cubicBezTo>
                          <a:pt x="87" y="29"/>
                          <a:pt x="88" y="29"/>
                          <a:pt x="88" y="29"/>
                        </a:cubicBezTo>
                        <a:close/>
                        <a:moveTo>
                          <a:pt x="88" y="28"/>
                        </a:moveTo>
                        <a:cubicBezTo>
                          <a:pt x="88" y="28"/>
                          <a:pt x="88" y="28"/>
                          <a:pt x="88" y="28"/>
                        </a:cubicBezTo>
                        <a:cubicBezTo>
                          <a:pt x="87" y="28"/>
                          <a:pt x="87" y="28"/>
                          <a:pt x="86" y="27"/>
                        </a:cubicBezTo>
                        <a:cubicBezTo>
                          <a:pt x="87" y="27"/>
                          <a:pt x="88" y="28"/>
                          <a:pt x="88" y="28"/>
                        </a:cubicBezTo>
                        <a:close/>
                        <a:moveTo>
                          <a:pt x="88" y="25"/>
                        </a:moveTo>
                        <a:cubicBezTo>
                          <a:pt x="88" y="25"/>
                          <a:pt x="88" y="25"/>
                          <a:pt x="89" y="25"/>
                        </a:cubicBezTo>
                        <a:cubicBezTo>
                          <a:pt x="88" y="25"/>
                          <a:pt x="88" y="25"/>
                          <a:pt x="88" y="25"/>
                        </a:cubicBezTo>
                        <a:close/>
                        <a:moveTo>
                          <a:pt x="86" y="29"/>
                        </a:moveTo>
                        <a:cubicBezTo>
                          <a:pt x="86" y="29"/>
                          <a:pt x="87" y="29"/>
                          <a:pt x="87" y="29"/>
                        </a:cubicBezTo>
                        <a:cubicBezTo>
                          <a:pt x="87" y="30"/>
                          <a:pt x="86" y="30"/>
                          <a:pt x="86" y="29"/>
                        </a:cubicBezTo>
                        <a:close/>
                        <a:moveTo>
                          <a:pt x="86" y="30"/>
                        </a:moveTo>
                        <a:cubicBezTo>
                          <a:pt x="86" y="30"/>
                          <a:pt x="86" y="30"/>
                          <a:pt x="86" y="30"/>
                        </a:cubicBezTo>
                        <a:cubicBezTo>
                          <a:pt x="86" y="30"/>
                          <a:pt x="87" y="30"/>
                          <a:pt x="87" y="30"/>
                        </a:cubicBezTo>
                        <a:cubicBezTo>
                          <a:pt x="87" y="30"/>
                          <a:pt x="86" y="30"/>
                          <a:pt x="86" y="30"/>
                        </a:cubicBezTo>
                        <a:cubicBezTo>
                          <a:pt x="86" y="30"/>
                          <a:pt x="86" y="30"/>
                          <a:pt x="86" y="30"/>
                        </a:cubicBezTo>
                        <a:close/>
                        <a:moveTo>
                          <a:pt x="88" y="23"/>
                        </a:moveTo>
                        <a:cubicBezTo>
                          <a:pt x="88" y="23"/>
                          <a:pt x="88" y="23"/>
                          <a:pt x="89" y="23"/>
                        </a:cubicBezTo>
                        <a:cubicBezTo>
                          <a:pt x="88" y="23"/>
                          <a:pt x="88" y="23"/>
                          <a:pt x="88" y="23"/>
                        </a:cubicBezTo>
                        <a:cubicBezTo>
                          <a:pt x="88" y="23"/>
                          <a:pt x="88" y="23"/>
                          <a:pt x="88" y="23"/>
                        </a:cubicBezTo>
                        <a:cubicBezTo>
                          <a:pt x="88" y="23"/>
                          <a:pt x="88" y="23"/>
                          <a:pt x="88" y="23"/>
                        </a:cubicBezTo>
                        <a:close/>
                        <a:moveTo>
                          <a:pt x="86" y="27"/>
                        </a:moveTo>
                        <a:cubicBezTo>
                          <a:pt x="86" y="27"/>
                          <a:pt x="86" y="27"/>
                          <a:pt x="86" y="27"/>
                        </a:cubicBezTo>
                        <a:cubicBezTo>
                          <a:pt x="86" y="27"/>
                          <a:pt x="86" y="27"/>
                          <a:pt x="86" y="27"/>
                        </a:cubicBezTo>
                        <a:cubicBezTo>
                          <a:pt x="86" y="27"/>
                          <a:pt x="86" y="27"/>
                          <a:pt x="86" y="27"/>
                        </a:cubicBezTo>
                        <a:close/>
                        <a:moveTo>
                          <a:pt x="87" y="22"/>
                        </a:moveTo>
                        <a:cubicBezTo>
                          <a:pt x="88" y="22"/>
                          <a:pt x="87" y="22"/>
                          <a:pt x="87" y="22"/>
                        </a:cubicBezTo>
                        <a:cubicBezTo>
                          <a:pt x="87" y="22"/>
                          <a:pt x="87" y="22"/>
                          <a:pt x="87" y="22"/>
                        </a:cubicBezTo>
                        <a:close/>
                        <a:moveTo>
                          <a:pt x="86" y="24"/>
                        </a:moveTo>
                        <a:cubicBezTo>
                          <a:pt x="86" y="24"/>
                          <a:pt x="86" y="24"/>
                          <a:pt x="86" y="24"/>
                        </a:cubicBezTo>
                        <a:cubicBezTo>
                          <a:pt x="87" y="24"/>
                          <a:pt x="87" y="24"/>
                          <a:pt x="87" y="24"/>
                        </a:cubicBezTo>
                        <a:cubicBezTo>
                          <a:pt x="87" y="24"/>
                          <a:pt x="87" y="24"/>
                          <a:pt x="86" y="24"/>
                        </a:cubicBezTo>
                        <a:close/>
                        <a:moveTo>
                          <a:pt x="86" y="27"/>
                        </a:moveTo>
                        <a:cubicBezTo>
                          <a:pt x="86" y="27"/>
                          <a:pt x="85" y="27"/>
                          <a:pt x="85" y="27"/>
                        </a:cubicBezTo>
                        <a:cubicBezTo>
                          <a:pt x="85" y="27"/>
                          <a:pt x="85" y="27"/>
                          <a:pt x="86" y="27"/>
                        </a:cubicBezTo>
                        <a:close/>
                        <a:moveTo>
                          <a:pt x="86" y="25"/>
                        </a:moveTo>
                        <a:cubicBezTo>
                          <a:pt x="86" y="25"/>
                          <a:pt x="86" y="25"/>
                          <a:pt x="86" y="24"/>
                        </a:cubicBezTo>
                        <a:cubicBezTo>
                          <a:pt x="86" y="24"/>
                          <a:pt x="86" y="24"/>
                          <a:pt x="86" y="25"/>
                        </a:cubicBezTo>
                        <a:close/>
                        <a:moveTo>
                          <a:pt x="85" y="26"/>
                        </a:moveTo>
                        <a:cubicBezTo>
                          <a:pt x="85" y="26"/>
                          <a:pt x="85" y="26"/>
                          <a:pt x="85" y="26"/>
                        </a:cubicBezTo>
                        <a:cubicBezTo>
                          <a:pt x="85" y="26"/>
                          <a:pt x="85" y="26"/>
                          <a:pt x="85" y="26"/>
                        </a:cubicBezTo>
                        <a:close/>
                        <a:moveTo>
                          <a:pt x="86" y="24"/>
                        </a:moveTo>
                        <a:cubicBezTo>
                          <a:pt x="86" y="24"/>
                          <a:pt x="86" y="24"/>
                          <a:pt x="86" y="24"/>
                        </a:cubicBezTo>
                        <a:cubicBezTo>
                          <a:pt x="85" y="24"/>
                          <a:pt x="86" y="24"/>
                          <a:pt x="86" y="24"/>
                        </a:cubicBezTo>
                        <a:close/>
                        <a:moveTo>
                          <a:pt x="84" y="22"/>
                        </a:moveTo>
                        <a:cubicBezTo>
                          <a:pt x="85" y="22"/>
                          <a:pt x="85" y="22"/>
                          <a:pt x="85" y="22"/>
                        </a:cubicBezTo>
                        <a:cubicBezTo>
                          <a:pt x="85" y="23"/>
                          <a:pt x="85" y="22"/>
                          <a:pt x="84" y="22"/>
                        </a:cubicBezTo>
                        <a:close/>
                        <a:moveTo>
                          <a:pt x="84" y="24"/>
                        </a:moveTo>
                        <a:cubicBezTo>
                          <a:pt x="84" y="24"/>
                          <a:pt x="84" y="24"/>
                          <a:pt x="84" y="24"/>
                        </a:cubicBezTo>
                        <a:cubicBezTo>
                          <a:pt x="84" y="24"/>
                          <a:pt x="84" y="23"/>
                          <a:pt x="84" y="23"/>
                        </a:cubicBezTo>
                        <a:cubicBezTo>
                          <a:pt x="84" y="23"/>
                          <a:pt x="84" y="23"/>
                          <a:pt x="84" y="23"/>
                        </a:cubicBezTo>
                        <a:cubicBezTo>
                          <a:pt x="84" y="24"/>
                          <a:pt x="84" y="23"/>
                          <a:pt x="85" y="23"/>
                        </a:cubicBezTo>
                        <a:cubicBezTo>
                          <a:pt x="85" y="24"/>
                          <a:pt x="85" y="24"/>
                          <a:pt x="85" y="24"/>
                        </a:cubicBezTo>
                        <a:cubicBezTo>
                          <a:pt x="85" y="24"/>
                          <a:pt x="85" y="24"/>
                          <a:pt x="84" y="24"/>
                        </a:cubicBezTo>
                        <a:cubicBezTo>
                          <a:pt x="84" y="24"/>
                          <a:pt x="84" y="24"/>
                          <a:pt x="84" y="24"/>
                        </a:cubicBezTo>
                        <a:cubicBezTo>
                          <a:pt x="84" y="24"/>
                          <a:pt x="84" y="24"/>
                          <a:pt x="84" y="24"/>
                        </a:cubicBezTo>
                        <a:close/>
                        <a:moveTo>
                          <a:pt x="82" y="28"/>
                        </a:moveTo>
                        <a:cubicBezTo>
                          <a:pt x="82" y="28"/>
                          <a:pt x="83" y="28"/>
                          <a:pt x="83" y="29"/>
                        </a:cubicBezTo>
                        <a:cubicBezTo>
                          <a:pt x="82" y="29"/>
                          <a:pt x="82" y="28"/>
                          <a:pt x="82" y="28"/>
                        </a:cubicBezTo>
                        <a:close/>
                        <a:moveTo>
                          <a:pt x="83" y="24"/>
                        </a:moveTo>
                        <a:cubicBezTo>
                          <a:pt x="84" y="24"/>
                          <a:pt x="83" y="24"/>
                          <a:pt x="83" y="24"/>
                        </a:cubicBezTo>
                        <a:cubicBezTo>
                          <a:pt x="84" y="25"/>
                          <a:pt x="84" y="25"/>
                          <a:pt x="84" y="24"/>
                        </a:cubicBezTo>
                        <a:cubicBezTo>
                          <a:pt x="84" y="25"/>
                          <a:pt x="84" y="25"/>
                          <a:pt x="84" y="25"/>
                        </a:cubicBezTo>
                        <a:cubicBezTo>
                          <a:pt x="84" y="25"/>
                          <a:pt x="84" y="25"/>
                          <a:pt x="83" y="24"/>
                        </a:cubicBezTo>
                        <a:cubicBezTo>
                          <a:pt x="83" y="24"/>
                          <a:pt x="83" y="24"/>
                          <a:pt x="83" y="24"/>
                        </a:cubicBezTo>
                        <a:close/>
                        <a:moveTo>
                          <a:pt x="85" y="22"/>
                        </a:moveTo>
                        <a:cubicBezTo>
                          <a:pt x="85" y="22"/>
                          <a:pt x="84" y="22"/>
                          <a:pt x="84" y="21"/>
                        </a:cubicBezTo>
                        <a:cubicBezTo>
                          <a:pt x="84" y="21"/>
                          <a:pt x="84" y="21"/>
                          <a:pt x="85" y="22"/>
                        </a:cubicBezTo>
                        <a:close/>
                        <a:moveTo>
                          <a:pt x="84" y="23"/>
                        </a:moveTo>
                        <a:cubicBezTo>
                          <a:pt x="84" y="23"/>
                          <a:pt x="84" y="23"/>
                          <a:pt x="84" y="23"/>
                        </a:cubicBezTo>
                        <a:cubicBezTo>
                          <a:pt x="84" y="23"/>
                          <a:pt x="84" y="23"/>
                          <a:pt x="83" y="23"/>
                        </a:cubicBezTo>
                        <a:cubicBezTo>
                          <a:pt x="83" y="23"/>
                          <a:pt x="83" y="23"/>
                          <a:pt x="83" y="23"/>
                        </a:cubicBezTo>
                        <a:cubicBezTo>
                          <a:pt x="84" y="23"/>
                          <a:pt x="84" y="23"/>
                          <a:pt x="84" y="23"/>
                        </a:cubicBezTo>
                        <a:close/>
                        <a:moveTo>
                          <a:pt x="82" y="27"/>
                        </a:moveTo>
                        <a:cubicBezTo>
                          <a:pt x="82" y="26"/>
                          <a:pt x="83" y="27"/>
                          <a:pt x="83" y="27"/>
                        </a:cubicBezTo>
                        <a:cubicBezTo>
                          <a:pt x="83" y="27"/>
                          <a:pt x="82" y="27"/>
                          <a:pt x="82" y="27"/>
                        </a:cubicBezTo>
                        <a:close/>
                        <a:moveTo>
                          <a:pt x="83" y="23"/>
                        </a:moveTo>
                        <a:cubicBezTo>
                          <a:pt x="83" y="23"/>
                          <a:pt x="83" y="23"/>
                          <a:pt x="82" y="23"/>
                        </a:cubicBezTo>
                        <a:cubicBezTo>
                          <a:pt x="83" y="23"/>
                          <a:pt x="83" y="23"/>
                          <a:pt x="84" y="23"/>
                        </a:cubicBezTo>
                        <a:cubicBezTo>
                          <a:pt x="84" y="23"/>
                          <a:pt x="83" y="23"/>
                          <a:pt x="83" y="23"/>
                        </a:cubicBezTo>
                        <a:close/>
                        <a:moveTo>
                          <a:pt x="81" y="24"/>
                        </a:moveTo>
                        <a:cubicBezTo>
                          <a:pt x="82" y="24"/>
                          <a:pt x="83" y="24"/>
                          <a:pt x="83" y="24"/>
                        </a:cubicBezTo>
                        <a:cubicBezTo>
                          <a:pt x="83" y="24"/>
                          <a:pt x="82" y="24"/>
                          <a:pt x="81" y="24"/>
                        </a:cubicBezTo>
                        <a:close/>
                        <a:moveTo>
                          <a:pt x="82" y="27"/>
                        </a:moveTo>
                        <a:cubicBezTo>
                          <a:pt x="82" y="28"/>
                          <a:pt x="81" y="27"/>
                          <a:pt x="81" y="27"/>
                        </a:cubicBezTo>
                        <a:cubicBezTo>
                          <a:pt x="82" y="27"/>
                          <a:pt x="82" y="27"/>
                          <a:pt x="82" y="27"/>
                        </a:cubicBezTo>
                        <a:close/>
                        <a:moveTo>
                          <a:pt x="83" y="21"/>
                        </a:moveTo>
                        <a:cubicBezTo>
                          <a:pt x="83" y="21"/>
                          <a:pt x="83" y="21"/>
                          <a:pt x="83" y="21"/>
                        </a:cubicBezTo>
                        <a:cubicBezTo>
                          <a:pt x="83" y="21"/>
                          <a:pt x="83" y="21"/>
                          <a:pt x="83" y="21"/>
                        </a:cubicBezTo>
                        <a:cubicBezTo>
                          <a:pt x="83" y="21"/>
                          <a:pt x="84" y="21"/>
                          <a:pt x="83" y="21"/>
                        </a:cubicBezTo>
                        <a:close/>
                        <a:moveTo>
                          <a:pt x="83" y="23"/>
                        </a:moveTo>
                        <a:cubicBezTo>
                          <a:pt x="83" y="23"/>
                          <a:pt x="83" y="23"/>
                          <a:pt x="83" y="24"/>
                        </a:cubicBezTo>
                        <a:cubicBezTo>
                          <a:pt x="83" y="24"/>
                          <a:pt x="83" y="24"/>
                          <a:pt x="83" y="24"/>
                        </a:cubicBezTo>
                        <a:cubicBezTo>
                          <a:pt x="83" y="24"/>
                          <a:pt x="82" y="23"/>
                          <a:pt x="82" y="23"/>
                        </a:cubicBezTo>
                        <a:cubicBezTo>
                          <a:pt x="82" y="23"/>
                          <a:pt x="83" y="23"/>
                          <a:pt x="83" y="23"/>
                        </a:cubicBezTo>
                        <a:close/>
                        <a:moveTo>
                          <a:pt x="81" y="26"/>
                        </a:moveTo>
                        <a:cubicBezTo>
                          <a:pt x="81" y="26"/>
                          <a:pt x="81" y="26"/>
                          <a:pt x="81" y="26"/>
                        </a:cubicBezTo>
                        <a:cubicBezTo>
                          <a:pt x="81" y="26"/>
                          <a:pt x="81" y="26"/>
                          <a:pt x="81" y="26"/>
                        </a:cubicBezTo>
                        <a:cubicBezTo>
                          <a:pt x="81" y="26"/>
                          <a:pt x="81" y="26"/>
                          <a:pt x="81" y="26"/>
                        </a:cubicBezTo>
                        <a:close/>
                        <a:moveTo>
                          <a:pt x="82" y="22"/>
                        </a:moveTo>
                        <a:cubicBezTo>
                          <a:pt x="82" y="21"/>
                          <a:pt x="82" y="22"/>
                          <a:pt x="82" y="22"/>
                        </a:cubicBezTo>
                        <a:cubicBezTo>
                          <a:pt x="82" y="22"/>
                          <a:pt x="82" y="22"/>
                          <a:pt x="82" y="22"/>
                        </a:cubicBezTo>
                        <a:close/>
                        <a:moveTo>
                          <a:pt x="79" y="32"/>
                        </a:moveTo>
                        <a:cubicBezTo>
                          <a:pt x="79" y="32"/>
                          <a:pt x="79" y="31"/>
                          <a:pt x="79" y="31"/>
                        </a:cubicBezTo>
                        <a:cubicBezTo>
                          <a:pt x="79" y="31"/>
                          <a:pt x="79" y="31"/>
                          <a:pt x="79" y="31"/>
                        </a:cubicBezTo>
                        <a:cubicBezTo>
                          <a:pt x="79" y="32"/>
                          <a:pt x="79" y="32"/>
                          <a:pt x="79" y="32"/>
                        </a:cubicBezTo>
                        <a:close/>
                        <a:moveTo>
                          <a:pt x="80" y="27"/>
                        </a:moveTo>
                        <a:cubicBezTo>
                          <a:pt x="80" y="28"/>
                          <a:pt x="80" y="27"/>
                          <a:pt x="80" y="27"/>
                        </a:cubicBezTo>
                        <a:cubicBezTo>
                          <a:pt x="80" y="27"/>
                          <a:pt x="80" y="27"/>
                          <a:pt x="80" y="27"/>
                        </a:cubicBezTo>
                        <a:close/>
                        <a:moveTo>
                          <a:pt x="79" y="30"/>
                        </a:moveTo>
                        <a:cubicBezTo>
                          <a:pt x="79" y="30"/>
                          <a:pt x="79" y="30"/>
                          <a:pt x="79" y="30"/>
                        </a:cubicBezTo>
                        <a:cubicBezTo>
                          <a:pt x="79" y="30"/>
                          <a:pt x="79" y="30"/>
                          <a:pt x="79" y="30"/>
                        </a:cubicBezTo>
                        <a:cubicBezTo>
                          <a:pt x="79" y="30"/>
                          <a:pt x="79" y="30"/>
                          <a:pt x="79" y="30"/>
                        </a:cubicBezTo>
                        <a:close/>
                        <a:moveTo>
                          <a:pt x="80" y="26"/>
                        </a:moveTo>
                        <a:cubicBezTo>
                          <a:pt x="80" y="26"/>
                          <a:pt x="80" y="26"/>
                          <a:pt x="80" y="26"/>
                        </a:cubicBezTo>
                        <a:cubicBezTo>
                          <a:pt x="80" y="26"/>
                          <a:pt x="80" y="26"/>
                          <a:pt x="80" y="26"/>
                        </a:cubicBezTo>
                        <a:cubicBezTo>
                          <a:pt x="80" y="26"/>
                          <a:pt x="80" y="26"/>
                          <a:pt x="80" y="26"/>
                        </a:cubicBezTo>
                        <a:close/>
                        <a:moveTo>
                          <a:pt x="79" y="30"/>
                        </a:moveTo>
                        <a:cubicBezTo>
                          <a:pt x="79" y="30"/>
                          <a:pt x="78" y="30"/>
                          <a:pt x="78" y="30"/>
                        </a:cubicBezTo>
                        <a:cubicBezTo>
                          <a:pt x="78" y="30"/>
                          <a:pt x="79" y="30"/>
                          <a:pt x="79" y="30"/>
                        </a:cubicBezTo>
                        <a:close/>
                        <a:moveTo>
                          <a:pt x="80" y="24"/>
                        </a:moveTo>
                        <a:cubicBezTo>
                          <a:pt x="80" y="24"/>
                          <a:pt x="80" y="24"/>
                          <a:pt x="80" y="24"/>
                        </a:cubicBezTo>
                        <a:cubicBezTo>
                          <a:pt x="80" y="24"/>
                          <a:pt x="79" y="24"/>
                          <a:pt x="80" y="24"/>
                        </a:cubicBezTo>
                        <a:close/>
                        <a:moveTo>
                          <a:pt x="81" y="22"/>
                        </a:moveTo>
                        <a:cubicBezTo>
                          <a:pt x="81" y="22"/>
                          <a:pt x="81" y="22"/>
                          <a:pt x="81" y="22"/>
                        </a:cubicBezTo>
                        <a:cubicBezTo>
                          <a:pt x="81" y="22"/>
                          <a:pt x="81" y="22"/>
                          <a:pt x="81" y="22"/>
                        </a:cubicBezTo>
                        <a:cubicBezTo>
                          <a:pt x="81" y="22"/>
                          <a:pt x="81" y="22"/>
                          <a:pt x="81" y="22"/>
                        </a:cubicBezTo>
                        <a:close/>
                        <a:moveTo>
                          <a:pt x="78" y="30"/>
                        </a:moveTo>
                        <a:cubicBezTo>
                          <a:pt x="78" y="30"/>
                          <a:pt x="78" y="30"/>
                          <a:pt x="78" y="30"/>
                        </a:cubicBezTo>
                        <a:cubicBezTo>
                          <a:pt x="78" y="30"/>
                          <a:pt x="78" y="30"/>
                          <a:pt x="78" y="30"/>
                        </a:cubicBezTo>
                        <a:cubicBezTo>
                          <a:pt x="78" y="30"/>
                          <a:pt x="78" y="30"/>
                          <a:pt x="78" y="30"/>
                        </a:cubicBezTo>
                        <a:cubicBezTo>
                          <a:pt x="77" y="30"/>
                          <a:pt x="77" y="30"/>
                          <a:pt x="77" y="30"/>
                        </a:cubicBezTo>
                        <a:cubicBezTo>
                          <a:pt x="78" y="30"/>
                          <a:pt x="77" y="30"/>
                          <a:pt x="78" y="30"/>
                        </a:cubicBezTo>
                        <a:close/>
                        <a:moveTo>
                          <a:pt x="79" y="21"/>
                        </a:moveTo>
                        <a:cubicBezTo>
                          <a:pt x="79" y="21"/>
                          <a:pt x="80" y="21"/>
                          <a:pt x="80" y="21"/>
                        </a:cubicBezTo>
                        <a:cubicBezTo>
                          <a:pt x="80" y="21"/>
                          <a:pt x="79" y="21"/>
                          <a:pt x="79" y="21"/>
                        </a:cubicBezTo>
                        <a:close/>
                        <a:moveTo>
                          <a:pt x="79" y="21"/>
                        </a:moveTo>
                        <a:cubicBezTo>
                          <a:pt x="79" y="21"/>
                          <a:pt x="78" y="21"/>
                          <a:pt x="78" y="21"/>
                        </a:cubicBezTo>
                        <a:cubicBezTo>
                          <a:pt x="78" y="21"/>
                          <a:pt x="79" y="21"/>
                          <a:pt x="79" y="21"/>
                        </a:cubicBezTo>
                        <a:cubicBezTo>
                          <a:pt x="79" y="21"/>
                          <a:pt x="79" y="21"/>
                          <a:pt x="79" y="21"/>
                        </a:cubicBezTo>
                        <a:cubicBezTo>
                          <a:pt x="79" y="21"/>
                          <a:pt x="79" y="21"/>
                          <a:pt x="79" y="21"/>
                        </a:cubicBezTo>
                        <a:close/>
                        <a:moveTo>
                          <a:pt x="79" y="22"/>
                        </a:moveTo>
                        <a:cubicBezTo>
                          <a:pt x="79" y="22"/>
                          <a:pt x="79" y="22"/>
                          <a:pt x="79" y="22"/>
                        </a:cubicBezTo>
                        <a:cubicBezTo>
                          <a:pt x="79" y="22"/>
                          <a:pt x="79" y="22"/>
                          <a:pt x="78" y="22"/>
                        </a:cubicBezTo>
                        <a:cubicBezTo>
                          <a:pt x="78" y="21"/>
                          <a:pt x="79" y="22"/>
                          <a:pt x="79" y="22"/>
                        </a:cubicBezTo>
                        <a:close/>
                        <a:moveTo>
                          <a:pt x="78" y="21"/>
                        </a:moveTo>
                        <a:cubicBezTo>
                          <a:pt x="78" y="21"/>
                          <a:pt x="78" y="21"/>
                          <a:pt x="78" y="21"/>
                        </a:cubicBezTo>
                        <a:cubicBezTo>
                          <a:pt x="78" y="21"/>
                          <a:pt x="78" y="21"/>
                          <a:pt x="78" y="21"/>
                        </a:cubicBezTo>
                        <a:cubicBezTo>
                          <a:pt x="78" y="21"/>
                          <a:pt x="78" y="21"/>
                          <a:pt x="78" y="21"/>
                        </a:cubicBezTo>
                        <a:close/>
                        <a:moveTo>
                          <a:pt x="76" y="23"/>
                        </a:moveTo>
                        <a:cubicBezTo>
                          <a:pt x="77" y="23"/>
                          <a:pt x="77" y="23"/>
                          <a:pt x="77" y="23"/>
                        </a:cubicBezTo>
                        <a:cubicBezTo>
                          <a:pt x="77" y="23"/>
                          <a:pt x="77" y="23"/>
                          <a:pt x="76" y="2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lose/>
                        <a:moveTo>
                          <a:pt x="77" y="21"/>
                        </a:moveTo>
                        <a:cubicBezTo>
                          <a:pt x="77" y="21"/>
                          <a:pt x="77" y="21"/>
                          <a:pt x="77" y="21"/>
                        </a:cubicBezTo>
                        <a:cubicBezTo>
                          <a:pt x="77" y="21"/>
                          <a:pt x="77" y="21"/>
                          <a:pt x="78" y="21"/>
                        </a:cubicBezTo>
                        <a:cubicBezTo>
                          <a:pt x="78" y="21"/>
                          <a:pt x="77" y="21"/>
                          <a:pt x="77" y="21"/>
                        </a:cubicBezTo>
                        <a:close/>
                        <a:moveTo>
                          <a:pt x="76" y="25"/>
                        </a:moveTo>
                        <a:cubicBezTo>
                          <a:pt x="76" y="25"/>
                          <a:pt x="76" y="25"/>
                          <a:pt x="76" y="25"/>
                        </a:cubicBezTo>
                        <a:cubicBezTo>
                          <a:pt x="75" y="25"/>
                          <a:pt x="75" y="25"/>
                          <a:pt x="75" y="25"/>
                        </a:cubicBezTo>
                        <a:cubicBezTo>
                          <a:pt x="75" y="25"/>
                          <a:pt x="76" y="25"/>
                          <a:pt x="76" y="25"/>
                        </a:cubicBezTo>
                        <a:close/>
                        <a:moveTo>
                          <a:pt x="71" y="29"/>
                        </a:moveTo>
                        <a:cubicBezTo>
                          <a:pt x="71" y="29"/>
                          <a:pt x="70" y="29"/>
                          <a:pt x="70" y="29"/>
                        </a:cubicBezTo>
                        <a:cubicBezTo>
                          <a:pt x="71" y="29"/>
                          <a:pt x="73" y="29"/>
                          <a:pt x="74" y="30"/>
                        </a:cubicBezTo>
                        <a:cubicBezTo>
                          <a:pt x="74" y="30"/>
                          <a:pt x="74" y="30"/>
                          <a:pt x="74" y="30"/>
                        </a:cubicBezTo>
                        <a:cubicBezTo>
                          <a:pt x="73" y="29"/>
                          <a:pt x="72" y="29"/>
                          <a:pt x="71" y="29"/>
                        </a:cubicBezTo>
                        <a:cubicBezTo>
                          <a:pt x="71" y="29"/>
                          <a:pt x="71" y="29"/>
                          <a:pt x="71" y="29"/>
                        </a:cubicBezTo>
                        <a:close/>
                        <a:moveTo>
                          <a:pt x="75" y="21"/>
                        </a:moveTo>
                        <a:cubicBezTo>
                          <a:pt x="75" y="21"/>
                          <a:pt x="75" y="22"/>
                          <a:pt x="75" y="22"/>
                        </a:cubicBezTo>
                        <a:cubicBezTo>
                          <a:pt x="75" y="21"/>
                          <a:pt x="75" y="21"/>
                          <a:pt x="75" y="21"/>
                        </a:cubicBezTo>
                        <a:cubicBezTo>
                          <a:pt x="75" y="21"/>
                          <a:pt x="75" y="21"/>
                          <a:pt x="75" y="21"/>
                        </a:cubicBezTo>
                        <a:cubicBezTo>
                          <a:pt x="75" y="21"/>
                          <a:pt x="75" y="21"/>
                          <a:pt x="75" y="21"/>
                        </a:cubicBezTo>
                        <a:cubicBezTo>
                          <a:pt x="75" y="21"/>
                          <a:pt x="75" y="21"/>
                          <a:pt x="76" y="21"/>
                        </a:cubicBezTo>
                        <a:cubicBezTo>
                          <a:pt x="76" y="21"/>
                          <a:pt x="76" y="21"/>
                          <a:pt x="76" y="21"/>
                        </a:cubicBezTo>
                        <a:cubicBezTo>
                          <a:pt x="76" y="22"/>
                          <a:pt x="76" y="22"/>
                          <a:pt x="76" y="22"/>
                        </a:cubicBezTo>
                        <a:cubicBezTo>
                          <a:pt x="76" y="22"/>
                          <a:pt x="76" y="22"/>
                          <a:pt x="76" y="22"/>
                        </a:cubicBezTo>
                        <a:cubicBezTo>
                          <a:pt x="76" y="22"/>
                          <a:pt x="75" y="22"/>
                          <a:pt x="75" y="21"/>
                        </a:cubicBezTo>
                        <a:close/>
                        <a:moveTo>
                          <a:pt x="74" y="21"/>
                        </a:moveTo>
                        <a:cubicBezTo>
                          <a:pt x="74" y="21"/>
                          <a:pt x="74" y="21"/>
                          <a:pt x="74" y="21"/>
                        </a:cubicBezTo>
                        <a:cubicBezTo>
                          <a:pt x="74" y="21"/>
                          <a:pt x="73" y="21"/>
                          <a:pt x="73" y="20"/>
                        </a:cubicBezTo>
                        <a:cubicBezTo>
                          <a:pt x="73" y="20"/>
                          <a:pt x="73" y="21"/>
                          <a:pt x="73" y="20"/>
                        </a:cubicBezTo>
                        <a:cubicBezTo>
                          <a:pt x="73" y="20"/>
                          <a:pt x="74" y="20"/>
                          <a:pt x="73" y="21"/>
                        </a:cubicBezTo>
                        <a:cubicBezTo>
                          <a:pt x="74" y="21"/>
                          <a:pt x="74" y="21"/>
                          <a:pt x="75" y="21"/>
                        </a:cubicBezTo>
                        <a:cubicBezTo>
                          <a:pt x="74" y="21"/>
                          <a:pt x="74" y="21"/>
                          <a:pt x="74" y="21"/>
                        </a:cubicBezTo>
                        <a:cubicBezTo>
                          <a:pt x="74" y="21"/>
                          <a:pt x="74" y="21"/>
                          <a:pt x="74" y="21"/>
                        </a:cubicBezTo>
                        <a:close/>
                        <a:moveTo>
                          <a:pt x="73" y="24"/>
                        </a:moveTo>
                        <a:cubicBezTo>
                          <a:pt x="74" y="24"/>
                          <a:pt x="73" y="24"/>
                          <a:pt x="73" y="24"/>
                        </a:cubicBezTo>
                        <a:cubicBezTo>
                          <a:pt x="73" y="24"/>
                          <a:pt x="73" y="24"/>
                          <a:pt x="73" y="24"/>
                        </a:cubicBezTo>
                        <a:cubicBezTo>
                          <a:pt x="73" y="23"/>
                          <a:pt x="73" y="24"/>
                          <a:pt x="73" y="24"/>
                        </a:cubicBezTo>
                        <a:close/>
                        <a:moveTo>
                          <a:pt x="74" y="21"/>
                        </a:moveTo>
                        <a:cubicBezTo>
                          <a:pt x="74" y="21"/>
                          <a:pt x="74" y="21"/>
                          <a:pt x="74" y="21"/>
                        </a:cubicBezTo>
                        <a:cubicBezTo>
                          <a:pt x="74" y="21"/>
                          <a:pt x="74" y="21"/>
                          <a:pt x="74" y="21"/>
                        </a:cubicBezTo>
                        <a:cubicBezTo>
                          <a:pt x="74" y="21"/>
                          <a:pt x="74" y="21"/>
                          <a:pt x="74" y="21"/>
                        </a:cubicBezTo>
                        <a:close/>
                        <a:moveTo>
                          <a:pt x="74" y="20"/>
                        </a:moveTo>
                        <a:cubicBezTo>
                          <a:pt x="73" y="20"/>
                          <a:pt x="74" y="20"/>
                          <a:pt x="74" y="20"/>
                        </a:cubicBezTo>
                        <a:cubicBezTo>
                          <a:pt x="74" y="20"/>
                          <a:pt x="74" y="20"/>
                          <a:pt x="74" y="20"/>
                        </a:cubicBezTo>
                        <a:close/>
                        <a:moveTo>
                          <a:pt x="74" y="20"/>
                        </a:moveTo>
                        <a:cubicBezTo>
                          <a:pt x="74" y="20"/>
                          <a:pt x="74" y="20"/>
                          <a:pt x="74" y="20"/>
                        </a:cubicBezTo>
                        <a:cubicBezTo>
                          <a:pt x="74" y="20"/>
                          <a:pt x="73" y="20"/>
                          <a:pt x="74" y="20"/>
                        </a:cubicBezTo>
                        <a:close/>
                        <a:moveTo>
                          <a:pt x="72" y="23"/>
                        </a:moveTo>
                        <a:cubicBezTo>
                          <a:pt x="72" y="23"/>
                          <a:pt x="72" y="23"/>
                          <a:pt x="72" y="23"/>
                        </a:cubicBezTo>
                        <a:cubicBezTo>
                          <a:pt x="72" y="23"/>
                          <a:pt x="72" y="23"/>
                          <a:pt x="72" y="23"/>
                        </a:cubicBezTo>
                        <a:cubicBezTo>
                          <a:pt x="72" y="23"/>
                          <a:pt x="72" y="23"/>
                          <a:pt x="72" y="23"/>
                        </a:cubicBezTo>
                        <a:close/>
                        <a:moveTo>
                          <a:pt x="72" y="19"/>
                        </a:moveTo>
                        <a:cubicBezTo>
                          <a:pt x="73" y="19"/>
                          <a:pt x="73" y="19"/>
                          <a:pt x="73" y="19"/>
                        </a:cubicBezTo>
                        <a:cubicBezTo>
                          <a:pt x="73" y="19"/>
                          <a:pt x="72" y="19"/>
                          <a:pt x="72" y="19"/>
                        </a:cubicBezTo>
                        <a:close/>
                        <a:moveTo>
                          <a:pt x="72" y="21"/>
                        </a:moveTo>
                        <a:cubicBezTo>
                          <a:pt x="72" y="21"/>
                          <a:pt x="72" y="21"/>
                          <a:pt x="72" y="21"/>
                        </a:cubicBezTo>
                        <a:cubicBezTo>
                          <a:pt x="72" y="21"/>
                          <a:pt x="72" y="21"/>
                          <a:pt x="72" y="21"/>
                        </a:cubicBezTo>
                        <a:cubicBezTo>
                          <a:pt x="72" y="21"/>
                          <a:pt x="72" y="21"/>
                          <a:pt x="72" y="21"/>
                        </a:cubicBezTo>
                        <a:close/>
                        <a:moveTo>
                          <a:pt x="72" y="19"/>
                        </a:moveTo>
                        <a:cubicBezTo>
                          <a:pt x="72" y="19"/>
                          <a:pt x="71" y="19"/>
                          <a:pt x="71" y="19"/>
                        </a:cubicBezTo>
                        <a:cubicBezTo>
                          <a:pt x="72" y="19"/>
                          <a:pt x="72" y="19"/>
                          <a:pt x="72" y="19"/>
                        </a:cubicBezTo>
                        <a:cubicBezTo>
                          <a:pt x="73" y="19"/>
                          <a:pt x="73" y="19"/>
                          <a:pt x="73" y="19"/>
                        </a:cubicBezTo>
                        <a:cubicBezTo>
                          <a:pt x="73" y="19"/>
                          <a:pt x="72" y="19"/>
                          <a:pt x="72" y="19"/>
                        </a:cubicBezTo>
                        <a:cubicBezTo>
                          <a:pt x="72" y="19"/>
                          <a:pt x="72" y="19"/>
                          <a:pt x="72" y="19"/>
                        </a:cubicBezTo>
                        <a:close/>
                        <a:moveTo>
                          <a:pt x="72" y="19"/>
                        </a:moveTo>
                        <a:cubicBezTo>
                          <a:pt x="72" y="19"/>
                          <a:pt x="72" y="20"/>
                          <a:pt x="72" y="20"/>
                        </a:cubicBezTo>
                        <a:cubicBezTo>
                          <a:pt x="72" y="20"/>
                          <a:pt x="72" y="20"/>
                          <a:pt x="72" y="19"/>
                        </a:cubicBezTo>
                        <a:close/>
                        <a:moveTo>
                          <a:pt x="71" y="23"/>
                        </a:moveTo>
                        <a:cubicBezTo>
                          <a:pt x="70" y="23"/>
                          <a:pt x="69" y="23"/>
                          <a:pt x="69" y="23"/>
                        </a:cubicBezTo>
                        <a:cubicBezTo>
                          <a:pt x="70" y="23"/>
                          <a:pt x="70" y="23"/>
                          <a:pt x="71" y="23"/>
                        </a:cubicBezTo>
                        <a:cubicBezTo>
                          <a:pt x="71" y="23"/>
                          <a:pt x="71" y="23"/>
                          <a:pt x="71" y="23"/>
                        </a:cubicBezTo>
                        <a:close/>
                        <a:moveTo>
                          <a:pt x="70" y="22"/>
                        </a:moveTo>
                        <a:cubicBezTo>
                          <a:pt x="71" y="22"/>
                          <a:pt x="71" y="22"/>
                          <a:pt x="71" y="21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2"/>
                          <a:pt x="71" y="22"/>
                          <a:pt x="70" y="22"/>
                        </a:cubicBezTo>
                        <a:cubicBezTo>
                          <a:pt x="70" y="22"/>
                          <a:pt x="70" y="22"/>
                          <a:pt x="70" y="22"/>
                        </a:cubicBezTo>
                        <a:close/>
                        <a:moveTo>
                          <a:pt x="70" y="21"/>
                        </a:moveTo>
                        <a:cubicBezTo>
                          <a:pt x="70" y="21"/>
                          <a:pt x="71" y="21"/>
                          <a:pt x="71" y="21"/>
                        </a:cubicBezTo>
                        <a:cubicBezTo>
                          <a:pt x="71" y="21"/>
                          <a:pt x="71" y="21"/>
                          <a:pt x="71" y="21"/>
                        </a:cubicBezTo>
                        <a:cubicBezTo>
                          <a:pt x="71" y="21"/>
                          <a:pt x="70" y="21"/>
                          <a:pt x="70" y="21"/>
                        </a:cubicBezTo>
                        <a:close/>
                        <a:moveTo>
                          <a:pt x="71" y="21"/>
                        </a:moveTo>
                        <a:cubicBezTo>
                          <a:pt x="71" y="21"/>
                          <a:pt x="70" y="21"/>
                          <a:pt x="70" y="21"/>
                        </a:cubicBezTo>
                        <a:cubicBezTo>
                          <a:pt x="70" y="20"/>
                          <a:pt x="71" y="21"/>
                          <a:pt x="71" y="21"/>
                        </a:cubicBezTo>
                        <a:close/>
                        <a:moveTo>
                          <a:pt x="69" y="21"/>
                        </a:moveTo>
                        <a:cubicBezTo>
                          <a:pt x="70" y="21"/>
                          <a:pt x="70" y="20"/>
                          <a:pt x="69" y="20"/>
                        </a:cubicBezTo>
                        <a:cubicBezTo>
                          <a:pt x="70" y="20"/>
                          <a:pt x="70" y="21"/>
                          <a:pt x="70" y="21"/>
                        </a:cubicBezTo>
                        <a:cubicBezTo>
                          <a:pt x="70" y="21"/>
                          <a:pt x="70" y="21"/>
                          <a:pt x="69" y="21"/>
                        </a:cubicBezTo>
                        <a:close/>
                        <a:moveTo>
                          <a:pt x="69" y="22"/>
                        </a:moveTo>
                        <a:cubicBezTo>
                          <a:pt x="69" y="22"/>
                          <a:pt x="69" y="22"/>
                          <a:pt x="69" y="22"/>
                        </a:cubicBezTo>
                        <a:cubicBezTo>
                          <a:pt x="69" y="22"/>
                          <a:pt x="69" y="22"/>
                          <a:pt x="69" y="22"/>
                        </a:cubicBezTo>
                        <a:cubicBezTo>
                          <a:pt x="69" y="22"/>
                          <a:pt x="69" y="22"/>
                          <a:pt x="69" y="22"/>
                        </a:cubicBezTo>
                        <a:cubicBezTo>
                          <a:pt x="69" y="21"/>
                          <a:pt x="68" y="21"/>
                          <a:pt x="67" y="21"/>
                        </a:cubicBezTo>
                        <a:cubicBezTo>
                          <a:pt x="67" y="21"/>
                          <a:pt x="66" y="21"/>
                          <a:pt x="66" y="21"/>
                        </a:cubicBezTo>
                        <a:cubicBezTo>
                          <a:pt x="67" y="21"/>
                          <a:pt x="68" y="21"/>
                          <a:pt x="70" y="22"/>
                        </a:cubicBezTo>
                        <a:cubicBezTo>
                          <a:pt x="69" y="22"/>
                          <a:pt x="69" y="22"/>
                          <a:pt x="69" y="22"/>
                        </a:cubicBezTo>
                        <a:close/>
                        <a:moveTo>
                          <a:pt x="70" y="18"/>
                        </a:moveTo>
                        <a:cubicBezTo>
                          <a:pt x="70" y="18"/>
                          <a:pt x="70" y="19"/>
                          <a:pt x="70" y="18"/>
                        </a:cubicBezTo>
                        <a:cubicBezTo>
                          <a:pt x="70" y="18"/>
                          <a:pt x="70" y="18"/>
                          <a:pt x="70" y="18"/>
                        </a:cubicBezTo>
                        <a:cubicBezTo>
                          <a:pt x="70" y="18"/>
                          <a:pt x="70" y="18"/>
                          <a:pt x="71" y="18"/>
                        </a:cubicBezTo>
                        <a:cubicBezTo>
                          <a:pt x="70" y="18"/>
                          <a:pt x="70" y="18"/>
                          <a:pt x="70" y="18"/>
                        </a:cubicBezTo>
                        <a:close/>
                        <a:moveTo>
                          <a:pt x="69" y="21"/>
                        </a:moveTo>
                        <a:cubicBezTo>
                          <a:pt x="69" y="21"/>
                          <a:pt x="69" y="21"/>
                          <a:pt x="70" y="21"/>
                        </a:cubicBezTo>
                        <a:cubicBezTo>
                          <a:pt x="70" y="21"/>
                          <a:pt x="69" y="21"/>
                          <a:pt x="69" y="21"/>
                        </a:cubicBezTo>
                        <a:close/>
                        <a:moveTo>
                          <a:pt x="70" y="19"/>
                        </a:moveTo>
                        <a:cubicBezTo>
                          <a:pt x="70" y="19"/>
                          <a:pt x="70" y="19"/>
                          <a:pt x="70" y="19"/>
                        </a:cubicBezTo>
                        <a:cubicBezTo>
                          <a:pt x="70" y="19"/>
                          <a:pt x="70" y="19"/>
                          <a:pt x="70" y="19"/>
                        </a:cubicBezTo>
                        <a:cubicBezTo>
                          <a:pt x="70" y="19"/>
                          <a:pt x="70" y="19"/>
                          <a:pt x="70" y="19"/>
                        </a:cubicBezTo>
                        <a:cubicBezTo>
                          <a:pt x="70" y="19"/>
                          <a:pt x="70" y="19"/>
                          <a:pt x="70" y="19"/>
                        </a:cubicBezTo>
                        <a:close/>
                        <a:moveTo>
                          <a:pt x="70" y="18"/>
                        </a:moveTo>
                        <a:cubicBezTo>
                          <a:pt x="70" y="18"/>
                          <a:pt x="70" y="18"/>
                          <a:pt x="70" y="18"/>
                        </a:cubicBezTo>
                        <a:cubicBezTo>
                          <a:pt x="70" y="19"/>
                          <a:pt x="69" y="19"/>
                          <a:pt x="70" y="18"/>
                        </a:cubicBezTo>
                        <a:close/>
                        <a:moveTo>
                          <a:pt x="68" y="24"/>
                        </a:moveTo>
                        <a:cubicBezTo>
                          <a:pt x="68" y="24"/>
                          <a:pt x="68" y="24"/>
                          <a:pt x="67" y="24"/>
                        </a:cubicBezTo>
                        <a:cubicBezTo>
                          <a:pt x="67" y="24"/>
                          <a:pt x="68" y="24"/>
                          <a:pt x="68" y="24"/>
                        </a:cubicBezTo>
                        <a:cubicBezTo>
                          <a:pt x="68" y="24"/>
                          <a:pt x="68" y="24"/>
                          <a:pt x="68" y="24"/>
                        </a:cubicBezTo>
                        <a:close/>
                        <a:moveTo>
                          <a:pt x="69" y="23"/>
                        </a:moveTo>
                        <a:cubicBezTo>
                          <a:pt x="68" y="23"/>
                          <a:pt x="68" y="22"/>
                          <a:pt x="68" y="22"/>
                        </a:cubicBezTo>
                        <a:cubicBezTo>
                          <a:pt x="68" y="22"/>
                          <a:pt x="68" y="22"/>
                          <a:pt x="69" y="22"/>
                        </a:cubicBezTo>
                        <a:cubicBezTo>
                          <a:pt x="69" y="23"/>
                          <a:pt x="69" y="23"/>
                          <a:pt x="69" y="23"/>
                        </a:cubicBezTo>
                        <a:close/>
                        <a:moveTo>
                          <a:pt x="69" y="18"/>
                        </a:moveTo>
                        <a:cubicBezTo>
                          <a:pt x="70" y="18"/>
                          <a:pt x="70" y="18"/>
                          <a:pt x="70" y="18"/>
                        </a:cubicBezTo>
                        <a:cubicBezTo>
                          <a:pt x="70" y="18"/>
                          <a:pt x="69" y="18"/>
                          <a:pt x="69" y="18"/>
                        </a:cubicBezTo>
                        <a:close/>
                        <a:moveTo>
                          <a:pt x="69" y="20"/>
                        </a:moveTo>
                        <a:cubicBezTo>
                          <a:pt x="69" y="21"/>
                          <a:pt x="68" y="20"/>
                          <a:pt x="68" y="20"/>
                        </a:cubicBezTo>
                        <a:cubicBezTo>
                          <a:pt x="68" y="20"/>
                          <a:pt x="68" y="20"/>
                          <a:pt x="68" y="20"/>
                        </a:cubicBezTo>
                        <a:cubicBezTo>
                          <a:pt x="68" y="20"/>
                          <a:pt x="69" y="20"/>
                          <a:pt x="69" y="20"/>
                        </a:cubicBezTo>
                        <a:close/>
                        <a:moveTo>
                          <a:pt x="68" y="19"/>
                        </a:moveTo>
                        <a:cubicBezTo>
                          <a:pt x="68" y="19"/>
                          <a:pt x="69" y="19"/>
                          <a:pt x="69" y="19"/>
                        </a:cubicBezTo>
                        <a:cubicBezTo>
                          <a:pt x="68" y="19"/>
                          <a:pt x="68" y="19"/>
                          <a:pt x="68" y="19"/>
                        </a:cubicBezTo>
                        <a:close/>
                        <a:moveTo>
                          <a:pt x="68" y="22"/>
                        </a:moveTo>
                        <a:cubicBezTo>
                          <a:pt x="68" y="22"/>
                          <a:pt x="68" y="22"/>
                          <a:pt x="68" y="22"/>
                        </a:cubicBezTo>
                        <a:cubicBezTo>
                          <a:pt x="67" y="22"/>
                          <a:pt x="67" y="22"/>
                          <a:pt x="67" y="22"/>
                        </a:cubicBezTo>
                        <a:cubicBezTo>
                          <a:pt x="67" y="22"/>
                          <a:pt x="68" y="22"/>
                          <a:pt x="68" y="22"/>
                        </a:cubicBezTo>
                        <a:close/>
                        <a:moveTo>
                          <a:pt x="67" y="24"/>
                        </a:moveTo>
                        <a:cubicBezTo>
                          <a:pt x="67" y="24"/>
                          <a:pt x="67" y="24"/>
                          <a:pt x="67" y="24"/>
                        </a:cubicBezTo>
                        <a:cubicBezTo>
                          <a:pt x="66" y="24"/>
                          <a:pt x="67" y="23"/>
                          <a:pt x="67" y="24"/>
                        </a:cubicBezTo>
                        <a:close/>
                        <a:moveTo>
                          <a:pt x="66" y="19"/>
                        </a:moveTo>
                        <a:cubicBezTo>
                          <a:pt x="66" y="19"/>
                          <a:pt x="66" y="19"/>
                          <a:pt x="66" y="19"/>
                        </a:cubicBezTo>
                        <a:cubicBezTo>
                          <a:pt x="66" y="19"/>
                          <a:pt x="66" y="19"/>
                          <a:pt x="66" y="19"/>
                        </a:cubicBezTo>
                        <a:close/>
                        <a:moveTo>
                          <a:pt x="65" y="23"/>
                        </a:moveTo>
                        <a:cubicBezTo>
                          <a:pt x="65" y="23"/>
                          <a:pt x="65" y="24"/>
                          <a:pt x="65" y="24"/>
                        </a:cubicBezTo>
                        <a:cubicBezTo>
                          <a:pt x="65" y="24"/>
                          <a:pt x="65" y="24"/>
                          <a:pt x="65" y="23"/>
                        </a:cubicBezTo>
                        <a:close/>
                        <a:moveTo>
                          <a:pt x="64" y="23"/>
                        </a:moveTo>
                        <a:cubicBezTo>
                          <a:pt x="64" y="23"/>
                          <a:pt x="64" y="23"/>
                          <a:pt x="64" y="23"/>
                        </a:cubicBezTo>
                        <a:cubicBezTo>
                          <a:pt x="64" y="23"/>
                          <a:pt x="64" y="23"/>
                          <a:pt x="64" y="23"/>
                        </a:cubicBezTo>
                        <a:close/>
                        <a:moveTo>
                          <a:pt x="63" y="22"/>
                        </a:moveTo>
                        <a:cubicBezTo>
                          <a:pt x="63" y="22"/>
                          <a:pt x="64" y="22"/>
                          <a:pt x="64" y="22"/>
                        </a:cubicBezTo>
                        <a:cubicBezTo>
                          <a:pt x="64" y="22"/>
                          <a:pt x="63" y="22"/>
                          <a:pt x="63" y="22"/>
                        </a:cubicBezTo>
                        <a:close/>
                        <a:moveTo>
                          <a:pt x="64" y="19"/>
                        </a:moveTo>
                        <a:cubicBezTo>
                          <a:pt x="64" y="19"/>
                          <a:pt x="64" y="19"/>
                          <a:pt x="64" y="19"/>
                        </a:cubicBezTo>
                        <a:cubicBezTo>
                          <a:pt x="64" y="19"/>
                          <a:pt x="64" y="19"/>
                          <a:pt x="64" y="19"/>
                        </a:cubicBezTo>
                        <a:close/>
                        <a:moveTo>
                          <a:pt x="61" y="23"/>
                        </a:moveTo>
                        <a:cubicBezTo>
                          <a:pt x="61" y="23"/>
                          <a:pt x="62" y="23"/>
                          <a:pt x="62" y="24"/>
                        </a:cubicBezTo>
                        <a:cubicBezTo>
                          <a:pt x="62" y="24"/>
                          <a:pt x="62" y="23"/>
                          <a:pt x="62" y="23"/>
                        </a:cubicBezTo>
                        <a:cubicBezTo>
                          <a:pt x="61" y="24"/>
                          <a:pt x="62" y="24"/>
                          <a:pt x="62" y="24"/>
                        </a:cubicBezTo>
                        <a:cubicBezTo>
                          <a:pt x="63" y="24"/>
                          <a:pt x="63" y="24"/>
                          <a:pt x="63" y="24"/>
                        </a:cubicBezTo>
                        <a:cubicBezTo>
                          <a:pt x="63" y="24"/>
                          <a:pt x="62" y="24"/>
                          <a:pt x="62" y="24"/>
                        </a:cubicBezTo>
                        <a:cubicBezTo>
                          <a:pt x="62" y="24"/>
                          <a:pt x="62" y="24"/>
                          <a:pt x="62" y="24"/>
                        </a:cubicBezTo>
                        <a:cubicBezTo>
                          <a:pt x="62" y="24"/>
                          <a:pt x="62" y="24"/>
                          <a:pt x="62" y="24"/>
                        </a:cubicBezTo>
                        <a:cubicBezTo>
                          <a:pt x="62" y="24"/>
                          <a:pt x="61" y="24"/>
                          <a:pt x="61" y="24"/>
                        </a:cubicBezTo>
                        <a:cubicBezTo>
                          <a:pt x="61" y="23"/>
                          <a:pt x="61" y="23"/>
                          <a:pt x="61" y="23"/>
                        </a:cubicBezTo>
                        <a:cubicBezTo>
                          <a:pt x="60" y="23"/>
                          <a:pt x="60" y="23"/>
                          <a:pt x="60" y="23"/>
                        </a:cubicBezTo>
                        <a:cubicBezTo>
                          <a:pt x="60" y="23"/>
                          <a:pt x="60" y="23"/>
                          <a:pt x="60" y="23"/>
                        </a:cubicBezTo>
                        <a:cubicBezTo>
                          <a:pt x="60" y="23"/>
                          <a:pt x="61" y="23"/>
                          <a:pt x="61" y="23"/>
                        </a:cubicBezTo>
                        <a:cubicBezTo>
                          <a:pt x="61" y="23"/>
                          <a:pt x="61" y="23"/>
                          <a:pt x="61" y="23"/>
                        </a:cubicBezTo>
                        <a:cubicBezTo>
                          <a:pt x="61" y="23"/>
                          <a:pt x="61" y="23"/>
                          <a:pt x="61" y="23"/>
                        </a:cubicBezTo>
                        <a:close/>
                        <a:moveTo>
                          <a:pt x="63" y="22"/>
                        </a:moveTo>
                        <a:cubicBezTo>
                          <a:pt x="63" y="22"/>
                          <a:pt x="63" y="22"/>
                          <a:pt x="63" y="22"/>
                        </a:cubicBezTo>
                        <a:close/>
                        <a:moveTo>
                          <a:pt x="62" y="22"/>
                        </a:moveTo>
                        <a:cubicBezTo>
                          <a:pt x="62" y="22"/>
                          <a:pt x="62" y="22"/>
                          <a:pt x="62" y="22"/>
                        </a:cubicBezTo>
                        <a:cubicBezTo>
                          <a:pt x="62" y="22"/>
                          <a:pt x="63" y="22"/>
                          <a:pt x="63" y="23"/>
                        </a:cubicBezTo>
                        <a:cubicBezTo>
                          <a:pt x="63" y="23"/>
                          <a:pt x="62" y="22"/>
                          <a:pt x="63" y="23"/>
                        </a:cubicBezTo>
                        <a:cubicBezTo>
                          <a:pt x="62" y="23"/>
                          <a:pt x="62" y="22"/>
                          <a:pt x="62" y="22"/>
                        </a:cubicBezTo>
                        <a:close/>
                        <a:moveTo>
                          <a:pt x="62" y="23"/>
                        </a:moveTo>
                        <a:cubicBezTo>
                          <a:pt x="62" y="23"/>
                          <a:pt x="62" y="23"/>
                          <a:pt x="62" y="23"/>
                        </a:cubicBezTo>
                        <a:cubicBezTo>
                          <a:pt x="62" y="23"/>
                          <a:pt x="62" y="23"/>
                          <a:pt x="62" y="23"/>
                        </a:cubicBezTo>
                        <a:close/>
                        <a:moveTo>
                          <a:pt x="62" y="23"/>
                        </a:moveTo>
                        <a:cubicBezTo>
                          <a:pt x="62" y="24"/>
                          <a:pt x="62" y="23"/>
                          <a:pt x="62" y="23"/>
                        </a:cubicBezTo>
                        <a:cubicBezTo>
                          <a:pt x="62" y="23"/>
                          <a:pt x="62" y="23"/>
                          <a:pt x="62" y="23"/>
                        </a:cubicBezTo>
                        <a:close/>
                        <a:moveTo>
                          <a:pt x="62" y="25"/>
                        </a:moveTo>
                        <a:cubicBezTo>
                          <a:pt x="62" y="25"/>
                          <a:pt x="62" y="25"/>
                          <a:pt x="62" y="25"/>
                        </a:cubicBezTo>
                        <a:cubicBezTo>
                          <a:pt x="62" y="25"/>
                          <a:pt x="62" y="25"/>
                          <a:pt x="62" y="25"/>
                        </a:cubicBezTo>
                        <a:cubicBezTo>
                          <a:pt x="62" y="25"/>
                          <a:pt x="62" y="25"/>
                          <a:pt x="62" y="25"/>
                        </a:cubicBezTo>
                        <a:close/>
                        <a:moveTo>
                          <a:pt x="62" y="25"/>
                        </a:move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2" y="25"/>
                          <a:pt x="62" y="25"/>
                        </a:cubicBezTo>
                        <a:cubicBezTo>
                          <a:pt x="62" y="25"/>
                          <a:pt x="62" y="25"/>
                          <a:pt x="62" y="25"/>
                        </a:cubicBezTo>
                        <a:close/>
                        <a:moveTo>
                          <a:pt x="62" y="19"/>
                        </a:moveTo>
                        <a:cubicBezTo>
                          <a:pt x="63" y="19"/>
                          <a:pt x="63" y="19"/>
                          <a:pt x="63" y="19"/>
                        </a:cubicBezTo>
                        <a:cubicBezTo>
                          <a:pt x="63" y="20"/>
                          <a:pt x="63" y="19"/>
                          <a:pt x="62" y="19"/>
                        </a:cubicBezTo>
                        <a:close/>
                        <a:moveTo>
                          <a:pt x="62" y="23"/>
                        </a:moveTo>
                        <a:cubicBezTo>
                          <a:pt x="62" y="23"/>
                          <a:pt x="62" y="23"/>
                          <a:pt x="61" y="23"/>
                        </a:cubicBezTo>
                        <a:cubicBezTo>
                          <a:pt x="62" y="23"/>
                          <a:pt x="62" y="23"/>
                          <a:pt x="62" y="23"/>
                        </a:cubicBezTo>
                        <a:close/>
                        <a:moveTo>
                          <a:pt x="62" y="22"/>
                        </a:moveTo>
                        <a:cubicBezTo>
                          <a:pt x="62" y="22"/>
                          <a:pt x="62" y="22"/>
                          <a:pt x="61" y="22"/>
                        </a:cubicBezTo>
                        <a:cubicBezTo>
                          <a:pt x="62" y="22"/>
                          <a:pt x="62" y="22"/>
                          <a:pt x="62" y="22"/>
                        </a:cubicBezTo>
                        <a:close/>
                        <a:moveTo>
                          <a:pt x="63" y="16"/>
                        </a:moveTo>
                        <a:cubicBezTo>
                          <a:pt x="63" y="16"/>
                          <a:pt x="63" y="16"/>
                          <a:pt x="63" y="16"/>
                        </a:cubicBezTo>
                        <a:cubicBezTo>
                          <a:pt x="63" y="16"/>
                          <a:pt x="63" y="16"/>
                          <a:pt x="63" y="16"/>
                        </a:cubicBezTo>
                        <a:close/>
                        <a:moveTo>
                          <a:pt x="62" y="19"/>
                        </a:moveTo>
                        <a:cubicBezTo>
                          <a:pt x="62" y="19"/>
                          <a:pt x="62" y="19"/>
                          <a:pt x="62" y="20"/>
                        </a:cubicBezTo>
                        <a:cubicBezTo>
                          <a:pt x="62" y="20"/>
                          <a:pt x="62" y="20"/>
                          <a:pt x="62" y="20"/>
                        </a:cubicBezTo>
                        <a:cubicBezTo>
                          <a:pt x="62" y="19"/>
                          <a:pt x="62" y="19"/>
                          <a:pt x="62" y="19"/>
                        </a:cubicBezTo>
                        <a:close/>
                        <a:moveTo>
                          <a:pt x="62" y="16"/>
                        </a:moveTo>
                        <a:cubicBezTo>
                          <a:pt x="62" y="15"/>
                          <a:pt x="63" y="16"/>
                          <a:pt x="63" y="16"/>
                        </a:cubicBezTo>
                        <a:cubicBezTo>
                          <a:pt x="63" y="16"/>
                          <a:pt x="62" y="16"/>
                          <a:pt x="62" y="16"/>
                        </a:cubicBezTo>
                        <a:close/>
                        <a:moveTo>
                          <a:pt x="60" y="21"/>
                        </a:moveTo>
                        <a:cubicBezTo>
                          <a:pt x="61" y="21"/>
                          <a:pt x="61" y="21"/>
                          <a:pt x="61" y="21"/>
                        </a:cubicBezTo>
                        <a:cubicBezTo>
                          <a:pt x="61" y="21"/>
                          <a:pt x="61" y="21"/>
                          <a:pt x="61" y="21"/>
                        </a:cubicBezTo>
                        <a:cubicBezTo>
                          <a:pt x="61" y="21"/>
                          <a:pt x="61" y="21"/>
                          <a:pt x="61" y="21"/>
                        </a:cubicBezTo>
                        <a:cubicBezTo>
                          <a:pt x="61" y="21"/>
                          <a:pt x="60" y="21"/>
                          <a:pt x="60" y="21"/>
                        </a:cubicBezTo>
                        <a:cubicBezTo>
                          <a:pt x="60" y="21"/>
                          <a:pt x="60" y="21"/>
                          <a:pt x="60" y="21"/>
                        </a:cubicBezTo>
                        <a:close/>
                        <a:moveTo>
                          <a:pt x="60" y="24"/>
                        </a:moveTo>
                        <a:cubicBezTo>
                          <a:pt x="59" y="24"/>
                          <a:pt x="59" y="24"/>
                          <a:pt x="59" y="24"/>
                        </a:cubicBezTo>
                        <a:cubicBezTo>
                          <a:pt x="59" y="24"/>
                          <a:pt x="59" y="24"/>
                          <a:pt x="59" y="24"/>
                        </a:cubicBezTo>
                        <a:cubicBezTo>
                          <a:pt x="59" y="24"/>
                          <a:pt x="59" y="24"/>
                          <a:pt x="60" y="24"/>
                        </a:cubicBezTo>
                        <a:cubicBezTo>
                          <a:pt x="59" y="24"/>
                          <a:pt x="60" y="24"/>
                          <a:pt x="60" y="24"/>
                        </a:cubicBezTo>
                        <a:close/>
                        <a:moveTo>
                          <a:pt x="60" y="20"/>
                        </a:moveTo>
                        <a:cubicBezTo>
                          <a:pt x="60" y="20"/>
                          <a:pt x="60" y="20"/>
                          <a:pt x="60" y="20"/>
                        </a:cubicBezTo>
                        <a:cubicBezTo>
                          <a:pt x="60" y="20"/>
                          <a:pt x="60" y="20"/>
                          <a:pt x="60" y="20"/>
                        </a:cubicBezTo>
                        <a:cubicBezTo>
                          <a:pt x="60" y="20"/>
                          <a:pt x="60" y="20"/>
                          <a:pt x="61" y="20"/>
                        </a:cubicBezTo>
                        <a:cubicBezTo>
                          <a:pt x="61" y="20"/>
                          <a:pt x="60" y="20"/>
                          <a:pt x="60" y="20"/>
                        </a:cubicBezTo>
                        <a:close/>
                        <a:moveTo>
                          <a:pt x="59" y="24"/>
                        </a:moveTo>
                        <a:cubicBezTo>
                          <a:pt x="59" y="24"/>
                          <a:pt x="59" y="24"/>
                          <a:pt x="59" y="24"/>
                        </a:cubicBezTo>
                        <a:cubicBezTo>
                          <a:pt x="59" y="24"/>
                          <a:pt x="59" y="23"/>
                          <a:pt x="58" y="23"/>
                        </a:cubicBezTo>
                        <a:cubicBezTo>
                          <a:pt x="58" y="23"/>
                          <a:pt x="58" y="23"/>
                          <a:pt x="58" y="23"/>
                        </a:cubicBezTo>
                        <a:cubicBezTo>
                          <a:pt x="59" y="23"/>
                          <a:pt x="59" y="23"/>
                          <a:pt x="59" y="24"/>
                        </a:cubicBezTo>
                        <a:cubicBezTo>
                          <a:pt x="59" y="24"/>
                          <a:pt x="59" y="24"/>
                          <a:pt x="60" y="24"/>
                        </a:cubicBezTo>
                        <a:cubicBezTo>
                          <a:pt x="59" y="24"/>
                          <a:pt x="59" y="24"/>
                          <a:pt x="59" y="24"/>
                        </a:cubicBezTo>
                        <a:cubicBezTo>
                          <a:pt x="59" y="24"/>
                          <a:pt x="59" y="24"/>
                          <a:pt x="59" y="24"/>
                        </a:cubicBezTo>
                        <a:close/>
                        <a:moveTo>
                          <a:pt x="59" y="25"/>
                        </a:moveTo>
                        <a:cubicBezTo>
                          <a:pt x="59" y="24"/>
                          <a:pt x="59" y="25"/>
                          <a:pt x="59" y="25"/>
                        </a:cubicBezTo>
                        <a:cubicBezTo>
                          <a:pt x="59" y="25"/>
                          <a:pt x="59" y="25"/>
                          <a:pt x="59" y="25"/>
                        </a:cubicBezTo>
                        <a:cubicBezTo>
                          <a:pt x="59" y="25"/>
                          <a:pt x="59" y="25"/>
                          <a:pt x="59" y="25"/>
                        </a:cubicBezTo>
                        <a:close/>
                        <a:moveTo>
                          <a:pt x="59" y="23"/>
                        </a:moveTo>
                        <a:cubicBezTo>
                          <a:pt x="60" y="23"/>
                          <a:pt x="60" y="23"/>
                          <a:pt x="60" y="23"/>
                        </a:cubicBezTo>
                        <a:cubicBezTo>
                          <a:pt x="60" y="23"/>
                          <a:pt x="60" y="23"/>
                          <a:pt x="60" y="23"/>
                        </a:cubicBezTo>
                        <a:cubicBezTo>
                          <a:pt x="59" y="23"/>
                          <a:pt x="59" y="23"/>
                          <a:pt x="59" y="23"/>
                        </a:cubicBezTo>
                        <a:cubicBezTo>
                          <a:pt x="59" y="23"/>
                          <a:pt x="59" y="23"/>
                          <a:pt x="59" y="23"/>
                        </a:cubicBezTo>
                        <a:close/>
                        <a:moveTo>
                          <a:pt x="60" y="19"/>
                        </a:moveTo>
                        <a:cubicBezTo>
                          <a:pt x="60" y="19"/>
                          <a:pt x="60" y="19"/>
                          <a:pt x="60" y="19"/>
                        </a:cubicBezTo>
                        <a:cubicBezTo>
                          <a:pt x="60" y="19"/>
                          <a:pt x="60" y="19"/>
                          <a:pt x="60" y="19"/>
                        </a:cubicBezTo>
                        <a:cubicBezTo>
                          <a:pt x="61" y="19"/>
                          <a:pt x="61" y="19"/>
                          <a:pt x="61" y="19"/>
                        </a:cubicBezTo>
                        <a:cubicBezTo>
                          <a:pt x="61" y="19"/>
                          <a:pt x="60" y="19"/>
                          <a:pt x="60" y="19"/>
                        </a:cubicBezTo>
                        <a:close/>
                        <a:moveTo>
                          <a:pt x="59" y="22"/>
                        </a:moveTo>
                        <a:cubicBezTo>
                          <a:pt x="59" y="22"/>
                          <a:pt x="59" y="22"/>
                          <a:pt x="59" y="22"/>
                        </a:cubicBezTo>
                        <a:cubicBezTo>
                          <a:pt x="59" y="22"/>
                          <a:pt x="59" y="22"/>
                          <a:pt x="59" y="22"/>
                        </a:cubicBezTo>
                        <a:close/>
                        <a:moveTo>
                          <a:pt x="59" y="23"/>
                        </a:moveTo>
                        <a:cubicBezTo>
                          <a:pt x="59" y="23"/>
                          <a:pt x="59" y="23"/>
                          <a:pt x="58" y="22"/>
                        </a:cubicBezTo>
                        <a:cubicBezTo>
                          <a:pt x="59" y="22"/>
                          <a:pt x="59" y="23"/>
                          <a:pt x="59" y="23"/>
                        </a:cubicBezTo>
                        <a:close/>
                        <a:moveTo>
                          <a:pt x="59" y="20"/>
                        </a:moveTo>
                        <a:cubicBezTo>
                          <a:pt x="59" y="20"/>
                          <a:pt x="59" y="20"/>
                          <a:pt x="59" y="20"/>
                        </a:cubicBezTo>
                        <a:cubicBezTo>
                          <a:pt x="59" y="20"/>
                          <a:pt x="59" y="20"/>
                          <a:pt x="58" y="20"/>
                        </a:cubicBezTo>
                        <a:cubicBezTo>
                          <a:pt x="58" y="20"/>
                          <a:pt x="59" y="20"/>
                          <a:pt x="59" y="20"/>
                        </a:cubicBezTo>
                        <a:cubicBezTo>
                          <a:pt x="59" y="20"/>
                          <a:pt x="59" y="20"/>
                          <a:pt x="58" y="20"/>
                        </a:cubicBezTo>
                        <a:cubicBezTo>
                          <a:pt x="58" y="20"/>
                          <a:pt x="59" y="20"/>
                          <a:pt x="59" y="20"/>
                        </a:cubicBezTo>
                        <a:cubicBezTo>
                          <a:pt x="58" y="20"/>
                          <a:pt x="58" y="20"/>
                          <a:pt x="58" y="20"/>
                        </a:cubicBezTo>
                        <a:cubicBezTo>
                          <a:pt x="58" y="19"/>
                          <a:pt x="58" y="19"/>
                          <a:pt x="58" y="19"/>
                        </a:cubicBezTo>
                        <a:cubicBezTo>
                          <a:pt x="58" y="20"/>
                          <a:pt x="58" y="20"/>
                          <a:pt x="59" y="20"/>
                        </a:cubicBezTo>
                        <a:cubicBezTo>
                          <a:pt x="59" y="20"/>
                          <a:pt x="59" y="20"/>
                          <a:pt x="59" y="19"/>
                        </a:cubicBezTo>
                        <a:cubicBezTo>
                          <a:pt x="59" y="20"/>
                          <a:pt x="59" y="20"/>
                          <a:pt x="59" y="20"/>
                        </a:cubicBezTo>
                        <a:cubicBezTo>
                          <a:pt x="59" y="20"/>
                          <a:pt x="59" y="20"/>
                          <a:pt x="59" y="20"/>
                        </a:cubicBezTo>
                        <a:cubicBezTo>
                          <a:pt x="59" y="20"/>
                          <a:pt x="59" y="20"/>
                          <a:pt x="59" y="20"/>
                        </a:cubicBezTo>
                        <a:cubicBezTo>
                          <a:pt x="59" y="20"/>
                          <a:pt x="59" y="20"/>
                          <a:pt x="59" y="20"/>
                        </a:cubicBezTo>
                        <a:cubicBezTo>
                          <a:pt x="59" y="20"/>
                          <a:pt x="60" y="20"/>
                          <a:pt x="60" y="20"/>
                        </a:cubicBezTo>
                        <a:cubicBezTo>
                          <a:pt x="59" y="20"/>
                          <a:pt x="59" y="20"/>
                          <a:pt x="59" y="20"/>
                        </a:cubicBezTo>
                        <a:close/>
                        <a:moveTo>
                          <a:pt x="57" y="22"/>
                        </a:moveTo>
                        <a:cubicBezTo>
                          <a:pt x="58" y="22"/>
                          <a:pt x="58" y="23"/>
                          <a:pt x="59" y="23"/>
                        </a:cubicBezTo>
                        <a:cubicBezTo>
                          <a:pt x="58" y="23"/>
                          <a:pt x="58" y="22"/>
                          <a:pt x="57" y="22"/>
                        </a:cubicBezTo>
                        <a:close/>
                        <a:moveTo>
                          <a:pt x="59" y="21"/>
                        </a:moveTo>
                        <a:cubicBezTo>
                          <a:pt x="59" y="21"/>
                          <a:pt x="59" y="21"/>
                          <a:pt x="59" y="21"/>
                        </a:cubicBezTo>
                        <a:cubicBezTo>
                          <a:pt x="59" y="21"/>
                          <a:pt x="59" y="21"/>
                          <a:pt x="59" y="21"/>
                        </a:cubicBezTo>
                        <a:close/>
                        <a:moveTo>
                          <a:pt x="57" y="24"/>
                        </a:moveTo>
                        <a:cubicBezTo>
                          <a:pt x="57" y="24"/>
                          <a:pt x="58" y="24"/>
                          <a:pt x="58" y="24"/>
                        </a:cubicBezTo>
                        <a:cubicBezTo>
                          <a:pt x="57" y="24"/>
                          <a:pt x="57" y="24"/>
                          <a:pt x="57" y="24"/>
                        </a:cubicBezTo>
                        <a:close/>
                        <a:moveTo>
                          <a:pt x="58" y="20"/>
                        </a:moveTo>
                        <a:cubicBezTo>
                          <a:pt x="58" y="19"/>
                          <a:pt x="58" y="20"/>
                          <a:pt x="58" y="20"/>
                        </a:cubicBezTo>
                        <a:cubicBezTo>
                          <a:pt x="58" y="20"/>
                          <a:pt x="58" y="20"/>
                          <a:pt x="58" y="20"/>
                        </a:cubicBezTo>
                        <a:close/>
                        <a:moveTo>
                          <a:pt x="58" y="21"/>
                        </a:moveTo>
                        <a:cubicBezTo>
                          <a:pt x="58" y="21"/>
                          <a:pt x="58" y="21"/>
                          <a:pt x="58" y="21"/>
                        </a:cubicBezTo>
                        <a:cubicBezTo>
                          <a:pt x="58" y="21"/>
                          <a:pt x="58" y="21"/>
                          <a:pt x="58" y="21"/>
                        </a:cubicBezTo>
                        <a:cubicBezTo>
                          <a:pt x="58" y="21"/>
                          <a:pt x="58" y="21"/>
                          <a:pt x="58" y="21"/>
                        </a:cubicBezTo>
                        <a:cubicBezTo>
                          <a:pt x="58" y="21"/>
                          <a:pt x="58" y="21"/>
                          <a:pt x="58" y="21"/>
                        </a:cubicBezTo>
                        <a:close/>
                        <a:moveTo>
                          <a:pt x="57" y="22"/>
                        </a:moveTo>
                        <a:cubicBezTo>
                          <a:pt x="57" y="22"/>
                          <a:pt x="57" y="22"/>
                          <a:pt x="57" y="22"/>
                        </a:cubicBezTo>
                        <a:cubicBezTo>
                          <a:pt x="57" y="22"/>
                          <a:pt x="57" y="22"/>
                          <a:pt x="57" y="22"/>
                        </a:cubicBezTo>
                        <a:cubicBezTo>
                          <a:pt x="57" y="21"/>
                          <a:pt x="57" y="22"/>
                          <a:pt x="57" y="22"/>
                        </a:cubicBezTo>
                        <a:cubicBezTo>
                          <a:pt x="57" y="22"/>
                          <a:pt x="58" y="22"/>
                          <a:pt x="57" y="22"/>
                        </a:cubicBezTo>
                        <a:close/>
                        <a:moveTo>
                          <a:pt x="56" y="24"/>
                        </a:moveTo>
                        <a:cubicBezTo>
                          <a:pt x="57" y="24"/>
                          <a:pt x="57" y="24"/>
                          <a:pt x="57" y="24"/>
                        </a:cubicBezTo>
                        <a:cubicBezTo>
                          <a:pt x="57" y="24"/>
                          <a:pt x="56" y="24"/>
                          <a:pt x="56" y="24"/>
                        </a:cubicBezTo>
                        <a:cubicBezTo>
                          <a:pt x="56" y="24"/>
                          <a:pt x="56" y="24"/>
                          <a:pt x="56" y="24"/>
                        </a:cubicBezTo>
                        <a:close/>
                        <a:moveTo>
                          <a:pt x="56" y="24"/>
                        </a:moveTo>
                        <a:cubicBezTo>
                          <a:pt x="56" y="24"/>
                          <a:pt x="56" y="24"/>
                          <a:pt x="56" y="23"/>
                        </a:cubicBezTo>
                        <a:cubicBezTo>
                          <a:pt x="56" y="23"/>
                          <a:pt x="56" y="24"/>
                          <a:pt x="56" y="24"/>
                        </a:cubicBezTo>
                        <a:close/>
                        <a:moveTo>
                          <a:pt x="56" y="24"/>
                        </a:moveTo>
                        <a:cubicBezTo>
                          <a:pt x="56" y="24"/>
                          <a:pt x="56" y="24"/>
                          <a:pt x="56" y="24"/>
                        </a:cubicBezTo>
                        <a:cubicBezTo>
                          <a:pt x="56" y="24"/>
                          <a:pt x="56" y="24"/>
                          <a:pt x="56" y="24"/>
                        </a:cubicBezTo>
                        <a:cubicBezTo>
                          <a:pt x="56" y="24"/>
                          <a:pt x="56" y="24"/>
                          <a:pt x="56" y="24"/>
                        </a:cubicBezTo>
                        <a:close/>
                        <a:moveTo>
                          <a:pt x="57" y="18"/>
                        </a:moveTo>
                        <a:cubicBezTo>
                          <a:pt x="57" y="18"/>
                          <a:pt x="58" y="18"/>
                          <a:pt x="58" y="18"/>
                        </a:cubicBezTo>
                        <a:cubicBezTo>
                          <a:pt x="58" y="18"/>
                          <a:pt x="58" y="18"/>
                          <a:pt x="57" y="18"/>
                        </a:cubicBezTo>
                        <a:close/>
                        <a:moveTo>
                          <a:pt x="57" y="18"/>
                        </a:moveTo>
                        <a:cubicBezTo>
                          <a:pt x="57" y="18"/>
                          <a:pt x="57" y="18"/>
                          <a:pt x="57" y="18"/>
                        </a:cubicBezTo>
                        <a:cubicBezTo>
                          <a:pt x="57" y="18"/>
                          <a:pt x="57" y="18"/>
                          <a:pt x="57" y="18"/>
                        </a:cubicBezTo>
                        <a:cubicBezTo>
                          <a:pt x="57" y="18"/>
                          <a:pt x="57" y="18"/>
                          <a:pt x="57" y="18"/>
                        </a:cubicBezTo>
                        <a:cubicBezTo>
                          <a:pt x="57" y="18"/>
                          <a:pt x="57" y="18"/>
                          <a:pt x="57" y="19"/>
                        </a:cubicBezTo>
                        <a:cubicBezTo>
                          <a:pt x="57" y="19"/>
                          <a:pt x="57" y="18"/>
                          <a:pt x="57" y="18"/>
                        </a:cubicBezTo>
                        <a:close/>
                        <a:moveTo>
                          <a:pt x="57" y="18"/>
                        </a:moveTo>
                        <a:cubicBezTo>
                          <a:pt x="57" y="18"/>
                          <a:pt x="57" y="18"/>
                          <a:pt x="57" y="18"/>
                        </a:cubicBezTo>
                        <a:cubicBezTo>
                          <a:pt x="57" y="18"/>
                          <a:pt x="57" y="18"/>
                          <a:pt x="57" y="18"/>
                        </a:cubicBezTo>
                        <a:cubicBezTo>
                          <a:pt x="57" y="18"/>
                          <a:pt x="57" y="18"/>
                          <a:pt x="57" y="18"/>
                        </a:cubicBezTo>
                        <a:close/>
                        <a:moveTo>
                          <a:pt x="57" y="19"/>
                        </a:moveTo>
                        <a:cubicBezTo>
                          <a:pt x="57" y="19"/>
                          <a:pt x="57" y="19"/>
                          <a:pt x="57" y="19"/>
                        </a:cubicBezTo>
                        <a:cubicBezTo>
                          <a:pt x="57" y="19"/>
                          <a:pt x="57" y="19"/>
                          <a:pt x="57" y="19"/>
                        </a:cubicBezTo>
                        <a:cubicBezTo>
                          <a:pt x="57" y="19"/>
                          <a:pt x="57" y="19"/>
                          <a:pt x="57" y="19"/>
                        </a:cubicBezTo>
                        <a:cubicBezTo>
                          <a:pt x="57" y="19"/>
                          <a:pt x="57" y="19"/>
                          <a:pt x="57" y="19"/>
                        </a:cubicBezTo>
                        <a:close/>
                        <a:moveTo>
                          <a:pt x="58" y="16"/>
                        </a:moveTo>
                        <a:cubicBezTo>
                          <a:pt x="58" y="16"/>
                          <a:pt x="58" y="16"/>
                          <a:pt x="58" y="16"/>
                        </a:cubicBezTo>
                        <a:cubicBezTo>
                          <a:pt x="58" y="16"/>
                          <a:pt x="58" y="16"/>
                          <a:pt x="58" y="16"/>
                        </a:cubicBezTo>
                        <a:close/>
                        <a:moveTo>
                          <a:pt x="56" y="22"/>
                        </a:moveTo>
                        <a:cubicBezTo>
                          <a:pt x="56" y="22"/>
                          <a:pt x="55" y="22"/>
                          <a:pt x="56" y="22"/>
                        </a:cubicBezTo>
                        <a:cubicBezTo>
                          <a:pt x="56" y="22"/>
                          <a:pt x="56" y="22"/>
                          <a:pt x="55" y="22"/>
                        </a:cubicBezTo>
                        <a:cubicBezTo>
                          <a:pt x="56" y="22"/>
                          <a:pt x="55" y="22"/>
                          <a:pt x="55" y="22"/>
                        </a:cubicBezTo>
                        <a:cubicBezTo>
                          <a:pt x="56" y="22"/>
                          <a:pt x="56" y="22"/>
                          <a:pt x="56" y="22"/>
                        </a:cubicBezTo>
                        <a:close/>
                        <a:moveTo>
                          <a:pt x="55" y="24"/>
                        </a:moveTo>
                        <a:cubicBezTo>
                          <a:pt x="55" y="24"/>
                          <a:pt x="55" y="24"/>
                          <a:pt x="54" y="24"/>
                        </a:cubicBezTo>
                        <a:cubicBezTo>
                          <a:pt x="55" y="23"/>
                          <a:pt x="55" y="24"/>
                          <a:pt x="55" y="24"/>
                        </a:cubicBezTo>
                        <a:close/>
                        <a:moveTo>
                          <a:pt x="55" y="23"/>
                        </a:moveTo>
                        <a:cubicBezTo>
                          <a:pt x="55" y="24"/>
                          <a:pt x="55" y="23"/>
                          <a:pt x="55" y="23"/>
                        </a:cubicBezTo>
                        <a:cubicBezTo>
                          <a:pt x="55" y="23"/>
                          <a:pt x="55" y="23"/>
                          <a:pt x="55" y="23"/>
                        </a:cubicBezTo>
                        <a:close/>
                        <a:moveTo>
                          <a:pt x="55" y="22"/>
                        </a:moveTo>
                        <a:cubicBezTo>
                          <a:pt x="55" y="22"/>
                          <a:pt x="55" y="22"/>
                          <a:pt x="55" y="22"/>
                        </a:cubicBezTo>
                        <a:cubicBezTo>
                          <a:pt x="55" y="22"/>
                          <a:pt x="55" y="22"/>
                          <a:pt x="55" y="22"/>
                        </a:cubicBezTo>
                        <a:close/>
                        <a:moveTo>
                          <a:pt x="55" y="23"/>
                        </a:moveTo>
                        <a:cubicBezTo>
                          <a:pt x="55" y="23"/>
                          <a:pt x="55" y="23"/>
                          <a:pt x="55" y="23"/>
                        </a:cubicBezTo>
                        <a:cubicBezTo>
                          <a:pt x="55" y="23"/>
                          <a:pt x="55" y="23"/>
                          <a:pt x="54" y="23"/>
                        </a:cubicBezTo>
                        <a:cubicBezTo>
                          <a:pt x="55" y="23"/>
                          <a:pt x="55" y="23"/>
                          <a:pt x="55" y="23"/>
                        </a:cubicBezTo>
                        <a:cubicBezTo>
                          <a:pt x="55" y="23"/>
                          <a:pt x="55" y="23"/>
                          <a:pt x="55" y="23"/>
                        </a:cubicBezTo>
                        <a:close/>
                        <a:moveTo>
                          <a:pt x="55" y="18"/>
                        </a:moveTo>
                        <a:cubicBezTo>
                          <a:pt x="55" y="18"/>
                          <a:pt x="55" y="18"/>
                          <a:pt x="55" y="18"/>
                        </a:cubicBezTo>
                        <a:cubicBezTo>
                          <a:pt x="55" y="18"/>
                          <a:pt x="55" y="18"/>
                          <a:pt x="56" y="18"/>
                        </a:cubicBezTo>
                        <a:cubicBezTo>
                          <a:pt x="55" y="18"/>
                          <a:pt x="55" y="18"/>
                          <a:pt x="55" y="18"/>
                        </a:cubicBezTo>
                        <a:cubicBezTo>
                          <a:pt x="55" y="18"/>
                          <a:pt x="55" y="18"/>
                          <a:pt x="55" y="18"/>
                        </a:cubicBezTo>
                        <a:close/>
                        <a:moveTo>
                          <a:pt x="54" y="18"/>
                        </a:moveTo>
                        <a:cubicBezTo>
                          <a:pt x="54" y="18"/>
                          <a:pt x="55" y="18"/>
                          <a:pt x="54" y="18"/>
                        </a:cubicBezTo>
                        <a:cubicBezTo>
                          <a:pt x="54" y="17"/>
                          <a:pt x="54" y="17"/>
                          <a:pt x="54" y="17"/>
                        </a:cubicBezTo>
                        <a:cubicBezTo>
                          <a:pt x="55" y="17"/>
                          <a:pt x="54" y="18"/>
                          <a:pt x="55" y="18"/>
                        </a:cubicBezTo>
                        <a:cubicBezTo>
                          <a:pt x="55" y="18"/>
                          <a:pt x="55" y="18"/>
                          <a:pt x="55" y="18"/>
                        </a:cubicBezTo>
                        <a:lnTo>
                          <a:pt x="54" y="18"/>
                        </a:lnTo>
                        <a:close/>
                        <a:moveTo>
                          <a:pt x="53" y="20"/>
                        </a:moveTo>
                        <a:cubicBezTo>
                          <a:pt x="53" y="20"/>
                          <a:pt x="53" y="20"/>
                          <a:pt x="53" y="20"/>
                        </a:cubicBezTo>
                        <a:cubicBezTo>
                          <a:pt x="53" y="20"/>
                          <a:pt x="53" y="20"/>
                          <a:pt x="53" y="20"/>
                        </a:cubicBezTo>
                        <a:close/>
                        <a:moveTo>
                          <a:pt x="54" y="14"/>
                        </a:moveTo>
                        <a:cubicBezTo>
                          <a:pt x="55" y="14"/>
                          <a:pt x="55" y="14"/>
                          <a:pt x="55" y="14"/>
                        </a:cubicBezTo>
                        <a:cubicBezTo>
                          <a:pt x="55" y="14"/>
                          <a:pt x="54" y="14"/>
                          <a:pt x="54" y="14"/>
                        </a:cubicBezTo>
                        <a:close/>
                        <a:moveTo>
                          <a:pt x="53" y="17"/>
                        </a:moveTo>
                        <a:cubicBezTo>
                          <a:pt x="53" y="17"/>
                          <a:pt x="53" y="17"/>
                          <a:pt x="53" y="17"/>
                        </a:cubicBezTo>
                        <a:cubicBezTo>
                          <a:pt x="53" y="17"/>
                          <a:pt x="53" y="17"/>
                          <a:pt x="53" y="17"/>
                        </a:cubicBezTo>
                        <a:close/>
                        <a:moveTo>
                          <a:pt x="52" y="17"/>
                        </a:moveTo>
                        <a:cubicBezTo>
                          <a:pt x="52" y="17"/>
                          <a:pt x="53" y="17"/>
                          <a:pt x="53" y="17"/>
                        </a:cubicBezTo>
                        <a:cubicBezTo>
                          <a:pt x="53" y="17"/>
                          <a:pt x="53" y="17"/>
                          <a:pt x="53" y="17"/>
                        </a:cubicBezTo>
                        <a:cubicBezTo>
                          <a:pt x="52" y="17"/>
                          <a:pt x="53" y="17"/>
                          <a:pt x="52" y="17"/>
                        </a:cubicBezTo>
                        <a:close/>
                        <a:moveTo>
                          <a:pt x="52" y="14"/>
                        </a:moveTo>
                        <a:cubicBezTo>
                          <a:pt x="52" y="14"/>
                          <a:pt x="52" y="14"/>
                          <a:pt x="52" y="14"/>
                        </a:cubicBezTo>
                        <a:cubicBezTo>
                          <a:pt x="53" y="13"/>
                          <a:pt x="53" y="14"/>
                          <a:pt x="53" y="14"/>
                        </a:cubicBezTo>
                        <a:cubicBezTo>
                          <a:pt x="53" y="14"/>
                          <a:pt x="53" y="14"/>
                          <a:pt x="52" y="14"/>
                        </a:cubicBezTo>
                        <a:close/>
                        <a:moveTo>
                          <a:pt x="52" y="18"/>
                        </a:moveTo>
                        <a:cubicBezTo>
                          <a:pt x="52" y="18"/>
                          <a:pt x="52" y="17"/>
                          <a:pt x="52" y="17"/>
                        </a:cubicBezTo>
                        <a:cubicBezTo>
                          <a:pt x="52" y="17"/>
                          <a:pt x="52" y="17"/>
                          <a:pt x="52" y="18"/>
                        </a:cubicBezTo>
                        <a:close/>
                        <a:moveTo>
                          <a:pt x="52" y="17"/>
                        </a:moveTo>
                        <a:cubicBezTo>
                          <a:pt x="52" y="17"/>
                          <a:pt x="52" y="17"/>
                          <a:pt x="52" y="16"/>
                        </a:cubicBezTo>
                        <a:cubicBezTo>
                          <a:pt x="52" y="16"/>
                          <a:pt x="52" y="17"/>
                          <a:pt x="52" y="17"/>
                        </a:cubicBezTo>
                        <a:close/>
                        <a:moveTo>
                          <a:pt x="52" y="17"/>
                        </a:moveTo>
                        <a:cubicBezTo>
                          <a:pt x="52" y="17"/>
                          <a:pt x="51" y="16"/>
                          <a:pt x="52" y="17"/>
                        </a:cubicBezTo>
                        <a:close/>
                        <a:moveTo>
                          <a:pt x="52" y="13"/>
                        </a:moveTo>
                        <a:cubicBezTo>
                          <a:pt x="52" y="13"/>
                          <a:pt x="53" y="13"/>
                          <a:pt x="53" y="13"/>
                        </a:cubicBezTo>
                        <a:cubicBezTo>
                          <a:pt x="53" y="13"/>
                          <a:pt x="52" y="12"/>
                          <a:pt x="52" y="13"/>
                        </a:cubicBezTo>
                        <a:close/>
                        <a:moveTo>
                          <a:pt x="50" y="18"/>
                        </a:moveTo>
                        <a:cubicBezTo>
                          <a:pt x="50" y="18"/>
                          <a:pt x="50" y="18"/>
                          <a:pt x="50" y="18"/>
                        </a:cubicBezTo>
                        <a:cubicBezTo>
                          <a:pt x="50" y="19"/>
                          <a:pt x="50" y="18"/>
                          <a:pt x="50" y="18"/>
                        </a:cubicBezTo>
                        <a:close/>
                        <a:moveTo>
                          <a:pt x="48" y="19"/>
                        </a:moveTo>
                        <a:cubicBezTo>
                          <a:pt x="48" y="19"/>
                          <a:pt x="48" y="19"/>
                          <a:pt x="48" y="19"/>
                        </a:cubicBezTo>
                        <a:cubicBezTo>
                          <a:pt x="49" y="19"/>
                          <a:pt x="48" y="19"/>
                          <a:pt x="48" y="19"/>
                        </a:cubicBezTo>
                        <a:close/>
                        <a:moveTo>
                          <a:pt x="49" y="14"/>
                        </a:moveTo>
                        <a:cubicBezTo>
                          <a:pt x="49" y="14"/>
                          <a:pt x="49" y="14"/>
                          <a:pt x="49" y="14"/>
                        </a:cubicBezTo>
                        <a:cubicBezTo>
                          <a:pt x="49" y="15"/>
                          <a:pt x="49" y="14"/>
                          <a:pt x="49" y="14"/>
                        </a:cubicBezTo>
                        <a:close/>
                        <a:moveTo>
                          <a:pt x="48" y="15"/>
                        </a:moveTo>
                        <a:cubicBezTo>
                          <a:pt x="48" y="15"/>
                          <a:pt x="49" y="16"/>
                          <a:pt x="49" y="16"/>
                        </a:cubicBezTo>
                        <a:cubicBezTo>
                          <a:pt x="49" y="16"/>
                          <a:pt x="48" y="16"/>
                          <a:pt x="48" y="15"/>
                        </a:cubicBezTo>
                        <a:close/>
                        <a:moveTo>
                          <a:pt x="47" y="20"/>
                        </a:moveTo>
                        <a:cubicBezTo>
                          <a:pt x="47" y="20"/>
                          <a:pt x="47" y="20"/>
                          <a:pt x="47" y="20"/>
                        </a:cubicBezTo>
                        <a:cubicBezTo>
                          <a:pt x="47" y="20"/>
                          <a:pt x="47" y="20"/>
                          <a:pt x="47" y="20"/>
                        </a:cubicBezTo>
                        <a:cubicBezTo>
                          <a:pt x="47" y="20"/>
                          <a:pt x="47" y="20"/>
                          <a:pt x="47" y="20"/>
                        </a:cubicBezTo>
                        <a:close/>
                        <a:moveTo>
                          <a:pt x="47" y="19"/>
                        </a:moveTo>
                        <a:cubicBezTo>
                          <a:pt x="47" y="19"/>
                          <a:pt x="47" y="19"/>
                          <a:pt x="47" y="19"/>
                        </a:cubicBezTo>
                        <a:cubicBezTo>
                          <a:pt x="47" y="18"/>
                          <a:pt x="47" y="19"/>
                          <a:pt x="47" y="19"/>
                        </a:cubicBezTo>
                        <a:close/>
                        <a:moveTo>
                          <a:pt x="46" y="20"/>
                        </a:moveTo>
                        <a:cubicBezTo>
                          <a:pt x="47" y="20"/>
                          <a:pt x="46" y="20"/>
                          <a:pt x="46" y="20"/>
                        </a:cubicBezTo>
                        <a:cubicBezTo>
                          <a:pt x="46" y="20"/>
                          <a:pt x="46" y="20"/>
                          <a:pt x="46" y="20"/>
                        </a:cubicBezTo>
                        <a:cubicBezTo>
                          <a:pt x="46" y="20"/>
                          <a:pt x="46" y="20"/>
                          <a:pt x="46" y="20"/>
                        </a:cubicBezTo>
                        <a:close/>
                        <a:moveTo>
                          <a:pt x="47" y="14"/>
                        </a:moveTo>
                        <a:cubicBezTo>
                          <a:pt x="48" y="14"/>
                          <a:pt x="48" y="14"/>
                          <a:pt x="48" y="14"/>
                        </a:cubicBezTo>
                        <a:cubicBezTo>
                          <a:pt x="48" y="14"/>
                          <a:pt x="47" y="14"/>
                          <a:pt x="47" y="14"/>
                        </a:cubicBezTo>
                        <a:close/>
                        <a:moveTo>
                          <a:pt x="45" y="21"/>
                        </a:moveTo>
                        <a:cubicBezTo>
                          <a:pt x="45" y="21"/>
                          <a:pt x="45" y="21"/>
                          <a:pt x="45" y="21"/>
                        </a:cubicBezTo>
                        <a:cubicBezTo>
                          <a:pt x="45" y="21"/>
                          <a:pt x="45" y="21"/>
                          <a:pt x="45" y="21"/>
                        </a:cubicBezTo>
                        <a:close/>
                        <a:moveTo>
                          <a:pt x="46" y="19"/>
                        </a:move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8"/>
                          <a:pt x="46" y="19"/>
                          <a:pt x="46" y="19"/>
                        </a:cubicBezTo>
                        <a:close/>
                        <a:moveTo>
                          <a:pt x="43" y="13"/>
                        </a:moveTo>
                        <a:cubicBezTo>
                          <a:pt x="43" y="13"/>
                          <a:pt x="43" y="13"/>
                          <a:pt x="42" y="13"/>
                        </a:cubicBezTo>
                        <a:cubicBezTo>
                          <a:pt x="42" y="13"/>
                          <a:pt x="43" y="13"/>
                          <a:pt x="43" y="13"/>
                        </a:cubicBezTo>
                        <a:close/>
                        <a:moveTo>
                          <a:pt x="36" y="16"/>
                        </a:moveTo>
                        <a:cubicBezTo>
                          <a:pt x="36" y="16"/>
                          <a:pt x="36" y="16"/>
                          <a:pt x="36" y="16"/>
                        </a:cubicBezTo>
                        <a:cubicBezTo>
                          <a:pt x="36" y="16"/>
                          <a:pt x="36" y="16"/>
                          <a:pt x="36" y="16"/>
                        </a:cubicBezTo>
                        <a:close/>
                        <a:moveTo>
                          <a:pt x="37" y="12"/>
                        </a:moveTo>
                        <a:cubicBezTo>
                          <a:pt x="37" y="12"/>
                          <a:pt x="36" y="12"/>
                          <a:pt x="36" y="12"/>
                        </a:cubicBezTo>
                        <a:cubicBezTo>
                          <a:pt x="36" y="12"/>
                          <a:pt x="36" y="12"/>
                          <a:pt x="37" y="12"/>
                        </a:cubicBezTo>
                        <a:close/>
                        <a:moveTo>
                          <a:pt x="34" y="16"/>
                        </a:moveTo>
                        <a:cubicBezTo>
                          <a:pt x="34" y="16"/>
                          <a:pt x="34" y="16"/>
                          <a:pt x="34" y="16"/>
                        </a:cubicBezTo>
                        <a:cubicBezTo>
                          <a:pt x="34" y="16"/>
                          <a:pt x="34" y="16"/>
                          <a:pt x="34" y="15"/>
                        </a:cubicBezTo>
                        <a:cubicBezTo>
                          <a:pt x="35" y="16"/>
                          <a:pt x="34" y="16"/>
                          <a:pt x="35" y="16"/>
                        </a:cubicBezTo>
                        <a:cubicBezTo>
                          <a:pt x="35" y="16"/>
                          <a:pt x="35" y="16"/>
                          <a:pt x="34" y="16"/>
                        </a:cubicBezTo>
                        <a:close/>
                        <a:moveTo>
                          <a:pt x="30" y="14"/>
                        </a:moveTo>
                        <a:cubicBezTo>
                          <a:pt x="30" y="14"/>
                          <a:pt x="30" y="14"/>
                          <a:pt x="30" y="14"/>
                        </a:cubicBezTo>
                        <a:cubicBezTo>
                          <a:pt x="30" y="14"/>
                          <a:pt x="30" y="14"/>
                          <a:pt x="30" y="14"/>
                        </a:cubicBezTo>
                        <a:close/>
                        <a:moveTo>
                          <a:pt x="29" y="15"/>
                        </a:moveTo>
                        <a:cubicBezTo>
                          <a:pt x="28" y="15"/>
                          <a:pt x="28" y="15"/>
                          <a:pt x="28" y="15"/>
                        </a:cubicBezTo>
                        <a:cubicBezTo>
                          <a:pt x="28" y="15"/>
                          <a:pt x="28" y="15"/>
                          <a:pt x="29" y="15"/>
                        </a:cubicBezTo>
                        <a:close/>
                        <a:moveTo>
                          <a:pt x="27" y="14"/>
                        </a:moveTo>
                        <a:cubicBezTo>
                          <a:pt x="27" y="15"/>
                          <a:pt x="27" y="14"/>
                          <a:pt x="27" y="15"/>
                        </a:cubicBezTo>
                        <a:cubicBezTo>
                          <a:pt x="26" y="15"/>
                          <a:pt x="26" y="14"/>
                          <a:pt x="27" y="14"/>
                        </a:cubicBezTo>
                        <a:close/>
                        <a:moveTo>
                          <a:pt x="26" y="14"/>
                        </a:moveTo>
                        <a:cubicBezTo>
                          <a:pt x="26" y="14"/>
                          <a:pt x="26" y="14"/>
                          <a:pt x="26" y="14"/>
                        </a:cubicBezTo>
                        <a:cubicBezTo>
                          <a:pt x="26" y="14"/>
                          <a:pt x="26" y="14"/>
                          <a:pt x="26" y="14"/>
                        </a:cubicBezTo>
                        <a:cubicBezTo>
                          <a:pt x="26" y="14"/>
                          <a:pt x="26" y="14"/>
                          <a:pt x="26" y="14"/>
                        </a:cubicBezTo>
                        <a:close/>
                        <a:moveTo>
                          <a:pt x="26" y="13"/>
                        </a:moveTo>
                        <a:cubicBezTo>
                          <a:pt x="26" y="13"/>
                          <a:pt x="26" y="13"/>
                          <a:pt x="26" y="13"/>
                        </a:cubicBezTo>
                        <a:cubicBezTo>
                          <a:pt x="26" y="13"/>
                          <a:pt x="26" y="13"/>
                          <a:pt x="26" y="13"/>
                        </a:cubicBezTo>
                        <a:cubicBezTo>
                          <a:pt x="27" y="14"/>
                          <a:pt x="26" y="13"/>
                          <a:pt x="26" y="13"/>
                        </a:cubicBezTo>
                        <a:close/>
                        <a:moveTo>
                          <a:pt x="25" y="11"/>
                        </a:moveTo>
                        <a:cubicBezTo>
                          <a:pt x="26" y="11"/>
                          <a:pt x="26" y="11"/>
                          <a:pt x="26" y="11"/>
                        </a:cubicBezTo>
                        <a:cubicBezTo>
                          <a:pt x="26" y="11"/>
                          <a:pt x="26" y="11"/>
                          <a:pt x="25" y="11"/>
                        </a:cubicBezTo>
                        <a:close/>
                        <a:moveTo>
                          <a:pt x="22" y="13"/>
                        </a:moveTo>
                        <a:cubicBezTo>
                          <a:pt x="22" y="13"/>
                          <a:pt x="22" y="13"/>
                          <a:pt x="22" y="13"/>
                        </a:cubicBezTo>
                        <a:cubicBezTo>
                          <a:pt x="23" y="13"/>
                          <a:pt x="24" y="14"/>
                          <a:pt x="24" y="14"/>
                        </a:cubicBezTo>
                        <a:cubicBezTo>
                          <a:pt x="24" y="14"/>
                          <a:pt x="23" y="13"/>
                          <a:pt x="22" y="13"/>
                        </a:cubicBezTo>
                        <a:close/>
                        <a:moveTo>
                          <a:pt x="24" y="10"/>
                        </a:moveTo>
                        <a:cubicBezTo>
                          <a:pt x="24" y="10"/>
                          <a:pt x="24" y="10"/>
                          <a:pt x="24" y="10"/>
                        </a:cubicBezTo>
                        <a:cubicBezTo>
                          <a:pt x="24" y="11"/>
                          <a:pt x="24" y="10"/>
                          <a:pt x="24" y="10"/>
                        </a:cubicBezTo>
                        <a:close/>
                        <a:moveTo>
                          <a:pt x="22" y="13"/>
                        </a:moveTo>
                        <a:cubicBezTo>
                          <a:pt x="21" y="13"/>
                          <a:pt x="21" y="13"/>
                          <a:pt x="20" y="13"/>
                        </a:cubicBezTo>
                        <a:cubicBezTo>
                          <a:pt x="20" y="12"/>
                          <a:pt x="21" y="13"/>
                          <a:pt x="22" y="13"/>
                        </a:cubicBezTo>
                        <a:close/>
                        <a:moveTo>
                          <a:pt x="18" y="13"/>
                        </a:moveTo>
                        <a:cubicBezTo>
                          <a:pt x="18" y="12"/>
                          <a:pt x="18" y="13"/>
                          <a:pt x="19" y="13"/>
                        </a:cubicBezTo>
                        <a:cubicBezTo>
                          <a:pt x="19" y="13"/>
                          <a:pt x="19" y="13"/>
                          <a:pt x="19" y="13"/>
                        </a:cubicBezTo>
                        <a:cubicBezTo>
                          <a:pt x="19" y="13"/>
                          <a:pt x="18" y="13"/>
                          <a:pt x="18" y="13"/>
                        </a:cubicBezTo>
                        <a:close/>
                        <a:moveTo>
                          <a:pt x="18" y="12"/>
                        </a:moveTo>
                        <a:cubicBezTo>
                          <a:pt x="18" y="13"/>
                          <a:pt x="18" y="12"/>
                          <a:pt x="18" y="12"/>
                        </a:cubicBezTo>
                        <a:cubicBezTo>
                          <a:pt x="18" y="12"/>
                          <a:pt x="18" y="12"/>
                          <a:pt x="18" y="12"/>
                        </a:cubicBezTo>
                        <a:close/>
                        <a:moveTo>
                          <a:pt x="18" y="11"/>
                        </a:moveTo>
                        <a:cubicBezTo>
                          <a:pt x="18" y="11"/>
                          <a:pt x="18" y="11"/>
                          <a:pt x="18" y="11"/>
                        </a:cubicBezTo>
                        <a:cubicBezTo>
                          <a:pt x="18" y="11"/>
                          <a:pt x="18" y="11"/>
                          <a:pt x="18" y="11"/>
                        </a:cubicBezTo>
                        <a:cubicBezTo>
                          <a:pt x="18" y="11"/>
                          <a:pt x="18" y="11"/>
                          <a:pt x="18" y="11"/>
                        </a:cubicBezTo>
                        <a:cubicBezTo>
                          <a:pt x="18" y="11"/>
                          <a:pt x="18" y="11"/>
                          <a:pt x="18" y="11"/>
                        </a:cubicBezTo>
                        <a:cubicBezTo>
                          <a:pt x="18" y="11"/>
                          <a:pt x="18" y="11"/>
                          <a:pt x="18" y="11"/>
                        </a:cubicBezTo>
                        <a:close/>
                        <a:moveTo>
                          <a:pt x="19" y="7"/>
                        </a:moveTo>
                        <a:cubicBezTo>
                          <a:pt x="19" y="7"/>
                          <a:pt x="19" y="7"/>
                          <a:pt x="20" y="7"/>
                        </a:cubicBezTo>
                        <a:cubicBezTo>
                          <a:pt x="19" y="7"/>
                          <a:pt x="19" y="7"/>
                          <a:pt x="19" y="7"/>
                        </a:cubicBezTo>
                        <a:close/>
                        <a:moveTo>
                          <a:pt x="17" y="10"/>
                        </a:moveTo>
                        <a:cubicBezTo>
                          <a:pt x="17" y="10"/>
                          <a:pt x="18" y="10"/>
                          <a:pt x="18" y="10"/>
                        </a:cubicBezTo>
                        <a:cubicBezTo>
                          <a:pt x="18" y="10"/>
                          <a:pt x="17" y="10"/>
                          <a:pt x="17" y="10"/>
                        </a:cubicBezTo>
                        <a:close/>
                        <a:moveTo>
                          <a:pt x="18" y="12"/>
                        </a:moveTo>
                        <a:cubicBezTo>
                          <a:pt x="17" y="12"/>
                          <a:pt x="17" y="11"/>
                          <a:pt x="17" y="11"/>
                        </a:cubicBezTo>
                        <a:cubicBezTo>
                          <a:pt x="17" y="11"/>
                          <a:pt x="18" y="11"/>
                          <a:pt x="18" y="12"/>
                        </a:cubicBezTo>
                        <a:close/>
                        <a:moveTo>
                          <a:pt x="17" y="11"/>
                        </a:moveTo>
                        <a:cubicBezTo>
                          <a:pt x="17" y="11"/>
                          <a:pt x="17" y="11"/>
                          <a:pt x="17" y="11"/>
                        </a:cubicBezTo>
                        <a:cubicBezTo>
                          <a:pt x="17" y="11"/>
                          <a:pt x="17" y="11"/>
                          <a:pt x="16" y="11"/>
                        </a:cubicBezTo>
                        <a:cubicBezTo>
                          <a:pt x="17" y="11"/>
                          <a:pt x="17" y="11"/>
                          <a:pt x="17" y="11"/>
                        </a:cubicBezTo>
                        <a:close/>
                        <a:moveTo>
                          <a:pt x="16" y="10"/>
                        </a:moveTo>
                        <a:cubicBezTo>
                          <a:pt x="16" y="10"/>
                          <a:pt x="17" y="10"/>
                          <a:pt x="17" y="10"/>
                        </a:cubicBezTo>
                        <a:cubicBezTo>
                          <a:pt x="17" y="10"/>
                          <a:pt x="16" y="10"/>
                          <a:pt x="16" y="10"/>
                        </a:cubicBezTo>
                        <a:close/>
                        <a:moveTo>
                          <a:pt x="17" y="10"/>
                        </a:moveTo>
                        <a:cubicBezTo>
                          <a:pt x="17" y="10"/>
                          <a:pt x="16" y="10"/>
                          <a:pt x="16" y="10"/>
                        </a:cubicBezTo>
                        <a:cubicBezTo>
                          <a:pt x="16" y="10"/>
                          <a:pt x="16" y="10"/>
                          <a:pt x="17" y="10"/>
                        </a:cubicBezTo>
                        <a:close/>
                        <a:moveTo>
                          <a:pt x="16" y="11"/>
                        </a:moveTo>
                        <a:cubicBezTo>
                          <a:pt x="16" y="11"/>
                          <a:pt x="16" y="11"/>
                          <a:pt x="16" y="11"/>
                        </a:cubicBezTo>
                        <a:cubicBezTo>
                          <a:pt x="16" y="11"/>
                          <a:pt x="16" y="11"/>
                          <a:pt x="16" y="11"/>
                        </a:cubicBezTo>
                        <a:cubicBezTo>
                          <a:pt x="16" y="11"/>
                          <a:pt x="16" y="11"/>
                          <a:pt x="16" y="11"/>
                        </a:cubicBezTo>
                        <a:cubicBezTo>
                          <a:pt x="16" y="11"/>
                          <a:pt x="16" y="11"/>
                          <a:pt x="16" y="11"/>
                        </a:cubicBezTo>
                        <a:close/>
                        <a:moveTo>
                          <a:pt x="15" y="11"/>
                        </a:moveTo>
                        <a:cubicBezTo>
                          <a:pt x="15" y="11"/>
                          <a:pt x="15" y="11"/>
                          <a:pt x="15" y="11"/>
                        </a:cubicBezTo>
                        <a:cubicBezTo>
                          <a:pt x="15" y="11"/>
                          <a:pt x="15" y="11"/>
                          <a:pt x="15" y="11"/>
                        </a:cubicBezTo>
                        <a:close/>
                        <a:moveTo>
                          <a:pt x="16" y="6"/>
                        </a:moveTo>
                        <a:cubicBezTo>
                          <a:pt x="16" y="5"/>
                          <a:pt x="16" y="6"/>
                          <a:pt x="16" y="6"/>
                        </a:cubicBezTo>
                        <a:cubicBezTo>
                          <a:pt x="16" y="6"/>
                          <a:pt x="16" y="6"/>
                          <a:pt x="16" y="6"/>
                        </a:cubicBezTo>
                        <a:close/>
                        <a:moveTo>
                          <a:pt x="14" y="5"/>
                        </a:moveTo>
                        <a:cubicBezTo>
                          <a:pt x="15" y="5"/>
                          <a:pt x="15" y="5"/>
                          <a:pt x="15" y="5"/>
                        </a:cubicBezTo>
                        <a:cubicBezTo>
                          <a:pt x="15" y="5"/>
                          <a:pt x="15" y="5"/>
                          <a:pt x="14" y="5"/>
                        </a:cubicBezTo>
                        <a:close/>
                        <a:moveTo>
                          <a:pt x="12" y="10"/>
                        </a:moveTo>
                        <a:cubicBezTo>
                          <a:pt x="12" y="10"/>
                          <a:pt x="11" y="9"/>
                          <a:pt x="10" y="9"/>
                        </a:cubicBezTo>
                        <a:cubicBezTo>
                          <a:pt x="9" y="9"/>
                          <a:pt x="8" y="9"/>
                          <a:pt x="7" y="8"/>
                        </a:cubicBezTo>
                        <a:cubicBezTo>
                          <a:pt x="9" y="9"/>
                          <a:pt x="11" y="9"/>
                          <a:pt x="12" y="10"/>
                        </a:cubicBezTo>
                        <a:close/>
                        <a:moveTo>
                          <a:pt x="12" y="11"/>
                        </a:moveTo>
                        <a:cubicBezTo>
                          <a:pt x="11" y="11"/>
                          <a:pt x="11" y="11"/>
                          <a:pt x="11" y="11"/>
                        </a:cubicBezTo>
                        <a:cubicBezTo>
                          <a:pt x="11" y="11"/>
                          <a:pt x="12" y="11"/>
                          <a:pt x="12" y="11"/>
                        </a:cubicBezTo>
                        <a:close/>
                        <a:moveTo>
                          <a:pt x="12" y="8"/>
                        </a:moveTo>
                        <a:cubicBezTo>
                          <a:pt x="12" y="8"/>
                          <a:pt x="11" y="8"/>
                          <a:pt x="12" y="8"/>
                        </a:cubicBezTo>
                        <a:cubicBezTo>
                          <a:pt x="11" y="8"/>
                          <a:pt x="12" y="8"/>
                          <a:pt x="11" y="8"/>
                        </a:cubicBezTo>
                        <a:cubicBezTo>
                          <a:pt x="11" y="8"/>
                          <a:pt x="11" y="8"/>
                          <a:pt x="12" y="8"/>
                        </a:cubicBezTo>
                        <a:close/>
                        <a:moveTo>
                          <a:pt x="11" y="11"/>
                        </a:moveTo>
                        <a:cubicBezTo>
                          <a:pt x="11" y="10"/>
                          <a:pt x="11" y="11"/>
                          <a:pt x="11" y="11"/>
                        </a:cubicBezTo>
                        <a:cubicBezTo>
                          <a:pt x="11" y="11"/>
                          <a:pt x="11" y="11"/>
                          <a:pt x="11" y="11"/>
                        </a:cubicBezTo>
                        <a:close/>
                        <a:moveTo>
                          <a:pt x="10" y="10"/>
                        </a:moveTo>
                        <a:cubicBezTo>
                          <a:pt x="10" y="10"/>
                          <a:pt x="11" y="10"/>
                          <a:pt x="11" y="10"/>
                        </a:cubicBezTo>
                        <a:cubicBezTo>
                          <a:pt x="11" y="10"/>
                          <a:pt x="10" y="10"/>
                          <a:pt x="10" y="10"/>
                        </a:cubicBezTo>
                        <a:close/>
                        <a:moveTo>
                          <a:pt x="10" y="11"/>
                        </a:moveTo>
                        <a:cubicBezTo>
                          <a:pt x="10" y="10"/>
                          <a:pt x="10" y="10"/>
                          <a:pt x="9" y="10"/>
                        </a:cubicBezTo>
                        <a:cubicBezTo>
                          <a:pt x="9" y="10"/>
                          <a:pt x="10" y="10"/>
                          <a:pt x="10" y="10"/>
                        </a:cubicBezTo>
                        <a:cubicBezTo>
                          <a:pt x="9" y="10"/>
                          <a:pt x="10" y="10"/>
                          <a:pt x="11" y="10"/>
                        </a:cubicBezTo>
                        <a:lnTo>
                          <a:pt x="10" y="11"/>
                        </a:lnTo>
                        <a:close/>
                        <a:moveTo>
                          <a:pt x="10" y="8"/>
                        </a:moveTo>
                        <a:cubicBezTo>
                          <a:pt x="10" y="8"/>
                          <a:pt x="11" y="8"/>
                          <a:pt x="11" y="8"/>
                        </a:cubicBezTo>
                        <a:cubicBezTo>
                          <a:pt x="11" y="8"/>
                          <a:pt x="10" y="8"/>
                          <a:pt x="10" y="8"/>
                        </a:cubicBezTo>
                        <a:close/>
                        <a:moveTo>
                          <a:pt x="11" y="3"/>
                        </a:moveTo>
                        <a:cubicBezTo>
                          <a:pt x="11" y="3"/>
                          <a:pt x="11" y="3"/>
                          <a:pt x="10" y="3"/>
                        </a:cubicBezTo>
                        <a:cubicBezTo>
                          <a:pt x="10" y="3"/>
                          <a:pt x="11" y="3"/>
                          <a:pt x="11" y="3"/>
                        </a:cubicBezTo>
                        <a:close/>
                        <a:moveTo>
                          <a:pt x="8" y="7"/>
                        </a:moveTo>
                        <a:cubicBezTo>
                          <a:pt x="8" y="7"/>
                          <a:pt x="8" y="7"/>
                          <a:pt x="8" y="7"/>
                        </a:cubicBezTo>
                        <a:cubicBezTo>
                          <a:pt x="8" y="7"/>
                          <a:pt x="9" y="7"/>
                          <a:pt x="9" y="7"/>
                        </a:cubicBezTo>
                        <a:cubicBezTo>
                          <a:pt x="9" y="7"/>
                          <a:pt x="9" y="7"/>
                          <a:pt x="8" y="7"/>
                        </a:cubicBezTo>
                        <a:close/>
                        <a:moveTo>
                          <a:pt x="8" y="7"/>
                        </a:moveTo>
                        <a:cubicBezTo>
                          <a:pt x="8" y="7"/>
                          <a:pt x="8" y="7"/>
                          <a:pt x="8" y="7"/>
                        </a:cubicBezTo>
                        <a:cubicBezTo>
                          <a:pt x="8" y="7"/>
                          <a:pt x="8" y="7"/>
                          <a:pt x="8" y="7"/>
                        </a:cubicBezTo>
                        <a:cubicBezTo>
                          <a:pt x="8" y="7"/>
                          <a:pt x="8" y="7"/>
                          <a:pt x="8" y="7"/>
                        </a:cubicBezTo>
                        <a:cubicBezTo>
                          <a:pt x="8" y="7"/>
                          <a:pt x="8" y="7"/>
                          <a:pt x="8" y="7"/>
                        </a:cubicBezTo>
                        <a:close/>
                        <a:moveTo>
                          <a:pt x="8" y="7"/>
                        </a:moveTo>
                        <a:cubicBezTo>
                          <a:pt x="8" y="7"/>
                          <a:pt x="8" y="7"/>
                          <a:pt x="8" y="7"/>
                        </a:cubicBezTo>
                        <a:cubicBezTo>
                          <a:pt x="7" y="7"/>
                          <a:pt x="7" y="7"/>
                          <a:pt x="7" y="7"/>
                        </a:cubicBezTo>
                        <a:cubicBezTo>
                          <a:pt x="7" y="7"/>
                          <a:pt x="7" y="7"/>
                          <a:pt x="8" y="7"/>
                        </a:cubicBezTo>
                        <a:close/>
                        <a:moveTo>
                          <a:pt x="6" y="9"/>
                        </a:moveTo>
                        <a:cubicBezTo>
                          <a:pt x="6" y="9"/>
                          <a:pt x="7" y="9"/>
                          <a:pt x="7" y="9"/>
                        </a:cubicBezTo>
                        <a:cubicBezTo>
                          <a:pt x="7" y="10"/>
                          <a:pt x="6" y="9"/>
                          <a:pt x="6" y="9"/>
                        </a:cubicBezTo>
                        <a:close/>
                        <a:moveTo>
                          <a:pt x="8" y="2"/>
                        </a:moveTo>
                        <a:cubicBezTo>
                          <a:pt x="8" y="2"/>
                          <a:pt x="8" y="2"/>
                          <a:pt x="8" y="2"/>
                        </a:cubicBezTo>
                        <a:cubicBezTo>
                          <a:pt x="8" y="2"/>
                          <a:pt x="8" y="2"/>
                          <a:pt x="8" y="2"/>
                        </a:cubicBezTo>
                        <a:close/>
                        <a:moveTo>
                          <a:pt x="7" y="7"/>
                        </a:moveTo>
                        <a:cubicBezTo>
                          <a:pt x="6" y="7"/>
                          <a:pt x="7" y="7"/>
                          <a:pt x="6" y="7"/>
                        </a:cubicBezTo>
                        <a:cubicBezTo>
                          <a:pt x="6" y="7"/>
                          <a:pt x="6" y="7"/>
                          <a:pt x="6" y="7"/>
                        </a:cubicBezTo>
                        <a:cubicBezTo>
                          <a:pt x="7" y="7"/>
                          <a:pt x="7" y="7"/>
                          <a:pt x="7" y="7"/>
                        </a:cubicBezTo>
                        <a:cubicBezTo>
                          <a:pt x="7" y="7"/>
                          <a:pt x="7" y="7"/>
                          <a:pt x="7" y="7"/>
                        </a:cubicBezTo>
                        <a:cubicBezTo>
                          <a:pt x="7" y="7"/>
                          <a:pt x="7" y="7"/>
                          <a:pt x="7" y="7"/>
                        </a:cubicBezTo>
                        <a:close/>
                        <a:moveTo>
                          <a:pt x="6" y="9"/>
                        </a:moveTo>
                        <a:cubicBezTo>
                          <a:pt x="6" y="9"/>
                          <a:pt x="5" y="9"/>
                          <a:pt x="5" y="9"/>
                        </a:cubicBezTo>
                        <a:cubicBezTo>
                          <a:pt x="5" y="9"/>
                          <a:pt x="6" y="9"/>
                          <a:pt x="6" y="9"/>
                        </a:cubicBezTo>
                        <a:close/>
                        <a:moveTo>
                          <a:pt x="6" y="8"/>
                        </a:moveTo>
                        <a:cubicBezTo>
                          <a:pt x="6" y="8"/>
                          <a:pt x="6" y="8"/>
                          <a:pt x="6" y="8"/>
                        </a:cubicBezTo>
                        <a:cubicBezTo>
                          <a:pt x="6" y="8"/>
                          <a:pt x="6" y="8"/>
                          <a:pt x="6" y="8"/>
                        </a:cubicBezTo>
                        <a:close/>
                        <a:moveTo>
                          <a:pt x="8" y="2"/>
                        </a:moveTo>
                        <a:cubicBezTo>
                          <a:pt x="7" y="2"/>
                          <a:pt x="7" y="2"/>
                          <a:pt x="7" y="2"/>
                        </a:cubicBezTo>
                        <a:cubicBezTo>
                          <a:pt x="7" y="2"/>
                          <a:pt x="7" y="2"/>
                          <a:pt x="8" y="2"/>
                        </a:cubicBezTo>
                        <a:close/>
                        <a:moveTo>
                          <a:pt x="6" y="5"/>
                        </a:moveTo>
                        <a:cubicBezTo>
                          <a:pt x="6" y="5"/>
                          <a:pt x="6" y="5"/>
                          <a:pt x="7" y="5"/>
                        </a:cubicBezTo>
                        <a:cubicBezTo>
                          <a:pt x="7" y="5"/>
                          <a:pt x="6" y="5"/>
                          <a:pt x="6" y="5"/>
                        </a:cubicBezTo>
                        <a:close/>
                        <a:moveTo>
                          <a:pt x="6" y="6"/>
                        </a:moveTo>
                        <a:cubicBezTo>
                          <a:pt x="6" y="6"/>
                          <a:pt x="5" y="6"/>
                          <a:pt x="5" y="6"/>
                        </a:cubicBezTo>
                        <a:cubicBezTo>
                          <a:pt x="5" y="6"/>
                          <a:pt x="6" y="6"/>
                          <a:pt x="6" y="6"/>
                        </a:cubicBezTo>
                        <a:close/>
                        <a:moveTo>
                          <a:pt x="4" y="9"/>
                        </a:moveTo>
                        <a:cubicBezTo>
                          <a:pt x="4" y="8"/>
                          <a:pt x="5" y="9"/>
                          <a:pt x="5" y="9"/>
                        </a:cubicBezTo>
                        <a:cubicBezTo>
                          <a:pt x="5" y="9"/>
                          <a:pt x="4" y="9"/>
                          <a:pt x="4" y="9"/>
                        </a:cubicBezTo>
                        <a:close/>
                        <a:moveTo>
                          <a:pt x="5" y="4"/>
                        </a:moveTo>
                        <a:cubicBezTo>
                          <a:pt x="5" y="4"/>
                          <a:pt x="6" y="4"/>
                          <a:pt x="6" y="4"/>
                        </a:cubicBezTo>
                        <a:cubicBezTo>
                          <a:pt x="6" y="5"/>
                          <a:pt x="5" y="4"/>
                          <a:pt x="5" y="4"/>
                        </a:cubicBezTo>
                        <a:close/>
                        <a:moveTo>
                          <a:pt x="6" y="1"/>
                        </a:moveTo>
                        <a:cubicBezTo>
                          <a:pt x="6" y="1"/>
                          <a:pt x="7" y="1"/>
                          <a:pt x="7" y="2"/>
                        </a:cubicBezTo>
                        <a:cubicBezTo>
                          <a:pt x="7" y="2"/>
                          <a:pt x="6" y="1"/>
                          <a:pt x="6" y="1"/>
                        </a:cubicBezTo>
                        <a:close/>
                        <a:moveTo>
                          <a:pt x="3" y="8"/>
                        </a:moveTo>
                        <a:cubicBezTo>
                          <a:pt x="3" y="8"/>
                          <a:pt x="3" y="8"/>
                          <a:pt x="3" y="8"/>
                        </a:cubicBezTo>
                        <a:cubicBezTo>
                          <a:pt x="3" y="8"/>
                          <a:pt x="3" y="8"/>
                          <a:pt x="3" y="8"/>
                        </a:cubicBezTo>
                        <a:cubicBezTo>
                          <a:pt x="3" y="8"/>
                          <a:pt x="3" y="8"/>
                          <a:pt x="3" y="8"/>
                        </a:cubicBezTo>
                        <a:cubicBezTo>
                          <a:pt x="4" y="8"/>
                          <a:pt x="4" y="8"/>
                          <a:pt x="4" y="9"/>
                        </a:cubicBezTo>
                        <a:cubicBezTo>
                          <a:pt x="4" y="8"/>
                          <a:pt x="3" y="8"/>
                          <a:pt x="3" y="8"/>
                        </a:cubicBezTo>
                        <a:close/>
                        <a:moveTo>
                          <a:pt x="5" y="1"/>
                        </a:moveTo>
                        <a:cubicBezTo>
                          <a:pt x="5" y="1"/>
                          <a:pt x="5" y="1"/>
                          <a:pt x="5" y="1"/>
                        </a:cubicBezTo>
                        <a:cubicBezTo>
                          <a:pt x="6" y="1"/>
                          <a:pt x="6" y="1"/>
                          <a:pt x="6" y="1"/>
                        </a:cubicBezTo>
                        <a:cubicBezTo>
                          <a:pt x="6" y="1"/>
                          <a:pt x="5" y="1"/>
                          <a:pt x="5" y="1"/>
                        </a:cubicBezTo>
                        <a:cubicBezTo>
                          <a:pt x="5" y="1"/>
                          <a:pt x="5" y="1"/>
                          <a:pt x="5" y="1"/>
                        </a:cubicBezTo>
                        <a:close/>
                        <a:moveTo>
                          <a:pt x="4" y="6"/>
                        </a:moveTo>
                        <a:cubicBezTo>
                          <a:pt x="4" y="6"/>
                          <a:pt x="4" y="6"/>
                          <a:pt x="4" y="6"/>
                        </a:cubicBezTo>
                        <a:cubicBezTo>
                          <a:pt x="4" y="6"/>
                          <a:pt x="4" y="6"/>
                          <a:pt x="4" y="6"/>
                        </a:cubicBezTo>
                        <a:close/>
                        <a:moveTo>
                          <a:pt x="4" y="6"/>
                        </a:moveTo>
                        <a:cubicBezTo>
                          <a:pt x="4" y="6"/>
                          <a:pt x="4" y="6"/>
                          <a:pt x="4" y="6"/>
                        </a:cubicBezTo>
                        <a:cubicBezTo>
                          <a:pt x="4" y="6"/>
                          <a:pt x="4" y="6"/>
                          <a:pt x="4" y="6"/>
                        </a:cubicBezTo>
                        <a:close/>
                        <a:moveTo>
                          <a:pt x="4" y="1"/>
                        </a:moveTo>
                        <a:cubicBezTo>
                          <a:pt x="5" y="1"/>
                          <a:pt x="5" y="1"/>
                          <a:pt x="5" y="1"/>
                        </a:cubicBezTo>
                        <a:cubicBezTo>
                          <a:pt x="5" y="1"/>
                          <a:pt x="5" y="1"/>
                          <a:pt x="4" y="1"/>
                        </a:cubicBezTo>
                        <a:close/>
                        <a:moveTo>
                          <a:pt x="4" y="1"/>
                        </a:move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5" y="0"/>
                          <a:pt x="5" y="1"/>
                          <a:pt x="5" y="1"/>
                        </a:cubicBezTo>
                        <a:cubicBezTo>
                          <a:pt x="5" y="1"/>
                          <a:pt x="5" y="0"/>
                          <a:pt x="4" y="1"/>
                        </a:cubicBezTo>
                        <a:close/>
                        <a:moveTo>
                          <a:pt x="3" y="3"/>
                        </a:moveTo>
                        <a:cubicBezTo>
                          <a:pt x="3" y="3"/>
                          <a:pt x="3" y="3"/>
                          <a:pt x="3" y="3"/>
                        </a:cubicBezTo>
                        <a:cubicBezTo>
                          <a:pt x="3" y="4"/>
                          <a:pt x="3" y="4"/>
                          <a:pt x="3" y="4"/>
                        </a:cubicBezTo>
                        <a:cubicBezTo>
                          <a:pt x="3" y="4"/>
                          <a:pt x="3" y="3"/>
                          <a:pt x="3" y="3"/>
                        </a:cubicBezTo>
                        <a:close/>
                        <a:moveTo>
                          <a:pt x="4" y="0"/>
                        </a:moveTo>
                        <a:cubicBezTo>
                          <a:pt x="3" y="0"/>
                          <a:pt x="3" y="0"/>
                          <a:pt x="3" y="0"/>
                        </a:cubicBezTo>
                        <a:cubicBezTo>
                          <a:pt x="3" y="0"/>
                          <a:pt x="3" y="0"/>
                          <a:pt x="4" y="0"/>
                        </a:cubicBezTo>
                        <a:close/>
                        <a:moveTo>
                          <a:pt x="1" y="7"/>
                        </a:moveTo>
                        <a:cubicBezTo>
                          <a:pt x="2" y="7"/>
                          <a:pt x="2" y="7"/>
                          <a:pt x="2" y="7"/>
                        </a:cubicBezTo>
                        <a:cubicBezTo>
                          <a:pt x="1" y="7"/>
                          <a:pt x="1" y="7"/>
                          <a:pt x="1" y="7"/>
                        </a:cubicBezTo>
                        <a:cubicBezTo>
                          <a:pt x="1" y="7"/>
                          <a:pt x="1" y="7"/>
                          <a:pt x="1" y="7"/>
                        </a:cubicBezTo>
                        <a:close/>
                        <a:moveTo>
                          <a:pt x="0" y="6"/>
                        </a:moveTo>
                        <a:cubicBezTo>
                          <a:pt x="0" y="6"/>
                          <a:pt x="0" y="6"/>
                          <a:pt x="1" y="6"/>
                        </a:cubicBezTo>
                        <a:cubicBezTo>
                          <a:pt x="1" y="6"/>
                          <a:pt x="0" y="6"/>
                          <a:pt x="0" y="6"/>
                        </a:cubicBezTo>
                        <a:close/>
                        <a:moveTo>
                          <a:pt x="117" y="38"/>
                        </a:moveTo>
                        <a:cubicBezTo>
                          <a:pt x="117" y="38"/>
                          <a:pt x="117" y="38"/>
                          <a:pt x="117" y="38"/>
                        </a:cubicBezTo>
                        <a:cubicBezTo>
                          <a:pt x="117" y="38"/>
                          <a:pt x="117" y="38"/>
                          <a:pt x="117" y="38"/>
                        </a:cubicBezTo>
                        <a:close/>
                        <a:moveTo>
                          <a:pt x="145" y="54"/>
                        </a:moveTo>
                        <a:cubicBezTo>
                          <a:pt x="144" y="53"/>
                          <a:pt x="143" y="53"/>
                          <a:pt x="143" y="53"/>
                        </a:cubicBezTo>
                        <a:cubicBezTo>
                          <a:pt x="143" y="53"/>
                          <a:pt x="143" y="53"/>
                          <a:pt x="143" y="53"/>
                        </a:cubicBezTo>
                        <a:cubicBezTo>
                          <a:pt x="143" y="53"/>
                          <a:pt x="142" y="53"/>
                          <a:pt x="142" y="53"/>
                        </a:cubicBezTo>
                        <a:cubicBezTo>
                          <a:pt x="141" y="53"/>
                          <a:pt x="141" y="52"/>
                          <a:pt x="140" y="52"/>
                        </a:cubicBezTo>
                        <a:cubicBezTo>
                          <a:pt x="140" y="52"/>
                          <a:pt x="140" y="52"/>
                          <a:pt x="140" y="52"/>
                        </a:cubicBezTo>
                        <a:cubicBezTo>
                          <a:pt x="139" y="51"/>
                          <a:pt x="139" y="52"/>
                          <a:pt x="138" y="51"/>
                        </a:cubicBezTo>
                        <a:cubicBezTo>
                          <a:pt x="138" y="51"/>
                          <a:pt x="138" y="51"/>
                          <a:pt x="138" y="51"/>
                        </a:cubicBezTo>
                        <a:cubicBezTo>
                          <a:pt x="138" y="51"/>
                          <a:pt x="138" y="51"/>
                          <a:pt x="138" y="51"/>
                        </a:cubicBezTo>
                        <a:cubicBezTo>
                          <a:pt x="138" y="51"/>
                          <a:pt x="138" y="51"/>
                          <a:pt x="138" y="51"/>
                        </a:cubicBezTo>
                        <a:cubicBezTo>
                          <a:pt x="138" y="51"/>
                          <a:pt x="137" y="50"/>
                          <a:pt x="136" y="51"/>
                        </a:cubicBezTo>
                        <a:cubicBezTo>
                          <a:pt x="136" y="51"/>
                          <a:pt x="136" y="51"/>
                          <a:pt x="136" y="51"/>
                        </a:cubicBezTo>
                        <a:cubicBezTo>
                          <a:pt x="136" y="50"/>
                          <a:pt x="136" y="51"/>
                          <a:pt x="136" y="50"/>
                        </a:cubicBezTo>
                        <a:cubicBezTo>
                          <a:pt x="136" y="50"/>
                          <a:pt x="136" y="50"/>
                          <a:pt x="136" y="50"/>
                        </a:cubicBezTo>
                        <a:cubicBezTo>
                          <a:pt x="136" y="50"/>
                          <a:pt x="136" y="50"/>
                          <a:pt x="135" y="50"/>
                        </a:cubicBezTo>
                        <a:cubicBezTo>
                          <a:pt x="135" y="50"/>
                          <a:pt x="135" y="50"/>
                          <a:pt x="135" y="50"/>
                        </a:cubicBezTo>
                        <a:cubicBezTo>
                          <a:pt x="135" y="50"/>
                          <a:pt x="135" y="50"/>
                          <a:pt x="135" y="50"/>
                        </a:cubicBezTo>
                        <a:cubicBezTo>
                          <a:pt x="135" y="50"/>
                          <a:pt x="135" y="49"/>
                          <a:pt x="135" y="49"/>
                        </a:cubicBezTo>
                        <a:cubicBezTo>
                          <a:pt x="134" y="49"/>
                          <a:pt x="135" y="49"/>
                          <a:pt x="135" y="49"/>
                        </a:cubicBezTo>
                        <a:cubicBezTo>
                          <a:pt x="135" y="49"/>
                          <a:pt x="135" y="49"/>
                          <a:pt x="134" y="49"/>
                        </a:cubicBezTo>
                        <a:cubicBezTo>
                          <a:pt x="135" y="49"/>
                          <a:pt x="135" y="49"/>
                          <a:pt x="135" y="49"/>
                        </a:cubicBezTo>
                        <a:cubicBezTo>
                          <a:pt x="134" y="49"/>
                          <a:pt x="134" y="49"/>
                          <a:pt x="133" y="49"/>
                        </a:cubicBezTo>
                        <a:cubicBezTo>
                          <a:pt x="133" y="48"/>
                          <a:pt x="133" y="48"/>
                          <a:pt x="133" y="48"/>
                        </a:cubicBezTo>
                        <a:cubicBezTo>
                          <a:pt x="133" y="48"/>
                          <a:pt x="133" y="48"/>
                          <a:pt x="132" y="48"/>
                        </a:cubicBezTo>
                        <a:cubicBezTo>
                          <a:pt x="132" y="48"/>
                          <a:pt x="131" y="48"/>
                          <a:pt x="131" y="48"/>
                        </a:cubicBezTo>
                        <a:cubicBezTo>
                          <a:pt x="131" y="48"/>
                          <a:pt x="131" y="47"/>
                          <a:pt x="131" y="47"/>
                        </a:cubicBezTo>
                        <a:cubicBezTo>
                          <a:pt x="131" y="47"/>
                          <a:pt x="131" y="48"/>
                          <a:pt x="130" y="47"/>
                        </a:cubicBezTo>
                        <a:cubicBezTo>
                          <a:pt x="130" y="47"/>
                          <a:pt x="130" y="47"/>
                          <a:pt x="130" y="47"/>
                        </a:cubicBezTo>
                        <a:cubicBezTo>
                          <a:pt x="130" y="47"/>
                          <a:pt x="130" y="47"/>
                          <a:pt x="129" y="47"/>
                        </a:cubicBezTo>
                        <a:cubicBezTo>
                          <a:pt x="129" y="47"/>
                          <a:pt x="129" y="47"/>
                          <a:pt x="129" y="47"/>
                        </a:cubicBezTo>
                        <a:cubicBezTo>
                          <a:pt x="129" y="47"/>
                          <a:pt x="129" y="47"/>
                          <a:pt x="129" y="47"/>
                        </a:cubicBezTo>
                        <a:cubicBezTo>
                          <a:pt x="129" y="47"/>
                          <a:pt x="129" y="47"/>
                          <a:pt x="129" y="47"/>
                        </a:cubicBezTo>
                        <a:cubicBezTo>
                          <a:pt x="129" y="47"/>
                          <a:pt x="129" y="47"/>
                          <a:pt x="129" y="47"/>
                        </a:cubicBezTo>
                        <a:cubicBezTo>
                          <a:pt x="129" y="47"/>
                          <a:pt x="129" y="47"/>
                          <a:pt x="129" y="47"/>
                        </a:cubicBezTo>
                        <a:cubicBezTo>
                          <a:pt x="129" y="47"/>
                          <a:pt x="129" y="46"/>
                          <a:pt x="129" y="47"/>
                        </a:cubicBezTo>
                        <a:cubicBezTo>
                          <a:pt x="128" y="47"/>
                          <a:pt x="129" y="46"/>
                          <a:pt x="128" y="46"/>
                        </a:cubicBezTo>
                        <a:cubicBezTo>
                          <a:pt x="128" y="46"/>
                          <a:pt x="129" y="46"/>
                          <a:pt x="129" y="46"/>
                        </a:cubicBezTo>
                        <a:cubicBezTo>
                          <a:pt x="129" y="46"/>
                          <a:pt x="128" y="46"/>
                          <a:pt x="128" y="46"/>
                        </a:cubicBezTo>
                        <a:cubicBezTo>
                          <a:pt x="128" y="46"/>
                          <a:pt x="126" y="46"/>
                          <a:pt x="126" y="45"/>
                        </a:cubicBezTo>
                        <a:cubicBezTo>
                          <a:pt x="127" y="45"/>
                          <a:pt x="127" y="46"/>
                          <a:pt x="127" y="46"/>
                        </a:cubicBezTo>
                        <a:cubicBezTo>
                          <a:pt x="127" y="46"/>
                          <a:pt x="127" y="45"/>
                          <a:pt x="127" y="45"/>
                        </a:cubicBezTo>
                        <a:cubicBezTo>
                          <a:pt x="126" y="45"/>
                          <a:pt x="126" y="45"/>
                          <a:pt x="127" y="45"/>
                        </a:cubicBezTo>
                        <a:cubicBezTo>
                          <a:pt x="126" y="45"/>
                          <a:pt x="126" y="45"/>
                          <a:pt x="126" y="45"/>
                        </a:cubicBezTo>
                        <a:cubicBezTo>
                          <a:pt x="126" y="45"/>
                          <a:pt x="125" y="45"/>
                          <a:pt x="126" y="45"/>
                        </a:cubicBezTo>
                        <a:cubicBezTo>
                          <a:pt x="125" y="45"/>
                          <a:pt x="125" y="45"/>
                          <a:pt x="125" y="45"/>
                        </a:cubicBezTo>
                        <a:cubicBezTo>
                          <a:pt x="125" y="45"/>
                          <a:pt x="125" y="45"/>
                          <a:pt x="125" y="45"/>
                        </a:cubicBezTo>
                        <a:cubicBezTo>
                          <a:pt x="125" y="45"/>
                          <a:pt x="125" y="45"/>
                          <a:pt x="125" y="45"/>
                        </a:cubicBezTo>
                        <a:cubicBezTo>
                          <a:pt x="125" y="45"/>
                          <a:pt x="125" y="45"/>
                          <a:pt x="125" y="45"/>
                        </a:cubicBezTo>
                        <a:cubicBezTo>
                          <a:pt x="124" y="45"/>
                          <a:pt x="124" y="45"/>
                          <a:pt x="124" y="45"/>
                        </a:cubicBezTo>
                        <a:cubicBezTo>
                          <a:pt x="124" y="45"/>
                          <a:pt x="125" y="45"/>
                          <a:pt x="124" y="45"/>
                        </a:cubicBezTo>
                        <a:cubicBezTo>
                          <a:pt x="125" y="44"/>
                          <a:pt x="125" y="45"/>
                          <a:pt x="125" y="45"/>
                        </a:cubicBezTo>
                        <a:cubicBezTo>
                          <a:pt x="125" y="44"/>
                          <a:pt x="125" y="44"/>
                          <a:pt x="124" y="44"/>
                        </a:cubicBezTo>
                        <a:cubicBezTo>
                          <a:pt x="124" y="44"/>
                          <a:pt x="124" y="44"/>
                          <a:pt x="124" y="44"/>
                        </a:cubicBezTo>
                        <a:cubicBezTo>
                          <a:pt x="124" y="44"/>
                          <a:pt x="124" y="44"/>
                          <a:pt x="124" y="44"/>
                        </a:cubicBezTo>
                        <a:cubicBezTo>
                          <a:pt x="124" y="44"/>
                          <a:pt x="123" y="44"/>
                          <a:pt x="123" y="44"/>
                        </a:cubicBezTo>
                        <a:cubicBezTo>
                          <a:pt x="123" y="44"/>
                          <a:pt x="122" y="44"/>
                          <a:pt x="122" y="44"/>
                        </a:cubicBezTo>
                        <a:cubicBezTo>
                          <a:pt x="122" y="44"/>
                          <a:pt x="122" y="44"/>
                          <a:pt x="122" y="44"/>
                        </a:cubicBezTo>
                        <a:cubicBezTo>
                          <a:pt x="122" y="44"/>
                          <a:pt x="122" y="44"/>
                          <a:pt x="122" y="44"/>
                        </a:cubicBezTo>
                        <a:cubicBezTo>
                          <a:pt x="122" y="44"/>
                          <a:pt x="122" y="43"/>
                          <a:pt x="122" y="43"/>
                        </a:cubicBezTo>
                        <a:cubicBezTo>
                          <a:pt x="122" y="44"/>
                          <a:pt x="124" y="44"/>
                          <a:pt x="125" y="44"/>
                        </a:cubicBezTo>
                        <a:cubicBezTo>
                          <a:pt x="125" y="44"/>
                          <a:pt x="125" y="44"/>
                          <a:pt x="125" y="44"/>
                        </a:cubicBezTo>
                        <a:cubicBezTo>
                          <a:pt x="125" y="44"/>
                          <a:pt x="125" y="44"/>
                          <a:pt x="125" y="44"/>
                        </a:cubicBezTo>
                        <a:cubicBezTo>
                          <a:pt x="125" y="44"/>
                          <a:pt x="125" y="44"/>
                          <a:pt x="125" y="44"/>
                        </a:cubicBezTo>
                        <a:cubicBezTo>
                          <a:pt x="125" y="44"/>
                          <a:pt x="124" y="44"/>
                          <a:pt x="124" y="44"/>
                        </a:cubicBezTo>
                        <a:cubicBezTo>
                          <a:pt x="124" y="44"/>
                          <a:pt x="124" y="44"/>
                          <a:pt x="124" y="44"/>
                        </a:cubicBezTo>
                        <a:cubicBezTo>
                          <a:pt x="124" y="44"/>
                          <a:pt x="124" y="44"/>
                          <a:pt x="124" y="44"/>
                        </a:cubicBezTo>
                        <a:cubicBezTo>
                          <a:pt x="124" y="44"/>
                          <a:pt x="124" y="44"/>
                          <a:pt x="124" y="44"/>
                        </a:cubicBezTo>
                        <a:cubicBezTo>
                          <a:pt x="124" y="44"/>
                          <a:pt x="123" y="44"/>
                          <a:pt x="123" y="44"/>
                        </a:cubicBezTo>
                        <a:cubicBezTo>
                          <a:pt x="123" y="43"/>
                          <a:pt x="123" y="44"/>
                          <a:pt x="123" y="44"/>
                        </a:cubicBezTo>
                        <a:cubicBezTo>
                          <a:pt x="123" y="43"/>
                          <a:pt x="123" y="43"/>
                          <a:pt x="122" y="43"/>
                        </a:cubicBezTo>
                        <a:cubicBezTo>
                          <a:pt x="122" y="43"/>
                          <a:pt x="122" y="43"/>
                          <a:pt x="122" y="43"/>
                        </a:cubicBezTo>
                        <a:cubicBezTo>
                          <a:pt x="122" y="43"/>
                          <a:pt x="122" y="43"/>
                          <a:pt x="122" y="43"/>
                        </a:cubicBezTo>
                        <a:cubicBezTo>
                          <a:pt x="122" y="43"/>
                          <a:pt x="122" y="43"/>
                          <a:pt x="122" y="43"/>
                        </a:cubicBezTo>
                        <a:cubicBezTo>
                          <a:pt x="121" y="43"/>
                          <a:pt x="122" y="43"/>
                          <a:pt x="121" y="43"/>
                        </a:cubicBezTo>
                        <a:cubicBezTo>
                          <a:pt x="121" y="43"/>
                          <a:pt x="121" y="43"/>
                          <a:pt x="121" y="43"/>
                        </a:cubicBezTo>
                        <a:cubicBezTo>
                          <a:pt x="121" y="43"/>
                          <a:pt x="121" y="43"/>
                          <a:pt x="122" y="43"/>
                        </a:cubicBezTo>
                        <a:cubicBezTo>
                          <a:pt x="122" y="43"/>
                          <a:pt x="121" y="43"/>
                          <a:pt x="121" y="43"/>
                        </a:cubicBezTo>
                        <a:cubicBezTo>
                          <a:pt x="121" y="43"/>
                          <a:pt x="121" y="43"/>
                          <a:pt x="121" y="43"/>
                        </a:cubicBezTo>
                        <a:cubicBezTo>
                          <a:pt x="121" y="43"/>
                          <a:pt x="121" y="43"/>
                          <a:pt x="120" y="43"/>
                        </a:cubicBezTo>
                        <a:cubicBezTo>
                          <a:pt x="121" y="43"/>
                          <a:pt x="121" y="43"/>
                          <a:pt x="121" y="42"/>
                        </a:cubicBezTo>
                        <a:cubicBezTo>
                          <a:pt x="121" y="42"/>
                          <a:pt x="120" y="42"/>
                          <a:pt x="121" y="42"/>
                        </a:cubicBezTo>
                        <a:cubicBezTo>
                          <a:pt x="121" y="43"/>
                          <a:pt x="120" y="42"/>
                          <a:pt x="120" y="42"/>
                        </a:cubicBezTo>
                        <a:cubicBezTo>
                          <a:pt x="120" y="42"/>
                          <a:pt x="120" y="42"/>
                          <a:pt x="120" y="42"/>
                        </a:cubicBezTo>
                        <a:cubicBezTo>
                          <a:pt x="120" y="43"/>
                          <a:pt x="121" y="43"/>
                          <a:pt x="121" y="43"/>
                        </a:cubicBezTo>
                        <a:cubicBezTo>
                          <a:pt x="120" y="43"/>
                          <a:pt x="120" y="43"/>
                          <a:pt x="119" y="43"/>
                        </a:cubicBezTo>
                        <a:cubicBezTo>
                          <a:pt x="119" y="42"/>
                          <a:pt x="119" y="42"/>
                          <a:pt x="119" y="42"/>
                        </a:cubicBezTo>
                        <a:cubicBezTo>
                          <a:pt x="119" y="43"/>
                          <a:pt x="119" y="43"/>
                          <a:pt x="118" y="43"/>
                        </a:cubicBezTo>
                        <a:cubicBezTo>
                          <a:pt x="119" y="42"/>
                          <a:pt x="119" y="42"/>
                          <a:pt x="118" y="42"/>
                        </a:cubicBezTo>
                        <a:cubicBezTo>
                          <a:pt x="118" y="42"/>
                          <a:pt x="118" y="42"/>
                          <a:pt x="118" y="42"/>
                        </a:cubicBezTo>
                        <a:cubicBezTo>
                          <a:pt x="118" y="42"/>
                          <a:pt x="118" y="42"/>
                          <a:pt x="118" y="42"/>
                        </a:cubicBezTo>
                        <a:cubicBezTo>
                          <a:pt x="118" y="42"/>
                          <a:pt x="118" y="42"/>
                          <a:pt x="118" y="42"/>
                        </a:cubicBezTo>
                        <a:cubicBezTo>
                          <a:pt x="118" y="42"/>
                          <a:pt x="118" y="42"/>
                          <a:pt x="118" y="42"/>
                        </a:cubicBezTo>
                        <a:cubicBezTo>
                          <a:pt x="118" y="42"/>
                          <a:pt x="118" y="42"/>
                          <a:pt x="118" y="42"/>
                        </a:cubicBezTo>
                        <a:cubicBezTo>
                          <a:pt x="117" y="42"/>
                          <a:pt x="118" y="42"/>
                          <a:pt x="118" y="42"/>
                        </a:cubicBezTo>
                        <a:cubicBezTo>
                          <a:pt x="117" y="42"/>
                          <a:pt x="117" y="42"/>
                          <a:pt x="117" y="42"/>
                        </a:cubicBezTo>
                        <a:cubicBezTo>
                          <a:pt x="117" y="42"/>
                          <a:pt x="117" y="42"/>
                          <a:pt x="117" y="42"/>
                        </a:cubicBezTo>
                        <a:cubicBezTo>
                          <a:pt x="117" y="42"/>
                          <a:pt x="117" y="42"/>
                          <a:pt x="117" y="42"/>
                        </a:cubicBezTo>
                        <a:cubicBezTo>
                          <a:pt x="117" y="42"/>
                          <a:pt x="117" y="42"/>
                          <a:pt x="117" y="42"/>
                        </a:cubicBezTo>
                        <a:cubicBezTo>
                          <a:pt x="117" y="42"/>
                          <a:pt x="117" y="42"/>
                          <a:pt x="117" y="42"/>
                        </a:cubicBezTo>
                        <a:cubicBezTo>
                          <a:pt x="117" y="42"/>
                          <a:pt x="117" y="42"/>
                          <a:pt x="117" y="42"/>
                        </a:cubicBezTo>
                        <a:cubicBezTo>
                          <a:pt x="117" y="42"/>
                          <a:pt x="117" y="41"/>
                          <a:pt x="117" y="41"/>
                        </a:cubicBezTo>
                        <a:cubicBezTo>
                          <a:pt x="117" y="42"/>
                          <a:pt x="117" y="41"/>
                          <a:pt x="117" y="42"/>
                        </a:cubicBezTo>
                        <a:cubicBezTo>
                          <a:pt x="117" y="42"/>
                          <a:pt x="117" y="42"/>
                          <a:pt x="117" y="41"/>
                        </a:cubicBezTo>
                        <a:cubicBezTo>
                          <a:pt x="117" y="41"/>
                          <a:pt x="117" y="41"/>
                          <a:pt x="117" y="41"/>
                        </a:cubicBezTo>
                        <a:cubicBezTo>
                          <a:pt x="117" y="41"/>
                          <a:pt x="117" y="41"/>
                          <a:pt x="117" y="41"/>
                        </a:cubicBezTo>
                        <a:cubicBezTo>
                          <a:pt x="116" y="41"/>
                          <a:pt x="116" y="41"/>
                          <a:pt x="116" y="41"/>
                        </a:cubicBezTo>
                        <a:cubicBezTo>
                          <a:pt x="116" y="41"/>
                          <a:pt x="116" y="41"/>
                          <a:pt x="115" y="41"/>
                        </a:cubicBezTo>
                        <a:cubicBezTo>
                          <a:pt x="115" y="41"/>
                          <a:pt x="115" y="41"/>
                          <a:pt x="115" y="41"/>
                        </a:cubicBezTo>
                        <a:cubicBezTo>
                          <a:pt x="115" y="41"/>
                          <a:pt x="115" y="41"/>
                          <a:pt x="115" y="41"/>
                        </a:cubicBezTo>
                        <a:cubicBezTo>
                          <a:pt x="115" y="41"/>
                          <a:pt x="115" y="41"/>
                          <a:pt x="115" y="41"/>
                        </a:cubicBezTo>
                        <a:cubicBezTo>
                          <a:pt x="115" y="41"/>
                          <a:pt x="114" y="40"/>
                          <a:pt x="113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2" y="40"/>
                          <a:pt x="111" y="40"/>
                          <a:pt x="111" y="39"/>
                        </a:cubicBezTo>
                        <a:cubicBezTo>
                          <a:pt x="111" y="39"/>
                          <a:pt x="111" y="40"/>
                          <a:pt x="111" y="40"/>
                        </a:cubicBezTo>
                        <a:cubicBezTo>
                          <a:pt x="111" y="40"/>
                          <a:pt x="110" y="39"/>
                          <a:pt x="110" y="39"/>
                        </a:cubicBezTo>
                        <a:cubicBezTo>
                          <a:pt x="110" y="39"/>
                          <a:pt x="110" y="39"/>
                          <a:pt x="110" y="40"/>
                        </a:cubicBezTo>
                        <a:cubicBezTo>
                          <a:pt x="110" y="39"/>
                          <a:pt x="109" y="39"/>
                          <a:pt x="108" y="39"/>
                        </a:cubicBezTo>
                        <a:cubicBezTo>
                          <a:pt x="108" y="38"/>
                          <a:pt x="108" y="38"/>
                          <a:pt x="108" y="38"/>
                        </a:cubicBezTo>
                        <a:cubicBezTo>
                          <a:pt x="108" y="38"/>
                          <a:pt x="108" y="38"/>
                          <a:pt x="107" y="38"/>
                        </a:cubicBezTo>
                        <a:cubicBezTo>
                          <a:pt x="108" y="38"/>
                          <a:pt x="108" y="39"/>
                          <a:pt x="108" y="38"/>
                        </a:cubicBezTo>
                        <a:cubicBezTo>
                          <a:pt x="109" y="38"/>
                          <a:pt x="109" y="38"/>
                          <a:pt x="109" y="39"/>
                        </a:cubicBezTo>
                        <a:cubicBezTo>
                          <a:pt x="109" y="39"/>
                          <a:pt x="109" y="38"/>
                          <a:pt x="109" y="38"/>
                        </a:cubicBezTo>
                        <a:cubicBezTo>
                          <a:pt x="111" y="39"/>
                          <a:pt x="112" y="39"/>
                          <a:pt x="113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4" y="40"/>
                          <a:pt x="113" y="40"/>
                          <a:pt x="114" y="40"/>
                        </a:cubicBez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5" y="40"/>
                          <a:pt x="115" y="40"/>
                          <a:pt x="115" y="40"/>
                        </a:cubicBezTo>
                        <a:cubicBezTo>
                          <a:pt x="115" y="40"/>
                          <a:pt x="115" y="40"/>
                          <a:pt x="115" y="41"/>
                        </a:cubicBezTo>
                        <a:cubicBezTo>
                          <a:pt x="115" y="41"/>
                          <a:pt x="115" y="41"/>
                          <a:pt x="115" y="41"/>
                        </a:cubicBezTo>
                        <a:cubicBezTo>
                          <a:pt x="115" y="40"/>
                          <a:pt x="115" y="40"/>
                          <a:pt x="115" y="40"/>
                        </a:cubicBezTo>
                        <a:cubicBezTo>
                          <a:pt x="115" y="40"/>
                          <a:pt x="115" y="41"/>
                          <a:pt x="116" y="41"/>
                        </a:cubicBezTo>
                        <a:cubicBezTo>
                          <a:pt x="115" y="41"/>
                          <a:pt x="115" y="41"/>
                          <a:pt x="115" y="41"/>
                        </a:cubicBezTo>
                        <a:cubicBezTo>
                          <a:pt x="116" y="41"/>
                          <a:pt x="116" y="41"/>
                          <a:pt x="116" y="41"/>
                        </a:cubicBezTo>
                        <a:cubicBezTo>
                          <a:pt x="116" y="41"/>
                          <a:pt x="116" y="41"/>
                          <a:pt x="116" y="41"/>
                        </a:cubicBezTo>
                        <a:cubicBezTo>
                          <a:pt x="116" y="41"/>
                          <a:pt x="116" y="41"/>
                          <a:pt x="116" y="41"/>
                        </a:cubicBezTo>
                        <a:cubicBezTo>
                          <a:pt x="117" y="41"/>
                          <a:pt x="116" y="41"/>
                          <a:pt x="116" y="41"/>
                        </a:cubicBezTo>
                        <a:cubicBezTo>
                          <a:pt x="117" y="41"/>
                          <a:pt x="117" y="41"/>
                          <a:pt x="117" y="41"/>
                        </a:cubicBezTo>
                        <a:cubicBezTo>
                          <a:pt x="117" y="41"/>
                          <a:pt x="117" y="41"/>
                          <a:pt x="117" y="41"/>
                        </a:cubicBezTo>
                        <a:cubicBezTo>
                          <a:pt x="117" y="41"/>
                          <a:pt x="117" y="41"/>
                          <a:pt x="117" y="40"/>
                        </a:cubicBezTo>
                        <a:cubicBezTo>
                          <a:pt x="116" y="41"/>
                          <a:pt x="116" y="40"/>
                          <a:pt x="116" y="40"/>
                        </a:cubicBezTo>
                        <a:cubicBezTo>
                          <a:pt x="116" y="40"/>
                          <a:pt x="116" y="40"/>
                          <a:pt x="116" y="40"/>
                        </a:cubicBezTo>
                        <a:cubicBezTo>
                          <a:pt x="116" y="40"/>
                          <a:pt x="116" y="40"/>
                          <a:pt x="116" y="40"/>
                        </a:cubicBezTo>
                        <a:cubicBezTo>
                          <a:pt x="116" y="40"/>
                          <a:pt x="116" y="40"/>
                          <a:pt x="116" y="40"/>
                        </a:cubicBezTo>
                        <a:cubicBezTo>
                          <a:pt x="115" y="40"/>
                          <a:pt x="115" y="40"/>
                          <a:pt x="115" y="40"/>
                        </a:cubicBezTo>
                        <a:cubicBezTo>
                          <a:pt x="115" y="40"/>
                          <a:pt x="115" y="40"/>
                          <a:pt x="115" y="40"/>
                        </a:cubicBezTo>
                        <a:cubicBezTo>
                          <a:pt x="115" y="40"/>
                          <a:pt x="115" y="40"/>
                          <a:pt x="115" y="40"/>
                        </a:cubicBezTo>
                        <a:cubicBezTo>
                          <a:pt x="115" y="40"/>
                          <a:pt x="115" y="40"/>
                          <a:pt x="115" y="40"/>
                        </a:cubicBezTo>
                        <a:cubicBezTo>
                          <a:pt x="114" y="40"/>
                          <a:pt x="115" y="40"/>
                          <a:pt x="114" y="40"/>
                        </a:cubicBez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4" y="40"/>
                          <a:pt x="114" y="40"/>
                          <a:pt x="114" y="39"/>
                        </a:cubicBezTo>
                        <a:cubicBezTo>
                          <a:pt x="114" y="39"/>
                          <a:pt x="114" y="40"/>
                          <a:pt x="114" y="40"/>
                        </a:cubicBezTo>
                        <a:cubicBezTo>
                          <a:pt x="114" y="39"/>
                          <a:pt x="114" y="39"/>
                          <a:pt x="114" y="39"/>
                        </a:cubicBezTo>
                        <a:cubicBezTo>
                          <a:pt x="114" y="39"/>
                          <a:pt x="113" y="39"/>
                          <a:pt x="113" y="39"/>
                        </a:cubicBezTo>
                        <a:cubicBezTo>
                          <a:pt x="113" y="39"/>
                          <a:pt x="113" y="39"/>
                          <a:pt x="113" y="39"/>
                        </a:cubicBezTo>
                        <a:cubicBezTo>
                          <a:pt x="113" y="39"/>
                          <a:pt x="113" y="39"/>
                          <a:pt x="113" y="39"/>
                        </a:cubicBezTo>
                        <a:cubicBezTo>
                          <a:pt x="113" y="39"/>
                          <a:pt x="114" y="39"/>
                          <a:pt x="113" y="39"/>
                        </a:cubicBezTo>
                        <a:cubicBezTo>
                          <a:pt x="114" y="39"/>
                          <a:pt x="115" y="39"/>
                          <a:pt x="116" y="39"/>
                        </a:cubicBezTo>
                        <a:cubicBezTo>
                          <a:pt x="115" y="40"/>
                          <a:pt x="115" y="39"/>
                          <a:pt x="115" y="39"/>
                        </a:cubicBezTo>
                        <a:cubicBezTo>
                          <a:pt x="115" y="39"/>
                          <a:pt x="115" y="40"/>
                          <a:pt x="115" y="40"/>
                        </a:cubicBezTo>
                        <a:cubicBezTo>
                          <a:pt x="116" y="39"/>
                          <a:pt x="116" y="40"/>
                          <a:pt x="117" y="40"/>
                        </a:cubicBezTo>
                        <a:cubicBezTo>
                          <a:pt x="117" y="40"/>
                          <a:pt x="117" y="40"/>
                          <a:pt x="117" y="40"/>
                        </a:cubicBezTo>
                        <a:cubicBezTo>
                          <a:pt x="117" y="40"/>
                          <a:pt x="117" y="40"/>
                          <a:pt x="117" y="40"/>
                        </a:cubicBezTo>
                        <a:cubicBezTo>
                          <a:pt x="117" y="40"/>
                          <a:pt x="117" y="40"/>
                          <a:pt x="117" y="40"/>
                        </a:cubicBezTo>
                        <a:cubicBezTo>
                          <a:pt x="118" y="40"/>
                          <a:pt x="118" y="40"/>
                          <a:pt x="119" y="41"/>
                        </a:cubicBezTo>
                        <a:cubicBezTo>
                          <a:pt x="118" y="41"/>
                          <a:pt x="117" y="40"/>
                          <a:pt x="117" y="40"/>
                        </a:cubicBezTo>
                        <a:cubicBezTo>
                          <a:pt x="117" y="40"/>
                          <a:pt x="116" y="40"/>
                          <a:pt x="116" y="40"/>
                        </a:cubicBezTo>
                        <a:cubicBezTo>
                          <a:pt x="116" y="40"/>
                          <a:pt x="117" y="40"/>
                          <a:pt x="117" y="40"/>
                        </a:cubicBezTo>
                        <a:cubicBezTo>
                          <a:pt x="117" y="41"/>
                          <a:pt x="117" y="41"/>
                          <a:pt x="117" y="41"/>
                        </a:cubicBezTo>
                        <a:cubicBezTo>
                          <a:pt x="117" y="41"/>
                          <a:pt x="117" y="41"/>
                          <a:pt x="117" y="41"/>
                        </a:cubicBezTo>
                        <a:cubicBezTo>
                          <a:pt x="117" y="41"/>
                          <a:pt x="117" y="41"/>
                          <a:pt x="117" y="41"/>
                        </a:cubicBezTo>
                        <a:cubicBezTo>
                          <a:pt x="117" y="41"/>
                          <a:pt x="117" y="41"/>
                          <a:pt x="117" y="41"/>
                        </a:cubicBezTo>
                        <a:cubicBezTo>
                          <a:pt x="118" y="41"/>
                          <a:pt x="118" y="41"/>
                          <a:pt x="118" y="41"/>
                        </a:cubicBezTo>
                        <a:cubicBezTo>
                          <a:pt x="118" y="41"/>
                          <a:pt x="118" y="41"/>
                          <a:pt x="118" y="41"/>
                        </a:cubicBezTo>
                        <a:cubicBezTo>
                          <a:pt x="118" y="41"/>
                          <a:pt x="118" y="41"/>
                          <a:pt x="118" y="41"/>
                        </a:cubicBezTo>
                        <a:cubicBezTo>
                          <a:pt x="118" y="41"/>
                          <a:pt x="118" y="41"/>
                          <a:pt x="118" y="41"/>
                        </a:cubicBezTo>
                        <a:cubicBezTo>
                          <a:pt x="118" y="41"/>
                          <a:pt x="118" y="41"/>
                          <a:pt x="118" y="41"/>
                        </a:cubicBezTo>
                        <a:cubicBezTo>
                          <a:pt x="118" y="41"/>
                          <a:pt x="119" y="41"/>
                          <a:pt x="119" y="41"/>
                        </a:cubicBezTo>
                        <a:cubicBezTo>
                          <a:pt x="119" y="41"/>
                          <a:pt x="119" y="41"/>
                          <a:pt x="119" y="41"/>
                        </a:cubicBezTo>
                        <a:cubicBezTo>
                          <a:pt x="119" y="41"/>
                          <a:pt x="119" y="41"/>
                          <a:pt x="119" y="41"/>
                        </a:cubicBezTo>
                        <a:cubicBezTo>
                          <a:pt x="119" y="41"/>
                          <a:pt x="120" y="41"/>
                          <a:pt x="119" y="41"/>
                        </a:cubicBezTo>
                        <a:cubicBezTo>
                          <a:pt x="120" y="42"/>
                          <a:pt x="121" y="42"/>
                          <a:pt x="122" y="42"/>
                        </a:cubicBezTo>
                        <a:cubicBezTo>
                          <a:pt x="122" y="42"/>
                          <a:pt x="122" y="42"/>
                          <a:pt x="122" y="42"/>
                        </a:cubicBezTo>
                        <a:cubicBezTo>
                          <a:pt x="122" y="43"/>
                          <a:pt x="122" y="42"/>
                          <a:pt x="122" y="43"/>
                        </a:cubicBezTo>
                        <a:cubicBezTo>
                          <a:pt x="123" y="43"/>
                          <a:pt x="122" y="42"/>
                          <a:pt x="122" y="42"/>
                        </a:cubicBezTo>
                        <a:cubicBezTo>
                          <a:pt x="123" y="42"/>
                          <a:pt x="123" y="43"/>
                          <a:pt x="123" y="43"/>
                        </a:cubicBezTo>
                        <a:cubicBezTo>
                          <a:pt x="123" y="43"/>
                          <a:pt x="123" y="43"/>
                          <a:pt x="123" y="43"/>
                        </a:cubicBezTo>
                        <a:cubicBezTo>
                          <a:pt x="122" y="43"/>
                          <a:pt x="123" y="43"/>
                          <a:pt x="123" y="43"/>
                        </a:cubicBezTo>
                        <a:cubicBezTo>
                          <a:pt x="123" y="43"/>
                          <a:pt x="124" y="43"/>
                          <a:pt x="124" y="43"/>
                        </a:cubicBezTo>
                        <a:cubicBezTo>
                          <a:pt x="124" y="43"/>
                          <a:pt x="124" y="43"/>
                          <a:pt x="124" y="43"/>
                        </a:cubicBezTo>
                        <a:cubicBezTo>
                          <a:pt x="125" y="43"/>
                          <a:pt x="125" y="43"/>
                          <a:pt x="125" y="43"/>
                        </a:cubicBezTo>
                        <a:cubicBezTo>
                          <a:pt x="125" y="43"/>
                          <a:pt x="125" y="43"/>
                          <a:pt x="125" y="43"/>
                        </a:cubicBezTo>
                        <a:cubicBezTo>
                          <a:pt x="125" y="43"/>
                          <a:pt x="125" y="43"/>
                          <a:pt x="125" y="43"/>
                        </a:cubicBezTo>
                        <a:cubicBezTo>
                          <a:pt x="124" y="43"/>
                          <a:pt x="125" y="43"/>
                          <a:pt x="125" y="43"/>
                        </a:cubicBezTo>
                        <a:cubicBezTo>
                          <a:pt x="125" y="43"/>
                          <a:pt x="125" y="43"/>
                          <a:pt x="125" y="43"/>
                        </a:cubicBezTo>
                        <a:cubicBezTo>
                          <a:pt x="125" y="43"/>
                          <a:pt x="126" y="44"/>
                          <a:pt x="125" y="43"/>
                        </a:cubicBezTo>
                        <a:cubicBezTo>
                          <a:pt x="125" y="44"/>
                          <a:pt x="125" y="44"/>
                          <a:pt x="125" y="44"/>
                        </a:cubicBezTo>
                        <a:cubicBezTo>
                          <a:pt x="125" y="44"/>
                          <a:pt x="126" y="44"/>
                          <a:pt x="126" y="44"/>
                        </a:cubicBezTo>
                        <a:cubicBezTo>
                          <a:pt x="126" y="44"/>
                          <a:pt x="126" y="44"/>
                          <a:pt x="126" y="44"/>
                        </a:cubicBezTo>
                        <a:cubicBezTo>
                          <a:pt x="126" y="44"/>
                          <a:pt x="126" y="44"/>
                          <a:pt x="127" y="44"/>
                        </a:cubicBezTo>
                        <a:cubicBezTo>
                          <a:pt x="127" y="44"/>
                          <a:pt x="127" y="44"/>
                          <a:pt x="127" y="44"/>
                        </a:cubicBezTo>
                        <a:cubicBezTo>
                          <a:pt x="128" y="44"/>
                          <a:pt x="129" y="45"/>
                          <a:pt x="129" y="45"/>
                        </a:cubicBezTo>
                        <a:cubicBezTo>
                          <a:pt x="129" y="45"/>
                          <a:pt x="130" y="45"/>
                          <a:pt x="130" y="45"/>
                        </a:cubicBezTo>
                        <a:cubicBezTo>
                          <a:pt x="130" y="45"/>
                          <a:pt x="130" y="45"/>
                          <a:pt x="130" y="45"/>
                        </a:cubicBezTo>
                        <a:cubicBezTo>
                          <a:pt x="130" y="45"/>
                          <a:pt x="130" y="45"/>
                          <a:pt x="130" y="45"/>
                        </a:cubicBezTo>
                        <a:cubicBezTo>
                          <a:pt x="130" y="45"/>
                          <a:pt x="129" y="45"/>
                          <a:pt x="129" y="45"/>
                        </a:cubicBezTo>
                        <a:cubicBezTo>
                          <a:pt x="129" y="45"/>
                          <a:pt x="129" y="45"/>
                          <a:pt x="129" y="45"/>
                        </a:cubicBezTo>
                        <a:cubicBezTo>
                          <a:pt x="129" y="45"/>
                          <a:pt x="129" y="45"/>
                          <a:pt x="129" y="45"/>
                        </a:cubicBezTo>
                        <a:cubicBezTo>
                          <a:pt x="129" y="44"/>
                          <a:pt x="129" y="45"/>
                          <a:pt x="129" y="45"/>
                        </a:cubicBezTo>
                        <a:cubicBezTo>
                          <a:pt x="129" y="45"/>
                          <a:pt x="129" y="45"/>
                          <a:pt x="129" y="45"/>
                        </a:cubicBezTo>
                        <a:cubicBezTo>
                          <a:pt x="129" y="45"/>
                          <a:pt x="128" y="44"/>
                          <a:pt x="128" y="44"/>
                        </a:cubicBezTo>
                        <a:cubicBezTo>
                          <a:pt x="128" y="44"/>
                          <a:pt x="128" y="44"/>
                          <a:pt x="127" y="44"/>
                        </a:cubicBezTo>
                        <a:cubicBezTo>
                          <a:pt x="127" y="44"/>
                          <a:pt x="126" y="44"/>
                          <a:pt x="126" y="44"/>
                        </a:cubicBezTo>
                        <a:cubicBezTo>
                          <a:pt x="126" y="43"/>
                          <a:pt x="126" y="43"/>
                          <a:pt x="126" y="43"/>
                        </a:cubicBezTo>
                        <a:cubicBezTo>
                          <a:pt x="126" y="43"/>
                          <a:pt x="126" y="43"/>
                          <a:pt x="126" y="43"/>
                        </a:cubicBezTo>
                        <a:cubicBezTo>
                          <a:pt x="126" y="43"/>
                          <a:pt x="126" y="43"/>
                          <a:pt x="126" y="43"/>
                        </a:cubicBezTo>
                        <a:cubicBezTo>
                          <a:pt x="126" y="43"/>
                          <a:pt x="125" y="43"/>
                          <a:pt x="125" y="43"/>
                        </a:cubicBezTo>
                        <a:cubicBezTo>
                          <a:pt x="125" y="43"/>
                          <a:pt x="125" y="43"/>
                          <a:pt x="125" y="43"/>
                        </a:cubicBezTo>
                        <a:cubicBezTo>
                          <a:pt x="125" y="43"/>
                          <a:pt x="125" y="43"/>
                          <a:pt x="125" y="43"/>
                        </a:cubicBezTo>
                        <a:cubicBezTo>
                          <a:pt x="125" y="43"/>
                          <a:pt x="125" y="43"/>
                          <a:pt x="125" y="43"/>
                        </a:cubicBezTo>
                        <a:cubicBezTo>
                          <a:pt x="125" y="43"/>
                          <a:pt x="124" y="43"/>
                          <a:pt x="124" y="43"/>
                        </a:cubicBezTo>
                        <a:cubicBezTo>
                          <a:pt x="124" y="43"/>
                          <a:pt x="124" y="43"/>
                          <a:pt x="124" y="42"/>
                        </a:cubicBezTo>
                        <a:cubicBezTo>
                          <a:pt x="124" y="42"/>
                          <a:pt x="124" y="42"/>
                          <a:pt x="124" y="43"/>
                        </a:cubicBezTo>
                        <a:cubicBezTo>
                          <a:pt x="124" y="42"/>
                          <a:pt x="124" y="42"/>
                          <a:pt x="123" y="42"/>
                        </a:cubicBezTo>
                        <a:cubicBezTo>
                          <a:pt x="123" y="42"/>
                          <a:pt x="123" y="42"/>
                          <a:pt x="123" y="42"/>
                        </a:cubicBezTo>
                        <a:cubicBezTo>
                          <a:pt x="123" y="42"/>
                          <a:pt x="123" y="42"/>
                          <a:pt x="123" y="42"/>
                        </a:cubicBezTo>
                        <a:cubicBezTo>
                          <a:pt x="123" y="42"/>
                          <a:pt x="123" y="42"/>
                          <a:pt x="122" y="42"/>
                        </a:cubicBezTo>
                        <a:cubicBezTo>
                          <a:pt x="122" y="41"/>
                          <a:pt x="122" y="42"/>
                          <a:pt x="122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1" y="41"/>
                          <a:pt x="121" y="41"/>
                        </a:cubicBezTo>
                        <a:cubicBezTo>
                          <a:pt x="122" y="41"/>
                          <a:pt x="122" y="41"/>
                          <a:pt x="121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3" y="41"/>
                          <a:pt x="122" y="41"/>
                        </a:cubicBezTo>
                        <a:cubicBezTo>
                          <a:pt x="123" y="41"/>
                          <a:pt x="123" y="41"/>
                          <a:pt x="123" y="41"/>
                        </a:cubicBezTo>
                        <a:cubicBezTo>
                          <a:pt x="123" y="41"/>
                          <a:pt x="123" y="41"/>
                          <a:pt x="124" y="41"/>
                        </a:cubicBezTo>
                        <a:cubicBezTo>
                          <a:pt x="124" y="41"/>
                          <a:pt x="124" y="41"/>
                          <a:pt x="124" y="41"/>
                        </a:cubicBezTo>
                        <a:cubicBezTo>
                          <a:pt x="124" y="41"/>
                          <a:pt x="123" y="41"/>
                          <a:pt x="122" y="41"/>
                        </a:cubicBezTo>
                        <a:cubicBezTo>
                          <a:pt x="122" y="41"/>
                          <a:pt x="122" y="41"/>
                          <a:pt x="123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2" y="41"/>
                          <a:pt x="122" y="40"/>
                        </a:cubicBezTo>
                        <a:cubicBezTo>
                          <a:pt x="122" y="40"/>
                          <a:pt x="122" y="40"/>
                          <a:pt x="122" y="40"/>
                        </a:cubicBezTo>
                        <a:cubicBezTo>
                          <a:pt x="122" y="40"/>
                          <a:pt x="122" y="40"/>
                          <a:pt x="122" y="40"/>
                        </a:cubicBezTo>
                        <a:cubicBezTo>
                          <a:pt x="122" y="40"/>
                          <a:pt x="122" y="40"/>
                          <a:pt x="122" y="40"/>
                        </a:cubicBezTo>
                        <a:cubicBezTo>
                          <a:pt x="121" y="40"/>
                          <a:pt x="121" y="40"/>
                          <a:pt x="121" y="40"/>
                        </a:cubicBezTo>
                        <a:cubicBezTo>
                          <a:pt x="121" y="39"/>
                          <a:pt x="121" y="39"/>
                          <a:pt x="120" y="39"/>
                        </a:cubicBezTo>
                        <a:cubicBezTo>
                          <a:pt x="120" y="39"/>
                          <a:pt x="120" y="39"/>
                          <a:pt x="120" y="39"/>
                        </a:cubicBezTo>
                        <a:cubicBezTo>
                          <a:pt x="120" y="39"/>
                          <a:pt x="120" y="39"/>
                          <a:pt x="120" y="39"/>
                        </a:cubicBezTo>
                        <a:cubicBezTo>
                          <a:pt x="120" y="39"/>
                          <a:pt x="120" y="39"/>
                          <a:pt x="120" y="40"/>
                        </a:cubicBezTo>
                        <a:cubicBezTo>
                          <a:pt x="120" y="39"/>
                          <a:pt x="120" y="39"/>
                          <a:pt x="120" y="39"/>
                        </a:cubicBezTo>
                        <a:cubicBezTo>
                          <a:pt x="120" y="39"/>
                          <a:pt x="120" y="39"/>
                          <a:pt x="120" y="39"/>
                        </a:cubicBezTo>
                        <a:cubicBezTo>
                          <a:pt x="120" y="39"/>
                          <a:pt x="120" y="39"/>
                          <a:pt x="120" y="39"/>
                        </a:cubicBezTo>
                        <a:cubicBezTo>
                          <a:pt x="119" y="40"/>
                          <a:pt x="119" y="39"/>
                          <a:pt x="119" y="39"/>
                        </a:cubicBezTo>
                        <a:cubicBezTo>
                          <a:pt x="119" y="39"/>
                          <a:pt x="119" y="39"/>
                          <a:pt x="119" y="39"/>
                        </a:cubicBezTo>
                        <a:cubicBezTo>
                          <a:pt x="119" y="39"/>
                          <a:pt x="119" y="39"/>
                          <a:pt x="119" y="39"/>
                        </a:cubicBezTo>
                        <a:cubicBezTo>
                          <a:pt x="119" y="39"/>
                          <a:pt x="119" y="39"/>
                          <a:pt x="120" y="39"/>
                        </a:cubicBezTo>
                        <a:cubicBezTo>
                          <a:pt x="120" y="39"/>
                          <a:pt x="119" y="39"/>
                          <a:pt x="119" y="38"/>
                        </a:cubicBezTo>
                        <a:cubicBezTo>
                          <a:pt x="119" y="38"/>
                          <a:pt x="119" y="39"/>
                          <a:pt x="119" y="39"/>
                        </a:cubicBezTo>
                        <a:cubicBezTo>
                          <a:pt x="119" y="39"/>
                          <a:pt x="119" y="39"/>
                          <a:pt x="119" y="39"/>
                        </a:cubicBezTo>
                        <a:cubicBezTo>
                          <a:pt x="119" y="39"/>
                          <a:pt x="118" y="39"/>
                          <a:pt x="118" y="39"/>
                        </a:cubicBezTo>
                        <a:cubicBezTo>
                          <a:pt x="118" y="39"/>
                          <a:pt x="118" y="39"/>
                          <a:pt x="118" y="39"/>
                        </a:cubicBezTo>
                        <a:cubicBezTo>
                          <a:pt x="118" y="39"/>
                          <a:pt x="118" y="39"/>
                          <a:pt x="118" y="39"/>
                        </a:cubicBezTo>
                        <a:cubicBezTo>
                          <a:pt x="118" y="39"/>
                          <a:pt x="118" y="39"/>
                          <a:pt x="118" y="38"/>
                        </a:cubicBezTo>
                        <a:cubicBezTo>
                          <a:pt x="118" y="38"/>
                          <a:pt x="118" y="38"/>
                          <a:pt x="118" y="38"/>
                        </a:cubicBezTo>
                        <a:cubicBezTo>
                          <a:pt x="118" y="38"/>
                          <a:pt x="117" y="38"/>
                          <a:pt x="117" y="38"/>
                        </a:cubicBezTo>
                        <a:cubicBezTo>
                          <a:pt x="117" y="38"/>
                          <a:pt x="117" y="38"/>
                          <a:pt x="117" y="38"/>
                        </a:cubicBezTo>
                        <a:cubicBezTo>
                          <a:pt x="117" y="38"/>
                          <a:pt x="118" y="39"/>
                          <a:pt x="118" y="39"/>
                        </a:cubicBezTo>
                        <a:cubicBezTo>
                          <a:pt x="118" y="39"/>
                          <a:pt x="118" y="39"/>
                          <a:pt x="118" y="39"/>
                        </a:cubicBezTo>
                        <a:cubicBezTo>
                          <a:pt x="118" y="39"/>
                          <a:pt x="118" y="39"/>
                          <a:pt x="119" y="39"/>
                        </a:cubicBezTo>
                        <a:cubicBezTo>
                          <a:pt x="119" y="40"/>
                          <a:pt x="118" y="40"/>
                          <a:pt x="118" y="40"/>
                        </a:cubicBezTo>
                        <a:cubicBezTo>
                          <a:pt x="118" y="40"/>
                          <a:pt x="119" y="40"/>
                          <a:pt x="118" y="40"/>
                        </a:cubicBezTo>
                        <a:cubicBezTo>
                          <a:pt x="118" y="40"/>
                          <a:pt x="118" y="40"/>
                          <a:pt x="118" y="40"/>
                        </a:cubicBezTo>
                        <a:cubicBezTo>
                          <a:pt x="118" y="40"/>
                          <a:pt x="118" y="40"/>
                          <a:pt x="118" y="40"/>
                        </a:cubicBezTo>
                        <a:cubicBezTo>
                          <a:pt x="118" y="39"/>
                          <a:pt x="118" y="40"/>
                          <a:pt x="118" y="39"/>
                        </a:cubicBezTo>
                        <a:cubicBezTo>
                          <a:pt x="118" y="39"/>
                          <a:pt x="117" y="39"/>
                          <a:pt x="118" y="39"/>
                        </a:cubicBezTo>
                        <a:cubicBezTo>
                          <a:pt x="118" y="39"/>
                          <a:pt x="118" y="39"/>
                          <a:pt x="118" y="39"/>
                        </a:cubicBezTo>
                        <a:cubicBezTo>
                          <a:pt x="118" y="39"/>
                          <a:pt x="117" y="39"/>
                          <a:pt x="118" y="39"/>
                        </a:cubicBezTo>
                        <a:cubicBezTo>
                          <a:pt x="117" y="39"/>
                          <a:pt x="117" y="39"/>
                          <a:pt x="117" y="39"/>
                        </a:cubicBezTo>
                        <a:cubicBezTo>
                          <a:pt x="117" y="39"/>
                          <a:pt x="117" y="39"/>
                          <a:pt x="117" y="39"/>
                        </a:cubicBezTo>
                        <a:cubicBezTo>
                          <a:pt x="117" y="39"/>
                          <a:pt x="117" y="39"/>
                          <a:pt x="117" y="39"/>
                        </a:cubicBezTo>
                        <a:cubicBezTo>
                          <a:pt x="116" y="39"/>
                          <a:pt x="116" y="39"/>
                          <a:pt x="117" y="39"/>
                        </a:cubicBezTo>
                        <a:cubicBezTo>
                          <a:pt x="116" y="39"/>
                          <a:pt x="116" y="39"/>
                          <a:pt x="115" y="39"/>
                        </a:cubicBezTo>
                        <a:cubicBezTo>
                          <a:pt x="115" y="38"/>
                          <a:pt x="115" y="39"/>
                          <a:pt x="115" y="38"/>
                        </a:cubicBezTo>
                        <a:cubicBezTo>
                          <a:pt x="115" y="38"/>
                          <a:pt x="114" y="38"/>
                          <a:pt x="114" y="38"/>
                        </a:cubicBezTo>
                        <a:cubicBezTo>
                          <a:pt x="114" y="38"/>
                          <a:pt x="114" y="38"/>
                          <a:pt x="114" y="38"/>
                        </a:cubicBezTo>
                        <a:cubicBezTo>
                          <a:pt x="114" y="38"/>
                          <a:pt x="114" y="38"/>
                          <a:pt x="113" y="38"/>
                        </a:cubicBezTo>
                        <a:cubicBezTo>
                          <a:pt x="113" y="38"/>
                          <a:pt x="114" y="38"/>
                          <a:pt x="114" y="38"/>
                        </a:cubicBezTo>
                        <a:cubicBezTo>
                          <a:pt x="113" y="38"/>
                          <a:pt x="113" y="38"/>
                          <a:pt x="113" y="38"/>
                        </a:cubicBezTo>
                        <a:cubicBezTo>
                          <a:pt x="113" y="38"/>
                          <a:pt x="113" y="38"/>
                          <a:pt x="113" y="38"/>
                        </a:cubicBezTo>
                        <a:cubicBezTo>
                          <a:pt x="113" y="38"/>
                          <a:pt x="113" y="38"/>
                          <a:pt x="113" y="38"/>
                        </a:cubicBezTo>
                        <a:cubicBezTo>
                          <a:pt x="112" y="37"/>
                          <a:pt x="112" y="37"/>
                          <a:pt x="113" y="37"/>
                        </a:cubicBezTo>
                        <a:cubicBezTo>
                          <a:pt x="112" y="37"/>
                          <a:pt x="112" y="37"/>
                          <a:pt x="112" y="37"/>
                        </a:cubicBezTo>
                        <a:cubicBezTo>
                          <a:pt x="112" y="37"/>
                          <a:pt x="112" y="37"/>
                          <a:pt x="112" y="37"/>
                        </a:cubicBezTo>
                        <a:cubicBezTo>
                          <a:pt x="112" y="37"/>
                          <a:pt x="112" y="37"/>
                          <a:pt x="112" y="37"/>
                        </a:cubicBezTo>
                        <a:cubicBezTo>
                          <a:pt x="112" y="37"/>
                          <a:pt x="111" y="37"/>
                          <a:pt x="111" y="37"/>
                        </a:cubicBezTo>
                        <a:cubicBezTo>
                          <a:pt x="112" y="37"/>
                          <a:pt x="112" y="37"/>
                          <a:pt x="112" y="37"/>
                        </a:cubicBezTo>
                        <a:cubicBezTo>
                          <a:pt x="112" y="37"/>
                          <a:pt x="112" y="37"/>
                          <a:pt x="112" y="37"/>
                        </a:cubicBezTo>
                        <a:cubicBezTo>
                          <a:pt x="112" y="37"/>
                          <a:pt x="112" y="37"/>
                          <a:pt x="112" y="37"/>
                        </a:cubicBezTo>
                        <a:cubicBezTo>
                          <a:pt x="113" y="37"/>
                          <a:pt x="113" y="37"/>
                          <a:pt x="113" y="37"/>
                        </a:cubicBezTo>
                        <a:cubicBezTo>
                          <a:pt x="113" y="37"/>
                          <a:pt x="113" y="37"/>
                          <a:pt x="113" y="37"/>
                        </a:cubicBezTo>
                        <a:cubicBezTo>
                          <a:pt x="114" y="37"/>
                          <a:pt x="113" y="37"/>
                          <a:pt x="113" y="37"/>
                        </a:cubicBezTo>
                        <a:cubicBezTo>
                          <a:pt x="114" y="37"/>
                          <a:pt x="114" y="37"/>
                          <a:pt x="114" y="38"/>
                        </a:cubicBezTo>
                        <a:cubicBezTo>
                          <a:pt x="114" y="38"/>
                          <a:pt x="114" y="38"/>
                          <a:pt x="114" y="37"/>
                        </a:cubicBezTo>
                        <a:cubicBezTo>
                          <a:pt x="114" y="37"/>
                          <a:pt x="114" y="38"/>
                          <a:pt x="114" y="38"/>
                        </a:cubicBezTo>
                        <a:cubicBezTo>
                          <a:pt x="114" y="38"/>
                          <a:pt x="114" y="38"/>
                          <a:pt x="114" y="38"/>
                        </a:cubicBezTo>
                        <a:cubicBezTo>
                          <a:pt x="114" y="38"/>
                          <a:pt x="115" y="38"/>
                          <a:pt x="115" y="38"/>
                        </a:cubicBezTo>
                        <a:cubicBezTo>
                          <a:pt x="115" y="38"/>
                          <a:pt x="115" y="38"/>
                          <a:pt x="115" y="38"/>
                        </a:cubicBezTo>
                        <a:cubicBezTo>
                          <a:pt x="115" y="37"/>
                          <a:pt x="114" y="37"/>
                          <a:pt x="115" y="37"/>
                        </a:cubicBezTo>
                        <a:cubicBezTo>
                          <a:pt x="115" y="37"/>
                          <a:pt x="115" y="38"/>
                          <a:pt x="116" y="38"/>
                        </a:cubicBezTo>
                        <a:cubicBezTo>
                          <a:pt x="116" y="38"/>
                          <a:pt x="116" y="38"/>
                          <a:pt x="116" y="38"/>
                        </a:cubicBezTo>
                        <a:cubicBezTo>
                          <a:pt x="116" y="38"/>
                          <a:pt x="115" y="38"/>
                          <a:pt x="115" y="38"/>
                        </a:cubicBezTo>
                        <a:cubicBezTo>
                          <a:pt x="115" y="38"/>
                          <a:pt x="115" y="38"/>
                          <a:pt x="115" y="38"/>
                        </a:cubicBezTo>
                        <a:cubicBezTo>
                          <a:pt x="116" y="38"/>
                          <a:pt x="116" y="38"/>
                          <a:pt x="116" y="38"/>
                        </a:cubicBezTo>
                        <a:cubicBezTo>
                          <a:pt x="116" y="38"/>
                          <a:pt x="116" y="38"/>
                          <a:pt x="116" y="38"/>
                        </a:cubicBezTo>
                        <a:cubicBezTo>
                          <a:pt x="117" y="38"/>
                          <a:pt x="116" y="38"/>
                          <a:pt x="117" y="39"/>
                        </a:cubicBezTo>
                        <a:cubicBezTo>
                          <a:pt x="117" y="38"/>
                          <a:pt x="117" y="39"/>
                          <a:pt x="117" y="39"/>
                        </a:cubicBezTo>
                        <a:cubicBezTo>
                          <a:pt x="117" y="39"/>
                          <a:pt x="117" y="39"/>
                          <a:pt x="117" y="38"/>
                        </a:cubicBezTo>
                        <a:cubicBezTo>
                          <a:pt x="117" y="38"/>
                          <a:pt x="117" y="38"/>
                          <a:pt x="117" y="38"/>
                        </a:cubicBezTo>
                        <a:cubicBezTo>
                          <a:pt x="117" y="38"/>
                          <a:pt x="117" y="38"/>
                          <a:pt x="117" y="38"/>
                        </a:cubicBezTo>
                        <a:cubicBezTo>
                          <a:pt x="117" y="38"/>
                          <a:pt x="118" y="38"/>
                          <a:pt x="117" y="38"/>
                        </a:cubicBezTo>
                        <a:cubicBezTo>
                          <a:pt x="117" y="38"/>
                          <a:pt x="117" y="38"/>
                          <a:pt x="117" y="38"/>
                        </a:cubicBezTo>
                        <a:cubicBezTo>
                          <a:pt x="117" y="38"/>
                          <a:pt x="117" y="38"/>
                          <a:pt x="116" y="38"/>
                        </a:cubicBezTo>
                        <a:cubicBezTo>
                          <a:pt x="116" y="38"/>
                          <a:pt x="116" y="38"/>
                          <a:pt x="117" y="38"/>
                        </a:cubicBezTo>
                        <a:cubicBezTo>
                          <a:pt x="117" y="38"/>
                          <a:pt x="116" y="37"/>
                          <a:pt x="116" y="38"/>
                        </a:cubicBezTo>
                        <a:cubicBezTo>
                          <a:pt x="116" y="37"/>
                          <a:pt x="116" y="37"/>
                          <a:pt x="116" y="37"/>
                        </a:cubicBezTo>
                        <a:cubicBezTo>
                          <a:pt x="116" y="37"/>
                          <a:pt x="117" y="37"/>
                          <a:pt x="117" y="38"/>
                        </a:cubicBezTo>
                        <a:cubicBezTo>
                          <a:pt x="117" y="38"/>
                          <a:pt x="117" y="37"/>
                          <a:pt x="117" y="37"/>
                        </a:cubicBezTo>
                        <a:cubicBezTo>
                          <a:pt x="118" y="37"/>
                          <a:pt x="118" y="37"/>
                          <a:pt x="118" y="37"/>
                        </a:cubicBezTo>
                        <a:cubicBezTo>
                          <a:pt x="118" y="38"/>
                          <a:pt x="118" y="38"/>
                          <a:pt x="118" y="38"/>
                        </a:cubicBezTo>
                        <a:cubicBezTo>
                          <a:pt x="118" y="38"/>
                          <a:pt x="119" y="38"/>
                          <a:pt x="119" y="38"/>
                        </a:cubicBezTo>
                        <a:cubicBezTo>
                          <a:pt x="119" y="38"/>
                          <a:pt x="119" y="38"/>
                          <a:pt x="120" y="38"/>
                        </a:cubicBezTo>
                        <a:cubicBezTo>
                          <a:pt x="119" y="38"/>
                          <a:pt x="119" y="38"/>
                          <a:pt x="120" y="38"/>
                        </a:cubicBezTo>
                        <a:cubicBezTo>
                          <a:pt x="120" y="38"/>
                          <a:pt x="120" y="38"/>
                          <a:pt x="120" y="38"/>
                        </a:cubicBezTo>
                        <a:cubicBezTo>
                          <a:pt x="120" y="38"/>
                          <a:pt x="120" y="38"/>
                          <a:pt x="120" y="38"/>
                        </a:cubicBezTo>
                        <a:cubicBezTo>
                          <a:pt x="120" y="38"/>
                          <a:pt x="120" y="38"/>
                          <a:pt x="120" y="38"/>
                        </a:cubicBezTo>
                        <a:cubicBezTo>
                          <a:pt x="120" y="38"/>
                          <a:pt x="120" y="39"/>
                          <a:pt x="120" y="38"/>
                        </a:cubicBezTo>
                        <a:cubicBezTo>
                          <a:pt x="120" y="39"/>
                          <a:pt x="120" y="39"/>
                          <a:pt x="120" y="39"/>
                        </a:cubicBezTo>
                        <a:cubicBezTo>
                          <a:pt x="120" y="39"/>
                          <a:pt x="120" y="39"/>
                          <a:pt x="120" y="39"/>
                        </a:cubicBezTo>
                        <a:cubicBezTo>
                          <a:pt x="120" y="39"/>
                          <a:pt x="120" y="38"/>
                          <a:pt x="120" y="39"/>
                        </a:cubicBezTo>
                        <a:cubicBezTo>
                          <a:pt x="120" y="39"/>
                          <a:pt x="121" y="39"/>
                          <a:pt x="121" y="39"/>
                        </a:cubicBezTo>
                        <a:cubicBezTo>
                          <a:pt x="121" y="39"/>
                          <a:pt x="121" y="39"/>
                          <a:pt x="121" y="39"/>
                        </a:cubicBezTo>
                        <a:cubicBezTo>
                          <a:pt x="121" y="39"/>
                          <a:pt x="121" y="39"/>
                          <a:pt x="121" y="40"/>
                        </a:cubicBezTo>
                        <a:cubicBezTo>
                          <a:pt x="121" y="39"/>
                          <a:pt x="121" y="39"/>
                          <a:pt x="121" y="39"/>
                        </a:cubicBezTo>
                        <a:cubicBezTo>
                          <a:pt x="121" y="39"/>
                          <a:pt x="121" y="39"/>
                          <a:pt x="121" y="39"/>
                        </a:cubicBezTo>
                        <a:cubicBezTo>
                          <a:pt x="121" y="39"/>
                          <a:pt x="121" y="39"/>
                          <a:pt x="121" y="39"/>
                        </a:cubicBezTo>
                        <a:cubicBezTo>
                          <a:pt x="121" y="39"/>
                          <a:pt x="122" y="39"/>
                          <a:pt x="122" y="39"/>
                        </a:cubicBezTo>
                        <a:cubicBezTo>
                          <a:pt x="122" y="39"/>
                          <a:pt x="122" y="39"/>
                          <a:pt x="122" y="39"/>
                        </a:cubicBezTo>
                        <a:cubicBezTo>
                          <a:pt x="122" y="39"/>
                          <a:pt x="121" y="39"/>
                          <a:pt x="121" y="39"/>
                        </a:cubicBezTo>
                        <a:cubicBezTo>
                          <a:pt x="122" y="39"/>
                          <a:pt x="123" y="39"/>
                          <a:pt x="123" y="39"/>
                        </a:cubicBezTo>
                        <a:cubicBezTo>
                          <a:pt x="123" y="39"/>
                          <a:pt x="123" y="39"/>
                          <a:pt x="123" y="39"/>
                        </a:cubicBezTo>
                        <a:cubicBezTo>
                          <a:pt x="123" y="39"/>
                          <a:pt x="123" y="39"/>
                          <a:pt x="123" y="39"/>
                        </a:cubicBezTo>
                        <a:cubicBezTo>
                          <a:pt x="123" y="39"/>
                          <a:pt x="124" y="39"/>
                          <a:pt x="124" y="39"/>
                        </a:cubicBezTo>
                        <a:cubicBezTo>
                          <a:pt x="124" y="40"/>
                          <a:pt x="124" y="40"/>
                          <a:pt x="124" y="40"/>
                        </a:cubicBezTo>
                        <a:cubicBezTo>
                          <a:pt x="124" y="40"/>
                          <a:pt x="124" y="40"/>
                          <a:pt x="125" y="40"/>
                        </a:cubicBezTo>
                        <a:cubicBezTo>
                          <a:pt x="125" y="40"/>
                          <a:pt x="125" y="40"/>
                          <a:pt x="125" y="40"/>
                        </a:cubicBezTo>
                        <a:cubicBezTo>
                          <a:pt x="125" y="40"/>
                          <a:pt x="125" y="40"/>
                          <a:pt x="125" y="40"/>
                        </a:cubicBezTo>
                        <a:cubicBezTo>
                          <a:pt x="125" y="40"/>
                          <a:pt x="124" y="40"/>
                          <a:pt x="124" y="40"/>
                        </a:cubicBezTo>
                        <a:cubicBezTo>
                          <a:pt x="125" y="40"/>
                          <a:pt x="125" y="40"/>
                          <a:pt x="125" y="40"/>
                        </a:cubicBezTo>
                        <a:cubicBezTo>
                          <a:pt x="125" y="40"/>
                          <a:pt x="125" y="40"/>
                          <a:pt x="125" y="40"/>
                        </a:cubicBezTo>
                        <a:cubicBezTo>
                          <a:pt x="126" y="40"/>
                          <a:pt x="125" y="40"/>
                          <a:pt x="125" y="40"/>
                        </a:cubicBezTo>
                        <a:cubicBezTo>
                          <a:pt x="125" y="40"/>
                          <a:pt x="125" y="40"/>
                          <a:pt x="125" y="40"/>
                        </a:cubicBezTo>
                        <a:cubicBezTo>
                          <a:pt x="125" y="40"/>
                          <a:pt x="126" y="40"/>
                          <a:pt x="126" y="41"/>
                        </a:cubicBezTo>
                        <a:cubicBezTo>
                          <a:pt x="126" y="41"/>
                          <a:pt x="126" y="41"/>
                          <a:pt x="126" y="41"/>
                        </a:cubicBezTo>
                        <a:cubicBezTo>
                          <a:pt x="126" y="41"/>
                          <a:pt x="126" y="40"/>
                          <a:pt x="126" y="40"/>
                        </a:cubicBezTo>
                        <a:cubicBezTo>
                          <a:pt x="126" y="40"/>
                          <a:pt x="126" y="40"/>
                          <a:pt x="126" y="40"/>
                        </a:cubicBezTo>
                        <a:cubicBezTo>
                          <a:pt x="126" y="40"/>
                          <a:pt x="126" y="40"/>
                          <a:pt x="126" y="40"/>
                        </a:cubicBezTo>
                        <a:cubicBezTo>
                          <a:pt x="126" y="40"/>
                          <a:pt x="126" y="40"/>
                          <a:pt x="126" y="40"/>
                        </a:cubicBezTo>
                        <a:cubicBezTo>
                          <a:pt x="126" y="40"/>
                          <a:pt x="126" y="40"/>
                          <a:pt x="126" y="40"/>
                        </a:cubicBezTo>
                        <a:cubicBezTo>
                          <a:pt x="126" y="40"/>
                          <a:pt x="126" y="40"/>
                          <a:pt x="126" y="40"/>
                        </a:cubicBezTo>
                        <a:cubicBezTo>
                          <a:pt x="126" y="40"/>
                          <a:pt x="126" y="40"/>
                          <a:pt x="127" y="40"/>
                        </a:cubicBezTo>
                        <a:cubicBezTo>
                          <a:pt x="127" y="40"/>
                          <a:pt x="126" y="40"/>
                          <a:pt x="126" y="40"/>
                        </a:cubicBezTo>
                        <a:cubicBezTo>
                          <a:pt x="127" y="40"/>
                          <a:pt x="127" y="40"/>
                          <a:pt x="127" y="40"/>
                        </a:cubicBezTo>
                        <a:cubicBezTo>
                          <a:pt x="127" y="40"/>
                          <a:pt x="126" y="40"/>
                          <a:pt x="126" y="40"/>
                        </a:cubicBezTo>
                        <a:cubicBezTo>
                          <a:pt x="127" y="40"/>
                          <a:pt x="127" y="40"/>
                          <a:pt x="127" y="40"/>
                        </a:cubicBezTo>
                        <a:cubicBezTo>
                          <a:pt x="127" y="40"/>
                          <a:pt x="127" y="40"/>
                          <a:pt x="127" y="40"/>
                        </a:cubicBezTo>
                        <a:cubicBezTo>
                          <a:pt x="127" y="40"/>
                          <a:pt x="127" y="40"/>
                          <a:pt x="128" y="40"/>
                        </a:cubicBezTo>
                        <a:cubicBezTo>
                          <a:pt x="128" y="40"/>
                          <a:pt x="128" y="40"/>
                          <a:pt x="128" y="40"/>
                        </a:cubicBezTo>
                        <a:cubicBezTo>
                          <a:pt x="128" y="40"/>
                          <a:pt x="128" y="40"/>
                          <a:pt x="127" y="40"/>
                        </a:cubicBezTo>
                        <a:cubicBezTo>
                          <a:pt x="127" y="40"/>
                          <a:pt x="128" y="40"/>
                          <a:pt x="128" y="40"/>
                        </a:cubicBezTo>
                        <a:cubicBezTo>
                          <a:pt x="128" y="40"/>
                          <a:pt x="128" y="40"/>
                          <a:pt x="128" y="40"/>
                        </a:cubicBezTo>
                        <a:cubicBezTo>
                          <a:pt x="128" y="40"/>
                          <a:pt x="128" y="39"/>
                          <a:pt x="128" y="40"/>
                        </a:cubicBezTo>
                        <a:cubicBezTo>
                          <a:pt x="128" y="40"/>
                          <a:pt x="128" y="40"/>
                          <a:pt x="128" y="40"/>
                        </a:cubicBezTo>
                        <a:cubicBezTo>
                          <a:pt x="128" y="40"/>
                          <a:pt x="128" y="40"/>
                          <a:pt x="128" y="40"/>
                        </a:cubicBezTo>
                        <a:cubicBezTo>
                          <a:pt x="128" y="40"/>
                          <a:pt x="128" y="40"/>
                          <a:pt x="129" y="40"/>
                        </a:cubicBezTo>
                        <a:cubicBezTo>
                          <a:pt x="128" y="39"/>
                          <a:pt x="128" y="39"/>
                          <a:pt x="127" y="39"/>
                        </a:cubicBezTo>
                        <a:cubicBezTo>
                          <a:pt x="127" y="39"/>
                          <a:pt x="128" y="39"/>
                          <a:pt x="128" y="39"/>
                        </a:cubicBezTo>
                        <a:cubicBezTo>
                          <a:pt x="128" y="39"/>
                          <a:pt x="128" y="39"/>
                          <a:pt x="128" y="39"/>
                        </a:cubicBezTo>
                        <a:cubicBezTo>
                          <a:pt x="128" y="39"/>
                          <a:pt x="128" y="39"/>
                          <a:pt x="129" y="39"/>
                        </a:cubicBezTo>
                        <a:cubicBezTo>
                          <a:pt x="129" y="39"/>
                          <a:pt x="128" y="39"/>
                          <a:pt x="128" y="39"/>
                        </a:cubicBezTo>
                        <a:cubicBezTo>
                          <a:pt x="128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9"/>
                          <a:pt x="129" y="40"/>
                        </a:cubicBezTo>
                        <a:cubicBezTo>
                          <a:pt x="129" y="39"/>
                          <a:pt x="129" y="40"/>
                          <a:pt x="129" y="40"/>
                        </a:cubicBezTo>
                        <a:cubicBezTo>
                          <a:pt x="129" y="40"/>
                          <a:pt x="128" y="40"/>
                          <a:pt x="128" y="40"/>
                        </a:cubicBezTo>
                        <a:cubicBezTo>
                          <a:pt x="128" y="40"/>
                          <a:pt x="128" y="40"/>
                          <a:pt x="128" y="40"/>
                        </a:cubicBezTo>
                        <a:cubicBezTo>
                          <a:pt x="128" y="40"/>
                          <a:pt x="128" y="40"/>
                          <a:pt x="128" y="40"/>
                        </a:cubicBezTo>
                        <a:cubicBezTo>
                          <a:pt x="128" y="40"/>
                          <a:pt x="128" y="40"/>
                          <a:pt x="128" y="40"/>
                        </a:cubicBezTo>
                        <a:cubicBezTo>
                          <a:pt x="128" y="40"/>
                          <a:pt x="128" y="40"/>
                          <a:pt x="128" y="40"/>
                        </a:cubicBezTo>
                        <a:cubicBezTo>
                          <a:pt x="128" y="40"/>
                          <a:pt x="129" y="40"/>
                          <a:pt x="129" y="41"/>
                        </a:cubicBezTo>
                        <a:cubicBezTo>
                          <a:pt x="129" y="40"/>
                          <a:pt x="129" y="40"/>
                          <a:pt x="129" y="40"/>
                        </a:cubicBezTo>
                        <a:cubicBezTo>
                          <a:pt x="129" y="40"/>
                          <a:pt x="129" y="40"/>
                          <a:pt x="129" y="40"/>
                        </a:cubicBezTo>
                        <a:cubicBezTo>
                          <a:pt x="129" y="40"/>
                          <a:pt x="129" y="40"/>
                          <a:pt x="129" y="40"/>
                        </a:cubicBezTo>
                        <a:cubicBezTo>
                          <a:pt x="129" y="40"/>
                          <a:pt x="129" y="40"/>
                          <a:pt x="129" y="40"/>
                        </a:cubicBezTo>
                        <a:cubicBezTo>
                          <a:pt x="129" y="40"/>
                          <a:pt x="129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1"/>
                        </a:cubicBezTo>
                        <a:cubicBezTo>
                          <a:pt x="130" y="41"/>
                          <a:pt x="130" y="41"/>
                          <a:pt x="130" y="40"/>
                        </a:cubicBezTo>
                        <a:cubicBezTo>
                          <a:pt x="129" y="40"/>
                          <a:pt x="129" y="40"/>
                          <a:pt x="129" y="40"/>
                        </a:cubicBezTo>
                        <a:cubicBezTo>
                          <a:pt x="129" y="41"/>
                          <a:pt x="130" y="41"/>
                          <a:pt x="130" y="41"/>
                        </a:cubicBezTo>
                        <a:cubicBezTo>
                          <a:pt x="130" y="41"/>
                          <a:pt x="130" y="41"/>
                          <a:pt x="130" y="41"/>
                        </a:cubicBezTo>
                        <a:cubicBezTo>
                          <a:pt x="131" y="41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29" y="40"/>
                          <a:pt x="129" y="40"/>
                          <a:pt x="129" y="40"/>
                        </a:cubicBezTo>
                        <a:cubicBezTo>
                          <a:pt x="129" y="40"/>
                          <a:pt x="129" y="40"/>
                          <a:pt x="130" y="40"/>
                        </a:cubicBezTo>
                        <a:cubicBezTo>
                          <a:pt x="130" y="40"/>
                          <a:pt x="129" y="40"/>
                          <a:pt x="129" y="40"/>
                        </a:cubicBezTo>
                        <a:cubicBezTo>
                          <a:pt x="129" y="40"/>
                          <a:pt x="129" y="40"/>
                          <a:pt x="129" y="39"/>
                        </a:cubicBezTo>
                        <a:cubicBezTo>
                          <a:pt x="130" y="39"/>
                          <a:pt x="129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39"/>
                        </a:cubicBezTo>
                        <a:cubicBezTo>
                          <a:pt x="129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9"/>
                          <a:pt x="130" y="39"/>
                        </a:cubicBezTo>
                        <a:cubicBezTo>
                          <a:pt x="130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8"/>
                          <a:pt x="129" y="38"/>
                        </a:cubicBezTo>
                        <a:cubicBezTo>
                          <a:pt x="129" y="38"/>
                          <a:pt x="129" y="39"/>
                          <a:pt x="129" y="39"/>
                        </a:cubicBezTo>
                        <a:cubicBezTo>
                          <a:pt x="129" y="38"/>
                          <a:pt x="128" y="39"/>
                          <a:pt x="128" y="39"/>
                        </a:cubicBezTo>
                        <a:cubicBezTo>
                          <a:pt x="128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9"/>
                          <a:pt x="128" y="39"/>
                        </a:cubicBezTo>
                        <a:cubicBezTo>
                          <a:pt x="128" y="39"/>
                          <a:pt x="128" y="39"/>
                          <a:pt x="128" y="39"/>
                        </a:cubicBezTo>
                        <a:cubicBezTo>
                          <a:pt x="128" y="39"/>
                          <a:pt x="128" y="39"/>
                          <a:pt x="128" y="39"/>
                        </a:cubicBezTo>
                        <a:cubicBezTo>
                          <a:pt x="127" y="39"/>
                          <a:pt x="127" y="39"/>
                          <a:pt x="127" y="39"/>
                        </a:cubicBezTo>
                        <a:cubicBezTo>
                          <a:pt x="127" y="39"/>
                          <a:pt x="127" y="39"/>
                          <a:pt x="127" y="39"/>
                        </a:cubicBezTo>
                        <a:cubicBezTo>
                          <a:pt x="127" y="39"/>
                          <a:pt x="127" y="39"/>
                          <a:pt x="127" y="39"/>
                        </a:cubicBezTo>
                        <a:cubicBezTo>
                          <a:pt x="127" y="39"/>
                          <a:pt x="127" y="39"/>
                          <a:pt x="127" y="39"/>
                        </a:cubicBezTo>
                        <a:cubicBezTo>
                          <a:pt x="127" y="39"/>
                          <a:pt x="127" y="39"/>
                          <a:pt x="127" y="38"/>
                        </a:cubicBezTo>
                        <a:cubicBezTo>
                          <a:pt x="127" y="38"/>
                          <a:pt x="127" y="39"/>
                          <a:pt x="126" y="39"/>
                        </a:cubicBezTo>
                        <a:cubicBezTo>
                          <a:pt x="126" y="39"/>
                          <a:pt x="126" y="38"/>
                          <a:pt x="126" y="38"/>
                        </a:cubicBez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5" y="38"/>
                          <a:pt x="125" y="38"/>
                          <a:pt x="125" y="38"/>
                        </a:cubicBezTo>
                        <a:cubicBezTo>
                          <a:pt x="125" y="38"/>
                          <a:pt x="125" y="38"/>
                          <a:pt x="125" y="38"/>
                        </a:cubicBezTo>
                        <a:cubicBezTo>
                          <a:pt x="124" y="38"/>
                          <a:pt x="124" y="38"/>
                          <a:pt x="123" y="37"/>
                        </a:cubicBezTo>
                        <a:cubicBezTo>
                          <a:pt x="123" y="38"/>
                          <a:pt x="124" y="38"/>
                          <a:pt x="124" y="38"/>
                        </a:cubicBezTo>
                        <a:cubicBezTo>
                          <a:pt x="124" y="38"/>
                          <a:pt x="124" y="38"/>
                          <a:pt x="124" y="38"/>
                        </a:cubicBezTo>
                        <a:cubicBezTo>
                          <a:pt x="124" y="38"/>
                          <a:pt x="124" y="38"/>
                          <a:pt x="124" y="38"/>
                        </a:cubicBezTo>
                        <a:cubicBezTo>
                          <a:pt x="124" y="38"/>
                          <a:pt x="124" y="38"/>
                          <a:pt x="124" y="38"/>
                        </a:cubicBezTo>
                        <a:cubicBezTo>
                          <a:pt x="124" y="38"/>
                          <a:pt x="123" y="38"/>
                          <a:pt x="123" y="38"/>
                        </a:cubicBezTo>
                        <a:cubicBezTo>
                          <a:pt x="123" y="37"/>
                          <a:pt x="123" y="37"/>
                          <a:pt x="123" y="37"/>
                        </a:cubicBezTo>
                        <a:cubicBezTo>
                          <a:pt x="123" y="37"/>
                          <a:pt x="123" y="38"/>
                          <a:pt x="123" y="37"/>
                        </a:cubicBezTo>
                        <a:cubicBezTo>
                          <a:pt x="123" y="37"/>
                          <a:pt x="123" y="38"/>
                          <a:pt x="123" y="38"/>
                        </a:cubicBezTo>
                        <a:cubicBezTo>
                          <a:pt x="123" y="38"/>
                          <a:pt x="123" y="37"/>
                          <a:pt x="122" y="37"/>
                        </a:cubicBezTo>
                        <a:cubicBezTo>
                          <a:pt x="122" y="37"/>
                          <a:pt x="123" y="37"/>
                          <a:pt x="123" y="37"/>
                        </a:cubicBezTo>
                        <a:cubicBezTo>
                          <a:pt x="123" y="37"/>
                          <a:pt x="122" y="37"/>
                          <a:pt x="122" y="37"/>
                        </a:cubicBezTo>
                        <a:cubicBezTo>
                          <a:pt x="122" y="37"/>
                          <a:pt x="122" y="37"/>
                          <a:pt x="122" y="37"/>
                        </a:cubicBezTo>
                        <a:cubicBezTo>
                          <a:pt x="122" y="37"/>
                          <a:pt x="122" y="37"/>
                          <a:pt x="122" y="37"/>
                        </a:cubicBezTo>
                        <a:cubicBezTo>
                          <a:pt x="122" y="36"/>
                          <a:pt x="121" y="37"/>
                          <a:pt x="121" y="36"/>
                        </a:cubicBezTo>
                        <a:cubicBezTo>
                          <a:pt x="121" y="36"/>
                          <a:pt x="121" y="36"/>
                          <a:pt x="121" y="36"/>
                        </a:cubicBezTo>
                        <a:cubicBezTo>
                          <a:pt x="121" y="36"/>
                          <a:pt x="121" y="36"/>
                          <a:pt x="120" y="36"/>
                        </a:cubicBezTo>
                        <a:cubicBezTo>
                          <a:pt x="121" y="36"/>
                          <a:pt x="120" y="36"/>
                          <a:pt x="120" y="36"/>
                        </a:cubicBezTo>
                        <a:cubicBezTo>
                          <a:pt x="120" y="36"/>
                          <a:pt x="120" y="36"/>
                          <a:pt x="120" y="36"/>
                        </a:cubicBezTo>
                        <a:cubicBezTo>
                          <a:pt x="121" y="36"/>
                          <a:pt x="123" y="36"/>
                          <a:pt x="124" y="37"/>
                        </a:cubicBezTo>
                        <a:cubicBezTo>
                          <a:pt x="124" y="37"/>
                          <a:pt x="124" y="37"/>
                          <a:pt x="124" y="37"/>
                        </a:cubicBezTo>
                        <a:cubicBezTo>
                          <a:pt x="124" y="37"/>
                          <a:pt x="124" y="37"/>
                          <a:pt x="124" y="37"/>
                        </a:cubicBezTo>
                        <a:cubicBezTo>
                          <a:pt x="124" y="37"/>
                          <a:pt x="124" y="37"/>
                          <a:pt x="124" y="37"/>
                        </a:cubicBezTo>
                        <a:cubicBezTo>
                          <a:pt x="125" y="37"/>
                          <a:pt x="125" y="37"/>
                          <a:pt x="125" y="37"/>
                        </a:cubicBezTo>
                        <a:cubicBezTo>
                          <a:pt x="125" y="37"/>
                          <a:pt x="125" y="37"/>
                          <a:pt x="125" y="37"/>
                        </a:cubicBezTo>
                        <a:cubicBezTo>
                          <a:pt x="125" y="37"/>
                          <a:pt x="125" y="38"/>
                          <a:pt x="125" y="38"/>
                        </a:cubicBezTo>
                        <a:cubicBezTo>
                          <a:pt x="125" y="37"/>
                          <a:pt x="125" y="38"/>
                          <a:pt x="125" y="38"/>
                        </a:cubicBezTo>
                        <a:cubicBezTo>
                          <a:pt x="125" y="37"/>
                          <a:pt x="125" y="37"/>
                          <a:pt x="125" y="37"/>
                        </a:cubicBezTo>
                        <a:cubicBezTo>
                          <a:pt x="126" y="38"/>
                          <a:pt x="126" y="37"/>
                          <a:pt x="126" y="38"/>
                        </a:cubicBezTo>
                        <a:cubicBezTo>
                          <a:pt x="126" y="38"/>
                          <a:pt x="126" y="37"/>
                          <a:pt x="125" y="38"/>
                        </a:cubicBez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6" y="37"/>
                          <a:pt x="126" y="37"/>
                          <a:pt x="126" y="37"/>
                        </a:cubicBezTo>
                        <a:cubicBezTo>
                          <a:pt x="126" y="37"/>
                          <a:pt x="127" y="38"/>
                          <a:pt x="127" y="38"/>
                        </a:cubicBezTo>
                        <a:cubicBezTo>
                          <a:pt x="127" y="38"/>
                          <a:pt x="127" y="38"/>
                          <a:pt x="127" y="38"/>
                        </a:cubicBezTo>
                        <a:cubicBezTo>
                          <a:pt x="127" y="37"/>
                          <a:pt x="127" y="38"/>
                          <a:pt x="128" y="38"/>
                        </a:cubicBezTo>
                        <a:cubicBezTo>
                          <a:pt x="127" y="38"/>
                          <a:pt x="127" y="38"/>
                          <a:pt x="127" y="38"/>
                        </a:cubicBezTo>
                        <a:cubicBezTo>
                          <a:pt x="128" y="38"/>
                          <a:pt x="128" y="38"/>
                          <a:pt x="128" y="38"/>
                        </a:cubicBezTo>
                        <a:cubicBezTo>
                          <a:pt x="128" y="38"/>
                          <a:pt x="128" y="38"/>
                          <a:pt x="128" y="38"/>
                        </a:cubicBezTo>
                        <a:cubicBezTo>
                          <a:pt x="128" y="38"/>
                          <a:pt x="128" y="38"/>
                          <a:pt x="128" y="37"/>
                        </a:cubicBezTo>
                        <a:cubicBezTo>
                          <a:pt x="128" y="38"/>
                          <a:pt x="128" y="37"/>
                          <a:pt x="129" y="37"/>
                        </a:cubicBezTo>
                        <a:cubicBezTo>
                          <a:pt x="129" y="37"/>
                          <a:pt x="129" y="38"/>
                          <a:pt x="129" y="38"/>
                        </a:cubicBezTo>
                        <a:cubicBezTo>
                          <a:pt x="129" y="38"/>
                          <a:pt x="128" y="37"/>
                          <a:pt x="128" y="37"/>
                        </a:cubicBezTo>
                        <a:cubicBezTo>
                          <a:pt x="128" y="37"/>
                          <a:pt x="128" y="37"/>
                          <a:pt x="128" y="37"/>
                        </a:cubicBezTo>
                        <a:cubicBezTo>
                          <a:pt x="128" y="37"/>
                          <a:pt x="128" y="37"/>
                          <a:pt x="128" y="37"/>
                        </a:cubicBezTo>
                        <a:cubicBezTo>
                          <a:pt x="127" y="37"/>
                          <a:pt x="127" y="37"/>
                          <a:pt x="127" y="37"/>
                        </a:cubicBezTo>
                        <a:cubicBezTo>
                          <a:pt x="128" y="36"/>
                          <a:pt x="128" y="37"/>
                          <a:pt x="129" y="37"/>
                        </a:cubicBezTo>
                        <a:cubicBezTo>
                          <a:pt x="128" y="37"/>
                          <a:pt x="129" y="37"/>
                          <a:pt x="129" y="36"/>
                        </a:cubicBezTo>
                        <a:cubicBezTo>
                          <a:pt x="129" y="37"/>
                          <a:pt x="129" y="37"/>
                          <a:pt x="129" y="37"/>
                        </a:cubicBezTo>
                        <a:cubicBezTo>
                          <a:pt x="129" y="37"/>
                          <a:pt x="129" y="37"/>
                          <a:pt x="129" y="37"/>
                        </a:cubicBezTo>
                        <a:cubicBezTo>
                          <a:pt x="129" y="37"/>
                          <a:pt x="130" y="37"/>
                          <a:pt x="130" y="37"/>
                        </a:cubicBezTo>
                        <a:cubicBezTo>
                          <a:pt x="130" y="37"/>
                          <a:pt x="130" y="37"/>
                          <a:pt x="130" y="37"/>
                        </a:cubicBezTo>
                        <a:cubicBezTo>
                          <a:pt x="130" y="37"/>
                          <a:pt x="130" y="37"/>
                          <a:pt x="130" y="37"/>
                        </a:cubicBezTo>
                        <a:cubicBezTo>
                          <a:pt x="130" y="37"/>
                          <a:pt x="130" y="37"/>
                          <a:pt x="130" y="37"/>
                        </a:cubicBezTo>
                        <a:cubicBezTo>
                          <a:pt x="131" y="37"/>
                          <a:pt x="130" y="37"/>
                          <a:pt x="130" y="37"/>
                        </a:cubicBezTo>
                        <a:cubicBezTo>
                          <a:pt x="131" y="37"/>
                          <a:pt x="130" y="37"/>
                          <a:pt x="131" y="37"/>
                        </a:cubicBezTo>
                        <a:cubicBezTo>
                          <a:pt x="131" y="37"/>
                          <a:pt x="131" y="37"/>
                          <a:pt x="131" y="37"/>
                        </a:cubicBezTo>
                        <a:cubicBezTo>
                          <a:pt x="131" y="37"/>
                          <a:pt x="131" y="37"/>
                          <a:pt x="131" y="37"/>
                        </a:cubicBezTo>
                        <a:cubicBezTo>
                          <a:pt x="131" y="37"/>
                          <a:pt x="131" y="37"/>
                          <a:pt x="131" y="37"/>
                        </a:cubicBezTo>
                        <a:cubicBezTo>
                          <a:pt x="131" y="37"/>
                          <a:pt x="131" y="37"/>
                          <a:pt x="130" y="37"/>
                        </a:cubicBezTo>
                        <a:cubicBezTo>
                          <a:pt x="130" y="37"/>
                          <a:pt x="130" y="37"/>
                          <a:pt x="130" y="37"/>
                        </a:cubicBezTo>
                        <a:cubicBezTo>
                          <a:pt x="130" y="37"/>
                          <a:pt x="130" y="37"/>
                          <a:pt x="130" y="37"/>
                        </a:cubicBezTo>
                        <a:cubicBezTo>
                          <a:pt x="130" y="37"/>
                          <a:pt x="130" y="37"/>
                          <a:pt x="130" y="37"/>
                        </a:cubicBezTo>
                        <a:cubicBezTo>
                          <a:pt x="129" y="37"/>
                          <a:pt x="129" y="37"/>
                          <a:pt x="129" y="37"/>
                        </a:cubicBezTo>
                        <a:cubicBezTo>
                          <a:pt x="129" y="37"/>
                          <a:pt x="129" y="37"/>
                          <a:pt x="129" y="37"/>
                        </a:cubicBezTo>
                        <a:cubicBezTo>
                          <a:pt x="129" y="36"/>
                          <a:pt x="129" y="36"/>
                          <a:pt x="129" y="36"/>
                        </a:cubicBezTo>
                        <a:cubicBezTo>
                          <a:pt x="129" y="37"/>
                          <a:pt x="129" y="37"/>
                          <a:pt x="130" y="37"/>
                        </a:cubicBezTo>
                        <a:cubicBezTo>
                          <a:pt x="130" y="36"/>
                          <a:pt x="129" y="36"/>
                          <a:pt x="130" y="36"/>
                        </a:cubicBezTo>
                        <a:cubicBezTo>
                          <a:pt x="129" y="36"/>
                          <a:pt x="129" y="36"/>
                          <a:pt x="129" y="36"/>
                        </a:cubicBezTo>
                        <a:cubicBezTo>
                          <a:pt x="129" y="36"/>
                          <a:pt x="129" y="36"/>
                          <a:pt x="129" y="36"/>
                        </a:cubicBezTo>
                        <a:cubicBezTo>
                          <a:pt x="129" y="36"/>
                          <a:pt x="129" y="36"/>
                          <a:pt x="129" y="36"/>
                        </a:cubicBezTo>
                        <a:cubicBezTo>
                          <a:pt x="130" y="36"/>
                          <a:pt x="130" y="36"/>
                          <a:pt x="130" y="36"/>
                        </a:cubicBezTo>
                        <a:cubicBezTo>
                          <a:pt x="130" y="36"/>
                          <a:pt x="130" y="36"/>
                          <a:pt x="130" y="36"/>
                        </a:cubicBezTo>
                        <a:cubicBezTo>
                          <a:pt x="130" y="36"/>
                          <a:pt x="130" y="36"/>
                          <a:pt x="130" y="36"/>
                        </a:cubicBezTo>
                        <a:cubicBezTo>
                          <a:pt x="130" y="36"/>
                          <a:pt x="131" y="36"/>
                          <a:pt x="131" y="36"/>
                        </a:cubicBezTo>
                        <a:cubicBezTo>
                          <a:pt x="131" y="36"/>
                          <a:pt x="131" y="36"/>
                          <a:pt x="131" y="36"/>
                        </a:cubicBezTo>
                        <a:cubicBezTo>
                          <a:pt x="131" y="36"/>
                          <a:pt x="131" y="36"/>
                          <a:pt x="131" y="36"/>
                        </a:cubicBezTo>
                        <a:cubicBezTo>
                          <a:pt x="131" y="36"/>
                          <a:pt x="131" y="36"/>
                          <a:pt x="131" y="36"/>
                        </a:cubicBezTo>
                        <a:cubicBezTo>
                          <a:pt x="131" y="36"/>
                          <a:pt x="131" y="36"/>
                          <a:pt x="131" y="36"/>
                        </a:cubicBezTo>
                        <a:cubicBezTo>
                          <a:pt x="131" y="36"/>
                          <a:pt x="131" y="37"/>
                          <a:pt x="131" y="37"/>
                        </a:cubicBezTo>
                        <a:cubicBezTo>
                          <a:pt x="131" y="36"/>
                          <a:pt x="131" y="36"/>
                          <a:pt x="131" y="36"/>
                        </a:cubicBezTo>
                        <a:cubicBezTo>
                          <a:pt x="132" y="36"/>
                          <a:pt x="131" y="36"/>
                          <a:pt x="132" y="36"/>
                        </a:cubicBezTo>
                        <a:cubicBezTo>
                          <a:pt x="132" y="36"/>
                          <a:pt x="132" y="36"/>
                          <a:pt x="132" y="36"/>
                        </a:cubicBezTo>
                        <a:cubicBezTo>
                          <a:pt x="132" y="36"/>
                          <a:pt x="132" y="36"/>
                          <a:pt x="132" y="37"/>
                        </a:cubicBezTo>
                        <a:cubicBezTo>
                          <a:pt x="132" y="37"/>
                          <a:pt x="132" y="36"/>
                          <a:pt x="132" y="36"/>
                        </a:cubicBezTo>
                        <a:cubicBezTo>
                          <a:pt x="132" y="37"/>
                          <a:pt x="132" y="37"/>
                          <a:pt x="132" y="37"/>
                        </a:cubicBezTo>
                        <a:cubicBezTo>
                          <a:pt x="132" y="37"/>
                          <a:pt x="132" y="37"/>
                          <a:pt x="133" y="37"/>
                        </a:cubicBezTo>
                        <a:cubicBezTo>
                          <a:pt x="133" y="37"/>
                          <a:pt x="132" y="36"/>
                          <a:pt x="133" y="36"/>
                        </a:cubicBezTo>
                        <a:cubicBezTo>
                          <a:pt x="133" y="36"/>
                          <a:pt x="133" y="36"/>
                          <a:pt x="133" y="36"/>
                        </a:cubicBezTo>
                        <a:cubicBezTo>
                          <a:pt x="133" y="36"/>
                          <a:pt x="133" y="37"/>
                          <a:pt x="133" y="36"/>
                        </a:cubicBezTo>
                        <a:cubicBezTo>
                          <a:pt x="133" y="37"/>
                          <a:pt x="134" y="37"/>
                          <a:pt x="134" y="37"/>
                        </a:cubicBezTo>
                        <a:cubicBezTo>
                          <a:pt x="134" y="37"/>
                          <a:pt x="134" y="37"/>
                          <a:pt x="133" y="37"/>
                        </a:cubicBezTo>
                        <a:cubicBezTo>
                          <a:pt x="133" y="37"/>
                          <a:pt x="133" y="37"/>
                          <a:pt x="133" y="37"/>
                        </a:cubicBezTo>
                        <a:cubicBezTo>
                          <a:pt x="133" y="37"/>
                          <a:pt x="133" y="37"/>
                          <a:pt x="133" y="37"/>
                        </a:cubicBezTo>
                        <a:cubicBezTo>
                          <a:pt x="133" y="37"/>
                          <a:pt x="133" y="37"/>
                          <a:pt x="134" y="37"/>
                        </a:cubicBezTo>
                        <a:cubicBezTo>
                          <a:pt x="134" y="37"/>
                          <a:pt x="133" y="37"/>
                          <a:pt x="134" y="37"/>
                        </a:cubicBezTo>
                        <a:cubicBezTo>
                          <a:pt x="134" y="37"/>
                          <a:pt x="134" y="37"/>
                          <a:pt x="134" y="37"/>
                        </a:cubicBezTo>
                        <a:cubicBezTo>
                          <a:pt x="134" y="37"/>
                          <a:pt x="134" y="37"/>
                          <a:pt x="134" y="37"/>
                        </a:cubicBezTo>
                        <a:cubicBezTo>
                          <a:pt x="135" y="37"/>
                          <a:pt x="134" y="37"/>
                          <a:pt x="134" y="37"/>
                        </a:cubicBezTo>
                        <a:cubicBezTo>
                          <a:pt x="134" y="37"/>
                          <a:pt x="134" y="37"/>
                          <a:pt x="135" y="37"/>
                        </a:cubicBezTo>
                        <a:cubicBezTo>
                          <a:pt x="135" y="37"/>
                          <a:pt x="135" y="37"/>
                          <a:pt x="135" y="37"/>
                        </a:cubicBezTo>
                        <a:cubicBezTo>
                          <a:pt x="135" y="37"/>
                          <a:pt x="135" y="37"/>
                          <a:pt x="135" y="37"/>
                        </a:cubicBezTo>
                        <a:cubicBezTo>
                          <a:pt x="135" y="37"/>
                          <a:pt x="136" y="37"/>
                          <a:pt x="136" y="37"/>
                        </a:cubicBezTo>
                        <a:cubicBezTo>
                          <a:pt x="136" y="37"/>
                          <a:pt x="136" y="37"/>
                          <a:pt x="136" y="37"/>
                        </a:cubicBezTo>
                        <a:cubicBezTo>
                          <a:pt x="136" y="37"/>
                          <a:pt x="137" y="37"/>
                          <a:pt x="137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8" y="37"/>
                          <a:pt x="138" y="37"/>
                          <a:pt x="138" y="37"/>
                        </a:cubicBezTo>
                        <a:cubicBezTo>
                          <a:pt x="138" y="37"/>
                          <a:pt x="138" y="37"/>
                          <a:pt x="138" y="37"/>
                        </a:cubicBezTo>
                        <a:cubicBezTo>
                          <a:pt x="138" y="37"/>
                          <a:pt x="138" y="37"/>
                          <a:pt x="138" y="37"/>
                        </a:cubicBezTo>
                        <a:cubicBezTo>
                          <a:pt x="137" y="37"/>
                          <a:pt x="138" y="37"/>
                          <a:pt x="138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7" y="37"/>
                          <a:pt x="137" y="37"/>
                          <a:pt x="137" y="36"/>
                        </a:cubicBezTo>
                        <a:cubicBezTo>
                          <a:pt x="136" y="36"/>
                          <a:pt x="136" y="36"/>
                          <a:pt x="136" y="36"/>
                        </a:cubicBezTo>
                        <a:cubicBezTo>
                          <a:pt x="136" y="36"/>
                          <a:pt x="136" y="36"/>
                          <a:pt x="136" y="36"/>
                        </a:cubicBezTo>
                        <a:cubicBezTo>
                          <a:pt x="136" y="36"/>
                          <a:pt x="136" y="36"/>
                          <a:pt x="137" y="36"/>
                        </a:cubicBezTo>
                        <a:cubicBezTo>
                          <a:pt x="137" y="36"/>
                          <a:pt x="136" y="36"/>
                          <a:pt x="136" y="36"/>
                        </a:cubicBezTo>
                        <a:cubicBezTo>
                          <a:pt x="137" y="36"/>
                          <a:pt x="137" y="36"/>
                          <a:pt x="137" y="36"/>
                        </a:cubicBezTo>
                        <a:cubicBezTo>
                          <a:pt x="137" y="36"/>
                          <a:pt x="137" y="36"/>
                          <a:pt x="137" y="36"/>
                        </a:cubicBezTo>
                        <a:cubicBezTo>
                          <a:pt x="137" y="36"/>
                          <a:pt x="137" y="36"/>
                          <a:pt x="137" y="36"/>
                        </a:cubicBezTo>
                        <a:cubicBezTo>
                          <a:pt x="137" y="36"/>
                          <a:pt x="137" y="36"/>
                          <a:pt x="137" y="36"/>
                        </a:cubicBezTo>
                        <a:cubicBezTo>
                          <a:pt x="137" y="36"/>
                          <a:pt x="137" y="36"/>
                          <a:pt x="137" y="36"/>
                        </a:cubicBezTo>
                        <a:cubicBezTo>
                          <a:pt x="137" y="36"/>
                          <a:pt x="137" y="36"/>
                          <a:pt x="137" y="36"/>
                        </a:cubicBezTo>
                        <a:cubicBezTo>
                          <a:pt x="137" y="36"/>
                          <a:pt x="137" y="36"/>
                          <a:pt x="138" y="36"/>
                        </a:cubicBezTo>
                        <a:cubicBezTo>
                          <a:pt x="138" y="36"/>
                          <a:pt x="138" y="36"/>
                          <a:pt x="139" y="36"/>
                        </a:cubicBezTo>
                        <a:cubicBezTo>
                          <a:pt x="139" y="36"/>
                          <a:pt x="138" y="36"/>
                          <a:pt x="139" y="36"/>
                        </a:cubicBezTo>
                        <a:cubicBezTo>
                          <a:pt x="139" y="36"/>
                          <a:pt x="139" y="36"/>
                          <a:pt x="139" y="36"/>
                        </a:cubicBezTo>
                        <a:cubicBezTo>
                          <a:pt x="139" y="36"/>
                          <a:pt x="139" y="36"/>
                          <a:pt x="139" y="37"/>
                        </a:cubicBezTo>
                        <a:cubicBezTo>
                          <a:pt x="139" y="37"/>
                          <a:pt x="139" y="36"/>
                          <a:pt x="139" y="36"/>
                        </a:cubicBezTo>
                        <a:cubicBezTo>
                          <a:pt x="139" y="36"/>
                          <a:pt x="139" y="36"/>
                          <a:pt x="139" y="36"/>
                        </a:cubicBezTo>
                        <a:cubicBezTo>
                          <a:pt x="139" y="36"/>
                          <a:pt x="139" y="36"/>
                          <a:pt x="139" y="36"/>
                        </a:cubicBezTo>
                        <a:cubicBezTo>
                          <a:pt x="140" y="36"/>
                          <a:pt x="140" y="36"/>
                          <a:pt x="140" y="37"/>
                        </a:cubicBezTo>
                        <a:cubicBezTo>
                          <a:pt x="140" y="36"/>
                          <a:pt x="140" y="36"/>
                          <a:pt x="140" y="37"/>
                        </a:cubicBezTo>
                        <a:cubicBezTo>
                          <a:pt x="140" y="37"/>
                          <a:pt x="140" y="36"/>
                          <a:pt x="140" y="36"/>
                        </a:cubicBezTo>
                        <a:cubicBezTo>
                          <a:pt x="140" y="37"/>
                          <a:pt x="140" y="37"/>
                          <a:pt x="141" y="36"/>
                        </a:cubicBezTo>
                        <a:cubicBezTo>
                          <a:pt x="141" y="37"/>
                          <a:pt x="141" y="37"/>
                          <a:pt x="142" y="37"/>
                        </a:cubicBezTo>
                        <a:cubicBezTo>
                          <a:pt x="142" y="37"/>
                          <a:pt x="141" y="37"/>
                          <a:pt x="142" y="36"/>
                        </a:cubicBezTo>
                        <a:cubicBezTo>
                          <a:pt x="142" y="37"/>
                          <a:pt x="142" y="36"/>
                          <a:pt x="142" y="36"/>
                        </a:cubicBezTo>
                        <a:cubicBezTo>
                          <a:pt x="143" y="36"/>
                          <a:pt x="142" y="36"/>
                          <a:pt x="143" y="36"/>
                        </a:cubicBezTo>
                        <a:cubicBezTo>
                          <a:pt x="143" y="36"/>
                          <a:pt x="143" y="36"/>
                          <a:pt x="142" y="36"/>
                        </a:cubicBezTo>
                        <a:cubicBezTo>
                          <a:pt x="142" y="36"/>
                          <a:pt x="143" y="36"/>
                          <a:pt x="143" y="36"/>
                        </a:cubicBezTo>
                        <a:cubicBezTo>
                          <a:pt x="143" y="36"/>
                          <a:pt x="143" y="36"/>
                          <a:pt x="143" y="36"/>
                        </a:cubicBezTo>
                        <a:cubicBezTo>
                          <a:pt x="143" y="36"/>
                          <a:pt x="143" y="36"/>
                          <a:pt x="143" y="37"/>
                        </a:cubicBezTo>
                        <a:cubicBezTo>
                          <a:pt x="143" y="36"/>
                          <a:pt x="143" y="36"/>
                          <a:pt x="143" y="36"/>
                        </a:cubicBezTo>
                        <a:cubicBezTo>
                          <a:pt x="143" y="36"/>
                          <a:pt x="143" y="36"/>
                          <a:pt x="143" y="37"/>
                        </a:cubicBezTo>
                        <a:cubicBezTo>
                          <a:pt x="143" y="37"/>
                          <a:pt x="143" y="37"/>
                          <a:pt x="143" y="37"/>
                        </a:cubicBezTo>
                        <a:cubicBezTo>
                          <a:pt x="143" y="37"/>
                          <a:pt x="144" y="37"/>
                          <a:pt x="144" y="37"/>
                        </a:cubicBezTo>
                        <a:cubicBezTo>
                          <a:pt x="143" y="37"/>
                          <a:pt x="145" y="37"/>
                          <a:pt x="145" y="37"/>
                        </a:cubicBezTo>
                        <a:cubicBezTo>
                          <a:pt x="145" y="37"/>
                          <a:pt x="145" y="38"/>
                          <a:pt x="146" y="38"/>
                        </a:cubicBezTo>
                        <a:cubicBezTo>
                          <a:pt x="146" y="38"/>
                          <a:pt x="146" y="38"/>
                          <a:pt x="146" y="38"/>
                        </a:cubicBezTo>
                        <a:cubicBezTo>
                          <a:pt x="146" y="38"/>
                          <a:pt x="145" y="38"/>
                          <a:pt x="146" y="38"/>
                        </a:cubicBezTo>
                        <a:cubicBezTo>
                          <a:pt x="146" y="37"/>
                          <a:pt x="146" y="38"/>
                          <a:pt x="146" y="38"/>
                        </a:cubicBezTo>
                        <a:cubicBezTo>
                          <a:pt x="146" y="38"/>
                          <a:pt x="146" y="38"/>
                          <a:pt x="147" y="38"/>
                        </a:cubicBezTo>
                        <a:cubicBezTo>
                          <a:pt x="147" y="38"/>
                          <a:pt x="146" y="38"/>
                          <a:pt x="146" y="38"/>
                        </a:cubicBezTo>
                        <a:cubicBezTo>
                          <a:pt x="147" y="38"/>
                          <a:pt x="147" y="38"/>
                          <a:pt x="147" y="38"/>
                        </a:cubicBezTo>
                        <a:cubicBezTo>
                          <a:pt x="147" y="38"/>
                          <a:pt x="147" y="39"/>
                          <a:pt x="148" y="39"/>
                        </a:cubicBezTo>
                        <a:cubicBezTo>
                          <a:pt x="147" y="39"/>
                          <a:pt x="147" y="39"/>
                          <a:pt x="147" y="39"/>
                        </a:cubicBezTo>
                        <a:cubicBezTo>
                          <a:pt x="148" y="39"/>
                          <a:pt x="148" y="40"/>
                          <a:pt x="149" y="40"/>
                        </a:cubicBezTo>
                        <a:cubicBezTo>
                          <a:pt x="148" y="40"/>
                          <a:pt x="149" y="40"/>
                          <a:pt x="149" y="40"/>
                        </a:cubicBezTo>
                        <a:cubicBezTo>
                          <a:pt x="149" y="40"/>
                          <a:pt x="149" y="40"/>
                          <a:pt x="149" y="40"/>
                        </a:cubicBezTo>
                        <a:cubicBezTo>
                          <a:pt x="149" y="40"/>
                          <a:pt x="149" y="39"/>
                          <a:pt x="148" y="39"/>
                        </a:cubicBezTo>
                        <a:cubicBezTo>
                          <a:pt x="148" y="39"/>
                          <a:pt x="148" y="39"/>
                          <a:pt x="148" y="39"/>
                        </a:cubicBezTo>
                        <a:cubicBezTo>
                          <a:pt x="148" y="39"/>
                          <a:pt x="148" y="39"/>
                          <a:pt x="148" y="39"/>
                        </a:cubicBezTo>
                        <a:cubicBezTo>
                          <a:pt x="148" y="39"/>
                          <a:pt x="148" y="39"/>
                          <a:pt x="148" y="38"/>
                        </a:cubicBezTo>
                        <a:cubicBezTo>
                          <a:pt x="148" y="39"/>
                          <a:pt x="148" y="39"/>
                          <a:pt x="148" y="39"/>
                        </a:cubicBezTo>
                        <a:cubicBezTo>
                          <a:pt x="149" y="39"/>
                          <a:pt x="149" y="39"/>
                          <a:pt x="149" y="39"/>
                        </a:cubicBezTo>
                        <a:cubicBezTo>
                          <a:pt x="148" y="39"/>
                          <a:pt x="149" y="39"/>
                          <a:pt x="149" y="39"/>
                        </a:cubicBezTo>
                        <a:cubicBezTo>
                          <a:pt x="149" y="39"/>
                          <a:pt x="149" y="40"/>
                          <a:pt x="150" y="40"/>
                        </a:cubicBezTo>
                        <a:cubicBezTo>
                          <a:pt x="150" y="40"/>
                          <a:pt x="150" y="40"/>
                          <a:pt x="150" y="40"/>
                        </a:cubicBezTo>
                        <a:cubicBezTo>
                          <a:pt x="150" y="40"/>
                          <a:pt x="150" y="40"/>
                          <a:pt x="150" y="39"/>
                        </a:cubicBezTo>
                        <a:cubicBezTo>
                          <a:pt x="150" y="40"/>
                          <a:pt x="151" y="40"/>
                          <a:pt x="151" y="40"/>
                        </a:cubicBezTo>
                        <a:cubicBezTo>
                          <a:pt x="151" y="40"/>
                          <a:pt x="152" y="40"/>
                          <a:pt x="152" y="41"/>
                        </a:cubicBezTo>
                        <a:cubicBezTo>
                          <a:pt x="153" y="41"/>
                          <a:pt x="153" y="41"/>
                          <a:pt x="153" y="41"/>
                        </a:cubicBezTo>
                        <a:cubicBezTo>
                          <a:pt x="153" y="41"/>
                          <a:pt x="153" y="41"/>
                          <a:pt x="152" y="40"/>
                        </a:cubicBezTo>
                        <a:cubicBezTo>
                          <a:pt x="153" y="40"/>
                          <a:pt x="153" y="41"/>
                          <a:pt x="153" y="41"/>
                        </a:cubicBezTo>
                        <a:cubicBezTo>
                          <a:pt x="153" y="40"/>
                          <a:pt x="153" y="40"/>
                          <a:pt x="153" y="40"/>
                        </a:cubicBezTo>
                        <a:cubicBezTo>
                          <a:pt x="154" y="40"/>
                          <a:pt x="154" y="41"/>
                          <a:pt x="154" y="41"/>
                        </a:cubicBezTo>
                        <a:cubicBezTo>
                          <a:pt x="154" y="41"/>
                          <a:pt x="154" y="41"/>
                          <a:pt x="153" y="41"/>
                        </a:cubicBezTo>
                        <a:cubicBezTo>
                          <a:pt x="153" y="41"/>
                          <a:pt x="154" y="41"/>
                          <a:pt x="154" y="41"/>
                        </a:cubicBezTo>
                        <a:cubicBezTo>
                          <a:pt x="154" y="41"/>
                          <a:pt x="154" y="42"/>
                          <a:pt x="154" y="42"/>
                        </a:cubicBezTo>
                        <a:cubicBezTo>
                          <a:pt x="154" y="41"/>
                          <a:pt x="154" y="41"/>
                          <a:pt x="154" y="41"/>
                        </a:cubicBezTo>
                        <a:cubicBezTo>
                          <a:pt x="154" y="41"/>
                          <a:pt x="154" y="41"/>
                          <a:pt x="154" y="41"/>
                        </a:cubicBezTo>
                        <a:cubicBezTo>
                          <a:pt x="154" y="41"/>
                          <a:pt x="155" y="41"/>
                          <a:pt x="154" y="41"/>
                        </a:cubicBezTo>
                        <a:cubicBezTo>
                          <a:pt x="155" y="40"/>
                          <a:pt x="155" y="41"/>
                          <a:pt x="155" y="41"/>
                        </a:cubicBezTo>
                        <a:cubicBezTo>
                          <a:pt x="155" y="41"/>
                          <a:pt x="155" y="42"/>
                          <a:pt x="155" y="42"/>
                        </a:cubicBezTo>
                        <a:cubicBezTo>
                          <a:pt x="155" y="42"/>
                          <a:pt x="155" y="42"/>
                          <a:pt x="156" y="42"/>
                        </a:cubicBezTo>
                        <a:cubicBezTo>
                          <a:pt x="156" y="42"/>
                          <a:pt x="156" y="42"/>
                          <a:pt x="156" y="42"/>
                        </a:cubicBezTo>
                        <a:cubicBezTo>
                          <a:pt x="156" y="42"/>
                          <a:pt x="156" y="42"/>
                          <a:pt x="156" y="41"/>
                        </a:cubicBezTo>
                        <a:cubicBezTo>
                          <a:pt x="156" y="41"/>
                          <a:pt x="156" y="41"/>
                          <a:pt x="156" y="42"/>
                        </a:cubicBezTo>
                        <a:cubicBezTo>
                          <a:pt x="156" y="42"/>
                          <a:pt x="156" y="42"/>
                          <a:pt x="156" y="42"/>
                        </a:cubicBezTo>
                        <a:cubicBezTo>
                          <a:pt x="156" y="42"/>
                          <a:pt x="156" y="42"/>
                          <a:pt x="156" y="42"/>
                        </a:cubicBezTo>
                        <a:cubicBezTo>
                          <a:pt x="157" y="42"/>
                          <a:pt x="157" y="42"/>
                          <a:pt x="157" y="42"/>
                        </a:cubicBezTo>
                        <a:cubicBezTo>
                          <a:pt x="157" y="42"/>
                          <a:pt x="158" y="42"/>
                          <a:pt x="158" y="43"/>
                        </a:cubicBezTo>
                        <a:cubicBezTo>
                          <a:pt x="158" y="43"/>
                          <a:pt x="159" y="43"/>
                          <a:pt x="159" y="43"/>
                        </a:cubicBezTo>
                        <a:cubicBezTo>
                          <a:pt x="159" y="43"/>
                          <a:pt x="159" y="43"/>
                          <a:pt x="159" y="43"/>
                        </a:cubicBezTo>
                        <a:cubicBezTo>
                          <a:pt x="160" y="44"/>
                          <a:pt x="161" y="44"/>
                          <a:pt x="161" y="44"/>
                        </a:cubicBezTo>
                        <a:cubicBezTo>
                          <a:pt x="161" y="45"/>
                          <a:pt x="161" y="44"/>
                          <a:pt x="161" y="45"/>
                        </a:cubicBezTo>
                        <a:cubicBezTo>
                          <a:pt x="163" y="46"/>
                          <a:pt x="164" y="47"/>
                          <a:pt x="163" y="49"/>
                        </a:cubicBezTo>
                        <a:cubicBezTo>
                          <a:pt x="164" y="49"/>
                          <a:pt x="164" y="49"/>
                          <a:pt x="164" y="49"/>
                        </a:cubicBezTo>
                        <a:cubicBezTo>
                          <a:pt x="164" y="49"/>
                          <a:pt x="164" y="49"/>
                          <a:pt x="164" y="49"/>
                        </a:cubicBezTo>
                        <a:cubicBezTo>
                          <a:pt x="164" y="49"/>
                          <a:pt x="164" y="50"/>
                          <a:pt x="164" y="50"/>
                        </a:cubicBezTo>
                        <a:cubicBezTo>
                          <a:pt x="164" y="51"/>
                          <a:pt x="164" y="51"/>
                          <a:pt x="163" y="52"/>
                        </a:cubicBezTo>
                        <a:cubicBezTo>
                          <a:pt x="163" y="52"/>
                          <a:pt x="163" y="52"/>
                          <a:pt x="163" y="52"/>
                        </a:cubicBezTo>
                        <a:cubicBezTo>
                          <a:pt x="163" y="52"/>
                          <a:pt x="163" y="52"/>
                          <a:pt x="163" y="52"/>
                        </a:cubicBezTo>
                        <a:cubicBezTo>
                          <a:pt x="163" y="53"/>
                          <a:pt x="162" y="53"/>
                          <a:pt x="162" y="54"/>
                        </a:cubicBezTo>
                        <a:cubicBezTo>
                          <a:pt x="162" y="54"/>
                          <a:pt x="161" y="54"/>
                          <a:pt x="161" y="54"/>
                        </a:cubicBezTo>
                        <a:cubicBezTo>
                          <a:pt x="161" y="55"/>
                          <a:pt x="159" y="54"/>
                          <a:pt x="158" y="55"/>
                        </a:cubicBezTo>
                        <a:cubicBezTo>
                          <a:pt x="158" y="55"/>
                          <a:pt x="159" y="55"/>
                          <a:pt x="159" y="55"/>
                        </a:cubicBezTo>
                        <a:cubicBezTo>
                          <a:pt x="159" y="55"/>
                          <a:pt x="158" y="55"/>
                          <a:pt x="158" y="55"/>
                        </a:cubicBezTo>
                        <a:cubicBezTo>
                          <a:pt x="158" y="55"/>
                          <a:pt x="158" y="55"/>
                          <a:pt x="157" y="55"/>
                        </a:cubicBezTo>
                        <a:cubicBezTo>
                          <a:pt x="156" y="55"/>
                          <a:pt x="155" y="56"/>
                          <a:pt x="154" y="56"/>
                        </a:cubicBezTo>
                        <a:cubicBezTo>
                          <a:pt x="154" y="56"/>
                          <a:pt x="153" y="56"/>
                          <a:pt x="153" y="56"/>
                        </a:cubicBezTo>
                        <a:cubicBezTo>
                          <a:pt x="152" y="55"/>
                          <a:pt x="152" y="55"/>
                          <a:pt x="152" y="55"/>
                        </a:cubicBezTo>
                        <a:cubicBezTo>
                          <a:pt x="151" y="55"/>
                          <a:pt x="151" y="55"/>
                          <a:pt x="150" y="55"/>
                        </a:cubicBezTo>
                        <a:cubicBezTo>
                          <a:pt x="150" y="55"/>
                          <a:pt x="149" y="55"/>
                          <a:pt x="149" y="55"/>
                        </a:cubicBezTo>
                        <a:cubicBezTo>
                          <a:pt x="149" y="55"/>
                          <a:pt x="149" y="55"/>
                          <a:pt x="148" y="54"/>
                        </a:cubicBezTo>
                        <a:cubicBezTo>
                          <a:pt x="147" y="54"/>
                          <a:pt x="146" y="54"/>
                          <a:pt x="145" y="54"/>
                        </a:cubicBezTo>
                        <a:cubicBezTo>
                          <a:pt x="145" y="54"/>
                          <a:pt x="145" y="54"/>
                          <a:pt x="145" y="54"/>
                        </a:cubicBezTo>
                        <a:close/>
                        <a:moveTo>
                          <a:pt x="141" y="37"/>
                        </a:moveTo>
                        <a:cubicBezTo>
                          <a:pt x="141" y="37"/>
                          <a:pt x="141" y="37"/>
                          <a:pt x="141" y="37"/>
                        </a:cubicBezTo>
                        <a:cubicBezTo>
                          <a:pt x="141" y="37"/>
                          <a:pt x="141" y="37"/>
                          <a:pt x="141" y="37"/>
                        </a:cubicBezTo>
                        <a:close/>
                        <a:moveTo>
                          <a:pt x="141" y="37"/>
                        </a:moveTo>
                        <a:cubicBezTo>
                          <a:pt x="141" y="37"/>
                          <a:pt x="141" y="37"/>
                          <a:pt x="141" y="37"/>
                        </a:cubicBezTo>
                        <a:cubicBezTo>
                          <a:pt x="141" y="37"/>
                          <a:pt x="141" y="37"/>
                          <a:pt x="141" y="37"/>
                        </a:cubicBezTo>
                        <a:close/>
                        <a:moveTo>
                          <a:pt x="137" y="37"/>
                        </a:move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7" y="36"/>
                          <a:pt x="137" y="37"/>
                          <a:pt x="137" y="37"/>
                        </a:cubicBezTo>
                        <a:close/>
                        <a:moveTo>
                          <a:pt x="140" y="38"/>
                        </a:moveTo>
                        <a:cubicBezTo>
                          <a:pt x="140" y="38"/>
                          <a:pt x="140" y="38"/>
                          <a:pt x="140" y="38"/>
                        </a:cubicBezTo>
                        <a:cubicBezTo>
                          <a:pt x="140" y="38"/>
                          <a:pt x="140" y="38"/>
                          <a:pt x="140" y="38"/>
                        </a:cubicBezTo>
                        <a:cubicBezTo>
                          <a:pt x="140" y="38"/>
                          <a:pt x="140" y="38"/>
                          <a:pt x="140" y="38"/>
                        </a:cubicBezTo>
                        <a:close/>
                        <a:moveTo>
                          <a:pt x="139" y="37"/>
                        </a:moveTo>
                        <a:cubicBezTo>
                          <a:pt x="139" y="37"/>
                          <a:pt x="139" y="37"/>
                          <a:pt x="139" y="37"/>
                        </a:cubicBezTo>
                        <a:cubicBezTo>
                          <a:pt x="139" y="37"/>
                          <a:pt x="139" y="38"/>
                          <a:pt x="139" y="37"/>
                        </a:cubicBezTo>
                        <a:cubicBezTo>
                          <a:pt x="139" y="37"/>
                          <a:pt x="139" y="37"/>
                          <a:pt x="139" y="37"/>
                        </a:cubicBezTo>
                        <a:cubicBezTo>
                          <a:pt x="139" y="37"/>
                          <a:pt x="139" y="37"/>
                          <a:pt x="139" y="37"/>
                        </a:cubicBezTo>
                        <a:cubicBezTo>
                          <a:pt x="139" y="37"/>
                          <a:pt x="139" y="37"/>
                          <a:pt x="139" y="37"/>
                        </a:cubicBezTo>
                        <a:close/>
                        <a:moveTo>
                          <a:pt x="138" y="37"/>
                        </a:moveTo>
                        <a:cubicBezTo>
                          <a:pt x="138" y="37"/>
                          <a:pt x="139" y="37"/>
                          <a:pt x="139" y="37"/>
                        </a:cubicBezTo>
                        <a:cubicBezTo>
                          <a:pt x="139" y="37"/>
                          <a:pt x="138" y="37"/>
                          <a:pt x="138" y="37"/>
                        </a:cubicBezTo>
                        <a:close/>
                        <a:moveTo>
                          <a:pt x="138" y="37"/>
                        </a:moveTo>
                        <a:cubicBezTo>
                          <a:pt x="138" y="37"/>
                          <a:pt x="138" y="37"/>
                          <a:pt x="138" y="37"/>
                        </a:cubicBezTo>
                        <a:cubicBezTo>
                          <a:pt x="138" y="37"/>
                          <a:pt x="138" y="37"/>
                          <a:pt x="138" y="37"/>
                        </a:cubicBezTo>
                        <a:cubicBezTo>
                          <a:pt x="138" y="37"/>
                          <a:pt x="138" y="37"/>
                          <a:pt x="138" y="37"/>
                        </a:cubicBezTo>
                        <a:cubicBezTo>
                          <a:pt x="138" y="37"/>
                          <a:pt x="138" y="37"/>
                          <a:pt x="138" y="37"/>
                        </a:cubicBezTo>
                        <a:close/>
                        <a:moveTo>
                          <a:pt x="139" y="38"/>
                        </a:moveTo>
                        <a:cubicBezTo>
                          <a:pt x="139" y="38"/>
                          <a:pt x="139" y="38"/>
                          <a:pt x="139" y="38"/>
                        </a:cubicBezTo>
                        <a:cubicBezTo>
                          <a:pt x="140" y="38"/>
                          <a:pt x="139" y="38"/>
                          <a:pt x="139" y="38"/>
                        </a:cubicBezTo>
                        <a:cubicBezTo>
                          <a:pt x="139" y="38"/>
                          <a:pt x="139" y="38"/>
                          <a:pt x="139" y="38"/>
                        </a:cubicBezTo>
                        <a:cubicBezTo>
                          <a:pt x="139" y="38"/>
                          <a:pt x="139" y="38"/>
                          <a:pt x="139" y="38"/>
                        </a:cubicBezTo>
                        <a:close/>
                        <a:moveTo>
                          <a:pt x="137" y="37"/>
                        </a:moveTo>
                        <a:cubicBezTo>
                          <a:pt x="137" y="38"/>
                          <a:pt x="137" y="38"/>
                          <a:pt x="137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lose/>
                        <a:moveTo>
                          <a:pt x="139" y="38"/>
                        </a:moveTo>
                        <a:cubicBezTo>
                          <a:pt x="139" y="38"/>
                          <a:pt x="139" y="38"/>
                          <a:pt x="139" y="38"/>
                        </a:cubicBezTo>
                        <a:cubicBezTo>
                          <a:pt x="139" y="38"/>
                          <a:pt x="139" y="38"/>
                          <a:pt x="139" y="38"/>
                        </a:cubicBezTo>
                        <a:cubicBezTo>
                          <a:pt x="139" y="38"/>
                          <a:pt x="139" y="38"/>
                          <a:pt x="139" y="38"/>
                        </a:cubicBezTo>
                        <a:close/>
                        <a:moveTo>
                          <a:pt x="136" y="38"/>
                        </a:moveTo>
                        <a:cubicBezTo>
                          <a:pt x="136" y="38"/>
                          <a:pt x="136" y="38"/>
                          <a:pt x="136" y="38"/>
                        </a:cubicBezTo>
                        <a:cubicBezTo>
                          <a:pt x="136" y="38"/>
                          <a:pt x="137" y="38"/>
                          <a:pt x="136" y="37"/>
                        </a:cubicBezTo>
                        <a:cubicBezTo>
                          <a:pt x="136" y="38"/>
                          <a:pt x="136" y="38"/>
                          <a:pt x="136" y="37"/>
                        </a:cubicBezTo>
                        <a:cubicBezTo>
                          <a:pt x="136" y="37"/>
                          <a:pt x="136" y="37"/>
                          <a:pt x="136" y="38"/>
                        </a:cubicBezTo>
                        <a:close/>
                        <a:moveTo>
                          <a:pt x="135" y="38"/>
                        </a:moveTo>
                        <a:cubicBezTo>
                          <a:pt x="135" y="38"/>
                          <a:pt x="135" y="37"/>
                          <a:pt x="135" y="37"/>
                        </a:cubicBezTo>
                        <a:cubicBezTo>
                          <a:pt x="135" y="37"/>
                          <a:pt x="135" y="37"/>
                          <a:pt x="135" y="38"/>
                        </a:cubicBezTo>
                        <a:close/>
                        <a:moveTo>
                          <a:pt x="134" y="37"/>
                        </a:moveTo>
                        <a:cubicBezTo>
                          <a:pt x="134" y="38"/>
                          <a:pt x="135" y="38"/>
                          <a:pt x="135" y="38"/>
                        </a:cubicBezTo>
                        <a:cubicBezTo>
                          <a:pt x="134" y="38"/>
                          <a:pt x="135" y="37"/>
                          <a:pt x="134" y="37"/>
                        </a:cubicBezTo>
                        <a:cubicBezTo>
                          <a:pt x="134" y="38"/>
                          <a:pt x="134" y="37"/>
                          <a:pt x="134" y="37"/>
                        </a:cubicBezTo>
                        <a:cubicBezTo>
                          <a:pt x="134" y="37"/>
                          <a:pt x="134" y="37"/>
                          <a:pt x="134" y="37"/>
                        </a:cubicBezTo>
                        <a:close/>
                        <a:moveTo>
                          <a:pt x="133" y="37"/>
                        </a:moveTo>
                        <a:cubicBezTo>
                          <a:pt x="132" y="37"/>
                          <a:pt x="132" y="37"/>
                          <a:pt x="132" y="37"/>
                        </a:cubicBezTo>
                        <a:cubicBezTo>
                          <a:pt x="132" y="37"/>
                          <a:pt x="133" y="37"/>
                          <a:pt x="133" y="37"/>
                        </a:cubicBezTo>
                        <a:close/>
                        <a:moveTo>
                          <a:pt x="134" y="38"/>
                        </a:moveTo>
                        <a:cubicBezTo>
                          <a:pt x="134" y="38"/>
                          <a:pt x="134" y="38"/>
                          <a:pt x="134" y="38"/>
                        </a:cubicBezTo>
                        <a:cubicBezTo>
                          <a:pt x="134" y="38"/>
                          <a:pt x="134" y="38"/>
                          <a:pt x="134" y="38"/>
                        </a:cubicBezTo>
                        <a:cubicBezTo>
                          <a:pt x="134" y="38"/>
                          <a:pt x="134" y="38"/>
                          <a:pt x="134" y="38"/>
                        </a:cubicBezTo>
                        <a:close/>
                        <a:moveTo>
                          <a:pt x="134" y="38"/>
                        </a:moveTo>
                        <a:cubicBezTo>
                          <a:pt x="134" y="38"/>
                          <a:pt x="134" y="38"/>
                          <a:pt x="134" y="38"/>
                        </a:cubicBezTo>
                        <a:cubicBezTo>
                          <a:pt x="134" y="38"/>
                          <a:pt x="134" y="38"/>
                          <a:pt x="134" y="38"/>
                        </a:cubicBezTo>
                        <a:cubicBezTo>
                          <a:pt x="134" y="38"/>
                          <a:pt x="134" y="38"/>
                          <a:pt x="134" y="38"/>
                        </a:cubicBezTo>
                        <a:cubicBezTo>
                          <a:pt x="134" y="38"/>
                          <a:pt x="134" y="38"/>
                          <a:pt x="134" y="38"/>
                        </a:cubicBezTo>
                        <a:close/>
                        <a:moveTo>
                          <a:pt x="133" y="38"/>
                        </a:moveTo>
                        <a:cubicBezTo>
                          <a:pt x="133" y="38"/>
                          <a:pt x="133" y="38"/>
                          <a:pt x="133" y="38"/>
                        </a:cubicBezTo>
                        <a:cubicBezTo>
                          <a:pt x="133" y="38"/>
                          <a:pt x="133" y="38"/>
                          <a:pt x="133" y="38"/>
                        </a:cubicBezTo>
                        <a:close/>
                        <a:moveTo>
                          <a:pt x="133" y="38"/>
                        </a:moveTo>
                        <a:cubicBezTo>
                          <a:pt x="133" y="38"/>
                          <a:pt x="133" y="38"/>
                          <a:pt x="133" y="38"/>
                        </a:cubicBezTo>
                        <a:cubicBezTo>
                          <a:pt x="133" y="38"/>
                          <a:pt x="133" y="38"/>
                          <a:pt x="133" y="38"/>
                        </a:cubicBezTo>
                        <a:cubicBezTo>
                          <a:pt x="133" y="38"/>
                          <a:pt x="133" y="38"/>
                          <a:pt x="133" y="38"/>
                        </a:cubicBezTo>
                        <a:cubicBezTo>
                          <a:pt x="133" y="38"/>
                          <a:pt x="133" y="38"/>
                          <a:pt x="133" y="38"/>
                        </a:cubicBezTo>
                        <a:cubicBezTo>
                          <a:pt x="133" y="38"/>
                          <a:pt x="133" y="38"/>
                          <a:pt x="133" y="38"/>
                        </a:cubicBezTo>
                        <a:close/>
                        <a:moveTo>
                          <a:pt x="131" y="38"/>
                        </a:moveTo>
                        <a:cubicBezTo>
                          <a:pt x="132" y="38"/>
                          <a:pt x="132" y="38"/>
                          <a:pt x="132" y="38"/>
                        </a:cubicBezTo>
                        <a:cubicBezTo>
                          <a:pt x="132" y="38"/>
                          <a:pt x="132" y="38"/>
                          <a:pt x="132" y="38"/>
                        </a:cubicBezTo>
                        <a:cubicBezTo>
                          <a:pt x="132" y="38"/>
                          <a:pt x="131" y="38"/>
                          <a:pt x="131" y="38"/>
                        </a:cubicBezTo>
                        <a:close/>
                        <a:moveTo>
                          <a:pt x="129" y="38"/>
                        </a:moveTo>
                        <a:cubicBezTo>
                          <a:pt x="129" y="38"/>
                          <a:pt x="129" y="38"/>
                          <a:pt x="129" y="38"/>
                        </a:cubicBezTo>
                        <a:cubicBezTo>
                          <a:pt x="129" y="38"/>
                          <a:pt x="128" y="38"/>
                          <a:pt x="128" y="38"/>
                        </a:cubicBezTo>
                        <a:cubicBezTo>
                          <a:pt x="128" y="38"/>
                          <a:pt x="129" y="38"/>
                          <a:pt x="129" y="38"/>
                        </a:cubicBezTo>
                        <a:cubicBezTo>
                          <a:pt x="128" y="38"/>
                          <a:pt x="128" y="38"/>
                          <a:pt x="128" y="38"/>
                        </a:cubicBezTo>
                        <a:cubicBezTo>
                          <a:pt x="128" y="38"/>
                          <a:pt x="128" y="38"/>
                          <a:pt x="129" y="38"/>
                        </a:cubicBezTo>
                        <a:close/>
                        <a:moveTo>
                          <a:pt x="129" y="38"/>
                        </a:moveTo>
                        <a:cubicBezTo>
                          <a:pt x="129" y="38"/>
                          <a:pt x="129" y="38"/>
                          <a:pt x="130" y="38"/>
                        </a:cubicBezTo>
                        <a:cubicBezTo>
                          <a:pt x="129" y="38"/>
                          <a:pt x="130" y="38"/>
                          <a:pt x="129" y="37"/>
                        </a:cubicBezTo>
                        <a:cubicBezTo>
                          <a:pt x="129" y="38"/>
                          <a:pt x="130" y="38"/>
                          <a:pt x="129" y="38"/>
                        </a:cubicBezTo>
                        <a:cubicBezTo>
                          <a:pt x="129" y="38"/>
                          <a:pt x="129" y="38"/>
                          <a:pt x="129" y="38"/>
                        </a:cubicBezTo>
                        <a:cubicBezTo>
                          <a:pt x="129" y="38"/>
                          <a:pt x="129" y="38"/>
                          <a:pt x="129" y="38"/>
                        </a:cubicBezTo>
                        <a:close/>
                        <a:moveTo>
                          <a:pt x="126" y="38"/>
                        </a:move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6" y="38"/>
                          <a:pt x="127" y="38"/>
                          <a:pt x="126" y="38"/>
                        </a:cubicBezTo>
                        <a:close/>
                        <a:moveTo>
                          <a:pt x="126" y="38"/>
                        </a:move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6" y="38"/>
                          <a:pt x="126" y="38"/>
                          <a:pt x="126" y="38"/>
                        </a:cubicBezTo>
                        <a:close/>
                        <a:moveTo>
                          <a:pt x="124" y="37"/>
                        </a:moveTo>
                        <a:cubicBezTo>
                          <a:pt x="124" y="37"/>
                          <a:pt x="124" y="37"/>
                          <a:pt x="124" y="37"/>
                        </a:cubicBezTo>
                        <a:cubicBezTo>
                          <a:pt x="124" y="37"/>
                          <a:pt x="124" y="37"/>
                          <a:pt x="124" y="37"/>
                        </a:cubicBezTo>
                        <a:cubicBezTo>
                          <a:pt x="124" y="37"/>
                          <a:pt x="124" y="37"/>
                          <a:pt x="124" y="37"/>
                        </a:cubicBezTo>
                        <a:close/>
                        <a:moveTo>
                          <a:pt x="127" y="38"/>
                        </a:moveTo>
                        <a:cubicBezTo>
                          <a:pt x="127" y="38"/>
                          <a:pt x="127" y="38"/>
                          <a:pt x="127" y="38"/>
                        </a:cubicBezTo>
                        <a:cubicBezTo>
                          <a:pt x="127" y="38"/>
                          <a:pt x="127" y="38"/>
                          <a:pt x="127" y="38"/>
                        </a:cubicBezTo>
                        <a:close/>
                        <a:moveTo>
                          <a:pt x="127" y="38"/>
                        </a:moveTo>
                        <a:cubicBezTo>
                          <a:pt x="126" y="38"/>
                          <a:pt x="127" y="38"/>
                          <a:pt x="127" y="38"/>
                        </a:cubicBezTo>
                        <a:cubicBezTo>
                          <a:pt x="127" y="38"/>
                          <a:pt x="127" y="38"/>
                          <a:pt x="127" y="38"/>
                        </a:cubicBezTo>
                        <a:close/>
                        <a:moveTo>
                          <a:pt x="127" y="38"/>
                        </a:moveTo>
                        <a:cubicBezTo>
                          <a:pt x="127" y="38"/>
                          <a:pt x="127" y="38"/>
                          <a:pt x="127" y="38"/>
                        </a:cubicBezTo>
                        <a:cubicBezTo>
                          <a:pt x="127" y="38"/>
                          <a:pt x="127" y="38"/>
                          <a:pt x="127" y="38"/>
                        </a:cubicBezTo>
                        <a:cubicBezTo>
                          <a:pt x="127" y="38"/>
                          <a:pt x="127" y="38"/>
                          <a:pt x="127" y="38"/>
                        </a:cubicBezTo>
                        <a:close/>
                        <a:moveTo>
                          <a:pt x="132" y="39"/>
                        </a:moveTo>
                        <a:cubicBezTo>
                          <a:pt x="131" y="39"/>
                          <a:pt x="131" y="39"/>
                          <a:pt x="131" y="39"/>
                        </a:cubicBezTo>
                        <a:cubicBezTo>
                          <a:pt x="131" y="39"/>
                          <a:pt x="131" y="39"/>
                          <a:pt x="132" y="39"/>
                        </a:cubicBezTo>
                        <a:close/>
                        <a:moveTo>
                          <a:pt x="142" y="43"/>
                        </a:moveTo>
                        <a:cubicBezTo>
                          <a:pt x="141" y="43"/>
                          <a:pt x="141" y="43"/>
                          <a:pt x="141" y="43"/>
                        </a:cubicBezTo>
                        <a:cubicBezTo>
                          <a:pt x="141" y="43"/>
                          <a:pt x="141" y="43"/>
                          <a:pt x="142" y="43"/>
                        </a:cubicBezTo>
                        <a:close/>
                        <a:moveTo>
                          <a:pt x="132" y="41"/>
                        </a:moveTo>
                        <a:cubicBezTo>
                          <a:pt x="132" y="41"/>
                          <a:pt x="132" y="41"/>
                          <a:pt x="132" y="41"/>
                        </a:cubicBezTo>
                        <a:cubicBezTo>
                          <a:pt x="132" y="41"/>
                          <a:pt x="132" y="41"/>
                          <a:pt x="132" y="41"/>
                        </a:cubicBezTo>
                        <a:cubicBezTo>
                          <a:pt x="132" y="41"/>
                          <a:pt x="132" y="41"/>
                          <a:pt x="132" y="41"/>
                        </a:cubicBezTo>
                        <a:cubicBezTo>
                          <a:pt x="132" y="41"/>
                          <a:pt x="132" y="41"/>
                          <a:pt x="132" y="41"/>
                        </a:cubicBezTo>
                        <a:cubicBezTo>
                          <a:pt x="132" y="41"/>
                          <a:pt x="132" y="41"/>
                          <a:pt x="132" y="41"/>
                        </a:cubicBezTo>
                        <a:cubicBezTo>
                          <a:pt x="132" y="41"/>
                          <a:pt x="132" y="41"/>
                          <a:pt x="132" y="41"/>
                        </a:cubicBezTo>
                        <a:close/>
                        <a:moveTo>
                          <a:pt x="132" y="41"/>
                        </a:moveTo>
                        <a:cubicBezTo>
                          <a:pt x="133" y="41"/>
                          <a:pt x="132" y="41"/>
                          <a:pt x="132" y="41"/>
                        </a:cubicBezTo>
                        <a:cubicBezTo>
                          <a:pt x="132" y="41"/>
                          <a:pt x="132" y="41"/>
                          <a:pt x="133" y="41"/>
                        </a:cubicBezTo>
                        <a:cubicBezTo>
                          <a:pt x="132" y="41"/>
                          <a:pt x="133" y="41"/>
                          <a:pt x="133" y="41"/>
                        </a:cubicBezTo>
                        <a:cubicBezTo>
                          <a:pt x="133" y="41"/>
                          <a:pt x="133" y="41"/>
                          <a:pt x="133" y="41"/>
                        </a:cubicBezTo>
                        <a:cubicBezTo>
                          <a:pt x="133" y="41"/>
                          <a:pt x="133" y="41"/>
                          <a:pt x="133" y="41"/>
                        </a:cubicBezTo>
                        <a:cubicBezTo>
                          <a:pt x="133" y="41"/>
                          <a:pt x="132" y="41"/>
                          <a:pt x="132" y="41"/>
                        </a:cubicBezTo>
                        <a:close/>
                        <a:moveTo>
                          <a:pt x="132" y="40"/>
                        </a:moveTo>
                        <a:cubicBezTo>
                          <a:pt x="132" y="40"/>
                          <a:pt x="132" y="40"/>
                          <a:pt x="131" y="40"/>
                        </a:cubicBezTo>
                        <a:cubicBezTo>
                          <a:pt x="131" y="40"/>
                          <a:pt x="132" y="41"/>
                          <a:pt x="132" y="40"/>
                        </a:cubicBezTo>
                        <a:cubicBezTo>
                          <a:pt x="132" y="40"/>
                          <a:pt x="131" y="40"/>
                          <a:pt x="132" y="40"/>
                        </a:cubicBezTo>
                        <a:cubicBezTo>
                          <a:pt x="132" y="40"/>
                          <a:pt x="132" y="40"/>
                          <a:pt x="132" y="41"/>
                        </a:cubicBezTo>
                        <a:cubicBezTo>
                          <a:pt x="132" y="40"/>
                          <a:pt x="132" y="41"/>
                          <a:pt x="132" y="41"/>
                        </a:cubicBezTo>
                        <a:cubicBezTo>
                          <a:pt x="132" y="41"/>
                          <a:pt x="132" y="40"/>
                          <a:pt x="132" y="40"/>
                        </a:cubicBezTo>
                        <a:close/>
                        <a:moveTo>
                          <a:pt x="131" y="40"/>
                        </a:moveTo>
                        <a:cubicBezTo>
                          <a:pt x="131" y="40"/>
                          <a:pt x="131" y="40"/>
                          <a:pt x="131" y="40"/>
                        </a:cubicBezTo>
                        <a:cubicBezTo>
                          <a:pt x="131" y="40"/>
                          <a:pt x="131" y="40"/>
                          <a:pt x="131" y="40"/>
                        </a:cubicBezTo>
                        <a:cubicBezTo>
                          <a:pt x="131" y="40"/>
                          <a:pt x="131" y="40"/>
                          <a:pt x="131" y="40"/>
                        </a:cubicBezTo>
                        <a:close/>
                        <a:moveTo>
                          <a:pt x="134" y="41"/>
                        </a:moveTo>
                        <a:cubicBezTo>
                          <a:pt x="134" y="41"/>
                          <a:pt x="134" y="41"/>
                          <a:pt x="134" y="41"/>
                        </a:cubicBezTo>
                        <a:cubicBezTo>
                          <a:pt x="134" y="41"/>
                          <a:pt x="134" y="41"/>
                          <a:pt x="134" y="41"/>
                        </a:cubicBezTo>
                        <a:cubicBezTo>
                          <a:pt x="134" y="41"/>
                          <a:pt x="134" y="41"/>
                          <a:pt x="134" y="41"/>
                        </a:cubicBezTo>
                        <a:close/>
                        <a:moveTo>
                          <a:pt x="130" y="40"/>
                        </a:moveTo>
                        <a:cubicBezTo>
                          <a:pt x="130" y="40"/>
                          <a:pt x="131" y="40"/>
                          <a:pt x="131" y="40"/>
                        </a:cubicBezTo>
                        <a:cubicBezTo>
                          <a:pt x="131" y="40"/>
                          <a:pt x="131" y="40"/>
                          <a:pt x="130" y="40"/>
                        </a:cubicBezTo>
                        <a:cubicBezTo>
                          <a:pt x="130" y="40"/>
                          <a:pt x="131" y="40"/>
                          <a:pt x="131" y="40"/>
                        </a:cubicBezTo>
                        <a:cubicBezTo>
                          <a:pt x="131" y="40"/>
                          <a:pt x="131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39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lose/>
                        <a:moveTo>
                          <a:pt x="131" y="41"/>
                        </a:moveTo>
                        <a:cubicBezTo>
                          <a:pt x="131" y="40"/>
                          <a:pt x="131" y="40"/>
                          <a:pt x="131" y="40"/>
                        </a:cubicBezTo>
                        <a:cubicBezTo>
                          <a:pt x="131" y="40"/>
                          <a:pt x="131" y="41"/>
                          <a:pt x="131" y="41"/>
                        </a:cubicBezTo>
                        <a:close/>
                        <a:moveTo>
                          <a:pt x="131" y="41"/>
                        </a:moveTo>
                        <a:cubicBezTo>
                          <a:pt x="131" y="41"/>
                          <a:pt x="131" y="41"/>
                          <a:pt x="131" y="41"/>
                        </a:cubicBezTo>
                        <a:cubicBezTo>
                          <a:pt x="131" y="41"/>
                          <a:pt x="132" y="41"/>
                          <a:pt x="131" y="41"/>
                        </a:cubicBezTo>
                        <a:cubicBezTo>
                          <a:pt x="131" y="41"/>
                          <a:pt x="131" y="41"/>
                          <a:pt x="131" y="41"/>
                        </a:cubicBezTo>
                        <a:close/>
                        <a:moveTo>
                          <a:pt x="131" y="41"/>
                        </a:moveTo>
                        <a:cubicBezTo>
                          <a:pt x="131" y="41"/>
                          <a:pt x="131" y="41"/>
                          <a:pt x="131" y="41"/>
                        </a:cubicBezTo>
                        <a:cubicBezTo>
                          <a:pt x="131" y="41"/>
                          <a:pt x="131" y="41"/>
                          <a:pt x="131" y="41"/>
                        </a:cubicBezTo>
                        <a:cubicBezTo>
                          <a:pt x="131" y="41"/>
                          <a:pt x="131" y="41"/>
                          <a:pt x="131" y="41"/>
                        </a:cubicBezTo>
                        <a:cubicBezTo>
                          <a:pt x="131" y="41"/>
                          <a:pt x="131" y="41"/>
                          <a:pt x="131" y="41"/>
                        </a:cubicBezTo>
                        <a:close/>
                        <a:moveTo>
                          <a:pt x="131" y="41"/>
                        </a:moveTo>
                        <a:cubicBezTo>
                          <a:pt x="131" y="41"/>
                          <a:pt x="131" y="41"/>
                          <a:pt x="131" y="41"/>
                        </a:cubicBezTo>
                        <a:cubicBezTo>
                          <a:pt x="131" y="41"/>
                          <a:pt x="131" y="41"/>
                          <a:pt x="131" y="42"/>
                        </a:cubicBezTo>
                        <a:cubicBezTo>
                          <a:pt x="131" y="42"/>
                          <a:pt x="131" y="41"/>
                          <a:pt x="131" y="41"/>
                        </a:cubicBezTo>
                        <a:close/>
                        <a:moveTo>
                          <a:pt x="133" y="42"/>
                        </a:moveTo>
                        <a:cubicBezTo>
                          <a:pt x="134" y="42"/>
                          <a:pt x="134" y="42"/>
                          <a:pt x="134" y="42"/>
                        </a:cubicBezTo>
                        <a:cubicBezTo>
                          <a:pt x="134" y="42"/>
                          <a:pt x="134" y="42"/>
                          <a:pt x="134" y="42"/>
                        </a:cubicBezTo>
                        <a:cubicBezTo>
                          <a:pt x="134" y="42"/>
                          <a:pt x="133" y="42"/>
                          <a:pt x="133" y="42"/>
                        </a:cubicBezTo>
                        <a:close/>
                        <a:moveTo>
                          <a:pt x="130" y="41"/>
                        </a:moveTo>
                        <a:cubicBezTo>
                          <a:pt x="130" y="41"/>
                          <a:pt x="130" y="41"/>
                          <a:pt x="130" y="41"/>
                        </a:cubicBezTo>
                        <a:cubicBezTo>
                          <a:pt x="130" y="41"/>
                          <a:pt x="130" y="41"/>
                          <a:pt x="130" y="41"/>
                        </a:cubicBezTo>
                        <a:cubicBezTo>
                          <a:pt x="130" y="41"/>
                          <a:pt x="130" y="41"/>
                          <a:pt x="130" y="41"/>
                        </a:cubicBezTo>
                        <a:cubicBezTo>
                          <a:pt x="130" y="41"/>
                          <a:pt x="130" y="41"/>
                          <a:pt x="130" y="41"/>
                        </a:cubicBezTo>
                        <a:close/>
                        <a:moveTo>
                          <a:pt x="128" y="41"/>
                        </a:moveTo>
                        <a:cubicBezTo>
                          <a:pt x="128" y="40"/>
                          <a:pt x="128" y="40"/>
                          <a:pt x="128" y="40"/>
                        </a:cubicBezTo>
                        <a:cubicBezTo>
                          <a:pt x="128" y="41"/>
                          <a:pt x="128" y="40"/>
                          <a:pt x="128" y="40"/>
                        </a:cubicBezTo>
                        <a:cubicBezTo>
                          <a:pt x="128" y="40"/>
                          <a:pt x="128" y="41"/>
                          <a:pt x="128" y="41"/>
                        </a:cubicBezTo>
                        <a:close/>
                        <a:moveTo>
                          <a:pt x="127" y="40"/>
                        </a:moveTo>
                        <a:cubicBezTo>
                          <a:pt x="127" y="40"/>
                          <a:pt x="127" y="41"/>
                          <a:pt x="127" y="40"/>
                        </a:cubicBezTo>
                        <a:cubicBezTo>
                          <a:pt x="127" y="40"/>
                          <a:pt x="127" y="40"/>
                          <a:pt x="127" y="40"/>
                        </a:cubicBezTo>
                        <a:cubicBezTo>
                          <a:pt x="127" y="40"/>
                          <a:pt x="127" y="40"/>
                          <a:pt x="127" y="40"/>
                        </a:cubicBezTo>
                        <a:close/>
                        <a:moveTo>
                          <a:pt x="128" y="41"/>
                        </a:moveTo>
                        <a:cubicBezTo>
                          <a:pt x="129" y="41"/>
                          <a:pt x="129" y="41"/>
                          <a:pt x="129" y="41"/>
                        </a:cubicBezTo>
                        <a:cubicBezTo>
                          <a:pt x="129" y="41"/>
                          <a:pt x="129" y="41"/>
                          <a:pt x="128" y="41"/>
                        </a:cubicBezTo>
                        <a:close/>
                        <a:moveTo>
                          <a:pt x="113" y="38"/>
                        </a:moveTo>
                        <a:cubicBezTo>
                          <a:pt x="113" y="37"/>
                          <a:pt x="113" y="38"/>
                          <a:pt x="113" y="37"/>
                        </a:cubicBezTo>
                        <a:cubicBezTo>
                          <a:pt x="113" y="37"/>
                          <a:pt x="113" y="37"/>
                          <a:pt x="113" y="37"/>
                        </a:cubicBezTo>
                        <a:cubicBezTo>
                          <a:pt x="113" y="37"/>
                          <a:pt x="113" y="37"/>
                          <a:pt x="113" y="38"/>
                        </a:cubicBezTo>
                        <a:close/>
                        <a:moveTo>
                          <a:pt x="116" y="39"/>
                        </a:moveTo>
                        <a:cubicBezTo>
                          <a:pt x="116" y="39"/>
                          <a:pt x="116" y="39"/>
                          <a:pt x="116" y="39"/>
                        </a:cubicBezTo>
                        <a:cubicBezTo>
                          <a:pt x="116" y="39"/>
                          <a:pt x="116" y="38"/>
                          <a:pt x="116" y="39"/>
                        </a:cubicBezTo>
                        <a:close/>
                        <a:moveTo>
                          <a:pt x="118" y="38"/>
                        </a:moveTo>
                        <a:cubicBezTo>
                          <a:pt x="118" y="38"/>
                          <a:pt x="119" y="38"/>
                          <a:pt x="119" y="38"/>
                        </a:cubicBezTo>
                        <a:cubicBezTo>
                          <a:pt x="118" y="38"/>
                          <a:pt x="118" y="38"/>
                          <a:pt x="118" y="38"/>
                        </a:cubicBezTo>
                        <a:cubicBezTo>
                          <a:pt x="118" y="38"/>
                          <a:pt x="118" y="38"/>
                          <a:pt x="118" y="38"/>
                        </a:cubicBezTo>
                        <a:close/>
                        <a:moveTo>
                          <a:pt x="128" y="41"/>
                        </a:moveTo>
                        <a:cubicBezTo>
                          <a:pt x="128" y="41"/>
                          <a:pt x="128" y="41"/>
                          <a:pt x="128" y="41"/>
                        </a:cubicBezTo>
                        <a:cubicBezTo>
                          <a:pt x="128" y="41"/>
                          <a:pt x="127" y="41"/>
                          <a:pt x="128" y="41"/>
                        </a:cubicBezTo>
                        <a:cubicBezTo>
                          <a:pt x="128" y="41"/>
                          <a:pt x="128" y="41"/>
                          <a:pt x="128" y="41"/>
                        </a:cubicBezTo>
                        <a:cubicBezTo>
                          <a:pt x="128" y="41"/>
                          <a:pt x="128" y="41"/>
                          <a:pt x="128" y="41"/>
                        </a:cubicBezTo>
                        <a:close/>
                        <a:moveTo>
                          <a:pt x="124" y="40"/>
                        </a:moveTo>
                        <a:cubicBezTo>
                          <a:pt x="124" y="40"/>
                          <a:pt x="124" y="40"/>
                          <a:pt x="124" y="40"/>
                        </a:cubicBezTo>
                        <a:cubicBezTo>
                          <a:pt x="124" y="40"/>
                          <a:pt x="124" y="40"/>
                          <a:pt x="124" y="40"/>
                        </a:cubicBezTo>
                        <a:close/>
                        <a:moveTo>
                          <a:pt x="122" y="39"/>
                        </a:moveTo>
                        <a:cubicBezTo>
                          <a:pt x="122" y="39"/>
                          <a:pt x="122" y="39"/>
                          <a:pt x="122" y="39"/>
                        </a:cubicBezTo>
                        <a:cubicBezTo>
                          <a:pt x="122" y="39"/>
                          <a:pt x="122" y="40"/>
                          <a:pt x="122" y="39"/>
                        </a:cubicBezTo>
                        <a:close/>
                        <a:moveTo>
                          <a:pt x="121" y="40"/>
                        </a:moveTo>
                        <a:cubicBezTo>
                          <a:pt x="122" y="40"/>
                          <a:pt x="122" y="40"/>
                          <a:pt x="122" y="40"/>
                        </a:cubicBezTo>
                        <a:cubicBezTo>
                          <a:pt x="122" y="39"/>
                          <a:pt x="121" y="39"/>
                          <a:pt x="121" y="39"/>
                        </a:cubicBezTo>
                        <a:cubicBezTo>
                          <a:pt x="121" y="39"/>
                          <a:pt x="121" y="39"/>
                          <a:pt x="121" y="39"/>
                        </a:cubicBezTo>
                        <a:cubicBezTo>
                          <a:pt x="121" y="40"/>
                          <a:pt x="122" y="40"/>
                          <a:pt x="121" y="40"/>
                        </a:cubicBezTo>
                        <a:close/>
                        <a:moveTo>
                          <a:pt x="122" y="40"/>
                        </a:moveTo>
                        <a:cubicBezTo>
                          <a:pt x="122" y="40"/>
                          <a:pt x="122" y="40"/>
                          <a:pt x="122" y="40"/>
                        </a:cubicBezTo>
                        <a:cubicBezTo>
                          <a:pt x="122" y="40"/>
                          <a:pt x="123" y="40"/>
                          <a:pt x="123" y="40"/>
                        </a:cubicBezTo>
                        <a:cubicBezTo>
                          <a:pt x="123" y="40"/>
                          <a:pt x="123" y="40"/>
                          <a:pt x="123" y="40"/>
                        </a:cubicBezTo>
                        <a:cubicBezTo>
                          <a:pt x="123" y="40"/>
                          <a:pt x="123" y="40"/>
                          <a:pt x="123" y="40"/>
                        </a:cubicBezTo>
                        <a:cubicBezTo>
                          <a:pt x="123" y="40"/>
                          <a:pt x="123" y="40"/>
                          <a:pt x="123" y="40"/>
                        </a:cubicBezTo>
                        <a:cubicBezTo>
                          <a:pt x="123" y="40"/>
                          <a:pt x="124" y="40"/>
                          <a:pt x="123" y="40"/>
                        </a:cubicBezTo>
                        <a:cubicBezTo>
                          <a:pt x="123" y="40"/>
                          <a:pt x="124" y="40"/>
                          <a:pt x="124" y="40"/>
                        </a:cubicBezTo>
                        <a:cubicBezTo>
                          <a:pt x="123" y="40"/>
                          <a:pt x="124" y="40"/>
                          <a:pt x="124" y="40"/>
                        </a:cubicBezTo>
                        <a:cubicBezTo>
                          <a:pt x="123" y="40"/>
                          <a:pt x="123" y="40"/>
                          <a:pt x="123" y="40"/>
                        </a:cubicBezTo>
                        <a:cubicBezTo>
                          <a:pt x="123" y="40"/>
                          <a:pt x="123" y="40"/>
                          <a:pt x="123" y="40"/>
                        </a:cubicBezTo>
                        <a:cubicBezTo>
                          <a:pt x="123" y="40"/>
                          <a:pt x="123" y="40"/>
                          <a:pt x="122" y="40"/>
                        </a:cubicBezTo>
                        <a:cubicBezTo>
                          <a:pt x="122" y="40"/>
                          <a:pt x="122" y="40"/>
                          <a:pt x="122" y="40"/>
                        </a:cubicBezTo>
                        <a:close/>
                        <a:moveTo>
                          <a:pt x="125" y="41"/>
                        </a:moveTo>
                        <a:cubicBezTo>
                          <a:pt x="125" y="41"/>
                          <a:pt x="125" y="41"/>
                          <a:pt x="125" y="41"/>
                        </a:cubicBezTo>
                        <a:cubicBezTo>
                          <a:pt x="125" y="41"/>
                          <a:pt x="125" y="42"/>
                          <a:pt x="125" y="41"/>
                        </a:cubicBezTo>
                        <a:close/>
                        <a:moveTo>
                          <a:pt x="126" y="42"/>
                        </a:moveTo>
                        <a:cubicBezTo>
                          <a:pt x="126" y="42"/>
                          <a:pt x="126" y="42"/>
                          <a:pt x="126" y="42"/>
                        </a:cubicBezTo>
                        <a:cubicBezTo>
                          <a:pt x="126" y="42"/>
                          <a:pt x="126" y="42"/>
                          <a:pt x="126" y="42"/>
                        </a:cubicBezTo>
                        <a:close/>
                        <a:moveTo>
                          <a:pt x="124" y="42"/>
                        </a:moveTo>
                        <a:cubicBezTo>
                          <a:pt x="125" y="42"/>
                          <a:pt x="125" y="42"/>
                          <a:pt x="125" y="42"/>
                        </a:cubicBezTo>
                        <a:cubicBezTo>
                          <a:pt x="125" y="42"/>
                          <a:pt x="124" y="41"/>
                          <a:pt x="124" y="41"/>
                        </a:cubicBezTo>
                        <a:cubicBezTo>
                          <a:pt x="124" y="42"/>
                          <a:pt x="125" y="42"/>
                          <a:pt x="124" y="42"/>
                        </a:cubicBezTo>
                        <a:cubicBezTo>
                          <a:pt x="124" y="42"/>
                          <a:pt x="124" y="41"/>
                          <a:pt x="124" y="41"/>
                        </a:cubicBezTo>
                        <a:cubicBezTo>
                          <a:pt x="124" y="42"/>
                          <a:pt x="124" y="42"/>
                          <a:pt x="124" y="42"/>
                        </a:cubicBezTo>
                        <a:close/>
                        <a:moveTo>
                          <a:pt x="132" y="45"/>
                        </a:moveTo>
                        <a:cubicBezTo>
                          <a:pt x="132" y="45"/>
                          <a:pt x="132" y="45"/>
                          <a:pt x="132" y="45"/>
                        </a:cubicBezTo>
                        <a:cubicBezTo>
                          <a:pt x="132" y="45"/>
                          <a:pt x="133" y="45"/>
                          <a:pt x="132" y="45"/>
                        </a:cubicBezTo>
                        <a:close/>
                        <a:moveTo>
                          <a:pt x="130" y="45"/>
                        </a:moveTo>
                        <a:cubicBezTo>
                          <a:pt x="130" y="44"/>
                          <a:pt x="130" y="44"/>
                          <a:pt x="130" y="44"/>
                        </a:cubicBezTo>
                        <a:cubicBezTo>
                          <a:pt x="130" y="44"/>
                          <a:pt x="130" y="44"/>
                          <a:pt x="130" y="44"/>
                        </a:cubicBezTo>
                        <a:cubicBezTo>
                          <a:pt x="130" y="44"/>
                          <a:pt x="130" y="44"/>
                          <a:pt x="130" y="44"/>
                        </a:cubicBezTo>
                        <a:cubicBezTo>
                          <a:pt x="130" y="44"/>
                          <a:pt x="130" y="45"/>
                          <a:pt x="130" y="45"/>
                        </a:cubicBezTo>
                        <a:close/>
                        <a:moveTo>
                          <a:pt x="129" y="44"/>
                        </a:moveTo>
                        <a:cubicBezTo>
                          <a:pt x="129" y="44"/>
                          <a:pt x="129" y="44"/>
                          <a:pt x="129" y="44"/>
                        </a:cubicBezTo>
                        <a:cubicBezTo>
                          <a:pt x="129" y="44"/>
                          <a:pt x="129" y="44"/>
                          <a:pt x="129" y="44"/>
                        </a:cubicBezTo>
                        <a:cubicBezTo>
                          <a:pt x="129" y="44"/>
                          <a:pt x="129" y="44"/>
                          <a:pt x="129" y="44"/>
                        </a:cubicBezTo>
                        <a:cubicBezTo>
                          <a:pt x="129" y="44"/>
                          <a:pt x="129" y="44"/>
                          <a:pt x="129" y="44"/>
                        </a:cubicBezTo>
                        <a:close/>
                        <a:moveTo>
                          <a:pt x="131" y="45"/>
                        </a:moveTo>
                        <a:cubicBezTo>
                          <a:pt x="131" y="45"/>
                          <a:pt x="131" y="45"/>
                          <a:pt x="131" y="45"/>
                        </a:cubicBezTo>
                        <a:cubicBezTo>
                          <a:pt x="131" y="45"/>
                          <a:pt x="131" y="45"/>
                          <a:pt x="131" y="45"/>
                        </a:cubicBezTo>
                        <a:cubicBezTo>
                          <a:pt x="131" y="45"/>
                          <a:pt x="131" y="45"/>
                          <a:pt x="132" y="45"/>
                        </a:cubicBezTo>
                        <a:cubicBezTo>
                          <a:pt x="131" y="45"/>
                          <a:pt x="131" y="45"/>
                          <a:pt x="131" y="45"/>
                        </a:cubicBezTo>
                        <a:close/>
                        <a:moveTo>
                          <a:pt x="131" y="44"/>
                        </a:moveTo>
                        <a:cubicBezTo>
                          <a:pt x="131" y="45"/>
                          <a:pt x="130" y="45"/>
                          <a:pt x="131" y="45"/>
                        </a:cubicBezTo>
                        <a:cubicBezTo>
                          <a:pt x="131" y="45"/>
                          <a:pt x="131" y="45"/>
                          <a:pt x="131" y="44"/>
                        </a:cubicBezTo>
                        <a:close/>
                        <a:moveTo>
                          <a:pt x="130" y="44"/>
                        </a:moveTo>
                        <a:cubicBezTo>
                          <a:pt x="130" y="44"/>
                          <a:pt x="130" y="44"/>
                          <a:pt x="130" y="44"/>
                        </a:cubicBezTo>
                        <a:cubicBezTo>
                          <a:pt x="130" y="44"/>
                          <a:pt x="130" y="44"/>
                          <a:pt x="130" y="45"/>
                        </a:cubicBezTo>
                        <a:cubicBezTo>
                          <a:pt x="130" y="45"/>
                          <a:pt x="130" y="45"/>
                          <a:pt x="130" y="45"/>
                        </a:cubicBezTo>
                        <a:cubicBezTo>
                          <a:pt x="130" y="44"/>
                          <a:pt x="130" y="44"/>
                          <a:pt x="130" y="44"/>
                        </a:cubicBezTo>
                        <a:close/>
                        <a:moveTo>
                          <a:pt x="130" y="44"/>
                        </a:moveTo>
                        <a:cubicBezTo>
                          <a:pt x="130" y="44"/>
                          <a:pt x="130" y="44"/>
                          <a:pt x="130" y="44"/>
                        </a:cubicBezTo>
                        <a:cubicBezTo>
                          <a:pt x="130" y="44"/>
                          <a:pt x="130" y="44"/>
                          <a:pt x="130" y="44"/>
                        </a:cubicBezTo>
                        <a:cubicBezTo>
                          <a:pt x="130" y="44"/>
                          <a:pt x="130" y="44"/>
                          <a:pt x="130" y="44"/>
                        </a:cubicBezTo>
                        <a:close/>
                        <a:moveTo>
                          <a:pt x="126" y="43"/>
                        </a:moveTo>
                        <a:cubicBezTo>
                          <a:pt x="126" y="43"/>
                          <a:pt x="127" y="43"/>
                          <a:pt x="127" y="43"/>
                        </a:cubicBezTo>
                        <a:cubicBezTo>
                          <a:pt x="127" y="43"/>
                          <a:pt x="126" y="43"/>
                          <a:pt x="126" y="43"/>
                        </a:cubicBezTo>
                        <a:close/>
                        <a:moveTo>
                          <a:pt x="124" y="42"/>
                        </a:moveTo>
                        <a:cubicBezTo>
                          <a:pt x="124" y="43"/>
                          <a:pt x="125" y="43"/>
                          <a:pt x="125" y="43"/>
                        </a:cubicBezTo>
                        <a:cubicBezTo>
                          <a:pt x="125" y="43"/>
                          <a:pt x="125" y="42"/>
                          <a:pt x="124" y="42"/>
                        </a:cubicBezTo>
                        <a:close/>
                        <a:moveTo>
                          <a:pt x="125" y="42"/>
                        </a:moveTo>
                        <a:cubicBezTo>
                          <a:pt x="125" y="42"/>
                          <a:pt x="125" y="42"/>
                          <a:pt x="125" y="42"/>
                        </a:cubicBezTo>
                        <a:cubicBezTo>
                          <a:pt x="125" y="42"/>
                          <a:pt x="125" y="42"/>
                          <a:pt x="125" y="42"/>
                        </a:cubicBezTo>
                        <a:cubicBezTo>
                          <a:pt x="124" y="42"/>
                          <a:pt x="124" y="42"/>
                          <a:pt x="124" y="42"/>
                        </a:cubicBezTo>
                        <a:cubicBezTo>
                          <a:pt x="124" y="42"/>
                          <a:pt x="124" y="42"/>
                          <a:pt x="125" y="42"/>
                        </a:cubicBezTo>
                        <a:close/>
                        <a:moveTo>
                          <a:pt x="124" y="42"/>
                        </a:moveTo>
                        <a:cubicBezTo>
                          <a:pt x="124" y="42"/>
                          <a:pt x="124" y="42"/>
                          <a:pt x="124" y="42"/>
                        </a:cubicBezTo>
                        <a:cubicBezTo>
                          <a:pt x="123" y="42"/>
                          <a:pt x="124" y="42"/>
                          <a:pt x="124" y="42"/>
                        </a:cubicBezTo>
                        <a:close/>
                        <a:moveTo>
                          <a:pt x="129" y="44"/>
                        </a:moveTo>
                        <a:cubicBezTo>
                          <a:pt x="129" y="44"/>
                          <a:pt x="129" y="44"/>
                          <a:pt x="129" y="44"/>
                        </a:cubicBezTo>
                        <a:cubicBezTo>
                          <a:pt x="129" y="44"/>
                          <a:pt x="129" y="44"/>
                          <a:pt x="129" y="44"/>
                        </a:cubicBezTo>
                        <a:cubicBezTo>
                          <a:pt x="129" y="44"/>
                          <a:pt x="129" y="44"/>
                          <a:pt x="130" y="44"/>
                        </a:cubicBezTo>
                        <a:cubicBezTo>
                          <a:pt x="129" y="44"/>
                          <a:pt x="130" y="44"/>
                          <a:pt x="129" y="44"/>
                        </a:cubicBezTo>
                        <a:cubicBezTo>
                          <a:pt x="129" y="44"/>
                          <a:pt x="129" y="44"/>
                          <a:pt x="129" y="44"/>
                        </a:cubicBezTo>
                        <a:close/>
                        <a:moveTo>
                          <a:pt x="128" y="44"/>
                        </a:moveTo>
                        <a:cubicBezTo>
                          <a:pt x="129" y="44"/>
                          <a:pt x="129" y="44"/>
                          <a:pt x="129" y="44"/>
                        </a:cubicBezTo>
                        <a:cubicBezTo>
                          <a:pt x="129" y="44"/>
                          <a:pt x="128" y="44"/>
                          <a:pt x="128" y="44"/>
                        </a:cubicBezTo>
                        <a:close/>
                        <a:moveTo>
                          <a:pt x="126" y="43"/>
                        </a:moveTo>
                        <a:cubicBezTo>
                          <a:pt x="126" y="43"/>
                          <a:pt x="126" y="43"/>
                          <a:pt x="126" y="43"/>
                        </a:cubicBezTo>
                        <a:cubicBezTo>
                          <a:pt x="126" y="43"/>
                          <a:pt x="126" y="43"/>
                          <a:pt x="126" y="43"/>
                        </a:cubicBezTo>
                        <a:cubicBezTo>
                          <a:pt x="126" y="43"/>
                          <a:pt x="126" y="43"/>
                          <a:pt x="126" y="43"/>
                        </a:cubicBezTo>
                        <a:close/>
                        <a:moveTo>
                          <a:pt x="127" y="44"/>
                        </a:moveTo>
                        <a:cubicBezTo>
                          <a:pt x="127" y="44"/>
                          <a:pt x="127" y="44"/>
                          <a:pt x="127" y="44"/>
                        </a:cubicBezTo>
                        <a:cubicBezTo>
                          <a:pt x="128" y="44"/>
                          <a:pt x="128" y="44"/>
                          <a:pt x="128" y="44"/>
                        </a:cubicBezTo>
                        <a:cubicBezTo>
                          <a:pt x="127" y="44"/>
                          <a:pt x="127" y="44"/>
                          <a:pt x="127" y="44"/>
                        </a:cubicBezTo>
                        <a:cubicBezTo>
                          <a:pt x="127" y="44"/>
                          <a:pt x="127" y="43"/>
                          <a:pt x="127" y="43"/>
                        </a:cubicBezTo>
                        <a:cubicBezTo>
                          <a:pt x="127" y="43"/>
                          <a:pt x="127" y="44"/>
                          <a:pt x="127" y="44"/>
                        </a:cubicBezTo>
                        <a:cubicBezTo>
                          <a:pt x="127" y="44"/>
                          <a:pt x="127" y="44"/>
                          <a:pt x="127" y="44"/>
                        </a:cubicBezTo>
                        <a:cubicBezTo>
                          <a:pt x="127" y="44"/>
                          <a:pt x="127" y="44"/>
                          <a:pt x="127" y="44"/>
                        </a:cubicBezTo>
                        <a:close/>
                        <a:moveTo>
                          <a:pt x="133" y="46"/>
                        </a:moveTo>
                        <a:cubicBezTo>
                          <a:pt x="133" y="46"/>
                          <a:pt x="133" y="46"/>
                          <a:pt x="133" y="46"/>
                        </a:cubicBezTo>
                        <a:cubicBezTo>
                          <a:pt x="133" y="46"/>
                          <a:pt x="133" y="46"/>
                          <a:pt x="133" y="46"/>
                        </a:cubicBezTo>
                        <a:close/>
                        <a:moveTo>
                          <a:pt x="132" y="45"/>
                        </a:moveTo>
                        <a:cubicBezTo>
                          <a:pt x="132" y="46"/>
                          <a:pt x="132" y="46"/>
                          <a:pt x="132" y="46"/>
                        </a:cubicBezTo>
                        <a:cubicBezTo>
                          <a:pt x="132" y="46"/>
                          <a:pt x="132" y="46"/>
                          <a:pt x="132" y="46"/>
                        </a:cubicBezTo>
                        <a:lnTo>
                          <a:pt x="132" y="45"/>
                        </a:lnTo>
                        <a:close/>
                        <a:moveTo>
                          <a:pt x="131" y="45"/>
                        </a:moveTo>
                        <a:cubicBezTo>
                          <a:pt x="131" y="45"/>
                          <a:pt x="130" y="45"/>
                          <a:pt x="131" y="45"/>
                        </a:cubicBezTo>
                        <a:cubicBezTo>
                          <a:pt x="131" y="45"/>
                          <a:pt x="131" y="45"/>
                          <a:pt x="131" y="45"/>
                        </a:cubicBezTo>
                        <a:cubicBezTo>
                          <a:pt x="130" y="45"/>
                          <a:pt x="130" y="45"/>
                          <a:pt x="130" y="45"/>
                        </a:cubicBezTo>
                        <a:cubicBezTo>
                          <a:pt x="130" y="45"/>
                          <a:pt x="130" y="45"/>
                          <a:pt x="130" y="45"/>
                        </a:cubicBezTo>
                        <a:cubicBezTo>
                          <a:pt x="130" y="45"/>
                          <a:pt x="130" y="45"/>
                          <a:pt x="131" y="45"/>
                        </a:cubicBezTo>
                        <a:close/>
                        <a:moveTo>
                          <a:pt x="115" y="40"/>
                        </a:moveTo>
                        <a:cubicBezTo>
                          <a:pt x="115" y="40"/>
                          <a:pt x="116" y="40"/>
                          <a:pt x="116" y="40"/>
                        </a:cubicBezTo>
                        <a:cubicBezTo>
                          <a:pt x="116" y="40"/>
                          <a:pt x="116" y="40"/>
                          <a:pt x="116" y="40"/>
                        </a:cubicBezTo>
                        <a:cubicBezTo>
                          <a:pt x="115" y="40"/>
                          <a:pt x="115" y="39"/>
                          <a:pt x="115" y="40"/>
                        </a:cubicBezTo>
                        <a:cubicBezTo>
                          <a:pt x="115" y="40"/>
                          <a:pt x="115" y="40"/>
                          <a:pt x="115" y="40"/>
                        </a:cubicBezTo>
                        <a:close/>
                        <a:moveTo>
                          <a:pt x="119" y="42"/>
                        </a:moveTo>
                        <a:cubicBezTo>
                          <a:pt x="119" y="42"/>
                          <a:pt x="119" y="42"/>
                          <a:pt x="119" y="42"/>
                        </a:cubicBezTo>
                        <a:cubicBezTo>
                          <a:pt x="119" y="42"/>
                          <a:pt x="119" y="42"/>
                          <a:pt x="119" y="42"/>
                        </a:cubicBezTo>
                        <a:close/>
                        <a:moveTo>
                          <a:pt x="118" y="42"/>
                        </a:moveTo>
                        <a:cubicBezTo>
                          <a:pt x="118" y="42"/>
                          <a:pt x="119" y="42"/>
                          <a:pt x="119" y="42"/>
                        </a:cubicBezTo>
                        <a:cubicBezTo>
                          <a:pt x="118" y="42"/>
                          <a:pt x="118" y="42"/>
                          <a:pt x="118" y="42"/>
                        </a:cubicBezTo>
                        <a:close/>
                        <a:moveTo>
                          <a:pt x="119" y="42"/>
                        </a:moveTo>
                        <a:cubicBezTo>
                          <a:pt x="119" y="42"/>
                          <a:pt x="119" y="42"/>
                          <a:pt x="118" y="42"/>
                        </a:cubicBezTo>
                        <a:cubicBezTo>
                          <a:pt x="118" y="42"/>
                          <a:pt x="118" y="42"/>
                          <a:pt x="118" y="42"/>
                        </a:cubicBezTo>
                        <a:cubicBezTo>
                          <a:pt x="119" y="42"/>
                          <a:pt x="119" y="42"/>
                          <a:pt x="119" y="43"/>
                        </a:cubicBezTo>
                        <a:cubicBezTo>
                          <a:pt x="119" y="43"/>
                          <a:pt x="120" y="43"/>
                          <a:pt x="120" y="43"/>
                        </a:cubicBezTo>
                        <a:cubicBezTo>
                          <a:pt x="120" y="43"/>
                          <a:pt x="120" y="43"/>
                          <a:pt x="120" y="42"/>
                        </a:cubicBezTo>
                        <a:cubicBezTo>
                          <a:pt x="120" y="42"/>
                          <a:pt x="119" y="42"/>
                          <a:pt x="119" y="42"/>
                        </a:cubicBezTo>
                        <a:cubicBezTo>
                          <a:pt x="119" y="42"/>
                          <a:pt x="119" y="42"/>
                          <a:pt x="119" y="42"/>
                        </a:cubicBezTo>
                        <a:close/>
                        <a:moveTo>
                          <a:pt x="120" y="42"/>
                        </a:moveTo>
                        <a:cubicBezTo>
                          <a:pt x="120" y="42"/>
                          <a:pt x="120" y="42"/>
                          <a:pt x="120" y="42"/>
                        </a:cubicBezTo>
                        <a:cubicBezTo>
                          <a:pt x="120" y="42"/>
                          <a:pt x="120" y="42"/>
                          <a:pt x="120" y="42"/>
                        </a:cubicBezTo>
                        <a:cubicBezTo>
                          <a:pt x="120" y="42"/>
                          <a:pt x="120" y="42"/>
                          <a:pt x="120" y="42"/>
                        </a:cubicBezTo>
                        <a:close/>
                        <a:moveTo>
                          <a:pt x="128" y="45"/>
                        </a:moveTo>
                        <a:cubicBezTo>
                          <a:pt x="128" y="45"/>
                          <a:pt x="128" y="45"/>
                          <a:pt x="128" y="45"/>
                        </a:cubicBezTo>
                        <a:cubicBezTo>
                          <a:pt x="128" y="45"/>
                          <a:pt x="128" y="45"/>
                          <a:pt x="128" y="45"/>
                        </a:cubicBezTo>
                        <a:cubicBezTo>
                          <a:pt x="128" y="45"/>
                          <a:pt x="128" y="45"/>
                          <a:pt x="128" y="45"/>
                        </a:cubicBezTo>
                        <a:cubicBezTo>
                          <a:pt x="127" y="45"/>
                          <a:pt x="128" y="45"/>
                          <a:pt x="128" y="45"/>
                        </a:cubicBezTo>
                        <a:cubicBezTo>
                          <a:pt x="128" y="45"/>
                          <a:pt x="128" y="45"/>
                          <a:pt x="128" y="45"/>
                        </a:cubicBezTo>
                        <a:cubicBezTo>
                          <a:pt x="128" y="45"/>
                          <a:pt x="128" y="45"/>
                          <a:pt x="128" y="45"/>
                        </a:cubicBezTo>
                        <a:close/>
                        <a:moveTo>
                          <a:pt x="127" y="45"/>
                        </a:moveTo>
                        <a:cubicBezTo>
                          <a:pt x="127" y="45"/>
                          <a:pt x="127" y="45"/>
                          <a:pt x="127" y="45"/>
                        </a:cubicBezTo>
                        <a:cubicBezTo>
                          <a:pt x="127" y="45"/>
                          <a:pt x="127" y="45"/>
                          <a:pt x="127" y="45"/>
                        </a:cubicBezTo>
                        <a:cubicBezTo>
                          <a:pt x="127" y="45"/>
                          <a:pt x="127" y="45"/>
                          <a:pt x="128" y="45"/>
                        </a:cubicBezTo>
                        <a:cubicBezTo>
                          <a:pt x="128" y="45"/>
                          <a:pt x="127" y="45"/>
                          <a:pt x="127" y="45"/>
                        </a:cubicBezTo>
                        <a:cubicBezTo>
                          <a:pt x="127" y="45"/>
                          <a:pt x="127" y="45"/>
                          <a:pt x="127" y="45"/>
                        </a:cubicBezTo>
                        <a:close/>
                        <a:moveTo>
                          <a:pt x="126" y="44"/>
                        </a:moveTo>
                        <a:cubicBezTo>
                          <a:pt x="126" y="44"/>
                          <a:pt x="126" y="44"/>
                          <a:pt x="126" y="44"/>
                        </a:cubicBezTo>
                        <a:cubicBezTo>
                          <a:pt x="126" y="44"/>
                          <a:pt x="127" y="44"/>
                          <a:pt x="127" y="44"/>
                        </a:cubicBezTo>
                        <a:cubicBezTo>
                          <a:pt x="126" y="44"/>
                          <a:pt x="126" y="44"/>
                          <a:pt x="126" y="44"/>
                        </a:cubicBezTo>
                        <a:cubicBezTo>
                          <a:pt x="127" y="45"/>
                          <a:pt x="127" y="44"/>
                          <a:pt x="127" y="44"/>
                        </a:cubicBezTo>
                        <a:cubicBezTo>
                          <a:pt x="127" y="44"/>
                          <a:pt x="127" y="44"/>
                          <a:pt x="126" y="44"/>
                        </a:cubicBezTo>
                        <a:close/>
                        <a:moveTo>
                          <a:pt x="125" y="44"/>
                        </a:moveTo>
                        <a:cubicBezTo>
                          <a:pt x="125" y="44"/>
                          <a:pt x="125" y="44"/>
                          <a:pt x="125" y="44"/>
                        </a:cubicBezTo>
                        <a:cubicBezTo>
                          <a:pt x="125" y="44"/>
                          <a:pt x="125" y="44"/>
                          <a:pt x="125" y="44"/>
                        </a:cubicBezTo>
                        <a:close/>
                        <a:moveTo>
                          <a:pt x="127" y="45"/>
                        </a:moveTo>
                        <a:cubicBezTo>
                          <a:pt x="127" y="45"/>
                          <a:pt x="127" y="45"/>
                          <a:pt x="127" y="45"/>
                        </a:cubicBezTo>
                        <a:cubicBezTo>
                          <a:pt x="127" y="45"/>
                          <a:pt x="127" y="45"/>
                          <a:pt x="127" y="45"/>
                        </a:cubicBezTo>
                        <a:cubicBezTo>
                          <a:pt x="127" y="45"/>
                          <a:pt x="126" y="45"/>
                          <a:pt x="126" y="44"/>
                        </a:cubicBezTo>
                        <a:cubicBezTo>
                          <a:pt x="126" y="45"/>
                          <a:pt x="127" y="45"/>
                          <a:pt x="127" y="45"/>
                        </a:cubicBezTo>
                        <a:close/>
                        <a:moveTo>
                          <a:pt x="126" y="45"/>
                        </a:moveTo>
                        <a:cubicBezTo>
                          <a:pt x="126" y="45"/>
                          <a:pt x="126" y="45"/>
                          <a:pt x="126" y="45"/>
                        </a:cubicBezTo>
                        <a:cubicBezTo>
                          <a:pt x="126" y="44"/>
                          <a:pt x="126" y="44"/>
                          <a:pt x="126" y="44"/>
                        </a:cubicBezTo>
                        <a:cubicBezTo>
                          <a:pt x="125" y="44"/>
                          <a:pt x="125" y="44"/>
                          <a:pt x="125" y="44"/>
                        </a:cubicBezTo>
                        <a:cubicBezTo>
                          <a:pt x="126" y="44"/>
                          <a:pt x="126" y="45"/>
                          <a:pt x="126" y="45"/>
                        </a:cubicBezTo>
                        <a:close/>
                        <a:moveTo>
                          <a:pt x="129" y="45"/>
                        </a:moveTo>
                        <a:cubicBezTo>
                          <a:pt x="129" y="45"/>
                          <a:pt x="128" y="45"/>
                          <a:pt x="128" y="45"/>
                        </a:cubicBezTo>
                        <a:cubicBezTo>
                          <a:pt x="129" y="46"/>
                          <a:pt x="129" y="46"/>
                          <a:pt x="129" y="46"/>
                        </a:cubicBezTo>
                        <a:cubicBezTo>
                          <a:pt x="129" y="46"/>
                          <a:pt x="129" y="46"/>
                          <a:pt x="129" y="46"/>
                        </a:cubicBezTo>
                        <a:cubicBezTo>
                          <a:pt x="129" y="46"/>
                          <a:pt x="129" y="46"/>
                          <a:pt x="129" y="46"/>
                        </a:cubicBezTo>
                        <a:cubicBezTo>
                          <a:pt x="129" y="46"/>
                          <a:pt x="129" y="46"/>
                          <a:pt x="129" y="46"/>
                        </a:cubicBezTo>
                        <a:cubicBezTo>
                          <a:pt x="129" y="46"/>
                          <a:pt x="129" y="46"/>
                          <a:pt x="129" y="46"/>
                        </a:cubicBezTo>
                        <a:cubicBezTo>
                          <a:pt x="129" y="46"/>
                          <a:pt x="129" y="46"/>
                          <a:pt x="129" y="45"/>
                        </a:cubicBezTo>
                        <a:cubicBezTo>
                          <a:pt x="129" y="45"/>
                          <a:pt x="129" y="46"/>
                          <a:pt x="129" y="45"/>
                        </a:cubicBezTo>
                        <a:cubicBezTo>
                          <a:pt x="129" y="45"/>
                          <a:pt x="129" y="45"/>
                          <a:pt x="129" y="45"/>
                        </a:cubicBezTo>
                        <a:cubicBezTo>
                          <a:pt x="129" y="45"/>
                          <a:pt x="129" y="45"/>
                          <a:pt x="129" y="45"/>
                        </a:cubicBezTo>
                        <a:cubicBezTo>
                          <a:pt x="129" y="45"/>
                          <a:pt x="129" y="45"/>
                          <a:pt x="128" y="45"/>
                        </a:cubicBezTo>
                        <a:cubicBezTo>
                          <a:pt x="128" y="45"/>
                          <a:pt x="128" y="45"/>
                          <a:pt x="128" y="45"/>
                        </a:cubicBezTo>
                        <a:cubicBezTo>
                          <a:pt x="128" y="45"/>
                          <a:pt x="129" y="45"/>
                          <a:pt x="129" y="45"/>
                        </a:cubicBezTo>
                        <a:close/>
                        <a:moveTo>
                          <a:pt x="126" y="45"/>
                        </a:moveTo>
                        <a:cubicBezTo>
                          <a:pt x="126" y="45"/>
                          <a:pt x="126" y="45"/>
                          <a:pt x="126" y="45"/>
                        </a:cubicBezTo>
                        <a:cubicBezTo>
                          <a:pt x="126" y="45"/>
                          <a:pt x="126" y="45"/>
                          <a:pt x="126" y="45"/>
                        </a:cubicBezTo>
                        <a:close/>
                        <a:moveTo>
                          <a:pt x="127" y="46"/>
                        </a:moveTo>
                        <a:cubicBezTo>
                          <a:pt x="127" y="46"/>
                          <a:pt x="128" y="46"/>
                          <a:pt x="128" y="46"/>
                        </a:cubicBezTo>
                        <a:cubicBezTo>
                          <a:pt x="127" y="46"/>
                          <a:pt x="127" y="45"/>
                          <a:pt x="127" y="46"/>
                        </a:cubicBezTo>
                        <a:cubicBezTo>
                          <a:pt x="127" y="46"/>
                          <a:pt x="127" y="46"/>
                          <a:pt x="127" y="46"/>
                        </a:cubicBezTo>
                        <a:close/>
                        <a:moveTo>
                          <a:pt x="131" y="47"/>
                        </a:moveTo>
                        <a:cubicBezTo>
                          <a:pt x="131" y="47"/>
                          <a:pt x="131" y="47"/>
                          <a:pt x="131" y="47"/>
                        </a:cubicBezTo>
                        <a:cubicBezTo>
                          <a:pt x="131" y="47"/>
                          <a:pt x="131" y="47"/>
                          <a:pt x="131" y="47"/>
                        </a:cubicBezTo>
                        <a:close/>
                        <a:moveTo>
                          <a:pt x="136" y="50"/>
                        </a:moveTo>
                        <a:cubicBezTo>
                          <a:pt x="136" y="50"/>
                          <a:pt x="136" y="50"/>
                          <a:pt x="136" y="50"/>
                        </a:cubicBezTo>
                        <a:cubicBezTo>
                          <a:pt x="136" y="50"/>
                          <a:pt x="136" y="50"/>
                          <a:pt x="136" y="50"/>
                        </a:cubicBezTo>
                        <a:cubicBezTo>
                          <a:pt x="136" y="50"/>
                          <a:pt x="135" y="50"/>
                          <a:pt x="136" y="50"/>
                        </a:cubicBezTo>
                        <a:close/>
                        <a:moveTo>
                          <a:pt x="138" y="51"/>
                        </a:moveTo>
                        <a:cubicBezTo>
                          <a:pt x="138" y="51"/>
                          <a:pt x="138" y="51"/>
                          <a:pt x="138" y="51"/>
                        </a:cubicBezTo>
                        <a:cubicBezTo>
                          <a:pt x="138" y="51"/>
                          <a:pt x="138" y="51"/>
                          <a:pt x="138" y="50"/>
                        </a:cubicBezTo>
                        <a:cubicBezTo>
                          <a:pt x="138" y="50"/>
                          <a:pt x="138" y="50"/>
                          <a:pt x="138" y="50"/>
                        </a:cubicBezTo>
                        <a:cubicBezTo>
                          <a:pt x="138" y="50"/>
                          <a:pt x="138" y="50"/>
                          <a:pt x="138" y="50"/>
                        </a:cubicBezTo>
                        <a:cubicBezTo>
                          <a:pt x="138" y="50"/>
                          <a:pt x="137" y="50"/>
                          <a:pt x="137" y="50"/>
                        </a:cubicBezTo>
                        <a:cubicBezTo>
                          <a:pt x="137" y="50"/>
                          <a:pt x="137" y="50"/>
                          <a:pt x="137" y="50"/>
                        </a:cubicBezTo>
                        <a:cubicBezTo>
                          <a:pt x="137" y="50"/>
                          <a:pt x="138" y="51"/>
                          <a:pt x="138" y="51"/>
                        </a:cubicBezTo>
                        <a:cubicBezTo>
                          <a:pt x="138" y="51"/>
                          <a:pt x="138" y="51"/>
                          <a:pt x="138" y="51"/>
                        </a:cubicBezTo>
                        <a:close/>
                        <a:moveTo>
                          <a:pt x="129" y="36"/>
                        </a:moveTo>
                        <a:cubicBezTo>
                          <a:pt x="129" y="36"/>
                          <a:pt x="129" y="37"/>
                          <a:pt x="128" y="37"/>
                        </a:cubicBezTo>
                        <a:cubicBezTo>
                          <a:pt x="129" y="36"/>
                          <a:pt x="128" y="36"/>
                          <a:pt x="128" y="36"/>
                        </a:cubicBezTo>
                        <a:cubicBezTo>
                          <a:pt x="128" y="36"/>
                          <a:pt x="128" y="36"/>
                          <a:pt x="128" y="36"/>
                        </a:cubicBezTo>
                        <a:cubicBezTo>
                          <a:pt x="128" y="36"/>
                          <a:pt x="129" y="36"/>
                          <a:pt x="129" y="36"/>
                        </a:cubicBezTo>
                        <a:close/>
                        <a:moveTo>
                          <a:pt x="124" y="43"/>
                        </a:moveTo>
                        <a:cubicBezTo>
                          <a:pt x="124" y="43"/>
                          <a:pt x="124" y="43"/>
                          <a:pt x="125" y="43"/>
                        </a:cubicBezTo>
                        <a:cubicBezTo>
                          <a:pt x="124" y="43"/>
                          <a:pt x="125" y="43"/>
                          <a:pt x="124" y="43"/>
                        </a:cubicBezTo>
                        <a:cubicBezTo>
                          <a:pt x="124" y="43"/>
                          <a:pt x="124" y="43"/>
                          <a:pt x="124" y="43"/>
                        </a:cubicBezTo>
                        <a:cubicBezTo>
                          <a:pt x="124" y="43"/>
                          <a:pt x="124" y="43"/>
                          <a:pt x="124" y="43"/>
                        </a:cubicBezTo>
                        <a:cubicBezTo>
                          <a:pt x="124" y="43"/>
                          <a:pt x="124" y="43"/>
                          <a:pt x="124" y="43"/>
                        </a:cubicBezTo>
                        <a:cubicBezTo>
                          <a:pt x="124" y="43"/>
                          <a:pt x="124" y="43"/>
                          <a:pt x="124" y="43"/>
                        </a:cubicBezTo>
                        <a:cubicBezTo>
                          <a:pt x="124" y="43"/>
                          <a:pt x="124" y="43"/>
                          <a:pt x="124" y="43"/>
                        </a:cubicBezTo>
                        <a:cubicBezTo>
                          <a:pt x="124" y="43"/>
                          <a:pt x="124" y="43"/>
                          <a:pt x="124" y="43"/>
                        </a:cubicBezTo>
                        <a:close/>
                        <a:moveTo>
                          <a:pt x="161" y="54"/>
                        </a:moveTo>
                        <a:cubicBezTo>
                          <a:pt x="161" y="54"/>
                          <a:pt x="162" y="54"/>
                          <a:pt x="162" y="54"/>
                        </a:cubicBezTo>
                        <a:cubicBezTo>
                          <a:pt x="162" y="54"/>
                          <a:pt x="162" y="54"/>
                          <a:pt x="162" y="54"/>
                        </a:cubicBezTo>
                        <a:cubicBezTo>
                          <a:pt x="162" y="54"/>
                          <a:pt x="162" y="54"/>
                          <a:pt x="162" y="54"/>
                        </a:cubicBezTo>
                        <a:cubicBezTo>
                          <a:pt x="162" y="54"/>
                          <a:pt x="161" y="54"/>
                          <a:pt x="161" y="54"/>
                        </a:cubicBezTo>
                        <a:cubicBezTo>
                          <a:pt x="161" y="55"/>
                          <a:pt x="161" y="54"/>
                          <a:pt x="161" y="54"/>
                        </a:cubicBezTo>
                        <a:close/>
                        <a:moveTo>
                          <a:pt x="132" y="34"/>
                        </a:moveTo>
                        <a:cubicBezTo>
                          <a:pt x="131" y="34"/>
                          <a:pt x="131" y="34"/>
                          <a:pt x="131" y="34"/>
                        </a:cubicBezTo>
                        <a:cubicBezTo>
                          <a:pt x="131" y="34"/>
                          <a:pt x="132" y="34"/>
                          <a:pt x="132" y="34"/>
                        </a:cubicBezTo>
                        <a:cubicBezTo>
                          <a:pt x="132" y="34"/>
                          <a:pt x="132" y="34"/>
                          <a:pt x="132" y="34"/>
                        </a:cubicBezTo>
                        <a:cubicBezTo>
                          <a:pt x="132" y="34"/>
                          <a:pt x="132" y="34"/>
                          <a:pt x="132" y="34"/>
                        </a:cubicBezTo>
                        <a:close/>
                        <a:moveTo>
                          <a:pt x="128" y="36"/>
                        </a:moveTo>
                        <a:cubicBezTo>
                          <a:pt x="128" y="36"/>
                          <a:pt x="128" y="36"/>
                          <a:pt x="128" y="36"/>
                        </a:cubicBezTo>
                        <a:cubicBezTo>
                          <a:pt x="128" y="36"/>
                          <a:pt x="128" y="36"/>
                          <a:pt x="128" y="36"/>
                        </a:cubicBezTo>
                        <a:cubicBezTo>
                          <a:pt x="128" y="36"/>
                          <a:pt x="128" y="36"/>
                          <a:pt x="128" y="36"/>
                        </a:cubicBezTo>
                        <a:cubicBezTo>
                          <a:pt x="128" y="36"/>
                          <a:pt x="128" y="36"/>
                          <a:pt x="128" y="36"/>
                        </a:cubicBezTo>
                        <a:cubicBezTo>
                          <a:pt x="128" y="36"/>
                          <a:pt x="128" y="36"/>
                          <a:pt x="128" y="36"/>
                        </a:cubicBezTo>
                        <a:close/>
                        <a:moveTo>
                          <a:pt x="127" y="37"/>
                        </a:moveTo>
                        <a:cubicBezTo>
                          <a:pt x="127" y="37"/>
                          <a:pt x="127" y="37"/>
                          <a:pt x="127" y="37"/>
                        </a:cubicBezTo>
                        <a:cubicBezTo>
                          <a:pt x="127" y="37"/>
                          <a:pt x="127" y="37"/>
                          <a:pt x="127" y="37"/>
                        </a:cubicBezTo>
                        <a:cubicBezTo>
                          <a:pt x="127" y="37"/>
                          <a:pt x="127" y="37"/>
                          <a:pt x="127" y="37"/>
                        </a:cubicBezTo>
                        <a:cubicBezTo>
                          <a:pt x="127" y="37"/>
                          <a:pt x="127" y="37"/>
                          <a:pt x="127" y="37"/>
                        </a:cubicBezTo>
                        <a:close/>
                        <a:moveTo>
                          <a:pt x="126" y="36"/>
                        </a:move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5" y="36"/>
                          <a:pt x="125" y="36"/>
                          <a:pt x="124" y="36"/>
                        </a:cubicBezTo>
                        <a:cubicBezTo>
                          <a:pt x="124" y="35"/>
                          <a:pt x="125" y="36"/>
                          <a:pt x="125" y="36"/>
                        </a:cubicBezTo>
                        <a:cubicBezTo>
                          <a:pt x="125" y="36"/>
                          <a:pt x="125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lose/>
                        <a:moveTo>
                          <a:pt x="126" y="37"/>
                        </a:moveTo>
                        <a:cubicBezTo>
                          <a:pt x="126" y="37"/>
                          <a:pt x="126" y="37"/>
                          <a:pt x="126" y="37"/>
                        </a:cubicBezTo>
                        <a:cubicBezTo>
                          <a:pt x="126" y="37"/>
                          <a:pt x="126" y="37"/>
                          <a:pt x="126" y="37"/>
                        </a:cubicBezTo>
                        <a:cubicBezTo>
                          <a:pt x="126" y="37"/>
                          <a:pt x="126" y="37"/>
                          <a:pt x="126" y="37"/>
                        </a:cubicBezTo>
                        <a:close/>
                        <a:moveTo>
                          <a:pt x="126" y="37"/>
                        </a:moveTo>
                        <a:cubicBezTo>
                          <a:pt x="125" y="37"/>
                          <a:pt x="125" y="37"/>
                          <a:pt x="125" y="37"/>
                        </a:cubicBezTo>
                        <a:cubicBezTo>
                          <a:pt x="125" y="37"/>
                          <a:pt x="125" y="37"/>
                          <a:pt x="125" y="37"/>
                        </a:cubicBezTo>
                        <a:cubicBezTo>
                          <a:pt x="125" y="37"/>
                          <a:pt x="125" y="37"/>
                          <a:pt x="125" y="37"/>
                        </a:cubicBezTo>
                        <a:cubicBezTo>
                          <a:pt x="125" y="36"/>
                          <a:pt x="125" y="37"/>
                          <a:pt x="125" y="36"/>
                        </a:cubicBezTo>
                        <a:cubicBezTo>
                          <a:pt x="125" y="36"/>
                          <a:pt x="125" y="37"/>
                          <a:pt x="126" y="37"/>
                        </a:cubicBezTo>
                        <a:close/>
                        <a:moveTo>
                          <a:pt x="126" y="35"/>
                        </a:moveTo>
                        <a:cubicBezTo>
                          <a:pt x="126" y="35"/>
                          <a:pt x="126" y="35"/>
                          <a:pt x="126" y="35"/>
                        </a:cubicBezTo>
                        <a:cubicBezTo>
                          <a:pt x="126" y="35"/>
                          <a:pt x="126" y="35"/>
                          <a:pt x="126" y="35"/>
                        </a:cubicBezTo>
                        <a:cubicBezTo>
                          <a:pt x="126" y="35"/>
                          <a:pt x="126" y="35"/>
                          <a:pt x="126" y="35"/>
                        </a:cubicBezTo>
                        <a:close/>
                        <a:moveTo>
                          <a:pt x="124" y="35"/>
                        </a:moveTo>
                        <a:cubicBezTo>
                          <a:pt x="124" y="35"/>
                          <a:pt x="124" y="35"/>
                          <a:pt x="124" y="35"/>
                        </a:cubicBezTo>
                        <a:cubicBezTo>
                          <a:pt x="124" y="35"/>
                          <a:pt x="124" y="35"/>
                          <a:pt x="124" y="35"/>
                        </a:cubicBezTo>
                        <a:cubicBezTo>
                          <a:pt x="124" y="35"/>
                          <a:pt x="125" y="35"/>
                          <a:pt x="125" y="35"/>
                        </a:cubicBezTo>
                        <a:cubicBezTo>
                          <a:pt x="125" y="35"/>
                          <a:pt x="124" y="35"/>
                          <a:pt x="124" y="35"/>
                        </a:cubicBezTo>
                        <a:close/>
                        <a:moveTo>
                          <a:pt x="124" y="36"/>
                        </a:moveTo>
                        <a:cubicBezTo>
                          <a:pt x="124" y="36"/>
                          <a:pt x="124" y="36"/>
                          <a:pt x="124" y="36"/>
                        </a:cubicBezTo>
                        <a:cubicBezTo>
                          <a:pt x="124" y="36"/>
                          <a:pt x="124" y="36"/>
                          <a:pt x="124" y="36"/>
                        </a:cubicBezTo>
                        <a:cubicBezTo>
                          <a:pt x="124" y="36"/>
                          <a:pt x="124" y="36"/>
                          <a:pt x="124" y="36"/>
                        </a:cubicBezTo>
                        <a:cubicBezTo>
                          <a:pt x="124" y="36"/>
                          <a:pt x="124" y="36"/>
                          <a:pt x="124" y="36"/>
                        </a:cubicBezTo>
                        <a:cubicBezTo>
                          <a:pt x="124" y="36"/>
                          <a:pt x="124" y="36"/>
                          <a:pt x="124" y="36"/>
                        </a:cubicBezTo>
                        <a:close/>
                        <a:moveTo>
                          <a:pt x="122" y="38"/>
                        </a:moveTo>
                        <a:cubicBezTo>
                          <a:pt x="122" y="38"/>
                          <a:pt x="123" y="38"/>
                          <a:pt x="123" y="38"/>
                        </a:cubicBezTo>
                        <a:cubicBezTo>
                          <a:pt x="123" y="38"/>
                          <a:pt x="123" y="38"/>
                          <a:pt x="124" y="38"/>
                        </a:cubicBezTo>
                        <a:cubicBezTo>
                          <a:pt x="124" y="38"/>
                          <a:pt x="123" y="38"/>
                          <a:pt x="123" y="38"/>
                        </a:cubicBezTo>
                        <a:cubicBezTo>
                          <a:pt x="123" y="38"/>
                          <a:pt x="123" y="38"/>
                          <a:pt x="123" y="38"/>
                        </a:cubicBezTo>
                        <a:cubicBezTo>
                          <a:pt x="123" y="38"/>
                          <a:pt x="122" y="38"/>
                          <a:pt x="122" y="38"/>
                        </a:cubicBezTo>
                        <a:cubicBezTo>
                          <a:pt x="122" y="38"/>
                          <a:pt x="122" y="38"/>
                          <a:pt x="122" y="38"/>
                        </a:cubicBezTo>
                        <a:close/>
                        <a:moveTo>
                          <a:pt x="124" y="39"/>
                        </a:moveTo>
                        <a:cubicBezTo>
                          <a:pt x="123" y="39"/>
                          <a:pt x="123" y="39"/>
                          <a:pt x="123" y="39"/>
                        </a:cubicBezTo>
                        <a:cubicBezTo>
                          <a:pt x="123" y="38"/>
                          <a:pt x="124" y="38"/>
                          <a:pt x="123" y="38"/>
                        </a:cubicBezTo>
                        <a:cubicBezTo>
                          <a:pt x="123" y="38"/>
                          <a:pt x="123" y="38"/>
                          <a:pt x="124" y="38"/>
                        </a:cubicBezTo>
                        <a:cubicBezTo>
                          <a:pt x="124" y="38"/>
                          <a:pt x="124" y="38"/>
                          <a:pt x="124" y="38"/>
                        </a:cubicBezTo>
                        <a:cubicBezTo>
                          <a:pt x="124" y="39"/>
                          <a:pt x="123" y="39"/>
                          <a:pt x="124" y="39"/>
                        </a:cubicBezTo>
                        <a:close/>
                        <a:moveTo>
                          <a:pt x="124" y="37"/>
                        </a:moveTo>
                        <a:cubicBezTo>
                          <a:pt x="123" y="37"/>
                          <a:pt x="123" y="37"/>
                          <a:pt x="123" y="36"/>
                        </a:cubicBezTo>
                        <a:cubicBezTo>
                          <a:pt x="123" y="36"/>
                          <a:pt x="123" y="36"/>
                          <a:pt x="123" y="36"/>
                        </a:cubicBezTo>
                        <a:cubicBezTo>
                          <a:pt x="123" y="37"/>
                          <a:pt x="124" y="36"/>
                          <a:pt x="124" y="37"/>
                        </a:cubicBezTo>
                        <a:close/>
                        <a:moveTo>
                          <a:pt x="123" y="38"/>
                        </a:moveTo>
                        <a:cubicBezTo>
                          <a:pt x="123" y="38"/>
                          <a:pt x="123" y="38"/>
                          <a:pt x="123" y="38"/>
                        </a:cubicBezTo>
                        <a:cubicBezTo>
                          <a:pt x="123" y="39"/>
                          <a:pt x="123" y="38"/>
                          <a:pt x="123" y="38"/>
                        </a:cubicBezTo>
                        <a:close/>
                        <a:moveTo>
                          <a:pt x="122" y="42"/>
                        </a:moveTo>
                        <a:cubicBezTo>
                          <a:pt x="122" y="42"/>
                          <a:pt x="121" y="42"/>
                          <a:pt x="121" y="42"/>
                        </a:cubicBezTo>
                        <a:cubicBezTo>
                          <a:pt x="121" y="41"/>
                          <a:pt x="121" y="42"/>
                          <a:pt x="121" y="41"/>
                        </a:cubicBezTo>
                        <a:cubicBezTo>
                          <a:pt x="121" y="41"/>
                          <a:pt x="120" y="41"/>
                          <a:pt x="119" y="41"/>
                        </a:cubicBezTo>
                        <a:cubicBezTo>
                          <a:pt x="119" y="41"/>
                          <a:pt x="119" y="41"/>
                          <a:pt x="119" y="41"/>
                        </a:cubicBezTo>
                        <a:cubicBezTo>
                          <a:pt x="119" y="41"/>
                          <a:pt x="119" y="41"/>
                          <a:pt x="119" y="41"/>
                        </a:cubicBezTo>
                        <a:cubicBezTo>
                          <a:pt x="119" y="41"/>
                          <a:pt x="119" y="40"/>
                          <a:pt x="119" y="40"/>
                        </a:cubicBezTo>
                        <a:cubicBezTo>
                          <a:pt x="119" y="40"/>
                          <a:pt x="119" y="40"/>
                          <a:pt x="119" y="40"/>
                        </a:cubicBezTo>
                        <a:cubicBezTo>
                          <a:pt x="119" y="41"/>
                          <a:pt x="119" y="40"/>
                          <a:pt x="119" y="40"/>
                        </a:cubicBezTo>
                        <a:cubicBezTo>
                          <a:pt x="119" y="40"/>
                          <a:pt x="119" y="40"/>
                          <a:pt x="119" y="40"/>
                        </a:cubicBezTo>
                        <a:cubicBezTo>
                          <a:pt x="119" y="40"/>
                          <a:pt x="119" y="40"/>
                          <a:pt x="119" y="40"/>
                        </a:cubicBezTo>
                        <a:cubicBezTo>
                          <a:pt x="119" y="40"/>
                          <a:pt x="119" y="40"/>
                          <a:pt x="119" y="41"/>
                        </a:cubicBezTo>
                        <a:cubicBezTo>
                          <a:pt x="119" y="41"/>
                          <a:pt x="120" y="41"/>
                          <a:pt x="120" y="41"/>
                        </a:cubicBezTo>
                        <a:cubicBezTo>
                          <a:pt x="120" y="41"/>
                          <a:pt x="120" y="41"/>
                          <a:pt x="120" y="41"/>
                        </a:cubicBezTo>
                        <a:cubicBezTo>
                          <a:pt x="120" y="41"/>
                          <a:pt x="120" y="41"/>
                          <a:pt x="121" y="41"/>
                        </a:cubicBezTo>
                        <a:cubicBezTo>
                          <a:pt x="121" y="41"/>
                          <a:pt x="121" y="41"/>
                          <a:pt x="121" y="41"/>
                        </a:cubicBezTo>
                        <a:cubicBezTo>
                          <a:pt x="121" y="41"/>
                          <a:pt x="121" y="41"/>
                          <a:pt x="121" y="41"/>
                        </a:cubicBezTo>
                        <a:cubicBezTo>
                          <a:pt x="121" y="41"/>
                          <a:pt x="121" y="41"/>
                          <a:pt x="121" y="41"/>
                        </a:cubicBezTo>
                        <a:cubicBezTo>
                          <a:pt x="121" y="41"/>
                          <a:pt x="121" y="41"/>
                          <a:pt x="121" y="41"/>
                        </a:cubicBezTo>
                        <a:cubicBezTo>
                          <a:pt x="121" y="41"/>
                          <a:pt x="121" y="41"/>
                          <a:pt x="121" y="41"/>
                        </a:cubicBezTo>
                        <a:cubicBezTo>
                          <a:pt x="121" y="41"/>
                          <a:pt x="121" y="41"/>
                          <a:pt x="121" y="41"/>
                        </a:cubicBezTo>
                        <a:cubicBezTo>
                          <a:pt x="121" y="41"/>
                          <a:pt x="121" y="41"/>
                          <a:pt x="122" y="41"/>
                        </a:cubicBezTo>
                        <a:cubicBezTo>
                          <a:pt x="122" y="42"/>
                          <a:pt x="122" y="42"/>
                          <a:pt x="122" y="42"/>
                        </a:cubicBezTo>
                        <a:cubicBezTo>
                          <a:pt x="122" y="42"/>
                          <a:pt x="122" y="42"/>
                          <a:pt x="122" y="42"/>
                        </a:cubicBezTo>
                        <a:close/>
                        <a:moveTo>
                          <a:pt x="122" y="38"/>
                        </a:moveTo>
                        <a:cubicBezTo>
                          <a:pt x="122" y="38"/>
                          <a:pt x="122" y="38"/>
                          <a:pt x="122" y="38"/>
                        </a:cubicBezTo>
                        <a:cubicBezTo>
                          <a:pt x="122" y="38"/>
                          <a:pt x="122" y="38"/>
                          <a:pt x="122" y="38"/>
                        </a:cubicBezTo>
                        <a:cubicBezTo>
                          <a:pt x="122" y="38"/>
                          <a:pt x="122" y="38"/>
                          <a:pt x="122" y="38"/>
                        </a:cubicBezTo>
                        <a:close/>
                        <a:moveTo>
                          <a:pt x="122" y="35"/>
                        </a:moveTo>
                        <a:cubicBezTo>
                          <a:pt x="121" y="35"/>
                          <a:pt x="120" y="35"/>
                          <a:pt x="119" y="34"/>
                        </a:cubicBezTo>
                        <a:cubicBezTo>
                          <a:pt x="119" y="34"/>
                          <a:pt x="120" y="35"/>
                          <a:pt x="121" y="35"/>
                        </a:cubicBezTo>
                        <a:cubicBezTo>
                          <a:pt x="121" y="35"/>
                          <a:pt x="121" y="35"/>
                          <a:pt x="121" y="35"/>
                        </a:cubicBezTo>
                        <a:cubicBezTo>
                          <a:pt x="121" y="35"/>
                          <a:pt x="122" y="35"/>
                          <a:pt x="123" y="36"/>
                        </a:cubicBezTo>
                        <a:cubicBezTo>
                          <a:pt x="123" y="36"/>
                          <a:pt x="123" y="36"/>
                          <a:pt x="123" y="36"/>
                        </a:cubicBezTo>
                        <a:cubicBezTo>
                          <a:pt x="123" y="36"/>
                          <a:pt x="123" y="36"/>
                          <a:pt x="123" y="36"/>
                        </a:cubicBezTo>
                        <a:cubicBezTo>
                          <a:pt x="123" y="36"/>
                          <a:pt x="123" y="36"/>
                          <a:pt x="123" y="36"/>
                        </a:cubicBezTo>
                        <a:cubicBezTo>
                          <a:pt x="122" y="35"/>
                          <a:pt x="122" y="36"/>
                          <a:pt x="122" y="35"/>
                        </a:cubicBezTo>
                        <a:cubicBezTo>
                          <a:pt x="122" y="35"/>
                          <a:pt x="122" y="35"/>
                          <a:pt x="122" y="35"/>
                        </a:cubicBezTo>
                        <a:close/>
                        <a:moveTo>
                          <a:pt x="123" y="35"/>
                        </a:moveTo>
                        <a:cubicBezTo>
                          <a:pt x="123" y="35"/>
                          <a:pt x="123" y="35"/>
                          <a:pt x="123" y="35"/>
                        </a:cubicBezTo>
                        <a:cubicBezTo>
                          <a:pt x="123" y="35"/>
                          <a:pt x="123" y="35"/>
                          <a:pt x="123" y="35"/>
                        </a:cubicBezTo>
                        <a:cubicBezTo>
                          <a:pt x="123" y="35"/>
                          <a:pt x="123" y="35"/>
                          <a:pt x="123" y="35"/>
                        </a:cubicBezTo>
                        <a:cubicBezTo>
                          <a:pt x="123" y="35"/>
                          <a:pt x="123" y="35"/>
                          <a:pt x="123" y="35"/>
                        </a:cubicBezTo>
                        <a:close/>
                        <a:moveTo>
                          <a:pt x="119" y="39"/>
                        </a:moveTo>
                        <a:cubicBezTo>
                          <a:pt x="119" y="40"/>
                          <a:pt x="120" y="40"/>
                          <a:pt x="120" y="40"/>
                        </a:cubicBezTo>
                        <a:cubicBezTo>
                          <a:pt x="119" y="40"/>
                          <a:pt x="120" y="40"/>
                          <a:pt x="120" y="40"/>
                        </a:cubicBezTo>
                        <a:cubicBezTo>
                          <a:pt x="120" y="40"/>
                          <a:pt x="120" y="40"/>
                          <a:pt x="121" y="41"/>
                        </a:cubicBezTo>
                        <a:cubicBezTo>
                          <a:pt x="121" y="41"/>
                          <a:pt x="121" y="41"/>
                          <a:pt x="121" y="41"/>
                        </a:cubicBezTo>
                        <a:cubicBezTo>
                          <a:pt x="121" y="40"/>
                          <a:pt x="120" y="41"/>
                          <a:pt x="120" y="40"/>
                        </a:cubicBezTo>
                        <a:cubicBezTo>
                          <a:pt x="120" y="40"/>
                          <a:pt x="120" y="41"/>
                          <a:pt x="120" y="41"/>
                        </a:cubicBezTo>
                        <a:cubicBezTo>
                          <a:pt x="120" y="40"/>
                          <a:pt x="120" y="40"/>
                          <a:pt x="120" y="40"/>
                        </a:cubicBezTo>
                        <a:cubicBezTo>
                          <a:pt x="119" y="40"/>
                          <a:pt x="119" y="40"/>
                          <a:pt x="119" y="40"/>
                        </a:cubicBezTo>
                        <a:cubicBezTo>
                          <a:pt x="119" y="40"/>
                          <a:pt x="119" y="40"/>
                          <a:pt x="119" y="40"/>
                        </a:cubicBezTo>
                        <a:cubicBezTo>
                          <a:pt x="119" y="39"/>
                          <a:pt x="119" y="40"/>
                          <a:pt x="119" y="39"/>
                        </a:cubicBezTo>
                        <a:close/>
                        <a:moveTo>
                          <a:pt x="122" y="32"/>
                        </a:moveTo>
                        <a:cubicBezTo>
                          <a:pt x="122" y="32"/>
                          <a:pt x="123" y="33"/>
                          <a:pt x="123" y="33"/>
                        </a:cubicBezTo>
                        <a:cubicBezTo>
                          <a:pt x="123" y="33"/>
                          <a:pt x="122" y="32"/>
                          <a:pt x="122" y="32"/>
                        </a:cubicBezTo>
                        <a:close/>
                        <a:moveTo>
                          <a:pt x="122" y="34"/>
                        </a:moveTo>
                        <a:cubicBezTo>
                          <a:pt x="122" y="34"/>
                          <a:pt x="122" y="34"/>
                          <a:pt x="122" y="34"/>
                        </a:cubicBezTo>
                        <a:cubicBezTo>
                          <a:pt x="122" y="34"/>
                          <a:pt x="122" y="34"/>
                          <a:pt x="122" y="34"/>
                        </a:cubicBezTo>
                        <a:cubicBezTo>
                          <a:pt x="122" y="34"/>
                          <a:pt x="122" y="34"/>
                          <a:pt x="122" y="34"/>
                        </a:cubicBezTo>
                        <a:close/>
                        <a:moveTo>
                          <a:pt x="120" y="36"/>
                        </a:moveTo>
                        <a:cubicBezTo>
                          <a:pt x="120" y="36"/>
                          <a:pt x="119" y="36"/>
                          <a:pt x="119" y="36"/>
                        </a:cubicBezTo>
                        <a:cubicBezTo>
                          <a:pt x="119" y="36"/>
                          <a:pt x="119" y="36"/>
                          <a:pt x="119" y="35"/>
                        </a:cubicBezTo>
                        <a:cubicBezTo>
                          <a:pt x="119" y="35"/>
                          <a:pt x="119" y="35"/>
                          <a:pt x="119" y="35"/>
                        </a:cubicBezTo>
                        <a:cubicBezTo>
                          <a:pt x="119" y="35"/>
                          <a:pt x="119" y="35"/>
                          <a:pt x="118" y="35"/>
                        </a:cubicBezTo>
                        <a:cubicBezTo>
                          <a:pt x="118" y="35"/>
                          <a:pt x="118" y="35"/>
                          <a:pt x="118" y="35"/>
                        </a:cubicBezTo>
                        <a:cubicBezTo>
                          <a:pt x="118" y="35"/>
                          <a:pt x="118" y="35"/>
                          <a:pt x="118" y="35"/>
                        </a:cubicBezTo>
                        <a:cubicBezTo>
                          <a:pt x="119" y="35"/>
                          <a:pt x="118" y="35"/>
                          <a:pt x="119" y="36"/>
                        </a:cubicBezTo>
                        <a:cubicBezTo>
                          <a:pt x="118" y="35"/>
                          <a:pt x="118" y="35"/>
                          <a:pt x="117" y="35"/>
                        </a:cubicBezTo>
                        <a:cubicBezTo>
                          <a:pt x="117" y="35"/>
                          <a:pt x="118" y="35"/>
                          <a:pt x="118" y="35"/>
                        </a:cubicBezTo>
                        <a:cubicBezTo>
                          <a:pt x="119" y="35"/>
                          <a:pt x="119" y="35"/>
                          <a:pt x="120" y="36"/>
                        </a:cubicBezTo>
                        <a:cubicBezTo>
                          <a:pt x="120" y="36"/>
                          <a:pt x="120" y="36"/>
                          <a:pt x="120" y="36"/>
                        </a:cubicBezTo>
                        <a:close/>
                        <a:moveTo>
                          <a:pt x="116" y="36"/>
                        </a:moveTo>
                        <a:cubicBezTo>
                          <a:pt x="116" y="36"/>
                          <a:pt x="115" y="35"/>
                          <a:pt x="115" y="35"/>
                        </a:cubicBezTo>
                        <a:cubicBezTo>
                          <a:pt x="115" y="35"/>
                          <a:pt x="115" y="35"/>
                          <a:pt x="115" y="35"/>
                        </a:cubicBezTo>
                        <a:cubicBezTo>
                          <a:pt x="115" y="35"/>
                          <a:pt x="115" y="35"/>
                          <a:pt x="115" y="35"/>
                        </a:cubicBezTo>
                        <a:cubicBezTo>
                          <a:pt x="115" y="35"/>
                          <a:pt x="115" y="35"/>
                          <a:pt x="115" y="35"/>
                        </a:cubicBezTo>
                        <a:cubicBezTo>
                          <a:pt x="115" y="35"/>
                          <a:pt x="116" y="35"/>
                          <a:pt x="116" y="36"/>
                        </a:cubicBezTo>
                        <a:close/>
                        <a:moveTo>
                          <a:pt x="115" y="34"/>
                        </a:moveTo>
                        <a:cubicBezTo>
                          <a:pt x="115" y="34"/>
                          <a:pt x="115" y="34"/>
                          <a:pt x="115" y="34"/>
                        </a:cubicBezTo>
                        <a:cubicBezTo>
                          <a:pt x="115" y="34"/>
                          <a:pt x="115" y="34"/>
                          <a:pt x="115" y="34"/>
                        </a:cubicBezTo>
                        <a:cubicBezTo>
                          <a:pt x="115" y="34"/>
                          <a:pt x="116" y="34"/>
                          <a:pt x="116" y="34"/>
                        </a:cubicBezTo>
                        <a:cubicBezTo>
                          <a:pt x="116" y="34"/>
                          <a:pt x="116" y="34"/>
                          <a:pt x="116" y="34"/>
                        </a:cubicBezTo>
                        <a:cubicBezTo>
                          <a:pt x="115" y="34"/>
                          <a:pt x="115" y="34"/>
                          <a:pt x="115" y="34"/>
                        </a:cubicBezTo>
                        <a:close/>
                        <a:moveTo>
                          <a:pt x="115" y="32"/>
                        </a:moveTo>
                        <a:cubicBezTo>
                          <a:pt x="114" y="32"/>
                          <a:pt x="113" y="32"/>
                          <a:pt x="112" y="32"/>
                        </a:cubicBezTo>
                        <a:cubicBezTo>
                          <a:pt x="113" y="32"/>
                          <a:pt x="113" y="32"/>
                          <a:pt x="112" y="32"/>
                        </a:cubicBezTo>
                        <a:cubicBezTo>
                          <a:pt x="113" y="32"/>
                          <a:pt x="113" y="32"/>
                          <a:pt x="113" y="32"/>
                        </a:cubicBezTo>
                        <a:cubicBezTo>
                          <a:pt x="114" y="32"/>
                          <a:pt x="115" y="32"/>
                          <a:pt x="116" y="33"/>
                        </a:cubicBezTo>
                        <a:cubicBezTo>
                          <a:pt x="115" y="33"/>
                          <a:pt x="115" y="32"/>
                          <a:pt x="115" y="32"/>
                        </a:cubicBezTo>
                        <a:close/>
                        <a:moveTo>
                          <a:pt x="114" y="33"/>
                        </a:moveTo>
                        <a:cubicBezTo>
                          <a:pt x="114" y="33"/>
                          <a:pt x="113" y="33"/>
                          <a:pt x="113" y="33"/>
                        </a:cubicBezTo>
                        <a:cubicBezTo>
                          <a:pt x="113" y="33"/>
                          <a:pt x="113" y="33"/>
                          <a:pt x="113" y="33"/>
                        </a:cubicBezTo>
                        <a:cubicBezTo>
                          <a:pt x="113" y="33"/>
                          <a:pt x="113" y="33"/>
                          <a:pt x="113" y="33"/>
                        </a:cubicBezTo>
                        <a:cubicBezTo>
                          <a:pt x="113" y="33"/>
                          <a:pt x="113" y="33"/>
                          <a:pt x="113" y="33"/>
                        </a:cubicBezTo>
                        <a:cubicBezTo>
                          <a:pt x="113" y="33"/>
                          <a:pt x="113" y="33"/>
                          <a:pt x="113" y="33"/>
                        </a:cubicBezTo>
                        <a:cubicBezTo>
                          <a:pt x="113" y="33"/>
                          <a:pt x="113" y="33"/>
                          <a:pt x="113" y="33"/>
                        </a:cubicBezTo>
                        <a:cubicBezTo>
                          <a:pt x="113" y="33"/>
                          <a:pt x="113" y="33"/>
                          <a:pt x="114" y="33"/>
                        </a:cubicBezTo>
                        <a:cubicBezTo>
                          <a:pt x="113" y="33"/>
                          <a:pt x="114" y="33"/>
                          <a:pt x="114" y="33"/>
                        </a:cubicBezTo>
                        <a:close/>
                        <a:moveTo>
                          <a:pt x="114" y="33"/>
                        </a:moveTo>
                        <a:cubicBezTo>
                          <a:pt x="114" y="33"/>
                          <a:pt x="114" y="33"/>
                          <a:pt x="113" y="33"/>
                        </a:cubicBezTo>
                        <a:cubicBezTo>
                          <a:pt x="113" y="33"/>
                          <a:pt x="114" y="33"/>
                          <a:pt x="114" y="33"/>
                        </a:cubicBezTo>
                        <a:close/>
                        <a:moveTo>
                          <a:pt x="113" y="34"/>
                        </a:moveTo>
                        <a:cubicBezTo>
                          <a:pt x="113" y="34"/>
                          <a:pt x="113" y="34"/>
                          <a:pt x="113" y="34"/>
                        </a:cubicBezTo>
                        <a:cubicBezTo>
                          <a:pt x="113" y="34"/>
                          <a:pt x="113" y="34"/>
                          <a:pt x="113" y="35"/>
                        </a:cubicBezTo>
                        <a:cubicBezTo>
                          <a:pt x="113" y="34"/>
                          <a:pt x="113" y="34"/>
                          <a:pt x="112" y="34"/>
                        </a:cubicBezTo>
                        <a:cubicBezTo>
                          <a:pt x="112" y="34"/>
                          <a:pt x="112" y="34"/>
                          <a:pt x="113" y="34"/>
                        </a:cubicBezTo>
                        <a:cubicBezTo>
                          <a:pt x="113" y="34"/>
                          <a:pt x="113" y="34"/>
                          <a:pt x="113" y="34"/>
                        </a:cubicBezTo>
                        <a:cubicBezTo>
                          <a:pt x="113" y="34"/>
                          <a:pt x="113" y="34"/>
                          <a:pt x="113" y="34"/>
                        </a:cubicBezTo>
                        <a:cubicBezTo>
                          <a:pt x="113" y="34"/>
                          <a:pt x="113" y="34"/>
                          <a:pt x="113" y="34"/>
                        </a:cubicBezTo>
                        <a:cubicBezTo>
                          <a:pt x="113" y="34"/>
                          <a:pt x="113" y="34"/>
                          <a:pt x="113" y="34"/>
                        </a:cubicBezTo>
                        <a:close/>
                        <a:moveTo>
                          <a:pt x="109" y="40"/>
                        </a:moveTo>
                        <a:cubicBezTo>
                          <a:pt x="109" y="40"/>
                          <a:pt x="110" y="40"/>
                          <a:pt x="110" y="40"/>
                        </a:cubicBezTo>
                        <a:cubicBezTo>
                          <a:pt x="110" y="40"/>
                          <a:pt x="109" y="40"/>
                          <a:pt x="109" y="40"/>
                        </a:cubicBezTo>
                        <a:cubicBezTo>
                          <a:pt x="109" y="40"/>
                          <a:pt x="109" y="40"/>
                          <a:pt x="109" y="40"/>
                        </a:cubicBezTo>
                        <a:cubicBezTo>
                          <a:pt x="109" y="40"/>
                          <a:pt x="109" y="40"/>
                          <a:pt x="109" y="40"/>
                        </a:cubicBezTo>
                        <a:cubicBezTo>
                          <a:pt x="109" y="40"/>
                          <a:pt x="109" y="40"/>
                          <a:pt x="109" y="40"/>
                        </a:cubicBezTo>
                        <a:close/>
                        <a:moveTo>
                          <a:pt x="109" y="38"/>
                        </a:moveTo>
                        <a:cubicBezTo>
                          <a:pt x="109" y="38"/>
                          <a:pt x="109" y="38"/>
                          <a:pt x="109" y="38"/>
                        </a:cubicBezTo>
                        <a:cubicBezTo>
                          <a:pt x="109" y="38"/>
                          <a:pt x="109" y="38"/>
                          <a:pt x="108" y="38"/>
                        </a:cubicBezTo>
                        <a:cubicBezTo>
                          <a:pt x="108" y="38"/>
                          <a:pt x="108" y="38"/>
                          <a:pt x="108" y="38"/>
                        </a:cubicBezTo>
                        <a:cubicBezTo>
                          <a:pt x="108" y="37"/>
                          <a:pt x="109" y="38"/>
                          <a:pt x="109" y="38"/>
                        </a:cubicBezTo>
                        <a:close/>
                        <a:moveTo>
                          <a:pt x="110" y="32"/>
                        </a:moveTo>
                        <a:cubicBezTo>
                          <a:pt x="110" y="32"/>
                          <a:pt x="110" y="32"/>
                          <a:pt x="110" y="32"/>
                        </a:cubicBezTo>
                        <a:cubicBezTo>
                          <a:pt x="110" y="32"/>
                          <a:pt x="110" y="32"/>
                          <a:pt x="111" y="33"/>
                        </a:cubicBezTo>
                        <a:cubicBezTo>
                          <a:pt x="110" y="32"/>
                          <a:pt x="110" y="33"/>
                          <a:pt x="110" y="32"/>
                        </a:cubicBezTo>
                        <a:cubicBezTo>
                          <a:pt x="110" y="32"/>
                          <a:pt x="110" y="32"/>
                          <a:pt x="110" y="32"/>
                        </a:cubicBezTo>
                        <a:cubicBezTo>
                          <a:pt x="110" y="32"/>
                          <a:pt x="110" y="32"/>
                          <a:pt x="110" y="32"/>
                        </a:cubicBezTo>
                        <a:close/>
                        <a:moveTo>
                          <a:pt x="104" y="37"/>
                        </a:moveTo>
                        <a:cubicBezTo>
                          <a:pt x="104" y="37"/>
                          <a:pt x="104" y="37"/>
                          <a:pt x="104" y="37"/>
                        </a:cubicBezTo>
                        <a:cubicBezTo>
                          <a:pt x="103" y="36"/>
                          <a:pt x="103" y="36"/>
                          <a:pt x="103" y="36"/>
                        </a:cubicBezTo>
                        <a:cubicBezTo>
                          <a:pt x="103" y="36"/>
                          <a:pt x="103" y="36"/>
                          <a:pt x="103" y="36"/>
                        </a:cubicBezTo>
                        <a:cubicBezTo>
                          <a:pt x="103" y="36"/>
                          <a:pt x="103" y="36"/>
                          <a:pt x="103" y="36"/>
                        </a:cubicBezTo>
                        <a:cubicBezTo>
                          <a:pt x="103" y="36"/>
                          <a:pt x="103" y="36"/>
                          <a:pt x="103" y="36"/>
                        </a:cubicBezTo>
                        <a:cubicBezTo>
                          <a:pt x="103" y="36"/>
                          <a:pt x="103" y="36"/>
                          <a:pt x="103" y="36"/>
                        </a:cubicBezTo>
                        <a:cubicBezTo>
                          <a:pt x="104" y="36"/>
                          <a:pt x="105" y="36"/>
                          <a:pt x="106" y="37"/>
                        </a:cubicBezTo>
                        <a:cubicBezTo>
                          <a:pt x="106" y="37"/>
                          <a:pt x="107" y="37"/>
                          <a:pt x="107" y="37"/>
                        </a:cubicBezTo>
                        <a:cubicBezTo>
                          <a:pt x="107" y="37"/>
                          <a:pt x="107" y="37"/>
                          <a:pt x="107" y="37"/>
                        </a:cubicBezTo>
                        <a:cubicBezTo>
                          <a:pt x="107" y="37"/>
                          <a:pt x="107" y="38"/>
                          <a:pt x="107" y="38"/>
                        </a:cubicBezTo>
                        <a:cubicBezTo>
                          <a:pt x="107" y="38"/>
                          <a:pt x="107" y="38"/>
                          <a:pt x="107" y="38"/>
                        </a:cubicBezTo>
                        <a:cubicBezTo>
                          <a:pt x="107" y="37"/>
                          <a:pt x="107" y="38"/>
                          <a:pt x="107" y="37"/>
                        </a:cubicBezTo>
                        <a:cubicBezTo>
                          <a:pt x="106" y="37"/>
                          <a:pt x="105" y="37"/>
                          <a:pt x="104" y="37"/>
                        </a:cubicBezTo>
                        <a:cubicBezTo>
                          <a:pt x="104" y="37"/>
                          <a:pt x="104" y="37"/>
                          <a:pt x="104" y="37"/>
                        </a:cubicBezTo>
                        <a:close/>
                        <a:moveTo>
                          <a:pt x="104" y="36"/>
                        </a:moveTo>
                        <a:cubicBezTo>
                          <a:pt x="104" y="36"/>
                          <a:pt x="104" y="36"/>
                          <a:pt x="104" y="36"/>
                        </a:cubicBezTo>
                        <a:cubicBezTo>
                          <a:pt x="104" y="36"/>
                          <a:pt x="104" y="36"/>
                          <a:pt x="104" y="36"/>
                        </a:cubicBezTo>
                        <a:cubicBezTo>
                          <a:pt x="104" y="36"/>
                          <a:pt x="104" y="36"/>
                          <a:pt x="104" y="36"/>
                        </a:cubicBezTo>
                        <a:close/>
                        <a:moveTo>
                          <a:pt x="106" y="37"/>
                        </a:moveTo>
                        <a:cubicBezTo>
                          <a:pt x="106" y="37"/>
                          <a:pt x="106" y="37"/>
                          <a:pt x="106" y="37"/>
                        </a:cubicBezTo>
                        <a:cubicBezTo>
                          <a:pt x="106" y="37"/>
                          <a:pt x="106" y="37"/>
                          <a:pt x="106" y="37"/>
                        </a:cubicBezTo>
                        <a:close/>
                        <a:moveTo>
                          <a:pt x="106" y="39"/>
                        </a:moveTo>
                        <a:cubicBezTo>
                          <a:pt x="106" y="39"/>
                          <a:pt x="106" y="38"/>
                          <a:pt x="105" y="38"/>
                        </a:cubicBezTo>
                        <a:cubicBezTo>
                          <a:pt x="105" y="38"/>
                          <a:pt x="106" y="38"/>
                          <a:pt x="105" y="38"/>
                        </a:cubicBezTo>
                        <a:cubicBezTo>
                          <a:pt x="106" y="38"/>
                          <a:pt x="106" y="38"/>
                          <a:pt x="106" y="38"/>
                        </a:cubicBezTo>
                        <a:cubicBezTo>
                          <a:pt x="106" y="39"/>
                          <a:pt x="106" y="38"/>
                          <a:pt x="106" y="39"/>
                        </a:cubicBezTo>
                        <a:cubicBezTo>
                          <a:pt x="106" y="39"/>
                          <a:pt x="106" y="39"/>
                          <a:pt x="106" y="39"/>
                        </a:cubicBezTo>
                        <a:cubicBezTo>
                          <a:pt x="106" y="39"/>
                          <a:pt x="106" y="38"/>
                          <a:pt x="106" y="39"/>
                        </a:cubicBezTo>
                        <a:close/>
                        <a:moveTo>
                          <a:pt x="106" y="39"/>
                        </a:moveTo>
                        <a:cubicBezTo>
                          <a:pt x="105" y="39"/>
                          <a:pt x="105" y="39"/>
                          <a:pt x="105" y="39"/>
                        </a:cubicBezTo>
                        <a:cubicBezTo>
                          <a:pt x="105" y="39"/>
                          <a:pt x="105" y="39"/>
                          <a:pt x="105" y="39"/>
                        </a:cubicBezTo>
                        <a:cubicBezTo>
                          <a:pt x="105" y="39"/>
                          <a:pt x="105" y="39"/>
                          <a:pt x="105" y="39"/>
                        </a:cubicBezTo>
                        <a:cubicBezTo>
                          <a:pt x="105" y="38"/>
                          <a:pt x="105" y="38"/>
                          <a:pt x="105" y="38"/>
                        </a:cubicBezTo>
                        <a:cubicBezTo>
                          <a:pt x="105" y="38"/>
                          <a:pt x="105" y="38"/>
                          <a:pt x="105" y="38"/>
                        </a:cubicBezTo>
                        <a:cubicBezTo>
                          <a:pt x="105" y="38"/>
                          <a:pt x="105" y="38"/>
                          <a:pt x="104" y="38"/>
                        </a:cubicBezTo>
                        <a:cubicBezTo>
                          <a:pt x="105" y="38"/>
                          <a:pt x="105" y="38"/>
                          <a:pt x="105" y="38"/>
                        </a:cubicBezTo>
                        <a:cubicBezTo>
                          <a:pt x="105" y="38"/>
                          <a:pt x="105" y="38"/>
                          <a:pt x="105" y="38"/>
                        </a:cubicBezTo>
                        <a:cubicBezTo>
                          <a:pt x="105" y="38"/>
                          <a:pt x="105" y="38"/>
                          <a:pt x="105" y="38"/>
                        </a:cubicBezTo>
                        <a:cubicBezTo>
                          <a:pt x="105" y="39"/>
                          <a:pt x="105" y="38"/>
                          <a:pt x="106" y="39"/>
                        </a:cubicBezTo>
                        <a:cubicBezTo>
                          <a:pt x="105" y="39"/>
                          <a:pt x="106" y="39"/>
                          <a:pt x="106" y="39"/>
                        </a:cubicBezTo>
                        <a:cubicBezTo>
                          <a:pt x="105" y="39"/>
                          <a:pt x="106" y="39"/>
                          <a:pt x="105" y="39"/>
                        </a:cubicBezTo>
                        <a:cubicBezTo>
                          <a:pt x="105" y="39"/>
                          <a:pt x="105" y="39"/>
                          <a:pt x="106" y="39"/>
                        </a:cubicBezTo>
                        <a:cubicBezTo>
                          <a:pt x="105" y="39"/>
                          <a:pt x="106" y="39"/>
                          <a:pt x="106" y="39"/>
                        </a:cubicBezTo>
                        <a:close/>
                        <a:moveTo>
                          <a:pt x="104" y="38"/>
                        </a:moveTo>
                        <a:cubicBezTo>
                          <a:pt x="104" y="38"/>
                          <a:pt x="104" y="38"/>
                          <a:pt x="104" y="38"/>
                        </a:cubicBezTo>
                        <a:cubicBezTo>
                          <a:pt x="104" y="38"/>
                          <a:pt x="104" y="38"/>
                          <a:pt x="104" y="38"/>
                        </a:cubicBezTo>
                        <a:cubicBezTo>
                          <a:pt x="104" y="38"/>
                          <a:pt x="104" y="38"/>
                          <a:pt x="104" y="38"/>
                        </a:cubicBezTo>
                        <a:cubicBezTo>
                          <a:pt x="104" y="38"/>
                          <a:pt x="104" y="38"/>
                          <a:pt x="105" y="38"/>
                        </a:cubicBezTo>
                        <a:cubicBezTo>
                          <a:pt x="104" y="38"/>
                          <a:pt x="104" y="38"/>
                          <a:pt x="104" y="38"/>
                        </a:cubicBezTo>
                        <a:cubicBezTo>
                          <a:pt x="104" y="38"/>
                          <a:pt x="104" y="38"/>
                          <a:pt x="104" y="38"/>
                        </a:cubicBezTo>
                        <a:cubicBezTo>
                          <a:pt x="104" y="38"/>
                          <a:pt x="104" y="38"/>
                          <a:pt x="104" y="38"/>
                        </a:cubicBezTo>
                        <a:cubicBezTo>
                          <a:pt x="104" y="38"/>
                          <a:pt x="104" y="38"/>
                          <a:pt x="104" y="38"/>
                        </a:cubicBezTo>
                        <a:close/>
                        <a:moveTo>
                          <a:pt x="105" y="35"/>
                        </a:moveTo>
                        <a:cubicBezTo>
                          <a:pt x="104" y="34"/>
                          <a:pt x="104" y="35"/>
                          <a:pt x="104" y="35"/>
                        </a:cubicBezTo>
                        <a:cubicBezTo>
                          <a:pt x="104" y="35"/>
                          <a:pt x="104" y="35"/>
                          <a:pt x="104" y="35"/>
                        </a:cubicBezTo>
                        <a:cubicBezTo>
                          <a:pt x="104" y="35"/>
                          <a:pt x="105" y="35"/>
                          <a:pt x="105" y="35"/>
                        </a:cubicBezTo>
                        <a:cubicBezTo>
                          <a:pt x="105" y="35"/>
                          <a:pt x="105" y="35"/>
                          <a:pt x="105" y="35"/>
                        </a:cubicBezTo>
                        <a:cubicBezTo>
                          <a:pt x="105" y="35"/>
                          <a:pt x="105" y="35"/>
                          <a:pt x="105" y="35"/>
                        </a:cubicBezTo>
                        <a:cubicBezTo>
                          <a:pt x="105" y="35"/>
                          <a:pt x="105" y="35"/>
                          <a:pt x="105" y="35"/>
                        </a:cubicBezTo>
                        <a:cubicBezTo>
                          <a:pt x="105" y="35"/>
                          <a:pt x="104" y="35"/>
                          <a:pt x="104" y="35"/>
                        </a:cubicBezTo>
                        <a:cubicBezTo>
                          <a:pt x="104" y="35"/>
                          <a:pt x="105" y="35"/>
                          <a:pt x="105" y="35"/>
                        </a:cubicBezTo>
                        <a:cubicBezTo>
                          <a:pt x="105" y="35"/>
                          <a:pt x="105" y="35"/>
                          <a:pt x="105" y="35"/>
                        </a:cubicBezTo>
                        <a:cubicBezTo>
                          <a:pt x="104" y="35"/>
                          <a:pt x="104" y="35"/>
                          <a:pt x="104" y="35"/>
                        </a:cubicBezTo>
                        <a:cubicBezTo>
                          <a:pt x="104" y="35"/>
                          <a:pt x="104" y="35"/>
                          <a:pt x="104" y="35"/>
                        </a:cubicBezTo>
                        <a:cubicBezTo>
                          <a:pt x="104" y="35"/>
                          <a:pt x="104" y="35"/>
                          <a:pt x="104" y="34"/>
                        </a:cubicBezTo>
                        <a:cubicBezTo>
                          <a:pt x="104" y="34"/>
                          <a:pt x="104" y="35"/>
                          <a:pt x="104" y="35"/>
                        </a:cubicBezTo>
                        <a:cubicBezTo>
                          <a:pt x="104" y="34"/>
                          <a:pt x="103" y="34"/>
                          <a:pt x="104" y="34"/>
                        </a:cubicBezTo>
                        <a:cubicBezTo>
                          <a:pt x="104" y="34"/>
                          <a:pt x="104" y="34"/>
                          <a:pt x="104" y="34"/>
                        </a:cubicBezTo>
                        <a:cubicBezTo>
                          <a:pt x="104" y="34"/>
                          <a:pt x="104" y="34"/>
                          <a:pt x="104" y="34"/>
                        </a:cubicBezTo>
                        <a:cubicBezTo>
                          <a:pt x="104" y="34"/>
                          <a:pt x="104" y="34"/>
                          <a:pt x="104" y="34"/>
                        </a:cubicBezTo>
                        <a:cubicBezTo>
                          <a:pt x="104" y="34"/>
                          <a:pt x="104" y="34"/>
                          <a:pt x="104" y="34"/>
                        </a:cubicBezTo>
                        <a:cubicBezTo>
                          <a:pt x="104" y="34"/>
                          <a:pt x="104" y="34"/>
                          <a:pt x="104" y="34"/>
                        </a:cubicBezTo>
                        <a:cubicBezTo>
                          <a:pt x="104" y="34"/>
                          <a:pt x="104" y="34"/>
                          <a:pt x="104" y="34"/>
                        </a:cubicBezTo>
                        <a:cubicBezTo>
                          <a:pt x="104" y="34"/>
                          <a:pt x="105" y="34"/>
                          <a:pt x="105" y="34"/>
                        </a:cubicBezTo>
                        <a:cubicBezTo>
                          <a:pt x="105" y="35"/>
                          <a:pt x="105" y="35"/>
                          <a:pt x="105" y="35"/>
                        </a:cubicBezTo>
                        <a:close/>
                        <a:moveTo>
                          <a:pt x="104" y="34"/>
                        </a:moveTo>
                        <a:cubicBezTo>
                          <a:pt x="104" y="34"/>
                          <a:pt x="104" y="35"/>
                          <a:pt x="104" y="35"/>
                        </a:cubicBezTo>
                        <a:cubicBezTo>
                          <a:pt x="104" y="34"/>
                          <a:pt x="104" y="34"/>
                          <a:pt x="104" y="34"/>
                        </a:cubicBezTo>
                        <a:close/>
                        <a:moveTo>
                          <a:pt x="105" y="35"/>
                        </a:moveTo>
                        <a:cubicBezTo>
                          <a:pt x="105" y="35"/>
                          <a:pt x="105" y="35"/>
                          <a:pt x="105" y="35"/>
                        </a:cubicBezTo>
                        <a:cubicBezTo>
                          <a:pt x="105" y="35"/>
                          <a:pt x="105" y="35"/>
                          <a:pt x="105" y="35"/>
                        </a:cubicBezTo>
                        <a:close/>
                        <a:moveTo>
                          <a:pt x="103" y="34"/>
                        </a:moveTo>
                        <a:cubicBezTo>
                          <a:pt x="103" y="34"/>
                          <a:pt x="103" y="35"/>
                          <a:pt x="103" y="35"/>
                        </a:cubicBezTo>
                        <a:cubicBezTo>
                          <a:pt x="103" y="35"/>
                          <a:pt x="103" y="34"/>
                          <a:pt x="103" y="34"/>
                        </a:cubicBezTo>
                        <a:close/>
                        <a:moveTo>
                          <a:pt x="103" y="34"/>
                        </a:moveTo>
                        <a:cubicBezTo>
                          <a:pt x="103" y="34"/>
                          <a:pt x="103" y="35"/>
                          <a:pt x="102" y="35"/>
                        </a:cubicBezTo>
                        <a:cubicBezTo>
                          <a:pt x="102" y="35"/>
                          <a:pt x="102" y="35"/>
                          <a:pt x="103" y="35"/>
                        </a:cubicBezTo>
                        <a:cubicBezTo>
                          <a:pt x="103" y="35"/>
                          <a:pt x="103" y="35"/>
                          <a:pt x="103" y="35"/>
                        </a:cubicBezTo>
                        <a:cubicBezTo>
                          <a:pt x="103" y="35"/>
                          <a:pt x="103" y="35"/>
                          <a:pt x="103" y="35"/>
                        </a:cubicBezTo>
                        <a:cubicBezTo>
                          <a:pt x="103" y="35"/>
                          <a:pt x="103" y="35"/>
                          <a:pt x="103" y="35"/>
                        </a:cubicBezTo>
                        <a:cubicBezTo>
                          <a:pt x="102" y="35"/>
                          <a:pt x="102" y="35"/>
                          <a:pt x="102" y="35"/>
                        </a:cubicBezTo>
                        <a:cubicBezTo>
                          <a:pt x="102" y="35"/>
                          <a:pt x="102" y="35"/>
                          <a:pt x="102" y="35"/>
                        </a:cubicBezTo>
                        <a:cubicBezTo>
                          <a:pt x="102" y="35"/>
                          <a:pt x="102" y="35"/>
                          <a:pt x="102" y="35"/>
                        </a:cubicBezTo>
                        <a:cubicBezTo>
                          <a:pt x="102" y="35"/>
                          <a:pt x="102" y="34"/>
                          <a:pt x="103" y="34"/>
                        </a:cubicBezTo>
                        <a:close/>
                        <a:moveTo>
                          <a:pt x="99" y="34"/>
                        </a:moveTo>
                        <a:cubicBezTo>
                          <a:pt x="99" y="35"/>
                          <a:pt x="100" y="35"/>
                          <a:pt x="101" y="35"/>
                        </a:cubicBezTo>
                        <a:cubicBezTo>
                          <a:pt x="101" y="35"/>
                          <a:pt x="101" y="35"/>
                          <a:pt x="101" y="35"/>
                        </a:cubicBezTo>
                        <a:cubicBezTo>
                          <a:pt x="101" y="35"/>
                          <a:pt x="101" y="35"/>
                          <a:pt x="101" y="35"/>
                        </a:cubicBezTo>
                        <a:cubicBezTo>
                          <a:pt x="101" y="35"/>
                          <a:pt x="101" y="35"/>
                          <a:pt x="101" y="35"/>
                        </a:cubicBezTo>
                        <a:cubicBezTo>
                          <a:pt x="101" y="35"/>
                          <a:pt x="101" y="35"/>
                          <a:pt x="101" y="35"/>
                        </a:cubicBezTo>
                        <a:cubicBezTo>
                          <a:pt x="101" y="35"/>
                          <a:pt x="101" y="36"/>
                          <a:pt x="101" y="36"/>
                        </a:cubicBezTo>
                        <a:cubicBezTo>
                          <a:pt x="101" y="36"/>
                          <a:pt x="101" y="36"/>
                          <a:pt x="101" y="36"/>
                        </a:cubicBezTo>
                        <a:cubicBezTo>
                          <a:pt x="101" y="36"/>
                          <a:pt x="101" y="36"/>
                          <a:pt x="101" y="36"/>
                        </a:cubicBezTo>
                        <a:cubicBezTo>
                          <a:pt x="101" y="36"/>
                          <a:pt x="101" y="36"/>
                          <a:pt x="101" y="36"/>
                        </a:cubicBezTo>
                        <a:cubicBezTo>
                          <a:pt x="101" y="36"/>
                          <a:pt x="102" y="36"/>
                          <a:pt x="103" y="37"/>
                        </a:cubicBezTo>
                        <a:cubicBezTo>
                          <a:pt x="102" y="37"/>
                          <a:pt x="102" y="36"/>
                          <a:pt x="102" y="36"/>
                        </a:cubicBezTo>
                        <a:cubicBezTo>
                          <a:pt x="102" y="36"/>
                          <a:pt x="101" y="36"/>
                          <a:pt x="101" y="36"/>
                        </a:cubicBezTo>
                        <a:cubicBezTo>
                          <a:pt x="101" y="36"/>
                          <a:pt x="101" y="36"/>
                          <a:pt x="100" y="36"/>
                        </a:cubicBezTo>
                        <a:cubicBezTo>
                          <a:pt x="100" y="36"/>
                          <a:pt x="100" y="36"/>
                          <a:pt x="100" y="36"/>
                        </a:cubicBezTo>
                        <a:cubicBezTo>
                          <a:pt x="100" y="36"/>
                          <a:pt x="99" y="36"/>
                          <a:pt x="99" y="36"/>
                        </a:cubicBezTo>
                        <a:cubicBezTo>
                          <a:pt x="99" y="36"/>
                          <a:pt x="98" y="36"/>
                          <a:pt x="98" y="36"/>
                        </a:cubicBezTo>
                        <a:cubicBezTo>
                          <a:pt x="98" y="36"/>
                          <a:pt x="99" y="36"/>
                          <a:pt x="98" y="36"/>
                        </a:cubicBezTo>
                        <a:cubicBezTo>
                          <a:pt x="98" y="36"/>
                          <a:pt x="98" y="36"/>
                          <a:pt x="98" y="36"/>
                        </a:cubicBezTo>
                        <a:cubicBezTo>
                          <a:pt x="98" y="36"/>
                          <a:pt x="99" y="36"/>
                          <a:pt x="99" y="36"/>
                        </a:cubicBezTo>
                        <a:cubicBezTo>
                          <a:pt x="98" y="36"/>
                          <a:pt x="98" y="36"/>
                          <a:pt x="99" y="36"/>
                        </a:cubicBezTo>
                        <a:cubicBezTo>
                          <a:pt x="99" y="36"/>
                          <a:pt x="99" y="36"/>
                          <a:pt x="99" y="36"/>
                        </a:cubicBezTo>
                        <a:cubicBezTo>
                          <a:pt x="99" y="36"/>
                          <a:pt x="99" y="36"/>
                          <a:pt x="99" y="36"/>
                        </a:cubicBezTo>
                        <a:cubicBezTo>
                          <a:pt x="99" y="36"/>
                          <a:pt x="99" y="36"/>
                          <a:pt x="99" y="36"/>
                        </a:cubicBezTo>
                        <a:cubicBezTo>
                          <a:pt x="99" y="36"/>
                          <a:pt x="99" y="36"/>
                          <a:pt x="100" y="36"/>
                        </a:cubicBezTo>
                        <a:cubicBezTo>
                          <a:pt x="100" y="37"/>
                          <a:pt x="99" y="37"/>
                          <a:pt x="100" y="37"/>
                        </a:cubicBezTo>
                        <a:cubicBezTo>
                          <a:pt x="99" y="37"/>
                          <a:pt x="99" y="36"/>
                          <a:pt x="99" y="37"/>
                        </a:cubicBezTo>
                        <a:cubicBezTo>
                          <a:pt x="99" y="36"/>
                          <a:pt x="98" y="36"/>
                          <a:pt x="98" y="36"/>
                        </a:cubicBezTo>
                        <a:cubicBezTo>
                          <a:pt x="98" y="36"/>
                          <a:pt x="98" y="36"/>
                          <a:pt x="98" y="36"/>
                        </a:cubicBezTo>
                        <a:cubicBezTo>
                          <a:pt x="98" y="36"/>
                          <a:pt x="98" y="36"/>
                          <a:pt x="98" y="36"/>
                        </a:cubicBezTo>
                        <a:cubicBezTo>
                          <a:pt x="98" y="36"/>
                          <a:pt x="98" y="36"/>
                          <a:pt x="98" y="36"/>
                        </a:cubicBezTo>
                        <a:cubicBezTo>
                          <a:pt x="98" y="36"/>
                          <a:pt x="98" y="36"/>
                          <a:pt x="98" y="36"/>
                        </a:cubicBezTo>
                        <a:cubicBezTo>
                          <a:pt x="98" y="36"/>
                          <a:pt x="98" y="36"/>
                          <a:pt x="98" y="36"/>
                        </a:cubicBezTo>
                        <a:cubicBezTo>
                          <a:pt x="98" y="36"/>
                          <a:pt x="98" y="36"/>
                          <a:pt x="97" y="35"/>
                        </a:cubicBezTo>
                        <a:cubicBezTo>
                          <a:pt x="97" y="36"/>
                          <a:pt x="97" y="36"/>
                          <a:pt x="97" y="36"/>
                        </a:cubicBezTo>
                        <a:cubicBezTo>
                          <a:pt x="97" y="36"/>
                          <a:pt x="97" y="36"/>
                          <a:pt x="97" y="36"/>
                        </a:cubicBezTo>
                        <a:cubicBezTo>
                          <a:pt x="97" y="36"/>
                          <a:pt x="97" y="36"/>
                          <a:pt x="97" y="36"/>
                        </a:cubicBezTo>
                        <a:cubicBezTo>
                          <a:pt x="97" y="36"/>
                          <a:pt x="97" y="36"/>
                          <a:pt x="97" y="36"/>
                        </a:cubicBezTo>
                        <a:cubicBezTo>
                          <a:pt x="97" y="36"/>
                          <a:pt x="97" y="36"/>
                          <a:pt x="98" y="36"/>
                        </a:cubicBezTo>
                        <a:cubicBezTo>
                          <a:pt x="98" y="36"/>
                          <a:pt x="98" y="36"/>
                          <a:pt x="98" y="36"/>
                        </a:cubicBezTo>
                        <a:cubicBezTo>
                          <a:pt x="98" y="36"/>
                          <a:pt x="98" y="36"/>
                          <a:pt x="98" y="36"/>
                        </a:cubicBezTo>
                        <a:cubicBezTo>
                          <a:pt x="98" y="36"/>
                          <a:pt x="97" y="36"/>
                          <a:pt x="97" y="36"/>
                        </a:cubicBezTo>
                        <a:cubicBezTo>
                          <a:pt x="97" y="36"/>
                          <a:pt x="97" y="36"/>
                          <a:pt x="97" y="36"/>
                        </a:cubicBezTo>
                        <a:cubicBezTo>
                          <a:pt x="97" y="36"/>
                          <a:pt x="97" y="36"/>
                          <a:pt x="97" y="36"/>
                        </a:cubicBezTo>
                        <a:cubicBezTo>
                          <a:pt x="96" y="36"/>
                          <a:pt x="96" y="36"/>
                          <a:pt x="96" y="36"/>
                        </a:cubicBezTo>
                        <a:cubicBezTo>
                          <a:pt x="96" y="36"/>
                          <a:pt x="96" y="36"/>
                          <a:pt x="96" y="36"/>
                        </a:cubicBezTo>
                        <a:cubicBezTo>
                          <a:pt x="97" y="36"/>
                          <a:pt x="96" y="36"/>
                          <a:pt x="96" y="36"/>
                        </a:cubicBezTo>
                        <a:cubicBezTo>
                          <a:pt x="96" y="36"/>
                          <a:pt x="97" y="36"/>
                          <a:pt x="97" y="36"/>
                        </a:cubicBezTo>
                        <a:cubicBezTo>
                          <a:pt x="97" y="36"/>
                          <a:pt x="97" y="36"/>
                          <a:pt x="97" y="36"/>
                        </a:cubicBezTo>
                        <a:cubicBezTo>
                          <a:pt x="97" y="36"/>
                          <a:pt x="97" y="36"/>
                          <a:pt x="97" y="36"/>
                        </a:cubicBezTo>
                        <a:cubicBezTo>
                          <a:pt x="97" y="37"/>
                          <a:pt x="97" y="36"/>
                          <a:pt x="97" y="37"/>
                        </a:cubicBezTo>
                        <a:cubicBezTo>
                          <a:pt x="97" y="36"/>
                          <a:pt x="97" y="36"/>
                          <a:pt x="96" y="36"/>
                        </a:cubicBezTo>
                        <a:cubicBezTo>
                          <a:pt x="96" y="36"/>
                          <a:pt x="96" y="36"/>
                          <a:pt x="96" y="36"/>
                        </a:cubicBezTo>
                        <a:cubicBezTo>
                          <a:pt x="96" y="36"/>
                          <a:pt x="96" y="36"/>
                          <a:pt x="96" y="36"/>
                        </a:cubicBezTo>
                        <a:cubicBezTo>
                          <a:pt x="96" y="36"/>
                          <a:pt x="96" y="36"/>
                          <a:pt x="96" y="36"/>
                        </a:cubicBezTo>
                        <a:cubicBezTo>
                          <a:pt x="96" y="36"/>
                          <a:pt x="96" y="36"/>
                          <a:pt x="96" y="36"/>
                        </a:cubicBezTo>
                        <a:cubicBezTo>
                          <a:pt x="96" y="36"/>
                          <a:pt x="96" y="36"/>
                          <a:pt x="96" y="36"/>
                        </a:cubicBezTo>
                        <a:cubicBezTo>
                          <a:pt x="96" y="36"/>
                          <a:pt x="95" y="36"/>
                          <a:pt x="95" y="36"/>
                        </a:cubicBezTo>
                        <a:cubicBezTo>
                          <a:pt x="95" y="36"/>
                          <a:pt x="95" y="36"/>
                          <a:pt x="95" y="36"/>
                        </a:cubicBezTo>
                        <a:cubicBezTo>
                          <a:pt x="95" y="36"/>
                          <a:pt x="95" y="36"/>
                          <a:pt x="95" y="36"/>
                        </a:cubicBezTo>
                        <a:cubicBezTo>
                          <a:pt x="95" y="36"/>
                          <a:pt x="95" y="36"/>
                          <a:pt x="95" y="36"/>
                        </a:cubicBezTo>
                        <a:cubicBezTo>
                          <a:pt x="95" y="36"/>
                          <a:pt x="95" y="36"/>
                          <a:pt x="95" y="36"/>
                        </a:cubicBezTo>
                        <a:cubicBezTo>
                          <a:pt x="95" y="35"/>
                          <a:pt x="95" y="36"/>
                          <a:pt x="95" y="35"/>
                        </a:cubicBezTo>
                        <a:cubicBezTo>
                          <a:pt x="94" y="35"/>
                          <a:pt x="95" y="35"/>
                          <a:pt x="95" y="36"/>
                        </a:cubicBezTo>
                        <a:cubicBezTo>
                          <a:pt x="95" y="36"/>
                          <a:pt x="94" y="35"/>
                          <a:pt x="94" y="36"/>
                        </a:cubicBezTo>
                        <a:cubicBezTo>
                          <a:pt x="94" y="35"/>
                          <a:pt x="94" y="35"/>
                          <a:pt x="94" y="35"/>
                        </a:cubicBezTo>
                        <a:cubicBezTo>
                          <a:pt x="94" y="35"/>
                          <a:pt x="94" y="35"/>
                          <a:pt x="94" y="35"/>
                        </a:cubicBezTo>
                        <a:cubicBezTo>
                          <a:pt x="94" y="35"/>
                          <a:pt x="94" y="35"/>
                          <a:pt x="94" y="35"/>
                        </a:cubicBezTo>
                        <a:cubicBezTo>
                          <a:pt x="94" y="35"/>
                          <a:pt x="94" y="35"/>
                          <a:pt x="94" y="35"/>
                        </a:cubicBezTo>
                        <a:cubicBezTo>
                          <a:pt x="94" y="35"/>
                          <a:pt x="95" y="35"/>
                          <a:pt x="95" y="35"/>
                        </a:cubicBezTo>
                        <a:cubicBezTo>
                          <a:pt x="95" y="35"/>
                          <a:pt x="95" y="35"/>
                          <a:pt x="95" y="35"/>
                        </a:cubicBezTo>
                        <a:cubicBezTo>
                          <a:pt x="95" y="35"/>
                          <a:pt x="94" y="35"/>
                          <a:pt x="94" y="35"/>
                        </a:cubicBezTo>
                        <a:cubicBezTo>
                          <a:pt x="94" y="35"/>
                          <a:pt x="95" y="35"/>
                          <a:pt x="95" y="35"/>
                        </a:cubicBezTo>
                        <a:cubicBezTo>
                          <a:pt x="95" y="35"/>
                          <a:pt x="95" y="35"/>
                          <a:pt x="95" y="35"/>
                        </a:cubicBezTo>
                        <a:cubicBezTo>
                          <a:pt x="95" y="35"/>
                          <a:pt x="95" y="35"/>
                          <a:pt x="94" y="35"/>
                        </a:cubicBezTo>
                        <a:cubicBezTo>
                          <a:pt x="94" y="35"/>
                          <a:pt x="94" y="35"/>
                          <a:pt x="94" y="35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5" y="35"/>
                          <a:pt x="95" y="35"/>
                          <a:pt x="95" y="35"/>
                        </a:cubicBezTo>
                        <a:cubicBezTo>
                          <a:pt x="95" y="35"/>
                          <a:pt x="95" y="35"/>
                          <a:pt x="95" y="35"/>
                        </a:cubicBezTo>
                        <a:cubicBezTo>
                          <a:pt x="95" y="35"/>
                          <a:pt x="95" y="35"/>
                          <a:pt x="95" y="34"/>
                        </a:cubicBezTo>
                        <a:cubicBezTo>
                          <a:pt x="95" y="34"/>
                          <a:pt x="95" y="34"/>
                          <a:pt x="95" y="34"/>
                        </a:cubicBezTo>
                        <a:cubicBezTo>
                          <a:pt x="95" y="34"/>
                          <a:pt x="95" y="34"/>
                          <a:pt x="95" y="34"/>
                        </a:cubicBezTo>
                        <a:cubicBezTo>
                          <a:pt x="95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5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3" y="34"/>
                          <a:pt x="93" y="34"/>
                          <a:pt x="93" y="34"/>
                        </a:cubicBezTo>
                        <a:cubicBezTo>
                          <a:pt x="93" y="34"/>
                          <a:pt x="93" y="34"/>
                          <a:pt x="93" y="34"/>
                        </a:cubicBezTo>
                        <a:cubicBezTo>
                          <a:pt x="93" y="34"/>
                          <a:pt x="93" y="34"/>
                          <a:pt x="93" y="34"/>
                        </a:cubicBezTo>
                        <a:cubicBezTo>
                          <a:pt x="93" y="33"/>
                          <a:pt x="93" y="34"/>
                          <a:pt x="93" y="33"/>
                        </a:cubicBezTo>
                        <a:cubicBezTo>
                          <a:pt x="93" y="33"/>
                          <a:pt x="93" y="33"/>
                          <a:pt x="92" y="33"/>
                        </a:cubicBezTo>
                        <a:cubicBezTo>
                          <a:pt x="93" y="33"/>
                          <a:pt x="93" y="33"/>
                          <a:pt x="92" y="33"/>
                        </a:cubicBezTo>
                        <a:cubicBezTo>
                          <a:pt x="93" y="33"/>
                          <a:pt x="93" y="33"/>
                          <a:pt x="93" y="33"/>
                        </a:cubicBezTo>
                        <a:cubicBezTo>
                          <a:pt x="93" y="33"/>
                          <a:pt x="93" y="33"/>
                          <a:pt x="93" y="33"/>
                        </a:cubicBezTo>
                        <a:cubicBezTo>
                          <a:pt x="93" y="33"/>
                          <a:pt x="93" y="33"/>
                          <a:pt x="93" y="33"/>
                        </a:cubicBezTo>
                        <a:cubicBezTo>
                          <a:pt x="93" y="33"/>
                          <a:pt x="93" y="33"/>
                          <a:pt x="93" y="33"/>
                        </a:cubicBezTo>
                        <a:cubicBezTo>
                          <a:pt x="93" y="34"/>
                          <a:pt x="94" y="33"/>
                          <a:pt x="94" y="34"/>
                        </a:cubicBezTo>
                        <a:cubicBezTo>
                          <a:pt x="94" y="33"/>
                          <a:pt x="94" y="33"/>
                          <a:pt x="93" y="33"/>
                        </a:cubicBezTo>
                        <a:cubicBezTo>
                          <a:pt x="94" y="33"/>
                          <a:pt x="94" y="33"/>
                          <a:pt x="93" y="33"/>
                        </a:cubicBezTo>
                        <a:cubicBezTo>
                          <a:pt x="94" y="33"/>
                          <a:pt x="94" y="33"/>
                          <a:pt x="94" y="34"/>
                        </a:cubicBezTo>
                        <a:cubicBezTo>
                          <a:pt x="94" y="33"/>
                          <a:pt x="95" y="34"/>
                          <a:pt x="95" y="34"/>
                        </a:cubicBezTo>
                        <a:cubicBezTo>
                          <a:pt x="95" y="34"/>
                          <a:pt x="95" y="34"/>
                          <a:pt x="95" y="34"/>
                        </a:cubicBezTo>
                        <a:cubicBezTo>
                          <a:pt x="95" y="34"/>
                          <a:pt x="95" y="34"/>
                          <a:pt x="95" y="34"/>
                        </a:cubicBezTo>
                        <a:cubicBezTo>
                          <a:pt x="96" y="34"/>
                          <a:pt x="96" y="34"/>
                          <a:pt x="96" y="34"/>
                        </a:cubicBezTo>
                        <a:cubicBezTo>
                          <a:pt x="96" y="34"/>
                          <a:pt x="96" y="34"/>
                          <a:pt x="96" y="34"/>
                        </a:cubicBezTo>
                        <a:cubicBezTo>
                          <a:pt x="96" y="34"/>
                          <a:pt x="96" y="34"/>
                          <a:pt x="96" y="34"/>
                        </a:cubicBezTo>
                        <a:cubicBezTo>
                          <a:pt x="96" y="34"/>
                          <a:pt x="96" y="34"/>
                          <a:pt x="96" y="34"/>
                        </a:cubicBezTo>
                        <a:cubicBezTo>
                          <a:pt x="96" y="34"/>
                          <a:pt x="97" y="35"/>
                          <a:pt x="97" y="35"/>
                        </a:cubicBezTo>
                        <a:cubicBezTo>
                          <a:pt x="97" y="35"/>
                          <a:pt x="97" y="35"/>
                          <a:pt x="97" y="34"/>
                        </a:cubicBezTo>
                        <a:cubicBezTo>
                          <a:pt x="97" y="34"/>
                          <a:pt x="97" y="34"/>
                          <a:pt x="97" y="34"/>
                        </a:cubicBezTo>
                        <a:cubicBezTo>
                          <a:pt x="97" y="34"/>
                          <a:pt x="97" y="34"/>
                          <a:pt x="96" y="34"/>
                        </a:cubicBezTo>
                        <a:cubicBezTo>
                          <a:pt x="96" y="34"/>
                          <a:pt x="97" y="34"/>
                          <a:pt x="97" y="34"/>
                        </a:cubicBezTo>
                        <a:cubicBezTo>
                          <a:pt x="97" y="34"/>
                          <a:pt x="97" y="34"/>
                          <a:pt x="97" y="34"/>
                        </a:cubicBezTo>
                        <a:cubicBezTo>
                          <a:pt x="97" y="34"/>
                          <a:pt x="97" y="34"/>
                          <a:pt x="97" y="34"/>
                        </a:cubicBezTo>
                        <a:cubicBezTo>
                          <a:pt x="97" y="34"/>
                          <a:pt x="97" y="34"/>
                          <a:pt x="97" y="34"/>
                        </a:cubicBezTo>
                        <a:cubicBezTo>
                          <a:pt x="97" y="34"/>
                          <a:pt x="97" y="34"/>
                          <a:pt x="97" y="35"/>
                        </a:cubicBezTo>
                        <a:cubicBezTo>
                          <a:pt x="97" y="35"/>
                          <a:pt x="97" y="35"/>
                          <a:pt x="97" y="35"/>
                        </a:cubicBezTo>
                        <a:cubicBezTo>
                          <a:pt x="98" y="35"/>
                          <a:pt x="98" y="35"/>
                          <a:pt x="97" y="34"/>
                        </a:cubicBezTo>
                        <a:cubicBezTo>
                          <a:pt x="98" y="34"/>
                          <a:pt x="98" y="35"/>
                          <a:pt x="98" y="35"/>
                        </a:cubicBezTo>
                        <a:cubicBezTo>
                          <a:pt x="98" y="35"/>
                          <a:pt x="98" y="35"/>
                          <a:pt x="98" y="35"/>
                        </a:cubicBezTo>
                        <a:cubicBezTo>
                          <a:pt x="98" y="34"/>
                          <a:pt x="97" y="35"/>
                          <a:pt x="97" y="34"/>
                        </a:cubicBezTo>
                        <a:cubicBezTo>
                          <a:pt x="98" y="34"/>
                          <a:pt x="98" y="34"/>
                          <a:pt x="98" y="34"/>
                        </a:cubicBezTo>
                        <a:cubicBezTo>
                          <a:pt x="98" y="34"/>
                          <a:pt x="97" y="34"/>
                          <a:pt x="98" y="34"/>
                        </a:cubicBezTo>
                        <a:cubicBezTo>
                          <a:pt x="97" y="34"/>
                          <a:pt x="97" y="34"/>
                          <a:pt x="97" y="34"/>
                        </a:cubicBezTo>
                        <a:cubicBezTo>
                          <a:pt x="97" y="34"/>
                          <a:pt x="97" y="34"/>
                          <a:pt x="97" y="34"/>
                        </a:cubicBezTo>
                        <a:cubicBezTo>
                          <a:pt x="97" y="34"/>
                          <a:pt x="97" y="34"/>
                          <a:pt x="97" y="34"/>
                        </a:cubicBezTo>
                        <a:cubicBezTo>
                          <a:pt x="97" y="34"/>
                          <a:pt x="97" y="34"/>
                          <a:pt x="97" y="33"/>
                        </a:cubicBezTo>
                        <a:cubicBezTo>
                          <a:pt x="97" y="33"/>
                          <a:pt x="97" y="33"/>
                          <a:pt x="97" y="34"/>
                        </a:cubicBezTo>
                        <a:cubicBezTo>
                          <a:pt x="96" y="33"/>
                          <a:pt x="95" y="33"/>
                          <a:pt x="95" y="33"/>
                        </a:cubicBezTo>
                        <a:cubicBezTo>
                          <a:pt x="95" y="33"/>
                          <a:pt x="94" y="33"/>
                          <a:pt x="94" y="33"/>
                        </a:cubicBezTo>
                        <a:cubicBezTo>
                          <a:pt x="94" y="32"/>
                          <a:pt x="94" y="32"/>
                          <a:pt x="94" y="32"/>
                        </a:cubicBezTo>
                        <a:cubicBezTo>
                          <a:pt x="93" y="32"/>
                          <a:pt x="93" y="32"/>
                          <a:pt x="93" y="32"/>
                        </a:cubicBezTo>
                        <a:cubicBezTo>
                          <a:pt x="93" y="32"/>
                          <a:pt x="94" y="32"/>
                          <a:pt x="94" y="32"/>
                        </a:cubicBezTo>
                        <a:cubicBezTo>
                          <a:pt x="93" y="32"/>
                          <a:pt x="93" y="32"/>
                          <a:pt x="93" y="32"/>
                        </a:cubicBezTo>
                        <a:cubicBezTo>
                          <a:pt x="93" y="32"/>
                          <a:pt x="93" y="32"/>
                          <a:pt x="93" y="32"/>
                        </a:cubicBezTo>
                        <a:cubicBezTo>
                          <a:pt x="93" y="32"/>
                          <a:pt x="93" y="32"/>
                          <a:pt x="94" y="32"/>
                        </a:cubicBezTo>
                        <a:cubicBezTo>
                          <a:pt x="94" y="32"/>
                          <a:pt x="94" y="32"/>
                          <a:pt x="94" y="33"/>
                        </a:cubicBezTo>
                        <a:cubicBezTo>
                          <a:pt x="94" y="33"/>
                          <a:pt x="95" y="33"/>
                          <a:pt x="94" y="33"/>
                        </a:cubicBezTo>
                        <a:cubicBezTo>
                          <a:pt x="95" y="33"/>
                          <a:pt x="95" y="33"/>
                          <a:pt x="95" y="33"/>
                        </a:cubicBezTo>
                        <a:cubicBezTo>
                          <a:pt x="96" y="33"/>
                          <a:pt x="97" y="34"/>
                          <a:pt x="99" y="34"/>
                        </a:cubicBezTo>
                        <a:cubicBezTo>
                          <a:pt x="99" y="34"/>
                          <a:pt x="99" y="33"/>
                          <a:pt x="99" y="33"/>
                        </a:cubicBezTo>
                        <a:cubicBezTo>
                          <a:pt x="99" y="34"/>
                          <a:pt x="99" y="34"/>
                          <a:pt x="99" y="33"/>
                        </a:cubicBezTo>
                        <a:cubicBezTo>
                          <a:pt x="99" y="34"/>
                          <a:pt x="99" y="33"/>
                          <a:pt x="99" y="33"/>
                        </a:cubicBezTo>
                        <a:cubicBezTo>
                          <a:pt x="98" y="33"/>
                          <a:pt x="98" y="33"/>
                          <a:pt x="98" y="33"/>
                        </a:cubicBezTo>
                        <a:cubicBezTo>
                          <a:pt x="98" y="33"/>
                          <a:pt x="99" y="33"/>
                          <a:pt x="99" y="33"/>
                        </a:cubicBezTo>
                        <a:cubicBezTo>
                          <a:pt x="99" y="33"/>
                          <a:pt x="99" y="33"/>
                          <a:pt x="99" y="33"/>
                        </a:cubicBezTo>
                        <a:cubicBezTo>
                          <a:pt x="98" y="33"/>
                          <a:pt x="98" y="33"/>
                          <a:pt x="97" y="32"/>
                        </a:cubicBezTo>
                        <a:cubicBezTo>
                          <a:pt x="98" y="33"/>
                          <a:pt x="97" y="32"/>
                          <a:pt x="97" y="32"/>
                        </a:cubicBezTo>
                        <a:cubicBezTo>
                          <a:pt x="97" y="32"/>
                          <a:pt x="97" y="32"/>
                          <a:pt x="97" y="32"/>
                        </a:cubicBezTo>
                        <a:cubicBezTo>
                          <a:pt x="97" y="32"/>
                          <a:pt x="98" y="32"/>
                          <a:pt x="98" y="32"/>
                        </a:cubicBezTo>
                        <a:cubicBezTo>
                          <a:pt x="98" y="32"/>
                          <a:pt x="98" y="33"/>
                          <a:pt x="98" y="32"/>
                        </a:cubicBezTo>
                        <a:cubicBezTo>
                          <a:pt x="98" y="32"/>
                          <a:pt x="98" y="32"/>
                          <a:pt x="98" y="33"/>
                        </a:cubicBezTo>
                        <a:cubicBezTo>
                          <a:pt x="98" y="33"/>
                          <a:pt x="98" y="32"/>
                          <a:pt x="98" y="32"/>
                        </a:cubicBezTo>
                        <a:cubicBezTo>
                          <a:pt x="99" y="33"/>
                          <a:pt x="99" y="32"/>
                          <a:pt x="99" y="33"/>
                        </a:cubicBezTo>
                        <a:cubicBezTo>
                          <a:pt x="99" y="33"/>
                          <a:pt x="99" y="32"/>
                          <a:pt x="99" y="32"/>
                        </a:cubicBezTo>
                        <a:cubicBezTo>
                          <a:pt x="99" y="32"/>
                          <a:pt x="99" y="32"/>
                          <a:pt x="99" y="32"/>
                        </a:cubicBezTo>
                        <a:cubicBezTo>
                          <a:pt x="99" y="32"/>
                          <a:pt x="99" y="32"/>
                          <a:pt x="100" y="32"/>
                        </a:cubicBezTo>
                        <a:cubicBezTo>
                          <a:pt x="100" y="32"/>
                          <a:pt x="100" y="32"/>
                          <a:pt x="100" y="32"/>
                        </a:cubicBezTo>
                        <a:cubicBezTo>
                          <a:pt x="100" y="32"/>
                          <a:pt x="100" y="32"/>
                          <a:pt x="100" y="32"/>
                        </a:cubicBezTo>
                        <a:cubicBezTo>
                          <a:pt x="100" y="32"/>
                          <a:pt x="99" y="32"/>
                          <a:pt x="99" y="32"/>
                        </a:cubicBezTo>
                        <a:cubicBezTo>
                          <a:pt x="99" y="32"/>
                          <a:pt x="99" y="32"/>
                          <a:pt x="99" y="31"/>
                        </a:cubicBezTo>
                        <a:cubicBezTo>
                          <a:pt x="99" y="31"/>
                          <a:pt x="99" y="32"/>
                          <a:pt x="99" y="32"/>
                        </a:cubicBezTo>
                        <a:cubicBezTo>
                          <a:pt x="99" y="32"/>
                          <a:pt x="99" y="31"/>
                          <a:pt x="99" y="31"/>
                        </a:cubicBezTo>
                        <a:cubicBezTo>
                          <a:pt x="99" y="31"/>
                          <a:pt x="99" y="31"/>
                          <a:pt x="99" y="31"/>
                        </a:cubicBezTo>
                        <a:cubicBezTo>
                          <a:pt x="99" y="31"/>
                          <a:pt x="99" y="31"/>
                          <a:pt x="99" y="31"/>
                        </a:cubicBezTo>
                        <a:cubicBezTo>
                          <a:pt x="99" y="31"/>
                          <a:pt x="99" y="31"/>
                          <a:pt x="99" y="31"/>
                        </a:cubicBezTo>
                        <a:cubicBezTo>
                          <a:pt x="99" y="31"/>
                          <a:pt x="99" y="31"/>
                          <a:pt x="99" y="31"/>
                        </a:cubicBezTo>
                        <a:cubicBezTo>
                          <a:pt x="99" y="31"/>
                          <a:pt x="100" y="31"/>
                          <a:pt x="100" y="31"/>
                        </a:cubicBezTo>
                        <a:cubicBezTo>
                          <a:pt x="100" y="31"/>
                          <a:pt x="100" y="31"/>
                          <a:pt x="100" y="31"/>
                        </a:cubicBezTo>
                        <a:cubicBezTo>
                          <a:pt x="101" y="31"/>
                          <a:pt x="101" y="31"/>
                          <a:pt x="101" y="31"/>
                        </a:cubicBezTo>
                        <a:cubicBezTo>
                          <a:pt x="101" y="31"/>
                          <a:pt x="101" y="31"/>
                          <a:pt x="101" y="31"/>
                        </a:cubicBezTo>
                        <a:cubicBezTo>
                          <a:pt x="101" y="31"/>
                          <a:pt x="101" y="31"/>
                          <a:pt x="101" y="31"/>
                        </a:cubicBezTo>
                        <a:cubicBezTo>
                          <a:pt x="102" y="31"/>
                          <a:pt x="101" y="31"/>
                          <a:pt x="101" y="32"/>
                        </a:cubicBezTo>
                        <a:cubicBezTo>
                          <a:pt x="101" y="32"/>
                          <a:pt x="101" y="32"/>
                          <a:pt x="101" y="32"/>
                        </a:cubicBezTo>
                        <a:cubicBezTo>
                          <a:pt x="101" y="32"/>
                          <a:pt x="101" y="32"/>
                          <a:pt x="101" y="32"/>
                        </a:cubicBezTo>
                        <a:cubicBezTo>
                          <a:pt x="101" y="32"/>
                          <a:pt x="101" y="32"/>
                          <a:pt x="101" y="32"/>
                        </a:cubicBezTo>
                        <a:cubicBezTo>
                          <a:pt x="101" y="32"/>
                          <a:pt x="101" y="32"/>
                          <a:pt x="101" y="32"/>
                        </a:cubicBezTo>
                        <a:cubicBezTo>
                          <a:pt x="101" y="32"/>
                          <a:pt x="101" y="32"/>
                          <a:pt x="101" y="32"/>
                        </a:cubicBezTo>
                        <a:cubicBezTo>
                          <a:pt x="101" y="32"/>
                          <a:pt x="101" y="32"/>
                          <a:pt x="101" y="32"/>
                        </a:cubicBezTo>
                        <a:cubicBezTo>
                          <a:pt x="101" y="33"/>
                          <a:pt x="101" y="33"/>
                          <a:pt x="101" y="32"/>
                        </a:cubicBezTo>
                        <a:cubicBezTo>
                          <a:pt x="101" y="33"/>
                          <a:pt x="102" y="33"/>
                          <a:pt x="102" y="33"/>
                        </a:cubicBezTo>
                        <a:cubicBezTo>
                          <a:pt x="102" y="33"/>
                          <a:pt x="102" y="33"/>
                          <a:pt x="102" y="33"/>
                        </a:cubicBezTo>
                        <a:cubicBezTo>
                          <a:pt x="102" y="33"/>
                          <a:pt x="102" y="33"/>
                          <a:pt x="102" y="34"/>
                        </a:cubicBezTo>
                        <a:cubicBezTo>
                          <a:pt x="102" y="33"/>
                          <a:pt x="102" y="33"/>
                          <a:pt x="102" y="33"/>
                        </a:cubicBezTo>
                        <a:cubicBezTo>
                          <a:pt x="102" y="33"/>
                          <a:pt x="102" y="33"/>
                          <a:pt x="102" y="33"/>
                        </a:cubicBezTo>
                        <a:cubicBezTo>
                          <a:pt x="102" y="33"/>
                          <a:pt x="102" y="33"/>
                          <a:pt x="102" y="33"/>
                        </a:cubicBezTo>
                        <a:cubicBezTo>
                          <a:pt x="102" y="33"/>
                          <a:pt x="102" y="33"/>
                          <a:pt x="102" y="33"/>
                        </a:cubicBezTo>
                        <a:cubicBezTo>
                          <a:pt x="101" y="33"/>
                          <a:pt x="101" y="34"/>
                          <a:pt x="101" y="33"/>
                        </a:cubicBezTo>
                        <a:cubicBezTo>
                          <a:pt x="101" y="33"/>
                          <a:pt x="101" y="34"/>
                          <a:pt x="101" y="34"/>
                        </a:cubicBezTo>
                        <a:cubicBezTo>
                          <a:pt x="101" y="33"/>
                          <a:pt x="100" y="33"/>
                          <a:pt x="100" y="33"/>
                        </a:cubicBezTo>
                        <a:cubicBezTo>
                          <a:pt x="100" y="33"/>
                          <a:pt x="100" y="34"/>
                          <a:pt x="100" y="33"/>
                        </a:cubicBezTo>
                        <a:cubicBezTo>
                          <a:pt x="100" y="34"/>
                          <a:pt x="100" y="34"/>
                          <a:pt x="100" y="34"/>
                        </a:cubicBezTo>
                        <a:cubicBezTo>
                          <a:pt x="100" y="34"/>
                          <a:pt x="100" y="34"/>
                          <a:pt x="100" y="34"/>
                        </a:cubicBezTo>
                        <a:cubicBezTo>
                          <a:pt x="100" y="34"/>
                          <a:pt x="101" y="34"/>
                          <a:pt x="101" y="34"/>
                        </a:cubicBezTo>
                        <a:cubicBezTo>
                          <a:pt x="101" y="34"/>
                          <a:pt x="102" y="34"/>
                          <a:pt x="102" y="34"/>
                        </a:cubicBezTo>
                        <a:cubicBezTo>
                          <a:pt x="102" y="34"/>
                          <a:pt x="102" y="34"/>
                          <a:pt x="101" y="34"/>
                        </a:cubicBezTo>
                        <a:cubicBezTo>
                          <a:pt x="101" y="34"/>
                          <a:pt x="102" y="34"/>
                          <a:pt x="102" y="34"/>
                        </a:cubicBezTo>
                        <a:cubicBezTo>
                          <a:pt x="102" y="34"/>
                          <a:pt x="102" y="34"/>
                          <a:pt x="102" y="34"/>
                        </a:cubicBezTo>
                        <a:cubicBezTo>
                          <a:pt x="102" y="34"/>
                          <a:pt x="102" y="34"/>
                          <a:pt x="102" y="34"/>
                        </a:cubicBezTo>
                        <a:cubicBezTo>
                          <a:pt x="102" y="35"/>
                          <a:pt x="101" y="34"/>
                          <a:pt x="101" y="34"/>
                        </a:cubicBezTo>
                        <a:cubicBezTo>
                          <a:pt x="101" y="34"/>
                          <a:pt x="101" y="34"/>
                          <a:pt x="100" y="34"/>
                        </a:cubicBezTo>
                        <a:cubicBezTo>
                          <a:pt x="101" y="34"/>
                          <a:pt x="101" y="34"/>
                          <a:pt x="100" y="34"/>
                        </a:cubicBezTo>
                        <a:cubicBezTo>
                          <a:pt x="100" y="34"/>
                          <a:pt x="100" y="34"/>
                          <a:pt x="100" y="34"/>
                        </a:cubicBezTo>
                        <a:cubicBezTo>
                          <a:pt x="100" y="34"/>
                          <a:pt x="100" y="34"/>
                          <a:pt x="100" y="34"/>
                        </a:cubicBezTo>
                        <a:cubicBezTo>
                          <a:pt x="100" y="34"/>
                          <a:pt x="100" y="34"/>
                          <a:pt x="100" y="34"/>
                        </a:cubicBezTo>
                        <a:cubicBezTo>
                          <a:pt x="100" y="34"/>
                          <a:pt x="100" y="34"/>
                          <a:pt x="99" y="34"/>
                        </a:cubicBezTo>
                        <a:close/>
                        <a:moveTo>
                          <a:pt x="101" y="31"/>
                        </a:moveTo>
                        <a:cubicBezTo>
                          <a:pt x="101" y="31"/>
                          <a:pt x="101" y="31"/>
                          <a:pt x="101" y="31"/>
                        </a:cubicBezTo>
                        <a:cubicBezTo>
                          <a:pt x="101" y="31"/>
                          <a:pt x="101" y="31"/>
                          <a:pt x="101" y="31"/>
                        </a:cubicBezTo>
                        <a:cubicBezTo>
                          <a:pt x="101" y="31"/>
                          <a:pt x="101" y="31"/>
                          <a:pt x="101" y="31"/>
                        </a:cubicBezTo>
                        <a:close/>
                        <a:moveTo>
                          <a:pt x="101" y="32"/>
                        </a:moveTo>
                        <a:cubicBezTo>
                          <a:pt x="100" y="32"/>
                          <a:pt x="101" y="32"/>
                          <a:pt x="101" y="31"/>
                        </a:cubicBezTo>
                        <a:cubicBezTo>
                          <a:pt x="100" y="31"/>
                          <a:pt x="100" y="32"/>
                          <a:pt x="100" y="31"/>
                        </a:cubicBezTo>
                        <a:cubicBezTo>
                          <a:pt x="100" y="31"/>
                          <a:pt x="100" y="31"/>
                          <a:pt x="99" y="31"/>
                        </a:cubicBezTo>
                        <a:cubicBezTo>
                          <a:pt x="99" y="31"/>
                          <a:pt x="100" y="31"/>
                          <a:pt x="100" y="31"/>
                        </a:cubicBezTo>
                        <a:cubicBezTo>
                          <a:pt x="100" y="31"/>
                          <a:pt x="100" y="32"/>
                          <a:pt x="100" y="31"/>
                        </a:cubicBezTo>
                        <a:cubicBezTo>
                          <a:pt x="100" y="32"/>
                          <a:pt x="101" y="32"/>
                          <a:pt x="100" y="32"/>
                        </a:cubicBezTo>
                        <a:cubicBezTo>
                          <a:pt x="101" y="32"/>
                          <a:pt x="101" y="32"/>
                          <a:pt x="101" y="32"/>
                        </a:cubicBezTo>
                        <a:close/>
                        <a:moveTo>
                          <a:pt x="100" y="32"/>
                        </a:moveTo>
                        <a:cubicBezTo>
                          <a:pt x="100" y="32"/>
                          <a:pt x="100" y="32"/>
                          <a:pt x="100" y="32"/>
                        </a:cubicBezTo>
                        <a:cubicBezTo>
                          <a:pt x="100" y="32"/>
                          <a:pt x="100" y="32"/>
                          <a:pt x="100" y="32"/>
                        </a:cubicBezTo>
                        <a:close/>
                        <a:moveTo>
                          <a:pt x="100" y="33"/>
                        </a:moveTo>
                        <a:cubicBezTo>
                          <a:pt x="100" y="33"/>
                          <a:pt x="100" y="33"/>
                          <a:pt x="100" y="33"/>
                        </a:cubicBezTo>
                        <a:cubicBezTo>
                          <a:pt x="100" y="33"/>
                          <a:pt x="100" y="33"/>
                          <a:pt x="100" y="33"/>
                        </a:cubicBezTo>
                        <a:cubicBezTo>
                          <a:pt x="100" y="33"/>
                          <a:pt x="100" y="33"/>
                          <a:pt x="100" y="33"/>
                        </a:cubicBezTo>
                        <a:close/>
                        <a:moveTo>
                          <a:pt x="94" y="34"/>
                        </a:moveTo>
                        <a:cubicBezTo>
                          <a:pt x="94" y="34"/>
                          <a:pt x="93" y="34"/>
                          <a:pt x="93" y="34"/>
                        </a:cubicBezTo>
                        <a:cubicBezTo>
                          <a:pt x="93" y="34"/>
                          <a:pt x="93" y="34"/>
                          <a:pt x="93" y="34"/>
                        </a:cubicBezTo>
                        <a:cubicBezTo>
                          <a:pt x="93" y="34"/>
                          <a:pt x="93" y="34"/>
                          <a:pt x="94" y="34"/>
                        </a:cubicBezTo>
                        <a:cubicBezTo>
                          <a:pt x="94" y="34"/>
                          <a:pt x="93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lose/>
                        <a:moveTo>
                          <a:pt x="96" y="34"/>
                        </a:moveTo>
                        <a:cubicBezTo>
                          <a:pt x="96" y="34"/>
                          <a:pt x="96" y="34"/>
                          <a:pt x="96" y="34"/>
                        </a:cubicBezTo>
                        <a:cubicBezTo>
                          <a:pt x="96" y="35"/>
                          <a:pt x="96" y="35"/>
                          <a:pt x="96" y="34"/>
                        </a:cubicBezTo>
                        <a:cubicBezTo>
                          <a:pt x="96" y="34"/>
                          <a:pt x="96" y="34"/>
                          <a:pt x="96" y="34"/>
                        </a:cubicBezTo>
                        <a:close/>
                        <a:moveTo>
                          <a:pt x="95" y="34"/>
                        </a:moveTo>
                        <a:cubicBezTo>
                          <a:pt x="95" y="34"/>
                          <a:pt x="95" y="34"/>
                          <a:pt x="96" y="34"/>
                        </a:cubicBezTo>
                        <a:cubicBezTo>
                          <a:pt x="95" y="34"/>
                          <a:pt x="96" y="34"/>
                          <a:pt x="95" y="34"/>
                        </a:cubicBezTo>
                        <a:cubicBezTo>
                          <a:pt x="95" y="34"/>
                          <a:pt x="95" y="34"/>
                          <a:pt x="95" y="34"/>
                        </a:cubicBezTo>
                        <a:close/>
                        <a:moveTo>
                          <a:pt x="95" y="34"/>
                        </a:moveTo>
                        <a:cubicBezTo>
                          <a:pt x="96" y="34"/>
                          <a:pt x="96" y="34"/>
                          <a:pt x="96" y="34"/>
                        </a:cubicBezTo>
                        <a:cubicBezTo>
                          <a:pt x="96" y="34"/>
                          <a:pt x="96" y="34"/>
                          <a:pt x="96" y="34"/>
                        </a:cubicBezTo>
                        <a:cubicBezTo>
                          <a:pt x="96" y="34"/>
                          <a:pt x="96" y="34"/>
                          <a:pt x="96" y="34"/>
                        </a:cubicBezTo>
                        <a:cubicBezTo>
                          <a:pt x="95" y="34"/>
                          <a:pt x="95" y="34"/>
                          <a:pt x="95" y="34"/>
                        </a:cubicBezTo>
                        <a:close/>
                        <a:moveTo>
                          <a:pt x="99" y="36"/>
                        </a:moveTo>
                        <a:cubicBezTo>
                          <a:pt x="99" y="36"/>
                          <a:pt x="99" y="37"/>
                          <a:pt x="99" y="36"/>
                        </a:cubicBezTo>
                        <a:cubicBezTo>
                          <a:pt x="99" y="36"/>
                          <a:pt x="99" y="36"/>
                          <a:pt x="99" y="36"/>
                        </a:cubicBezTo>
                        <a:cubicBezTo>
                          <a:pt x="99" y="36"/>
                          <a:pt x="99" y="36"/>
                          <a:pt x="99" y="36"/>
                        </a:cubicBezTo>
                        <a:close/>
                        <a:moveTo>
                          <a:pt x="96" y="35"/>
                        </a:moveTo>
                        <a:cubicBezTo>
                          <a:pt x="96" y="35"/>
                          <a:pt x="96" y="35"/>
                          <a:pt x="96" y="35"/>
                        </a:cubicBezTo>
                        <a:cubicBezTo>
                          <a:pt x="96" y="35"/>
                          <a:pt x="96" y="35"/>
                          <a:pt x="96" y="35"/>
                        </a:cubicBezTo>
                        <a:cubicBezTo>
                          <a:pt x="96" y="35"/>
                          <a:pt x="96" y="35"/>
                          <a:pt x="95" y="35"/>
                        </a:cubicBezTo>
                        <a:cubicBezTo>
                          <a:pt x="95" y="35"/>
                          <a:pt x="95" y="35"/>
                          <a:pt x="95" y="35"/>
                        </a:cubicBezTo>
                        <a:cubicBezTo>
                          <a:pt x="95" y="35"/>
                          <a:pt x="95" y="35"/>
                          <a:pt x="95" y="35"/>
                        </a:cubicBezTo>
                        <a:cubicBezTo>
                          <a:pt x="96" y="35"/>
                          <a:pt x="96" y="35"/>
                          <a:pt x="96" y="35"/>
                        </a:cubicBezTo>
                        <a:close/>
                        <a:moveTo>
                          <a:pt x="96" y="35"/>
                        </a:moveTo>
                        <a:cubicBezTo>
                          <a:pt x="96" y="35"/>
                          <a:pt x="96" y="35"/>
                          <a:pt x="96" y="35"/>
                        </a:cubicBezTo>
                        <a:cubicBezTo>
                          <a:pt x="96" y="35"/>
                          <a:pt x="96" y="35"/>
                          <a:pt x="95" y="35"/>
                        </a:cubicBezTo>
                        <a:cubicBezTo>
                          <a:pt x="95" y="35"/>
                          <a:pt x="96" y="36"/>
                          <a:pt x="96" y="36"/>
                        </a:cubicBezTo>
                        <a:cubicBezTo>
                          <a:pt x="96" y="36"/>
                          <a:pt x="96" y="36"/>
                          <a:pt x="96" y="36"/>
                        </a:cubicBezTo>
                        <a:cubicBezTo>
                          <a:pt x="96" y="36"/>
                          <a:pt x="97" y="35"/>
                          <a:pt x="97" y="36"/>
                        </a:cubicBezTo>
                        <a:cubicBezTo>
                          <a:pt x="97" y="36"/>
                          <a:pt x="97" y="35"/>
                          <a:pt x="97" y="35"/>
                        </a:cubicBezTo>
                        <a:cubicBezTo>
                          <a:pt x="97" y="35"/>
                          <a:pt x="97" y="35"/>
                          <a:pt x="97" y="35"/>
                        </a:cubicBezTo>
                        <a:cubicBezTo>
                          <a:pt x="96" y="35"/>
                          <a:pt x="97" y="35"/>
                          <a:pt x="97" y="35"/>
                        </a:cubicBezTo>
                        <a:cubicBezTo>
                          <a:pt x="96" y="35"/>
                          <a:pt x="97" y="35"/>
                          <a:pt x="96" y="35"/>
                        </a:cubicBezTo>
                        <a:close/>
                        <a:moveTo>
                          <a:pt x="99" y="36"/>
                        </a:moveTo>
                        <a:cubicBezTo>
                          <a:pt x="99" y="35"/>
                          <a:pt x="99" y="36"/>
                          <a:pt x="99" y="36"/>
                        </a:cubicBezTo>
                        <a:cubicBezTo>
                          <a:pt x="99" y="35"/>
                          <a:pt x="99" y="35"/>
                          <a:pt x="99" y="36"/>
                        </a:cubicBezTo>
                        <a:close/>
                        <a:moveTo>
                          <a:pt x="98" y="34"/>
                        </a:moveTo>
                        <a:cubicBezTo>
                          <a:pt x="98" y="34"/>
                          <a:pt x="97" y="34"/>
                          <a:pt x="98" y="34"/>
                        </a:cubicBezTo>
                        <a:cubicBezTo>
                          <a:pt x="97" y="34"/>
                          <a:pt x="97" y="34"/>
                          <a:pt x="97" y="34"/>
                        </a:cubicBezTo>
                        <a:cubicBezTo>
                          <a:pt x="98" y="34"/>
                          <a:pt x="97" y="34"/>
                          <a:pt x="98" y="34"/>
                        </a:cubicBezTo>
                        <a:close/>
                        <a:moveTo>
                          <a:pt x="98" y="34"/>
                        </a:moveTo>
                        <a:cubicBezTo>
                          <a:pt x="98" y="34"/>
                          <a:pt x="98" y="34"/>
                          <a:pt x="99" y="34"/>
                        </a:cubicBezTo>
                        <a:cubicBezTo>
                          <a:pt x="99" y="34"/>
                          <a:pt x="98" y="34"/>
                          <a:pt x="98" y="34"/>
                        </a:cubicBezTo>
                        <a:cubicBezTo>
                          <a:pt x="98" y="34"/>
                          <a:pt x="99" y="34"/>
                          <a:pt x="99" y="34"/>
                        </a:cubicBezTo>
                        <a:cubicBezTo>
                          <a:pt x="98" y="34"/>
                          <a:pt x="98" y="34"/>
                          <a:pt x="98" y="34"/>
                        </a:cubicBezTo>
                        <a:cubicBezTo>
                          <a:pt x="98" y="34"/>
                          <a:pt x="98" y="34"/>
                          <a:pt x="98" y="34"/>
                        </a:cubicBezTo>
                        <a:cubicBezTo>
                          <a:pt x="98" y="34"/>
                          <a:pt x="98" y="34"/>
                          <a:pt x="98" y="34"/>
                        </a:cubicBezTo>
                        <a:cubicBezTo>
                          <a:pt x="98" y="34"/>
                          <a:pt x="98" y="34"/>
                          <a:pt x="98" y="34"/>
                        </a:cubicBezTo>
                        <a:cubicBezTo>
                          <a:pt x="98" y="34"/>
                          <a:pt x="98" y="34"/>
                          <a:pt x="98" y="34"/>
                        </a:cubicBezTo>
                        <a:close/>
                        <a:moveTo>
                          <a:pt x="100" y="35"/>
                        </a:moveTo>
                        <a:cubicBezTo>
                          <a:pt x="100" y="35"/>
                          <a:pt x="100" y="35"/>
                          <a:pt x="100" y="35"/>
                        </a:cubicBezTo>
                        <a:cubicBezTo>
                          <a:pt x="100" y="35"/>
                          <a:pt x="100" y="35"/>
                          <a:pt x="100" y="35"/>
                        </a:cubicBezTo>
                        <a:cubicBezTo>
                          <a:pt x="100" y="35"/>
                          <a:pt x="100" y="35"/>
                          <a:pt x="100" y="35"/>
                        </a:cubicBezTo>
                        <a:cubicBezTo>
                          <a:pt x="100" y="35"/>
                          <a:pt x="100" y="35"/>
                          <a:pt x="100" y="35"/>
                        </a:cubicBezTo>
                        <a:close/>
                        <a:moveTo>
                          <a:pt x="99" y="35"/>
                        </a:moveTo>
                        <a:cubicBezTo>
                          <a:pt x="99" y="35"/>
                          <a:pt x="99" y="35"/>
                          <a:pt x="99" y="35"/>
                        </a:cubicBezTo>
                        <a:cubicBezTo>
                          <a:pt x="99" y="35"/>
                          <a:pt x="99" y="35"/>
                          <a:pt x="99" y="35"/>
                        </a:cubicBezTo>
                        <a:cubicBezTo>
                          <a:pt x="99" y="35"/>
                          <a:pt x="99" y="35"/>
                          <a:pt x="99" y="35"/>
                        </a:cubicBezTo>
                        <a:cubicBezTo>
                          <a:pt x="99" y="35"/>
                          <a:pt x="99" y="35"/>
                          <a:pt x="99" y="35"/>
                        </a:cubicBezTo>
                        <a:cubicBezTo>
                          <a:pt x="99" y="35"/>
                          <a:pt x="99" y="35"/>
                          <a:pt x="99" y="35"/>
                        </a:cubicBezTo>
                        <a:cubicBezTo>
                          <a:pt x="99" y="35"/>
                          <a:pt x="99" y="35"/>
                          <a:pt x="99" y="35"/>
                        </a:cubicBezTo>
                        <a:close/>
                        <a:moveTo>
                          <a:pt x="99" y="35"/>
                        </a:moveTo>
                        <a:cubicBezTo>
                          <a:pt x="99" y="35"/>
                          <a:pt x="99" y="35"/>
                          <a:pt x="99" y="35"/>
                        </a:cubicBezTo>
                        <a:cubicBezTo>
                          <a:pt x="99" y="35"/>
                          <a:pt x="99" y="35"/>
                          <a:pt x="99" y="35"/>
                        </a:cubicBezTo>
                        <a:cubicBezTo>
                          <a:pt x="99" y="35"/>
                          <a:pt x="99" y="35"/>
                          <a:pt x="99" y="35"/>
                        </a:cubicBezTo>
                        <a:close/>
                        <a:moveTo>
                          <a:pt x="100" y="35"/>
                        </a:moveTo>
                        <a:cubicBezTo>
                          <a:pt x="99" y="35"/>
                          <a:pt x="100" y="35"/>
                          <a:pt x="100" y="35"/>
                        </a:cubicBezTo>
                        <a:cubicBezTo>
                          <a:pt x="100" y="35"/>
                          <a:pt x="100" y="35"/>
                          <a:pt x="100" y="35"/>
                        </a:cubicBezTo>
                        <a:cubicBezTo>
                          <a:pt x="100" y="35"/>
                          <a:pt x="99" y="35"/>
                          <a:pt x="99" y="35"/>
                        </a:cubicBezTo>
                        <a:cubicBezTo>
                          <a:pt x="100" y="35"/>
                          <a:pt x="100" y="35"/>
                          <a:pt x="100" y="35"/>
                        </a:cubicBezTo>
                        <a:cubicBezTo>
                          <a:pt x="100" y="35"/>
                          <a:pt x="100" y="35"/>
                          <a:pt x="100" y="35"/>
                        </a:cubicBezTo>
                        <a:cubicBezTo>
                          <a:pt x="100" y="35"/>
                          <a:pt x="100" y="35"/>
                          <a:pt x="100" y="35"/>
                        </a:cubicBezTo>
                        <a:cubicBezTo>
                          <a:pt x="100" y="35"/>
                          <a:pt x="101" y="36"/>
                          <a:pt x="101" y="35"/>
                        </a:cubicBezTo>
                        <a:cubicBezTo>
                          <a:pt x="101" y="35"/>
                          <a:pt x="100" y="35"/>
                          <a:pt x="100" y="35"/>
                        </a:cubicBezTo>
                        <a:cubicBezTo>
                          <a:pt x="100" y="35"/>
                          <a:pt x="101" y="35"/>
                          <a:pt x="101" y="35"/>
                        </a:cubicBezTo>
                        <a:cubicBezTo>
                          <a:pt x="100" y="35"/>
                          <a:pt x="100" y="35"/>
                          <a:pt x="100" y="35"/>
                        </a:cubicBezTo>
                        <a:close/>
                        <a:moveTo>
                          <a:pt x="100" y="35"/>
                        </a:moveTo>
                        <a:cubicBezTo>
                          <a:pt x="100" y="35"/>
                          <a:pt x="101" y="35"/>
                          <a:pt x="101" y="35"/>
                        </a:cubicBezTo>
                        <a:cubicBezTo>
                          <a:pt x="100" y="35"/>
                          <a:pt x="100" y="35"/>
                          <a:pt x="100" y="35"/>
                        </a:cubicBezTo>
                        <a:close/>
                        <a:moveTo>
                          <a:pt x="99" y="34"/>
                        </a:moveTo>
                        <a:cubicBezTo>
                          <a:pt x="99" y="34"/>
                          <a:pt x="99" y="34"/>
                          <a:pt x="99" y="34"/>
                        </a:cubicBezTo>
                        <a:cubicBezTo>
                          <a:pt x="99" y="34"/>
                          <a:pt x="99" y="34"/>
                          <a:pt x="99" y="34"/>
                        </a:cubicBezTo>
                        <a:cubicBezTo>
                          <a:pt x="99" y="34"/>
                          <a:pt x="99" y="34"/>
                          <a:pt x="99" y="34"/>
                        </a:cubicBezTo>
                        <a:cubicBezTo>
                          <a:pt x="99" y="34"/>
                          <a:pt x="99" y="34"/>
                          <a:pt x="99" y="34"/>
                        </a:cubicBezTo>
                        <a:close/>
                        <a:moveTo>
                          <a:pt x="95" y="33"/>
                        </a:moveTo>
                        <a:cubicBezTo>
                          <a:pt x="95" y="33"/>
                          <a:pt x="94" y="33"/>
                          <a:pt x="94" y="33"/>
                        </a:cubicBezTo>
                        <a:cubicBezTo>
                          <a:pt x="94" y="33"/>
                          <a:pt x="93" y="33"/>
                          <a:pt x="93" y="33"/>
                        </a:cubicBezTo>
                        <a:cubicBezTo>
                          <a:pt x="93" y="33"/>
                          <a:pt x="94" y="33"/>
                          <a:pt x="94" y="33"/>
                        </a:cubicBezTo>
                        <a:cubicBezTo>
                          <a:pt x="94" y="33"/>
                          <a:pt x="94" y="33"/>
                          <a:pt x="94" y="33"/>
                        </a:cubicBezTo>
                        <a:cubicBezTo>
                          <a:pt x="94" y="33"/>
                          <a:pt x="94" y="33"/>
                          <a:pt x="94" y="33"/>
                        </a:cubicBezTo>
                        <a:cubicBezTo>
                          <a:pt x="94" y="33"/>
                          <a:pt x="94" y="33"/>
                          <a:pt x="94" y="33"/>
                        </a:cubicBezTo>
                        <a:cubicBezTo>
                          <a:pt x="94" y="33"/>
                          <a:pt x="95" y="33"/>
                          <a:pt x="95" y="33"/>
                        </a:cubicBezTo>
                        <a:cubicBezTo>
                          <a:pt x="95" y="33"/>
                          <a:pt x="95" y="33"/>
                          <a:pt x="95" y="33"/>
                        </a:cubicBezTo>
                        <a:close/>
                        <a:moveTo>
                          <a:pt x="97" y="36"/>
                        </a:moveTo>
                        <a:cubicBezTo>
                          <a:pt x="97" y="36"/>
                          <a:pt x="98" y="36"/>
                          <a:pt x="98" y="36"/>
                        </a:cubicBezTo>
                        <a:cubicBezTo>
                          <a:pt x="98" y="36"/>
                          <a:pt x="97" y="36"/>
                          <a:pt x="97" y="36"/>
                        </a:cubicBezTo>
                        <a:close/>
                        <a:moveTo>
                          <a:pt x="103" y="34"/>
                        </a:moveTo>
                        <a:cubicBezTo>
                          <a:pt x="103" y="34"/>
                          <a:pt x="103" y="34"/>
                          <a:pt x="103" y="34"/>
                        </a:cubicBezTo>
                        <a:cubicBezTo>
                          <a:pt x="103" y="34"/>
                          <a:pt x="102" y="34"/>
                          <a:pt x="103" y="34"/>
                        </a:cubicBezTo>
                        <a:close/>
                        <a:moveTo>
                          <a:pt x="104" y="32"/>
                        </a:moveTo>
                        <a:cubicBezTo>
                          <a:pt x="104" y="33"/>
                          <a:pt x="103" y="32"/>
                          <a:pt x="103" y="32"/>
                        </a:cubicBezTo>
                        <a:cubicBezTo>
                          <a:pt x="103" y="32"/>
                          <a:pt x="103" y="32"/>
                          <a:pt x="103" y="32"/>
                        </a:cubicBezTo>
                        <a:cubicBezTo>
                          <a:pt x="103" y="32"/>
                          <a:pt x="103" y="32"/>
                          <a:pt x="103" y="32"/>
                        </a:cubicBezTo>
                        <a:cubicBezTo>
                          <a:pt x="103" y="32"/>
                          <a:pt x="103" y="32"/>
                          <a:pt x="103" y="32"/>
                        </a:cubicBezTo>
                        <a:cubicBezTo>
                          <a:pt x="103" y="32"/>
                          <a:pt x="103" y="32"/>
                          <a:pt x="104" y="32"/>
                        </a:cubicBezTo>
                        <a:cubicBezTo>
                          <a:pt x="104" y="32"/>
                          <a:pt x="104" y="32"/>
                          <a:pt x="104" y="32"/>
                        </a:cubicBezTo>
                        <a:close/>
                        <a:moveTo>
                          <a:pt x="103" y="33"/>
                        </a:moveTo>
                        <a:cubicBezTo>
                          <a:pt x="103" y="33"/>
                          <a:pt x="102" y="33"/>
                          <a:pt x="102" y="33"/>
                        </a:cubicBezTo>
                        <a:cubicBezTo>
                          <a:pt x="103" y="33"/>
                          <a:pt x="103" y="33"/>
                          <a:pt x="103" y="33"/>
                        </a:cubicBezTo>
                        <a:close/>
                        <a:moveTo>
                          <a:pt x="103" y="27"/>
                        </a:moveTo>
                        <a:cubicBezTo>
                          <a:pt x="104" y="28"/>
                          <a:pt x="103" y="27"/>
                          <a:pt x="104" y="28"/>
                        </a:cubicBezTo>
                        <a:cubicBezTo>
                          <a:pt x="104" y="28"/>
                          <a:pt x="104" y="28"/>
                          <a:pt x="104" y="28"/>
                        </a:cubicBezTo>
                        <a:cubicBezTo>
                          <a:pt x="103" y="28"/>
                          <a:pt x="103" y="28"/>
                          <a:pt x="103" y="28"/>
                        </a:cubicBezTo>
                        <a:cubicBezTo>
                          <a:pt x="103" y="27"/>
                          <a:pt x="103" y="27"/>
                          <a:pt x="103" y="27"/>
                        </a:cubicBezTo>
                        <a:cubicBezTo>
                          <a:pt x="103" y="27"/>
                          <a:pt x="103" y="28"/>
                          <a:pt x="103" y="28"/>
                        </a:cubicBezTo>
                        <a:cubicBezTo>
                          <a:pt x="103" y="28"/>
                          <a:pt x="103" y="28"/>
                          <a:pt x="103" y="27"/>
                        </a:cubicBezTo>
                        <a:close/>
                        <a:moveTo>
                          <a:pt x="103" y="30"/>
                        </a:moveTo>
                        <a:cubicBezTo>
                          <a:pt x="103" y="30"/>
                          <a:pt x="102" y="30"/>
                          <a:pt x="102" y="30"/>
                        </a:cubicBezTo>
                        <a:cubicBezTo>
                          <a:pt x="102" y="30"/>
                          <a:pt x="102" y="30"/>
                          <a:pt x="102" y="30"/>
                        </a:cubicBezTo>
                        <a:cubicBezTo>
                          <a:pt x="102" y="30"/>
                          <a:pt x="102" y="30"/>
                          <a:pt x="101" y="30"/>
                        </a:cubicBezTo>
                        <a:cubicBezTo>
                          <a:pt x="101" y="30"/>
                          <a:pt x="101" y="30"/>
                          <a:pt x="101" y="30"/>
                        </a:cubicBezTo>
                        <a:cubicBezTo>
                          <a:pt x="101" y="30"/>
                          <a:pt x="101" y="30"/>
                          <a:pt x="101" y="30"/>
                        </a:cubicBezTo>
                        <a:cubicBezTo>
                          <a:pt x="101" y="30"/>
                          <a:pt x="101" y="30"/>
                          <a:pt x="101" y="30"/>
                        </a:cubicBezTo>
                        <a:cubicBezTo>
                          <a:pt x="101" y="30"/>
                          <a:pt x="101" y="30"/>
                          <a:pt x="101" y="30"/>
                        </a:cubicBezTo>
                        <a:cubicBezTo>
                          <a:pt x="101" y="30"/>
                          <a:pt x="100" y="30"/>
                          <a:pt x="101" y="30"/>
                        </a:cubicBezTo>
                        <a:cubicBezTo>
                          <a:pt x="100" y="30"/>
                          <a:pt x="100" y="30"/>
                          <a:pt x="100" y="30"/>
                        </a:cubicBezTo>
                        <a:cubicBezTo>
                          <a:pt x="100" y="30"/>
                          <a:pt x="100" y="30"/>
                          <a:pt x="100" y="30"/>
                        </a:cubicBezTo>
                        <a:cubicBezTo>
                          <a:pt x="100" y="30"/>
                          <a:pt x="100" y="30"/>
                          <a:pt x="101" y="30"/>
                        </a:cubicBezTo>
                        <a:cubicBezTo>
                          <a:pt x="100" y="30"/>
                          <a:pt x="100" y="30"/>
                          <a:pt x="100" y="30"/>
                        </a:cubicBezTo>
                        <a:cubicBezTo>
                          <a:pt x="100" y="29"/>
                          <a:pt x="100" y="30"/>
                          <a:pt x="100" y="29"/>
                        </a:cubicBezTo>
                        <a:cubicBezTo>
                          <a:pt x="100" y="29"/>
                          <a:pt x="100" y="29"/>
                          <a:pt x="100" y="29"/>
                        </a:cubicBezTo>
                        <a:cubicBezTo>
                          <a:pt x="99" y="29"/>
                          <a:pt x="100" y="29"/>
                          <a:pt x="100" y="29"/>
                        </a:cubicBezTo>
                        <a:cubicBezTo>
                          <a:pt x="100" y="30"/>
                          <a:pt x="100" y="30"/>
                          <a:pt x="99" y="29"/>
                        </a:cubicBezTo>
                        <a:cubicBezTo>
                          <a:pt x="99" y="29"/>
                          <a:pt x="100" y="29"/>
                          <a:pt x="100" y="29"/>
                        </a:cubicBezTo>
                        <a:cubicBezTo>
                          <a:pt x="100" y="29"/>
                          <a:pt x="100" y="29"/>
                          <a:pt x="100" y="29"/>
                        </a:cubicBezTo>
                        <a:cubicBezTo>
                          <a:pt x="100" y="29"/>
                          <a:pt x="100" y="29"/>
                          <a:pt x="100" y="29"/>
                        </a:cubicBezTo>
                        <a:cubicBezTo>
                          <a:pt x="99" y="29"/>
                          <a:pt x="99" y="29"/>
                          <a:pt x="99" y="29"/>
                        </a:cubicBezTo>
                        <a:cubicBezTo>
                          <a:pt x="99" y="29"/>
                          <a:pt x="99" y="29"/>
                          <a:pt x="99" y="29"/>
                        </a:cubicBezTo>
                        <a:cubicBezTo>
                          <a:pt x="98" y="29"/>
                          <a:pt x="98" y="29"/>
                          <a:pt x="98" y="29"/>
                        </a:cubicBezTo>
                        <a:cubicBezTo>
                          <a:pt x="99" y="29"/>
                          <a:pt x="99" y="29"/>
                          <a:pt x="99" y="29"/>
                        </a:cubicBezTo>
                        <a:cubicBezTo>
                          <a:pt x="99" y="29"/>
                          <a:pt x="99" y="29"/>
                          <a:pt x="99" y="28"/>
                        </a:cubicBezTo>
                        <a:cubicBezTo>
                          <a:pt x="100" y="28"/>
                          <a:pt x="100" y="29"/>
                          <a:pt x="99" y="29"/>
                        </a:cubicBezTo>
                        <a:cubicBezTo>
                          <a:pt x="100" y="29"/>
                          <a:pt x="100" y="28"/>
                          <a:pt x="100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100" y="28"/>
                          <a:pt x="99" y="27"/>
                        </a:cubicBezTo>
                        <a:cubicBezTo>
                          <a:pt x="100" y="28"/>
                          <a:pt x="99" y="28"/>
                          <a:pt x="99" y="27"/>
                        </a:cubicBezTo>
                        <a:cubicBezTo>
                          <a:pt x="99" y="27"/>
                          <a:pt x="99" y="27"/>
                          <a:pt x="99" y="27"/>
                        </a:cubicBezTo>
                        <a:cubicBezTo>
                          <a:pt x="99" y="27"/>
                          <a:pt x="99" y="27"/>
                          <a:pt x="99" y="27"/>
                        </a:cubicBezTo>
                        <a:cubicBezTo>
                          <a:pt x="99" y="27"/>
                          <a:pt x="99" y="27"/>
                          <a:pt x="99" y="27"/>
                        </a:cubicBezTo>
                        <a:cubicBezTo>
                          <a:pt x="99" y="27"/>
                          <a:pt x="99" y="27"/>
                          <a:pt x="98" y="27"/>
                        </a:cubicBezTo>
                        <a:cubicBezTo>
                          <a:pt x="99" y="27"/>
                          <a:pt x="99" y="27"/>
                          <a:pt x="98" y="27"/>
                        </a:cubicBezTo>
                        <a:cubicBezTo>
                          <a:pt x="98" y="27"/>
                          <a:pt x="98" y="27"/>
                          <a:pt x="98" y="27"/>
                        </a:cubicBezTo>
                        <a:cubicBezTo>
                          <a:pt x="98" y="27"/>
                          <a:pt x="99" y="27"/>
                          <a:pt x="99" y="27"/>
                        </a:cubicBezTo>
                        <a:cubicBezTo>
                          <a:pt x="99" y="27"/>
                          <a:pt x="99" y="27"/>
                          <a:pt x="98" y="26"/>
                        </a:cubicBezTo>
                        <a:cubicBezTo>
                          <a:pt x="98" y="26"/>
                          <a:pt x="99" y="26"/>
                          <a:pt x="99" y="26"/>
                        </a:cubicBezTo>
                        <a:cubicBezTo>
                          <a:pt x="99" y="26"/>
                          <a:pt x="98" y="26"/>
                          <a:pt x="98" y="26"/>
                        </a:cubicBezTo>
                        <a:cubicBezTo>
                          <a:pt x="98" y="26"/>
                          <a:pt x="98" y="26"/>
                          <a:pt x="98" y="26"/>
                        </a:cubicBezTo>
                        <a:cubicBezTo>
                          <a:pt x="98" y="26"/>
                          <a:pt x="98" y="26"/>
                          <a:pt x="98" y="26"/>
                        </a:cubicBezTo>
                        <a:cubicBezTo>
                          <a:pt x="98" y="26"/>
                          <a:pt x="98" y="26"/>
                          <a:pt x="98" y="26"/>
                        </a:cubicBezTo>
                        <a:cubicBezTo>
                          <a:pt x="98" y="26"/>
                          <a:pt x="98" y="26"/>
                          <a:pt x="98" y="26"/>
                        </a:cubicBezTo>
                        <a:cubicBezTo>
                          <a:pt x="98" y="26"/>
                          <a:pt x="98" y="26"/>
                          <a:pt x="97" y="26"/>
                        </a:cubicBezTo>
                        <a:cubicBezTo>
                          <a:pt x="97" y="26"/>
                          <a:pt x="98" y="26"/>
                          <a:pt x="98" y="26"/>
                        </a:cubicBezTo>
                        <a:cubicBezTo>
                          <a:pt x="98" y="26"/>
                          <a:pt x="97" y="26"/>
                          <a:pt x="97" y="26"/>
                        </a:cubicBezTo>
                        <a:cubicBezTo>
                          <a:pt x="97" y="26"/>
                          <a:pt x="97" y="26"/>
                          <a:pt x="98" y="26"/>
                        </a:cubicBezTo>
                        <a:cubicBezTo>
                          <a:pt x="98" y="26"/>
                          <a:pt x="99" y="26"/>
                          <a:pt x="99" y="27"/>
                        </a:cubicBezTo>
                        <a:cubicBezTo>
                          <a:pt x="99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99" y="27"/>
                          <a:pt x="99" y="27"/>
                          <a:pt x="99" y="27"/>
                        </a:cubicBezTo>
                        <a:cubicBezTo>
                          <a:pt x="99" y="27"/>
                          <a:pt x="100" y="27"/>
                          <a:pt x="100" y="27"/>
                        </a:cubicBezTo>
                        <a:cubicBezTo>
                          <a:pt x="99" y="27"/>
                          <a:pt x="99" y="27"/>
                          <a:pt x="99" y="27"/>
                        </a:cubicBezTo>
                        <a:cubicBezTo>
                          <a:pt x="99" y="27"/>
                          <a:pt x="99" y="27"/>
                          <a:pt x="100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8"/>
                          <a:pt x="100" y="28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1" y="27"/>
                          <a:pt x="101" y="28"/>
                          <a:pt x="101" y="28"/>
                        </a:cubicBezTo>
                        <a:cubicBezTo>
                          <a:pt x="101" y="28"/>
                          <a:pt x="101" y="28"/>
                          <a:pt x="101" y="28"/>
                        </a:cubicBezTo>
                        <a:cubicBezTo>
                          <a:pt x="101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101" y="28"/>
                        </a:cubicBezTo>
                        <a:cubicBezTo>
                          <a:pt x="100" y="28"/>
                          <a:pt x="101" y="28"/>
                          <a:pt x="100" y="28"/>
                        </a:cubicBezTo>
                        <a:cubicBezTo>
                          <a:pt x="101" y="29"/>
                          <a:pt x="101" y="28"/>
                          <a:pt x="102" y="29"/>
                        </a:cubicBezTo>
                        <a:cubicBezTo>
                          <a:pt x="101" y="29"/>
                          <a:pt x="101" y="29"/>
                          <a:pt x="101" y="29"/>
                        </a:cubicBezTo>
                        <a:cubicBezTo>
                          <a:pt x="101" y="29"/>
                          <a:pt x="101" y="29"/>
                          <a:pt x="101" y="29"/>
                        </a:cubicBezTo>
                        <a:cubicBezTo>
                          <a:pt x="101" y="29"/>
                          <a:pt x="101" y="29"/>
                          <a:pt x="101" y="29"/>
                        </a:cubicBezTo>
                        <a:cubicBezTo>
                          <a:pt x="101" y="29"/>
                          <a:pt x="101" y="29"/>
                          <a:pt x="102" y="29"/>
                        </a:cubicBezTo>
                        <a:cubicBezTo>
                          <a:pt x="102" y="29"/>
                          <a:pt x="101" y="29"/>
                          <a:pt x="101" y="29"/>
                        </a:cubicBezTo>
                        <a:cubicBezTo>
                          <a:pt x="102" y="29"/>
                          <a:pt x="102" y="29"/>
                          <a:pt x="102" y="29"/>
                        </a:cubicBezTo>
                        <a:cubicBezTo>
                          <a:pt x="102" y="29"/>
                          <a:pt x="102" y="29"/>
                          <a:pt x="102" y="30"/>
                        </a:cubicBezTo>
                        <a:cubicBezTo>
                          <a:pt x="102" y="29"/>
                          <a:pt x="102" y="29"/>
                          <a:pt x="101" y="29"/>
                        </a:cubicBezTo>
                        <a:cubicBezTo>
                          <a:pt x="101" y="30"/>
                          <a:pt x="102" y="30"/>
                          <a:pt x="102" y="30"/>
                        </a:cubicBezTo>
                        <a:cubicBezTo>
                          <a:pt x="102" y="30"/>
                          <a:pt x="103" y="30"/>
                          <a:pt x="103" y="30"/>
                        </a:cubicBezTo>
                        <a:close/>
                        <a:moveTo>
                          <a:pt x="100" y="28"/>
                        </a:moveTo>
                        <a:cubicBezTo>
                          <a:pt x="100" y="28"/>
                          <a:pt x="100" y="27"/>
                          <a:pt x="99" y="28"/>
                        </a:cubicBezTo>
                        <a:cubicBezTo>
                          <a:pt x="100" y="28"/>
                          <a:pt x="100" y="28"/>
                          <a:pt x="99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lose/>
                        <a:moveTo>
                          <a:pt x="100" y="28"/>
                        </a:move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99" y="28"/>
                        </a:cubicBezTo>
                        <a:cubicBezTo>
                          <a:pt x="99" y="28"/>
                          <a:pt x="100" y="28"/>
                          <a:pt x="100" y="28"/>
                        </a:cubicBezTo>
                        <a:close/>
                        <a:moveTo>
                          <a:pt x="101" y="30"/>
                        </a:moveTo>
                        <a:cubicBezTo>
                          <a:pt x="101" y="30"/>
                          <a:pt x="101" y="29"/>
                          <a:pt x="101" y="29"/>
                        </a:cubicBezTo>
                        <a:cubicBezTo>
                          <a:pt x="101" y="29"/>
                          <a:pt x="101" y="30"/>
                          <a:pt x="101" y="30"/>
                        </a:cubicBezTo>
                        <a:close/>
                        <a:moveTo>
                          <a:pt x="101" y="30"/>
                        </a:moveTo>
                        <a:cubicBezTo>
                          <a:pt x="101" y="30"/>
                          <a:pt x="101" y="30"/>
                          <a:pt x="101" y="30"/>
                        </a:cubicBezTo>
                        <a:cubicBezTo>
                          <a:pt x="101" y="30"/>
                          <a:pt x="101" y="30"/>
                          <a:pt x="101" y="30"/>
                        </a:cubicBezTo>
                        <a:close/>
                        <a:moveTo>
                          <a:pt x="102" y="34"/>
                        </a:moveTo>
                        <a:cubicBezTo>
                          <a:pt x="101" y="34"/>
                          <a:pt x="101" y="34"/>
                          <a:pt x="101" y="34"/>
                        </a:cubicBezTo>
                        <a:cubicBezTo>
                          <a:pt x="101" y="34"/>
                          <a:pt x="101" y="34"/>
                          <a:pt x="102" y="34"/>
                        </a:cubicBezTo>
                        <a:close/>
                        <a:moveTo>
                          <a:pt x="103" y="26"/>
                        </a:moveTo>
                        <a:cubicBezTo>
                          <a:pt x="103" y="26"/>
                          <a:pt x="103" y="26"/>
                          <a:pt x="103" y="26"/>
                        </a:cubicBezTo>
                        <a:cubicBezTo>
                          <a:pt x="103" y="26"/>
                          <a:pt x="103" y="26"/>
                          <a:pt x="103" y="26"/>
                        </a:cubicBezTo>
                        <a:cubicBezTo>
                          <a:pt x="103" y="26"/>
                          <a:pt x="103" y="26"/>
                          <a:pt x="103" y="26"/>
                        </a:cubicBezTo>
                        <a:cubicBezTo>
                          <a:pt x="103" y="26"/>
                          <a:pt x="104" y="26"/>
                          <a:pt x="103" y="26"/>
                        </a:cubicBezTo>
                        <a:close/>
                        <a:moveTo>
                          <a:pt x="97" y="31"/>
                        </a:moveTo>
                        <a:cubicBezTo>
                          <a:pt x="98" y="31"/>
                          <a:pt x="98" y="31"/>
                          <a:pt x="99" y="32"/>
                        </a:cubicBezTo>
                        <a:cubicBezTo>
                          <a:pt x="99" y="32"/>
                          <a:pt x="98" y="32"/>
                          <a:pt x="99" y="32"/>
                        </a:cubicBezTo>
                        <a:cubicBezTo>
                          <a:pt x="98" y="32"/>
                          <a:pt x="98" y="32"/>
                          <a:pt x="98" y="32"/>
                        </a:cubicBezTo>
                        <a:cubicBezTo>
                          <a:pt x="98" y="32"/>
                          <a:pt x="98" y="32"/>
                          <a:pt x="98" y="31"/>
                        </a:cubicBezTo>
                        <a:cubicBezTo>
                          <a:pt x="98" y="31"/>
                          <a:pt x="98" y="31"/>
                          <a:pt x="98" y="31"/>
                        </a:cubicBezTo>
                        <a:cubicBezTo>
                          <a:pt x="98" y="31"/>
                          <a:pt x="98" y="31"/>
                          <a:pt x="97" y="31"/>
                        </a:cubicBezTo>
                        <a:cubicBezTo>
                          <a:pt x="97" y="31"/>
                          <a:pt x="97" y="31"/>
                          <a:pt x="97" y="31"/>
                        </a:cubicBezTo>
                        <a:cubicBezTo>
                          <a:pt x="97" y="31"/>
                          <a:pt x="97" y="31"/>
                          <a:pt x="97" y="31"/>
                        </a:cubicBezTo>
                        <a:cubicBezTo>
                          <a:pt x="97" y="31"/>
                          <a:pt x="97" y="31"/>
                          <a:pt x="97" y="31"/>
                        </a:cubicBezTo>
                        <a:cubicBezTo>
                          <a:pt x="97" y="31"/>
                          <a:pt x="97" y="31"/>
                          <a:pt x="97" y="31"/>
                        </a:cubicBezTo>
                        <a:close/>
                        <a:moveTo>
                          <a:pt x="97" y="33"/>
                        </a:moveTo>
                        <a:cubicBezTo>
                          <a:pt x="97" y="33"/>
                          <a:pt x="97" y="33"/>
                          <a:pt x="97" y="33"/>
                        </a:cubicBezTo>
                        <a:cubicBezTo>
                          <a:pt x="97" y="33"/>
                          <a:pt x="97" y="33"/>
                          <a:pt x="97" y="33"/>
                        </a:cubicBezTo>
                        <a:cubicBezTo>
                          <a:pt x="97" y="33"/>
                          <a:pt x="97" y="33"/>
                          <a:pt x="98" y="33"/>
                        </a:cubicBezTo>
                        <a:cubicBezTo>
                          <a:pt x="98" y="33"/>
                          <a:pt x="97" y="33"/>
                          <a:pt x="97" y="33"/>
                        </a:cubicBezTo>
                        <a:close/>
                        <a:moveTo>
                          <a:pt x="65" y="22"/>
                        </a:moveTo>
                        <a:cubicBezTo>
                          <a:pt x="65" y="22"/>
                          <a:pt x="65" y="22"/>
                          <a:pt x="64" y="22"/>
                        </a:cubicBezTo>
                        <a:cubicBezTo>
                          <a:pt x="64" y="22"/>
                          <a:pt x="65" y="22"/>
                          <a:pt x="65" y="22"/>
                        </a:cubicBezTo>
                        <a:cubicBezTo>
                          <a:pt x="64" y="22"/>
                          <a:pt x="64" y="21"/>
                          <a:pt x="63" y="21"/>
                        </a:cubicBezTo>
                        <a:cubicBezTo>
                          <a:pt x="63" y="21"/>
                          <a:pt x="63" y="21"/>
                          <a:pt x="63" y="21"/>
                        </a:cubicBezTo>
                        <a:cubicBezTo>
                          <a:pt x="63" y="22"/>
                          <a:pt x="63" y="21"/>
                          <a:pt x="63" y="21"/>
                        </a:cubicBezTo>
                        <a:cubicBezTo>
                          <a:pt x="63" y="21"/>
                          <a:pt x="64" y="22"/>
                          <a:pt x="63" y="21"/>
                        </a:cubicBezTo>
                        <a:cubicBezTo>
                          <a:pt x="63" y="21"/>
                          <a:pt x="63" y="21"/>
                          <a:pt x="63" y="21"/>
                        </a:cubicBezTo>
                        <a:cubicBezTo>
                          <a:pt x="62" y="21"/>
                          <a:pt x="62" y="21"/>
                          <a:pt x="61" y="20"/>
                        </a:cubicBezTo>
                        <a:cubicBezTo>
                          <a:pt x="61" y="20"/>
                          <a:pt x="63" y="21"/>
                          <a:pt x="63" y="21"/>
                        </a:cubicBezTo>
                        <a:cubicBezTo>
                          <a:pt x="63" y="21"/>
                          <a:pt x="63" y="21"/>
                          <a:pt x="63" y="21"/>
                        </a:cubicBezTo>
                        <a:cubicBezTo>
                          <a:pt x="63" y="21"/>
                          <a:pt x="63" y="21"/>
                          <a:pt x="63" y="21"/>
                        </a:cubicBezTo>
                        <a:cubicBezTo>
                          <a:pt x="63" y="21"/>
                          <a:pt x="62" y="20"/>
                          <a:pt x="62" y="20"/>
                        </a:cubicBezTo>
                        <a:cubicBezTo>
                          <a:pt x="62" y="21"/>
                          <a:pt x="62" y="20"/>
                          <a:pt x="62" y="20"/>
                        </a:cubicBezTo>
                        <a:cubicBezTo>
                          <a:pt x="62" y="20"/>
                          <a:pt x="62" y="20"/>
                          <a:pt x="62" y="20"/>
                        </a:cubicBezTo>
                        <a:cubicBezTo>
                          <a:pt x="62" y="20"/>
                          <a:pt x="63" y="20"/>
                          <a:pt x="63" y="21"/>
                        </a:cubicBezTo>
                        <a:cubicBezTo>
                          <a:pt x="63" y="21"/>
                          <a:pt x="63" y="21"/>
                          <a:pt x="63" y="21"/>
                        </a:cubicBezTo>
                        <a:cubicBezTo>
                          <a:pt x="63" y="21"/>
                          <a:pt x="62" y="20"/>
                          <a:pt x="62" y="21"/>
                        </a:cubicBezTo>
                        <a:cubicBezTo>
                          <a:pt x="62" y="20"/>
                          <a:pt x="62" y="21"/>
                          <a:pt x="61" y="20"/>
                        </a:cubicBezTo>
                        <a:cubicBezTo>
                          <a:pt x="61" y="20"/>
                          <a:pt x="61" y="20"/>
                          <a:pt x="61" y="20"/>
                        </a:cubicBezTo>
                        <a:cubicBezTo>
                          <a:pt x="61" y="20"/>
                          <a:pt x="62" y="20"/>
                          <a:pt x="61" y="20"/>
                        </a:cubicBezTo>
                        <a:cubicBezTo>
                          <a:pt x="62" y="20"/>
                          <a:pt x="61" y="20"/>
                          <a:pt x="62" y="20"/>
                        </a:cubicBezTo>
                        <a:cubicBezTo>
                          <a:pt x="62" y="20"/>
                          <a:pt x="61" y="20"/>
                          <a:pt x="61" y="20"/>
                        </a:cubicBezTo>
                        <a:cubicBezTo>
                          <a:pt x="61" y="20"/>
                          <a:pt x="61" y="20"/>
                          <a:pt x="61" y="20"/>
                        </a:cubicBezTo>
                        <a:cubicBezTo>
                          <a:pt x="61" y="20"/>
                          <a:pt x="61" y="20"/>
                          <a:pt x="61" y="20"/>
                        </a:cubicBezTo>
                        <a:cubicBezTo>
                          <a:pt x="61" y="19"/>
                          <a:pt x="62" y="20"/>
                          <a:pt x="61" y="20"/>
                        </a:cubicBezTo>
                        <a:cubicBezTo>
                          <a:pt x="62" y="20"/>
                          <a:pt x="63" y="20"/>
                          <a:pt x="64" y="20"/>
                        </a:cubicBezTo>
                        <a:cubicBezTo>
                          <a:pt x="64" y="20"/>
                          <a:pt x="64" y="20"/>
                          <a:pt x="64" y="20"/>
                        </a:cubicBezTo>
                        <a:cubicBezTo>
                          <a:pt x="64" y="20"/>
                          <a:pt x="64" y="20"/>
                          <a:pt x="65" y="21"/>
                        </a:cubicBezTo>
                        <a:cubicBezTo>
                          <a:pt x="65" y="21"/>
                          <a:pt x="64" y="20"/>
                          <a:pt x="63" y="20"/>
                        </a:cubicBezTo>
                        <a:cubicBezTo>
                          <a:pt x="63" y="20"/>
                          <a:pt x="63" y="21"/>
                          <a:pt x="64" y="21"/>
                        </a:cubicBezTo>
                        <a:cubicBezTo>
                          <a:pt x="64" y="21"/>
                          <a:pt x="64" y="21"/>
                          <a:pt x="63" y="21"/>
                        </a:cubicBezTo>
                        <a:cubicBezTo>
                          <a:pt x="63" y="21"/>
                          <a:pt x="63" y="21"/>
                          <a:pt x="63" y="21"/>
                        </a:cubicBezTo>
                        <a:cubicBezTo>
                          <a:pt x="64" y="21"/>
                          <a:pt x="64" y="21"/>
                          <a:pt x="64" y="21"/>
                        </a:cubicBezTo>
                        <a:cubicBezTo>
                          <a:pt x="64" y="21"/>
                          <a:pt x="64" y="21"/>
                          <a:pt x="64" y="21"/>
                        </a:cubicBezTo>
                        <a:cubicBezTo>
                          <a:pt x="64" y="21"/>
                          <a:pt x="64" y="21"/>
                          <a:pt x="64" y="21"/>
                        </a:cubicBezTo>
                        <a:cubicBezTo>
                          <a:pt x="64" y="21"/>
                          <a:pt x="64" y="21"/>
                          <a:pt x="64" y="21"/>
                        </a:cubicBezTo>
                        <a:cubicBezTo>
                          <a:pt x="64" y="21"/>
                          <a:pt x="64" y="21"/>
                          <a:pt x="64" y="21"/>
                        </a:cubicBezTo>
                        <a:cubicBezTo>
                          <a:pt x="64" y="21"/>
                          <a:pt x="64" y="21"/>
                          <a:pt x="63" y="20"/>
                        </a:cubicBezTo>
                        <a:cubicBezTo>
                          <a:pt x="64" y="20"/>
                          <a:pt x="64" y="21"/>
                          <a:pt x="65" y="21"/>
                        </a:cubicBezTo>
                        <a:cubicBezTo>
                          <a:pt x="65" y="21"/>
                          <a:pt x="65" y="21"/>
                          <a:pt x="65" y="21"/>
                        </a:cubicBezTo>
                        <a:cubicBezTo>
                          <a:pt x="65" y="21"/>
                          <a:pt x="65" y="21"/>
                          <a:pt x="64" y="21"/>
                        </a:cubicBezTo>
                        <a:cubicBezTo>
                          <a:pt x="65" y="21"/>
                          <a:pt x="65" y="21"/>
                          <a:pt x="65" y="21"/>
                        </a:cubicBezTo>
                        <a:cubicBezTo>
                          <a:pt x="65" y="21"/>
                          <a:pt x="65" y="21"/>
                          <a:pt x="65" y="20"/>
                        </a:cubicBezTo>
                        <a:cubicBezTo>
                          <a:pt x="65" y="20"/>
                          <a:pt x="64" y="20"/>
                          <a:pt x="64" y="20"/>
                        </a:cubicBezTo>
                        <a:cubicBezTo>
                          <a:pt x="64" y="20"/>
                          <a:pt x="64" y="20"/>
                          <a:pt x="64" y="20"/>
                        </a:cubicBezTo>
                        <a:cubicBezTo>
                          <a:pt x="63" y="20"/>
                          <a:pt x="63" y="20"/>
                          <a:pt x="63" y="20"/>
                        </a:cubicBezTo>
                        <a:cubicBezTo>
                          <a:pt x="63" y="20"/>
                          <a:pt x="63" y="20"/>
                          <a:pt x="63" y="20"/>
                        </a:cubicBezTo>
                        <a:cubicBezTo>
                          <a:pt x="64" y="20"/>
                          <a:pt x="64" y="20"/>
                          <a:pt x="65" y="20"/>
                        </a:cubicBezTo>
                        <a:cubicBezTo>
                          <a:pt x="65" y="20"/>
                          <a:pt x="66" y="20"/>
                          <a:pt x="66" y="21"/>
                        </a:cubicBezTo>
                        <a:cubicBezTo>
                          <a:pt x="66" y="21"/>
                          <a:pt x="66" y="21"/>
                          <a:pt x="65" y="21"/>
                        </a:cubicBezTo>
                        <a:cubicBezTo>
                          <a:pt x="66" y="21"/>
                          <a:pt x="66" y="21"/>
                          <a:pt x="66" y="21"/>
                        </a:cubicBezTo>
                        <a:cubicBezTo>
                          <a:pt x="66" y="21"/>
                          <a:pt x="65" y="21"/>
                          <a:pt x="65" y="21"/>
                        </a:cubicBezTo>
                        <a:cubicBezTo>
                          <a:pt x="65" y="21"/>
                          <a:pt x="65" y="21"/>
                          <a:pt x="65" y="21"/>
                        </a:cubicBezTo>
                        <a:cubicBezTo>
                          <a:pt x="66" y="21"/>
                          <a:pt x="66" y="21"/>
                          <a:pt x="66" y="21"/>
                        </a:cubicBezTo>
                        <a:cubicBezTo>
                          <a:pt x="66" y="21"/>
                          <a:pt x="66" y="21"/>
                          <a:pt x="66" y="21"/>
                        </a:cubicBezTo>
                        <a:cubicBezTo>
                          <a:pt x="66" y="21"/>
                          <a:pt x="66" y="21"/>
                          <a:pt x="66" y="21"/>
                        </a:cubicBezTo>
                        <a:cubicBezTo>
                          <a:pt x="66" y="21"/>
                          <a:pt x="66" y="21"/>
                          <a:pt x="66" y="21"/>
                        </a:cubicBezTo>
                        <a:cubicBezTo>
                          <a:pt x="66" y="21"/>
                          <a:pt x="66" y="21"/>
                          <a:pt x="66" y="21"/>
                        </a:cubicBezTo>
                        <a:cubicBezTo>
                          <a:pt x="66" y="21"/>
                          <a:pt x="67" y="22"/>
                          <a:pt x="67" y="22"/>
                        </a:cubicBezTo>
                        <a:cubicBezTo>
                          <a:pt x="67" y="22"/>
                          <a:pt x="67" y="22"/>
                          <a:pt x="67" y="22"/>
                        </a:cubicBezTo>
                        <a:cubicBezTo>
                          <a:pt x="67" y="22"/>
                          <a:pt x="66" y="22"/>
                          <a:pt x="66" y="21"/>
                        </a:cubicBezTo>
                        <a:cubicBezTo>
                          <a:pt x="66" y="21"/>
                          <a:pt x="66" y="22"/>
                          <a:pt x="66" y="22"/>
                        </a:cubicBezTo>
                        <a:cubicBezTo>
                          <a:pt x="66" y="22"/>
                          <a:pt x="66" y="22"/>
                          <a:pt x="66" y="22"/>
                        </a:cubicBezTo>
                        <a:cubicBezTo>
                          <a:pt x="66" y="22"/>
                          <a:pt x="66" y="22"/>
                          <a:pt x="66" y="22"/>
                        </a:cubicBezTo>
                        <a:cubicBezTo>
                          <a:pt x="66" y="21"/>
                          <a:pt x="65" y="21"/>
                          <a:pt x="65" y="21"/>
                        </a:cubicBezTo>
                        <a:cubicBezTo>
                          <a:pt x="65" y="21"/>
                          <a:pt x="65" y="21"/>
                          <a:pt x="65" y="21"/>
                        </a:cubicBezTo>
                        <a:cubicBezTo>
                          <a:pt x="65" y="21"/>
                          <a:pt x="64" y="21"/>
                          <a:pt x="64" y="21"/>
                        </a:cubicBezTo>
                        <a:cubicBezTo>
                          <a:pt x="64" y="21"/>
                          <a:pt x="65" y="21"/>
                          <a:pt x="65" y="21"/>
                        </a:cubicBezTo>
                        <a:cubicBezTo>
                          <a:pt x="65" y="21"/>
                          <a:pt x="64" y="21"/>
                          <a:pt x="64" y="21"/>
                        </a:cubicBezTo>
                        <a:cubicBezTo>
                          <a:pt x="64" y="22"/>
                          <a:pt x="65" y="21"/>
                          <a:pt x="65" y="22"/>
                        </a:cubicBezTo>
                        <a:cubicBezTo>
                          <a:pt x="65" y="21"/>
                          <a:pt x="65" y="21"/>
                          <a:pt x="65" y="22"/>
                        </a:cubicBezTo>
                        <a:cubicBezTo>
                          <a:pt x="65" y="22"/>
                          <a:pt x="65" y="22"/>
                          <a:pt x="65" y="22"/>
                        </a:cubicBezTo>
                        <a:cubicBezTo>
                          <a:pt x="65" y="22"/>
                          <a:pt x="65" y="22"/>
                          <a:pt x="65" y="22"/>
                        </a:cubicBezTo>
                        <a:cubicBezTo>
                          <a:pt x="66" y="22"/>
                          <a:pt x="65" y="22"/>
                          <a:pt x="65" y="21"/>
                        </a:cubicBezTo>
                        <a:cubicBezTo>
                          <a:pt x="65" y="21"/>
                          <a:pt x="65" y="21"/>
                          <a:pt x="65" y="21"/>
                        </a:cubicBezTo>
                        <a:cubicBezTo>
                          <a:pt x="65" y="21"/>
                          <a:pt x="65" y="21"/>
                          <a:pt x="66" y="21"/>
                        </a:cubicBezTo>
                        <a:cubicBezTo>
                          <a:pt x="66" y="21"/>
                          <a:pt x="66" y="21"/>
                          <a:pt x="65" y="21"/>
                        </a:cubicBezTo>
                        <a:cubicBezTo>
                          <a:pt x="66" y="22"/>
                          <a:pt x="66" y="22"/>
                          <a:pt x="65" y="22"/>
                        </a:cubicBezTo>
                        <a:cubicBezTo>
                          <a:pt x="66" y="22"/>
                          <a:pt x="66" y="22"/>
                          <a:pt x="67" y="22"/>
                        </a:cubicBezTo>
                        <a:cubicBezTo>
                          <a:pt x="67" y="22"/>
                          <a:pt x="67" y="22"/>
                          <a:pt x="68" y="23"/>
                        </a:cubicBezTo>
                        <a:cubicBezTo>
                          <a:pt x="68" y="23"/>
                          <a:pt x="68" y="23"/>
                          <a:pt x="68" y="22"/>
                        </a:cubicBezTo>
                        <a:cubicBezTo>
                          <a:pt x="68" y="23"/>
                          <a:pt x="68" y="23"/>
                          <a:pt x="68" y="23"/>
                        </a:cubicBezTo>
                        <a:cubicBezTo>
                          <a:pt x="68" y="23"/>
                          <a:pt x="68" y="23"/>
                          <a:pt x="68" y="23"/>
                        </a:cubicBezTo>
                        <a:cubicBezTo>
                          <a:pt x="68" y="23"/>
                          <a:pt x="68" y="23"/>
                          <a:pt x="69" y="23"/>
                        </a:cubicBezTo>
                        <a:cubicBezTo>
                          <a:pt x="69" y="23"/>
                          <a:pt x="69" y="23"/>
                          <a:pt x="69" y="23"/>
                        </a:cubicBezTo>
                        <a:cubicBezTo>
                          <a:pt x="69" y="23"/>
                          <a:pt x="68" y="23"/>
                          <a:pt x="68" y="23"/>
                        </a:cubicBezTo>
                        <a:cubicBezTo>
                          <a:pt x="69" y="23"/>
                          <a:pt x="69" y="23"/>
                          <a:pt x="69" y="23"/>
                        </a:cubicBezTo>
                        <a:cubicBezTo>
                          <a:pt x="69" y="23"/>
                          <a:pt x="69" y="23"/>
                          <a:pt x="69" y="23"/>
                        </a:cubicBezTo>
                        <a:cubicBezTo>
                          <a:pt x="69" y="23"/>
                          <a:pt x="69" y="23"/>
                          <a:pt x="69" y="23"/>
                        </a:cubicBezTo>
                        <a:cubicBezTo>
                          <a:pt x="69" y="23"/>
                          <a:pt x="69" y="23"/>
                          <a:pt x="69" y="23"/>
                        </a:cubicBezTo>
                        <a:cubicBezTo>
                          <a:pt x="69" y="23"/>
                          <a:pt x="69" y="23"/>
                          <a:pt x="69" y="23"/>
                        </a:cubicBezTo>
                        <a:cubicBezTo>
                          <a:pt x="69" y="23"/>
                          <a:pt x="70" y="23"/>
                          <a:pt x="71" y="24"/>
                        </a:cubicBezTo>
                        <a:cubicBezTo>
                          <a:pt x="71" y="24"/>
                          <a:pt x="71" y="24"/>
                          <a:pt x="71" y="24"/>
                        </a:cubicBezTo>
                        <a:cubicBezTo>
                          <a:pt x="71" y="24"/>
                          <a:pt x="70" y="24"/>
                          <a:pt x="70" y="24"/>
                        </a:cubicBezTo>
                        <a:cubicBezTo>
                          <a:pt x="70" y="24"/>
                          <a:pt x="70" y="23"/>
                          <a:pt x="70" y="23"/>
                        </a:cubicBezTo>
                        <a:cubicBezTo>
                          <a:pt x="70" y="23"/>
                          <a:pt x="70" y="23"/>
                          <a:pt x="70" y="23"/>
                        </a:cubicBezTo>
                        <a:cubicBezTo>
                          <a:pt x="70" y="23"/>
                          <a:pt x="70" y="23"/>
                          <a:pt x="69" y="23"/>
                        </a:cubicBezTo>
                        <a:cubicBezTo>
                          <a:pt x="70" y="24"/>
                          <a:pt x="71" y="24"/>
                          <a:pt x="71" y="24"/>
                        </a:cubicBezTo>
                        <a:cubicBezTo>
                          <a:pt x="71" y="24"/>
                          <a:pt x="71" y="24"/>
                          <a:pt x="71" y="24"/>
                        </a:cubicBezTo>
                        <a:cubicBezTo>
                          <a:pt x="71" y="24"/>
                          <a:pt x="71" y="24"/>
                          <a:pt x="71" y="24"/>
                        </a:cubicBezTo>
                        <a:cubicBezTo>
                          <a:pt x="71" y="24"/>
                          <a:pt x="71" y="24"/>
                          <a:pt x="71" y="24"/>
                        </a:cubicBezTo>
                        <a:cubicBezTo>
                          <a:pt x="71" y="23"/>
                          <a:pt x="71" y="23"/>
                          <a:pt x="71" y="23"/>
                        </a:cubicBezTo>
                        <a:cubicBezTo>
                          <a:pt x="71" y="23"/>
                          <a:pt x="71" y="24"/>
                          <a:pt x="72" y="24"/>
                        </a:cubicBezTo>
                        <a:cubicBezTo>
                          <a:pt x="72" y="24"/>
                          <a:pt x="72" y="24"/>
                          <a:pt x="72" y="24"/>
                        </a:cubicBezTo>
                        <a:cubicBezTo>
                          <a:pt x="72" y="23"/>
                          <a:pt x="72" y="24"/>
                          <a:pt x="72" y="24"/>
                        </a:cubicBezTo>
                        <a:cubicBezTo>
                          <a:pt x="72" y="24"/>
                          <a:pt x="72" y="24"/>
                          <a:pt x="72" y="24"/>
                        </a:cubicBezTo>
                        <a:cubicBezTo>
                          <a:pt x="72" y="24"/>
                          <a:pt x="72" y="24"/>
                          <a:pt x="72" y="24"/>
                        </a:cubicBezTo>
                        <a:cubicBezTo>
                          <a:pt x="72" y="24"/>
                          <a:pt x="73" y="24"/>
                          <a:pt x="73" y="24"/>
                        </a:cubicBezTo>
                        <a:cubicBezTo>
                          <a:pt x="73" y="24"/>
                          <a:pt x="73" y="24"/>
                          <a:pt x="73" y="24"/>
                        </a:cubicBezTo>
                        <a:cubicBezTo>
                          <a:pt x="73" y="24"/>
                          <a:pt x="73" y="24"/>
                          <a:pt x="73" y="25"/>
                        </a:cubicBezTo>
                        <a:cubicBezTo>
                          <a:pt x="73" y="25"/>
                          <a:pt x="73" y="24"/>
                          <a:pt x="73" y="24"/>
                        </a:cubicBezTo>
                        <a:cubicBezTo>
                          <a:pt x="73" y="25"/>
                          <a:pt x="74" y="25"/>
                          <a:pt x="74" y="25"/>
                        </a:cubicBezTo>
                        <a:cubicBezTo>
                          <a:pt x="74" y="25"/>
                          <a:pt x="75" y="25"/>
                          <a:pt x="76" y="26"/>
                        </a:cubicBezTo>
                        <a:cubicBezTo>
                          <a:pt x="76" y="25"/>
                          <a:pt x="75" y="25"/>
                          <a:pt x="76" y="25"/>
                        </a:cubicBezTo>
                        <a:cubicBezTo>
                          <a:pt x="76" y="25"/>
                          <a:pt x="76" y="25"/>
                          <a:pt x="76" y="26"/>
                        </a:cubicBezTo>
                        <a:cubicBezTo>
                          <a:pt x="76" y="26"/>
                          <a:pt x="76" y="25"/>
                          <a:pt x="76" y="26"/>
                        </a:cubicBezTo>
                        <a:cubicBezTo>
                          <a:pt x="76" y="26"/>
                          <a:pt x="75" y="26"/>
                          <a:pt x="76" y="26"/>
                        </a:cubicBezTo>
                        <a:cubicBezTo>
                          <a:pt x="75" y="26"/>
                          <a:pt x="75" y="26"/>
                          <a:pt x="75" y="26"/>
                        </a:cubicBezTo>
                        <a:cubicBezTo>
                          <a:pt x="75" y="25"/>
                          <a:pt x="75" y="26"/>
                          <a:pt x="75" y="25"/>
                        </a:cubicBezTo>
                        <a:cubicBezTo>
                          <a:pt x="75" y="25"/>
                          <a:pt x="75" y="25"/>
                          <a:pt x="75" y="25"/>
                        </a:cubicBezTo>
                        <a:cubicBezTo>
                          <a:pt x="75" y="25"/>
                          <a:pt x="75" y="25"/>
                          <a:pt x="75" y="25"/>
                        </a:cubicBezTo>
                        <a:cubicBezTo>
                          <a:pt x="75" y="26"/>
                          <a:pt x="75" y="25"/>
                          <a:pt x="75" y="25"/>
                        </a:cubicBezTo>
                        <a:cubicBezTo>
                          <a:pt x="75" y="25"/>
                          <a:pt x="73" y="25"/>
                          <a:pt x="73" y="25"/>
                        </a:cubicBezTo>
                        <a:cubicBezTo>
                          <a:pt x="73" y="25"/>
                          <a:pt x="73" y="25"/>
                          <a:pt x="73" y="25"/>
                        </a:cubicBezTo>
                        <a:cubicBezTo>
                          <a:pt x="73" y="25"/>
                          <a:pt x="73" y="25"/>
                          <a:pt x="72" y="25"/>
                        </a:cubicBezTo>
                        <a:cubicBezTo>
                          <a:pt x="72" y="25"/>
                          <a:pt x="73" y="25"/>
                          <a:pt x="72" y="25"/>
                        </a:cubicBezTo>
                        <a:cubicBezTo>
                          <a:pt x="73" y="25"/>
                          <a:pt x="73" y="25"/>
                          <a:pt x="74" y="25"/>
                        </a:cubicBezTo>
                        <a:cubicBezTo>
                          <a:pt x="74" y="25"/>
                          <a:pt x="74" y="25"/>
                          <a:pt x="74" y="25"/>
                        </a:cubicBezTo>
                        <a:cubicBezTo>
                          <a:pt x="74" y="25"/>
                          <a:pt x="73" y="25"/>
                          <a:pt x="73" y="25"/>
                        </a:cubicBezTo>
                        <a:cubicBezTo>
                          <a:pt x="74" y="25"/>
                          <a:pt x="74" y="26"/>
                          <a:pt x="74" y="25"/>
                        </a:cubicBezTo>
                        <a:cubicBezTo>
                          <a:pt x="74" y="25"/>
                          <a:pt x="75" y="25"/>
                          <a:pt x="75" y="26"/>
                        </a:cubicBezTo>
                        <a:cubicBezTo>
                          <a:pt x="75" y="26"/>
                          <a:pt x="74" y="26"/>
                          <a:pt x="74" y="26"/>
                        </a:cubicBezTo>
                        <a:cubicBezTo>
                          <a:pt x="74" y="26"/>
                          <a:pt x="75" y="26"/>
                          <a:pt x="75" y="26"/>
                        </a:cubicBezTo>
                        <a:cubicBezTo>
                          <a:pt x="75" y="26"/>
                          <a:pt x="75" y="26"/>
                          <a:pt x="75" y="26"/>
                        </a:cubicBezTo>
                        <a:cubicBezTo>
                          <a:pt x="75" y="26"/>
                          <a:pt x="75" y="26"/>
                          <a:pt x="75" y="26"/>
                        </a:cubicBezTo>
                        <a:cubicBezTo>
                          <a:pt x="75" y="26"/>
                          <a:pt x="76" y="26"/>
                          <a:pt x="77" y="26"/>
                        </a:cubicBezTo>
                        <a:cubicBezTo>
                          <a:pt x="77" y="26"/>
                          <a:pt x="76" y="26"/>
                          <a:pt x="77" y="26"/>
                        </a:cubicBezTo>
                        <a:cubicBezTo>
                          <a:pt x="77" y="26"/>
                          <a:pt x="76" y="26"/>
                          <a:pt x="77" y="26"/>
                        </a:cubicBezTo>
                        <a:cubicBezTo>
                          <a:pt x="77" y="26"/>
                          <a:pt x="77" y="26"/>
                          <a:pt x="77" y="26"/>
                        </a:cubicBezTo>
                        <a:cubicBezTo>
                          <a:pt x="77" y="26"/>
                          <a:pt x="76" y="26"/>
                          <a:pt x="76" y="25"/>
                        </a:cubicBezTo>
                        <a:cubicBezTo>
                          <a:pt x="77" y="26"/>
                          <a:pt x="77" y="25"/>
                          <a:pt x="77" y="26"/>
                        </a:cubicBezTo>
                        <a:cubicBezTo>
                          <a:pt x="77" y="25"/>
                          <a:pt x="77" y="25"/>
                          <a:pt x="77" y="25"/>
                        </a:cubicBezTo>
                        <a:cubicBezTo>
                          <a:pt x="77" y="25"/>
                          <a:pt x="77" y="25"/>
                          <a:pt x="76" y="25"/>
                        </a:cubicBezTo>
                        <a:cubicBezTo>
                          <a:pt x="77" y="25"/>
                          <a:pt x="76" y="25"/>
                          <a:pt x="76" y="25"/>
                        </a:cubicBezTo>
                        <a:cubicBezTo>
                          <a:pt x="76" y="25"/>
                          <a:pt x="76" y="25"/>
                          <a:pt x="77" y="25"/>
                        </a:cubicBezTo>
                        <a:cubicBezTo>
                          <a:pt x="77" y="25"/>
                          <a:pt x="76" y="25"/>
                          <a:pt x="76" y="25"/>
                        </a:cubicBezTo>
                        <a:cubicBezTo>
                          <a:pt x="76" y="25"/>
                          <a:pt x="76" y="25"/>
                          <a:pt x="76" y="25"/>
                        </a:cubicBezTo>
                        <a:cubicBezTo>
                          <a:pt x="76" y="24"/>
                          <a:pt x="76" y="25"/>
                          <a:pt x="76" y="25"/>
                        </a:cubicBezTo>
                        <a:cubicBezTo>
                          <a:pt x="76" y="25"/>
                          <a:pt x="75" y="24"/>
                          <a:pt x="75" y="24"/>
                        </a:cubicBezTo>
                        <a:cubicBezTo>
                          <a:pt x="76" y="25"/>
                          <a:pt x="75" y="25"/>
                          <a:pt x="75" y="24"/>
                        </a:cubicBezTo>
                        <a:cubicBezTo>
                          <a:pt x="75" y="25"/>
                          <a:pt x="75" y="25"/>
                          <a:pt x="75" y="25"/>
                        </a:cubicBezTo>
                        <a:cubicBezTo>
                          <a:pt x="75" y="25"/>
                          <a:pt x="75" y="25"/>
                          <a:pt x="75" y="25"/>
                        </a:cubicBezTo>
                        <a:cubicBezTo>
                          <a:pt x="75" y="25"/>
                          <a:pt x="75" y="25"/>
                          <a:pt x="75" y="25"/>
                        </a:cubicBezTo>
                        <a:cubicBezTo>
                          <a:pt x="75" y="24"/>
                          <a:pt x="75" y="25"/>
                          <a:pt x="74" y="25"/>
                        </a:cubicBezTo>
                        <a:cubicBezTo>
                          <a:pt x="75" y="24"/>
                          <a:pt x="75" y="24"/>
                          <a:pt x="75" y="24"/>
                        </a:cubicBezTo>
                        <a:cubicBezTo>
                          <a:pt x="74" y="24"/>
                          <a:pt x="74" y="24"/>
                          <a:pt x="74" y="24"/>
                        </a:cubicBezTo>
                        <a:cubicBezTo>
                          <a:pt x="74" y="24"/>
                          <a:pt x="73" y="24"/>
                          <a:pt x="74" y="24"/>
                        </a:cubicBezTo>
                        <a:cubicBezTo>
                          <a:pt x="74" y="24"/>
                          <a:pt x="74" y="24"/>
                          <a:pt x="74" y="24"/>
                        </a:cubicBezTo>
                        <a:cubicBezTo>
                          <a:pt x="74" y="24"/>
                          <a:pt x="74" y="24"/>
                          <a:pt x="74" y="24"/>
                        </a:cubicBezTo>
                        <a:cubicBezTo>
                          <a:pt x="74" y="24"/>
                          <a:pt x="74" y="24"/>
                          <a:pt x="74" y="24"/>
                        </a:cubicBezTo>
                        <a:cubicBezTo>
                          <a:pt x="74" y="24"/>
                          <a:pt x="74" y="24"/>
                          <a:pt x="74" y="24"/>
                        </a:cubicBezTo>
                        <a:cubicBezTo>
                          <a:pt x="74" y="24"/>
                          <a:pt x="74" y="24"/>
                          <a:pt x="73" y="24"/>
                        </a:cubicBezTo>
                        <a:cubicBezTo>
                          <a:pt x="73" y="23"/>
                          <a:pt x="74" y="23"/>
                          <a:pt x="73" y="23"/>
                        </a:cubicBezTo>
                        <a:cubicBezTo>
                          <a:pt x="73" y="23"/>
                          <a:pt x="73" y="23"/>
                          <a:pt x="73" y="23"/>
                        </a:cubicBezTo>
                        <a:cubicBezTo>
                          <a:pt x="73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4"/>
                          <a:pt x="74" y="23"/>
                          <a:pt x="74" y="24"/>
                        </a:cubicBez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3" y="23"/>
                        </a:cubicBezTo>
                        <a:cubicBezTo>
                          <a:pt x="73" y="23"/>
                          <a:pt x="74" y="23"/>
                          <a:pt x="73" y="23"/>
                        </a:cubicBezTo>
                        <a:cubicBezTo>
                          <a:pt x="73" y="23"/>
                          <a:pt x="73" y="23"/>
                          <a:pt x="73" y="23"/>
                        </a:cubicBezTo>
                        <a:cubicBezTo>
                          <a:pt x="73" y="23"/>
                          <a:pt x="73" y="23"/>
                          <a:pt x="73" y="23"/>
                        </a:cubicBezTo>
                        <a:cubicBezTo>
                          <a:pt x="73" y="23"/>
                          <a:pt x="73" y="23"/>
                          <a:pt x="73" y="23"/>
                        </a:cubicBezTo>
                        <a:cubicBezTo>
                          <a:pt x="73" y="23"/>
                          <a:pt x="73" y="23"/>
                          <a:pt x="73" y="23"/>
                        </a:cubicBezTo>
                        <a:cubicBezTo>
                          <a:pt x="73" y="23"/>
                          <a:pt x="73" y="23"/>
                          <a:pt x="72" y="23"/>
                        </a:cubicBezTo>
                        <a:cubicBezTo>
                          <a:pt x="73" y="23"/>
                          <a:pt x="72" y="23"/>
                          <a:pt x="72" y="23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0" y="22"/>
                          <a:pt x="70" y="22"/>
                          <a:pt x="70" y="22"/>
                        </a:cubicBezTo>
                        <a:cubicBezTo>
                          <a:pt x="70" y="22"/>
                          <a:pt x="70" y="22"/>
                          <a:pt x="70" y="22"/>
                        </a:cubicBezTo>
                        <a:cubicBezTo>
                          <a:pt x="70" y="22"/>
                          <a:pt x="70" y="22"/>
                          <a:pt x="70" y="22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2"/>
                          <a:pt x="72" y="22"/>
                          <a:pt x="71" y="22"/>
                        </a:cubicBezTo>
                        <a:cubicBezTo>
                          <a:pt x="72" y="22"/>
                          <a:pt x="72" y="22"/>
                          <a:pt x="72" y="22"/>
                        </a:cubicBezTo>
                        <a:cubicBezTo>
                          <a:pt x="72" y="22"/>
                          <a:pt x="72" y="22"/>
                          <a:pt x="72" y="22"/>
                        </a:cubicBezTo>
                        <a:cubicBezTo>
                          <a:pt x="72" y="22"/>
                          <a:pt x="72" y="22"/>
                          <a:pt x="72" y="22"/>
                        </a:cubicBezTo>
                        <a:cubicBezTo>
                          <a:pt x="72" y="22"/>
                          <a:pt x="72" y="22"/>
                          <a:pt x="72" y="22"/>
                        </a:cubicBezTo>
                        <a:cubicBezTo>
                          <a:pt x="72" y="22"/>
                          <a:pt x="72" y="23"/>
                          <a:pt x="72" y="22"/>
                        </a:cubicBezTo>
                        <a:cubicBezTo>
                          <a:pt x="72" y="22"/>
                          <a:pt x="72" y="22"/>
                          <a:pt x="72" y="23"/>
                        </a:cubicBezTo>
                        <a:cubicBezTo>
                          <a:pt x="73" y="23"/>
                          <a:pt x="73" y="22"/>
                          <a:pt x="73" y="22"/>
                        </a:cubicBezTo>
                        <a:cubicBezTo>
                          <a:pt x="73" y="22"/>
                          <a:pt x="73" y="22"/>
                          <a:pt x="72" y="22"/>
                        </a:cubicBezTo>
                        <a:cubicBezTo>
                          <a:pt x="72" y="22"/>
                          <a:pt x="72" y="22"/>
                          <a:pt x="72" y="22"/>
                        </a:cubicBezTo>
                        <a:cubicBezTo>
                          <a:pt x="72" y="22"/>
                          <a:pt x="72" y="22"/>
                          <a:pt x="72" y="22"/>
                        </a:cubicBezTo>
                        <a:cubicBezTo>
                          <a:pt x="73" y="22"/>
                          <a:pt x="73" y="22"/>
                          <a:pt x="73" y="22"/>
                        </a:cubicBezTo>
                        <a:cubicBezTo>
                          <a:pt x="73" y="22"/>
                          <a:pt x="72" y="22"/>
                          <a:pt x="72" y="22"/>
                        </a:cubicBezTo>
                        <a:cubicBezTo>
                          <a:pt x="72" y="22"/>
                          <a:pt x="72" y="22"/>
                          <a:pt x="71" y="22"/>
                        </a:cubicBezTo>
                        <a:cubicBezTo>
                          <a:pt x="71" y="22"/>
                          <a:pt x="72" y="22"/>
                          <a:pt x="71" y="22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2"/>
                          <a:pt x="71" y="21"/>
                          <a:pt x="71" y="22"/>
                        </a:cubicBezTo>
                        <a:cubicBezTo>
                          <a:pt x="71" y="21"/>
                          <a:pt x="71" y="21"/>
                          <a:pt x="71" y="21"/>
                        </a:cubicBezTo>
                        <a:cubicBezTo>
                          <a:pt x="71" y="21"/>
                          <a:pt x="71" y="21"/>
                          <a:pt x="71" y="21"/>
                        </a:cubicBezTo>
                        <a:cubicBezTo>
                          <a:pt x="71" y="21"/>
                          <a:pt x="71" y="21"/>
                          <a:pt x="71" y="21"/>
                        </a:cubicBezTo>
                        <a:cubicBezTo>
                          <a:pt x="71" y="21"/>
                          <a:pt x="71" y="21"/>
                          <a:pt x="71" y="21"/>
                        </a:cubicBezTo>
                        <a:cubicBezTo>
                          <a:pt x="71" y="21"/>
                          <a:pt x="72" y="21"/>
                          <a:pt x="72" y="21"/>
                        </a:cubicBezTo>
                        <a:cubicBezTo>
                          <a:pt x="73" y="21"/>
                          <a:pt x="73" y="21"/>
                          <a:pt x="72" y="21"/>
                        </a:cubicBezTo>
                        <a:cubicBezTo>
                          <a:pt x="73" y="21"/>
                          <a:pt x="73" y="21"/>
                          <a:pt x="74" y="22"/>
                        </a:cubicBezTo>
                        <a:cubicBezTo>
                          <a:pt x="74" y="22"/>
                          <a:pt x="74" y="22"/>
                          <a:pt x="74" y="22"/>
                        </a:cubicBezTo>
                        <a:cubicBezTo>
                          <a:pt x="74" y="22"/>
                          <a:pt x="74" y="22"/>
                          <a:pt x="74" y="22"/>
                        </a:cubicBezTo>
                        <a:cubicBezTo>
                          <a:pt x="74" y="22"/>
                          <a:pt x="74" y="22"/>
                          <a:pt x="73" y="22"/>
                        </a:cubicBezTo>
                        <a:cubicBezTo>
                          <a:pt x="73" y="22"/>
                          <a:pt x="74" y="22"/>
                          <a:pt x="74" y="22"/>
                        </a:cubicBezTo>
                        <a:cubicBezTo>
                          <a:pt x="74" y="22"/>
                          <a:pt x="74" y="22"/>
                          <a:pt x="74" y="22"/>
                        </a:cubicBezTo>
                        <a:cubicBezTo>
                          <a:pt x="74" y="22"/>
                          <a:pt x="74" y="22"/>
                          <a:pt x="74" y="22"/>
                        </a:cubicBezTo>
                        <a:cubicBezTo>
                          <a:pt x="75" y="23"/>
                          <a:pt x="75" y="22"/>
                          <a:pt x="75" y="23"/>
                        </a:cubicBezTo>
                        <a:cubicBezTo>
                          <a:pt x="75" y="23"/>
                          <a:pt x="75" y="23"/>
                          <a:pt x="75" y="2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76" y="23"/>
                          <a:pt x="75" y="23"/>
                          <a:pt x="75" y="2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76" y="23"/>
                          <a:pt x="75" y="23"/>
                          <a:pt x="75" y="23"/>
                        </a:cubicBezTo>
                        <a:cubicBezTo>
                          <a:pt x="75" y="23"/>
                          <a:pt x="75" y="23"/>
                          <a:pt x="74" y="23"/>
                        </a:cubicBezTo>
                        <a:cubicBezTo>
                          <a:pt x="74" y="23"/>
                          <a:pt x="75" y="23"/>
                          <a:pt x="75" y="23"/>
                        </a:cubicBezTo>
                        <a:cubicBezTo>
                          <a:pt x="75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4"/>
                          <a:pt x="75" y="23"/>
                          <a:pt x="75" y="24"/>
                        </a:cubicBezTo>
                        <a:cubicBezTo>
                          <a:pt x="75" y="23"/>
                          <a:pt x="75" y="23"/>
                          <a:pt x="75" y="23"/>
                        </a:cubicBezTo>
                        <a:cubicBezTo>
                          <a:pt x="75" y="23"/>
                          <a:pt x="75" y="23"/>
                          <a:pt x="75" y="23"/>
                        </a:cubicBezTo>
                        <a:cubicBezTo>
                          <a:pt x="75" y="24"/>
                          <a:pt x="75" y="24"/>
                          <a:pt x="75" y="24"/>
                        </a:cubicBezTo>
                        <a:cubicBezTo>
                          <a:pt x="75" y="24"/>
                          <a:pt x="75" y="24"/>
                          <a:pt x="75" y="24"/>
                        </a:cubicBezTo>
                        <a:cubicBezTo>
                          <a:pt x="75" y="24"/>
                          <a:pt x="75" y="23"/>
                          <a:pt x="75" y="23"/>
                        </a:cubicBezTo>
                        <a:cubicBezTo>
                          <a:pt x="75" y="23"/>
                          <a:pt x="75" y="23"/>
                          <a:pt x="75" y="23"/>
                        </a:cubicBezTo>
                        <a:cubicBezTo>
                          <a:pt x="75" y="23"/>
                          <a:pt x="76" y="23"/>
                          <a:pt x="76" y="23"/>
                        </a:cubicBezTo>
                        <a:cubicBezTo>
                          <a:pt x="76" y="24"/>
                          <a:pt x="76" y="23"/>
                          <a:pt x="76" y="24"/>
                        </a:cubicBezTo>
                        <a:cubicBezTo>
                          <a:pt x="76" y="24"/>
                          <a:pt x="76" y="24"/>
                          <a:pt x="76" y="24"/>
                        </a:cubicBezTo>
                        <a:cubicBezTo>
                          <a:pt x="76" y="24"/>
                          <a:pt x="76" y="24"/>
                          <a:pt x="76" y="24"/>
                        </a:cubicBezTo>
                        <a:cubicBezTo>
                          <a:pt x="76" y="24"/>
                          <a:pt x="76" y="23"/>
                          <a:pt x="76" y="23"/>
                        </a:cubicBezTo>
                        <a:cubicBezTo>
                          <a:pt x="77" y="23"/>
                          <a:pt x="77" y="24"/>
                          <a:pt x="77" y="24"/>
                        </a:cubicBezTo>
                        <a:cubicBezTo>
                          <a:pt x="78" y="24"/>
                          <a:pt x="78" y="24"/>
                          <a:pt x="79" y="24"/>
                        </a:cubicBezTo>
                        <a:cubicBezTo>
                          <a:pt x="79" y="24"/>
                          <a:pt x="79" y="24"/>
                          <a:pt x="78" y="24"/>
                        </a:cubicBezTo>
                        <a:cubicBezTo>
                          <a:pt x="78" y="24"/>
                          <a:pt x="78" y="24"/>
                          <a:pt x="78" y="24"/>
                        </a:cubicBezTo>
                        <a:cubicBezTo>
                          <a:pt x="78" y="24"/>
                          <a:pt x="78" y="24"/>
                          <a:pt x="78" y="24"/>
                        </a:cubicBezTo>
                        <a:cubicBezTo>
                          <a:pt x="78" y="24"/>
                          <a:pt x="78" y="25"/>
                          <a:pt x="78" y="24"/>
                        </a:cubicBezTo>
                        <a:cubicBezTo>
                          <a:pt x="78" y="24"/>
                          <a:pt x="78" y="24"/>
                          <a:pt x="78" y="24"/>
                        </a:cubicBezTo>
                        <a:cubicBezTo>
                          <a:pt x="78" y="25"/>
                          <a:pt x="78" y="25"/>
                          <a:pt x="78" y="25"/>
                        </a:cubicBezTo>
                        <a:cubicBezTo>
                          <a:pt x="78" y="24"/>
                          <a:pt x="78" y="24"/>
                          <a:pt x="77" y="24"/>
                        </a:cubicBezTo>
                        <a:cubicBezTo>
                          <a:pt x="78" y="24"/>
                          <a:pt x="78" y="24"/>
                          <a:pt x="78" y="24"/>
                        </a:cubicBezTo>
                        <a:cubicBezTo>
                          <a:pt x="78" y="24"/>
                          <a:pt x="77" y="24"/>
                          <a:pt x="77" y="24"/>
                        </a:cubicBezTo>
                        <a:cubicBezTo>
                          <a:pt x="77" y="24"/>
                          <a:pt x="76" y="24"/>
                          <a:pt x="76" y="24"/>
                        </a:cubicBezTo>
                        <a:cubicBezTo>
                          <a:pt x="76" y="24"/>
                          <a:pt x="76" y="24"/>
                          <a:pt x="76" y="24"/>
                        </a:cubicBezTo>
                        <a:cubicBezTo>
                          <a:pt x="76" y="24"/>
                          <a:pt x="76" y="24"/>
                          <a:pt x="76" y="24"/>
                        </a:cubicBezTo>
                        <a:cubicBezTo>
                          <a:pt x="77" y="24"/>
                          <a:pt x="77" y="24"/>
                          <a:pt x="77" y="24"/>
                        </a:cubicBezTo>
                        <a:cubicBezTo>
                          <a:pt x="77" y="24"/>
                          <a:pt x="77" y="24"/>
                          <a:pt x="77" y="24"/>
                        </a:cubicBezTo>
                        <a:cubicBezTo>
                          <a:pt x="77" y="24"/>
                          <a:pt x="77" y="24"/>
                          <a:pt x="77" y="24"/>
                        </a:cubicBezTo>
                        <a:cubicBezTo>
                          <a:pt x="77" y="25"/>
                          <a:pt x="77" y="25"/>
                          <a:pt x="77" y="25"/>
                        </a:cubicBezTo>
                        <a:cubicBezTo>
                          <a:pt x="78" y="24"/>
                          <a:pt x="77" y="24"/>
                          <a:pt x="77" y="24"/>
                        </a:cubicBezTo>
                        <a:cubicBezTo>
                          <a:pt x="78" y="25"/>
                          <a:pt x="78" y="25"/>
                          <a:pt x="78" y="25"/>
                        </a:cubicBezTo>
                        <a:cubicBezTo>
                          <a:pt x="78" y="25"/>
                          <a:pt x="78" y="25"/>
                          <a:pt x="78" y="25"/>
                        </a:cubicBezTo>
                        <a:cubicBezTo>
                          <a:pt x="78" y="25"/>
                          <a:pt x="78" y="25"/>
                          <a:pt x="78" y="25"/>
                        </a:cubicBezTo>
                        <a:cubicBezTo>
                          <a:pt x="78" y="25"/>
                          <a:pt x="78" y="25"/>
                          <a:pt x="78" y="25"/>
                        </a:cubicBezTo>
                        <a:cubicBezTo>
                          <a:pt x="79" y="25"/>
                          <a:pt x="79" y="25"/>
                          <a:pt x="79" y="25"/>
                        </a:cubicBezTo>
                        <a:cubicBezTo>
                          <a:pt x="79" y="25"/>
                          <a:pt x="79" y="25"/>
                          <a:pt x="78" y="25"/>
                        </a:cubicBezTo>
                        <a:cubicBezTo>
                          <a:pt x="79" y="25"/>
                          <a:pt x="79" y="25"/>
                          <a:pt x="79" y="25"/>
                        </a:cubicBezTo>
                        <a:cubicBezTo>
                          <a:pt x="78" y="25"/>
                          <a:pt x="78" y="25"/>
                          <a:pt x="77" y="25"/>
                        </a:cubicBezTo>
                        <a:cubicBezTo>
                          <a:pt x="77" y="25"/>
                          <a:pt x="77" y="25"/>
                          <a:pt x="77" y="25"/>
                        </a:cubicBezTo>
                        <a:cubicBezTo>
                          <a:pt x="77" y="25"/>
                          <a:pt x="77" y="25"/>
                          <a:pt x="77" y="25"/>
                        </a:cubicBezTo>
                        <a:cubicBezTo>
                          <a:pt x="77" y="25"/>
                          <a:pt x="77" y="25"/>
                          <a:pt x="77" y="25"/>
                        </a:cubicBezTo>
                        <a:cubicBezTo>
                          <a:pt x="77" y="25"/>
                          <a:pt x="76" y="25"/>
                          <a:pt x="76" y="25"/>
                        </a:cubicBezTo>
                        <a:cubicBezTo>
                          <a:pt x="76" y="25"/>
                          <a:pt x="78" y="25"/>
                          <a:pt x="78" y="25"/>
                        </a:cubicBezTo>
                        <a:cubicBezTo>
                          <a:pt x="78" y="25"/>
                          <a:pt x="78" y="25"/>
                          <a:pt x="78" y="25"/>
                        </a:cubicBez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9" y="26"/>
                          <a:pt x="79" y="26"/>
                        </a:cubicBezTo>
                        <a:cubicBezTo>
                          <a:pt x="79" y="26"/>
                          <a:pt x="79" y="26"/>
                          <a:pt x="79" y="26"/>
                        </a:cubicBezTo>
                        <a:cubicBezTo>
                          <a:pt x="79" y="26"/>
                          <a:pt x="79" y="26"/>
                          <a:pt x="79" y="26"/>
                        </a:cubicBezTo>
                        <a:cubicBezTo>
                          <a:pt x="79" y="26"/>
                          <a:pt x="79" y="26"/>
                          <a:pt x="79" y="26"/>
                        </a:cubicBezTo>
                        <a:cubicBezTo>
                          <a:pt x="79" y="26"/>
                          <a:pt x="79" y="26"/>
                          <a:pt x="79" y="26"/>
                        </a:cubicBezTo>
                        <a:cubicBezTo>
                          <a:pt x="80" y="26"/>
                          <a:pt x="80" y="26"/>
                          <a:pt x="80" y="26"/>
                        </a:cubicBezTo>
                        <a:cubicBezTo>
                          <a:pt x="80" y="26"/>
                          <a:pt x="80" y="26"/>
                          <a:pt x="80" y="26"/>
                        </a:cubicBezTo>
                        <a:cubicBezTo>
                          <a:pt x="80" y="26"/>
                          <a:pt x="80" y="27"/>
                          <a:pt x="80" y="27"/>
                        </a:cubicBezTo>
                        <a:cubicBezTo>
                          <a:pt x="80" y="27"/>
                          <a:pt x="80" y="27"/>
                          <a:pt x="80" y="27"/>
                        </a:cubicBezTo>
                        <a:cubicBezTo>
                          <a:pt x="80" y="27"/>
                          <a:pt x="80" y="27"/>
                          <a:pt x="80" y="26"/>
                        </a:cubicBezTo>
                        <a:cubicBezTo>
                          <a:pt x="81" y="26"/>
                          <a:pt x="81" y="27"/>
                          <a:pt x="81" y="27"/>
                        </a:cubicBezTo>
                        <a:cubicBezTo>
                          <a:pt x="81" y="27"/>
                          <a:pt x="81" y="27"/>
                          <a:pt x="81" y="27"/>
                        </a:cubicBezTo>
                        <a:cubicBezTo>
                          <a:pt x="81" y="27"/>
                          <a:pt x="81" y="27"/>
                          <a:pt x="81" y="27"/>
                        </a:cubicBezTo>
                        <a:cubicBezTo>
                          <a:pt x="81" y="27"/>
                          <a:pt x="81" y="27"/>
                          <a:pt x="81" y="27"/>
                        </a:cubicBezTo>
                        <a:cubicBezTo>
                          <a:pt x="80" y="27"/>
                          <a:pt x="80" y="27"/>
                          <a:pt x="80" y="27"/>
                        </a:cubicBezTo>
                        <a:cubicBezTo>
                          <a:pt x="80" y="27"/>
                          <a:pt x="80" y="27"/>
                          <a:pt x="80" y="27"/>
                        </a:cubicBezTo>
                        <a:cubicBezTo>
                          <a:pt x="80" y="27"/>
                          <a:pt x="80" y="27"/>
                          <a:pt x="79" y="27"/>
                        </a:cubicBezTo>
                        <a:cubicBezTo>
                          <a:pt x="79" y="27"/>
                          <a:pt x="80" y="27"/>
                          <a:pt x="79" y="27"/>
                        </a:cubicBezTo>
                        <a:cubicBezTo>
                          <a:pt x="79" y="27"/>
                          <a:pt x="79" y="27"/>
                          <a:pt x="79" y="27"/>
                        </a:cubicBezTo>
                        <a:cubicBezTo>
                          <a:pt x="79" y="27"/>
                          <a:pt x="79" y="27"/>
                          <a:pt x="79" y="27"/>
                        </a:cubicBezTo>
                        <a:cubicBezTo>
                          <a:pt x="79" y="27"/>
                          <a:pt x="79" y="27"/>
                          <a:pt x="79" y="27"/>
                        </a:cubicBezTo>
                        <a:cubicBezTo>
                          <a:pt x="79" y="27"/>
                          <a:pt x="79" y="27"/>
                          <a:pt x="79" y="27"/>
                        </a:cubicBezTo>
                        <a:cubicBezTo>
                          <a:pt x="79" y="27"/>
                          <a:pt x="79" y="27"/>
                          <a:pt x="79" y="27"/>
                        </a:cubicBezTo>
                        <a:cubicBezTo>
                          <a:pt x="79" y="27"/>
                          <a:pt x="79" y="27"/>
                          <a:pt x="79" y="27"/>
                        </a:cubicBezTo>
                        <a:cubicBezTo>
                          <a:pt x="79" y="27"/>
                          <a:pt x="80" y="27"/>
                          <a:pt x="80" y="27"/>
                        </a:cubicBezTo>
                        <a:cubicBezTo>
                          <a:pt x="80" y="27"/>
                          <a:pt x="80" y="27"/>
                          <a:pt x="80" y="27"/>
                        </a:cubicBezTo>
                        <a:cubicBezTo>
                          <a:pt x="80" y="28"/>
                          <a:pt x="80" y="28"/>
                          <a:pt x="80" y="28"/>
                        </a:cubicBezTo>
                        <a:cubicBezTo>
                          <a:pt x="80" y="28"/>
                          <a:pt x="80" y="28"/>
                          <a:pt x="80" y="28"/>
                        </a:cubicBezTo>
                        <a:cubicBezTo>
                          <a:pt x="80" y="28"/>
                          <a:pt x="80" y="28"/>
                          <a:pt x="80" y="28"/>
                        </a:cubicBezTo>
                        <a:cubicBezTo>
                          <a:pt x="80" y="28"/>
                          <a:pt x="80" y="28"/>
                          <a:pt x="80" y="28"/>
                        </a:cubicBezTo>
                        <a:cubicBezTo>
                          <a:pt x="80" y="28"/>
                          <a:pt x="80" y="28"/>
                          <a:pt x="80" y="28"/>
                        </a:cubicBezTo>
                        <a:cubicBezTo>
                          <a:pt x="80" y="28"/>
                          <a:pt x="81" y="28"/>
                          <a:pt x="81" y="28"/>
                        </a:cubicBezTo>
                        <a:cubicBezTo>
                          <a:pt x="81" y="28"/>
                          <a:pt x="81" y="28"/>
                          <a:pt x="81" y="28"/>
                        </a:cubicBezTo>
                        <a:cubicBezTo>
                          <a:pt x="81" y="28"/>
                          <a:pt x="81" y="28"/>
                          <a:pt x="81" y="28"/>
                        </a:cubicBezTo>
                        <a:cubicBezTo>
                          <a:pt x="81" y="28"/>
                          <a:pt x="81" y="29"/>
                          <a:pt x="81" y="29"/>
                        </a:cubicBezTo>
                        <a:cubicBezTo>
                          <a:pt x="81" y="28"/>
                          <a:pt x="81" y="28"/>
                          <a:pt x="81" y="28"/>
                        </a:cubicBezTo>
                        <a:cubicBezTo>
                          <a:pt x="81" y="28"/>
                          <a:pt x="81" y="28"/>
                          <a:pt x="81" y="28"/>
                        </a:cubicBezTo>
                        <a:cubicBezTo>
                          <a:pt x="81" y="28"/>
                          <a:pt x="81" y="28"/>
                          <a:pt x="81" y="29"/>
                        </a:cubicBezTo>
                        <a:cubicBezTo>
                          <a:pt x="81" y="29"/>
                          <a:pt x="82" y="29"/>
                          <a:pt x="82" y="29"/>
                        </a:cubicBezTo>
                        <a:cubicBezTo>
                          <a:pt x="82" y="29"/>
                          <a:pt x="82" y="29"/>
                          <a:pt x="82" y="28"/>
                        </a:cubicBezTo>
                        <a:cubicBezTo>
                          <a:pt x="82" y="28"/>
                          <a:pt x="82" y="29"/>
                          <a:pt x="82" y="29"/>
                        </a:cubicBezTo>
                        <a:cubicBezTo>
                          <a:pt x="82" y="29"/>
                          <a:pt x="82" y="29"/>
                          <a:pt x="82" y="28"/>
                        </a:cubicBezTo>
                        <a:cubicBezTo>
                          <a:pt x="82" y="29"/>
                          <a:pt x="82" y="29"/>
                          <a:pt x="82" y="29"/>
                        </a:cubicBezTo>
                        <a:cubicBezTo>
                          <a:pt x="82" y="29"/>
                          <a:pt x="82" y="29"/>
                          <a:pt x="83" y="29"/>
                        </a:cubicBezTo>
                        <a:cubicBezTo>
                          <a:pt x="83" y="29"/>
                          <a:pt x="82" y="29"/>
                          <a:pt x="82" y="29"/>
                        </a:cubicBezTo>
                        <a:cubicBezTo>
                          <a:pt x="83" y="29"/>
                          <a:pt x="83" y="29"/>
                          <a:pt x="83" y="29"/>
                        </a:cubicBezTo>
                        <a:cubicBezTo>
                          <a:pt x="83" y="29"/>
                          <a:pt x="83" y="29"/>
                          <a:pt x="83" y="29"/>
                        </a:cubicBezTo>
                        <a:cubicBezTo>
                          <a:pt x="83" y="29"/>
                          <a:pt x="83" y="29"/>
                          <a:pt x="83" y="29"/>
                        </a:cubicBezTo>
                        <a:cubicBezTo>
                          <a:pt x="83" y="29"/>
                          <a:pt x="83" y="29"/>
                          <a:pt x="83" y="29"/>
                        </a:cubicBezTo>
                        <a:cubicBezTo>
                          <a:pt x="83" y="29"/>
                          <a:pt x="83" y="29"/>
                          <a:pt x="83" y="29"/>
                        </a:cubicBezTo>
                        <a:cubicBezTo>
                          <a:pt x="83" y="29"/>
                          <a:pt x="83" y="29"/>
                          <a:pt x="84" y="29"/>
                        </a:cubicBezTo>
                        <a:cubicBezTo>
                          <a:pt x="84" y="29"/>
                          <a:pt x="83" y="29"/>
                          <a:pt x="83" y="28"/>
                        </a:cubicBezTo>
                        <a:cubicBezTo>
                          <a:pt x="84" y="29"/>
                          <a:pt x="84" y="29"/>
                          <a:pt x="84" y="29"/>
                        </a:cubicBezTo>
                        <a:cubicBezTo>
                          <a:pt x="84" y="29"/>
                          <a:pt x="84" y="29"/>
                          <a:pt x="84" y="29"/>
                        </a:cubicBezTo>
                        <a:cubicBezTo>
                          <a:pt x="84" y="29"/>
                          <a:pt x="84" y="29"/>
                          <a:pt x="84" y="29"/>
                        </a:cubicBezTo>
                        <a:cubicBezTo>
                          <a:pt x="85" y="29"/>
                          <a:pt x="85" y="29"/>
                          <a:pt x="86" y="29"/>
                        </a:cubicBezTo>
                        <a:cubicBezTo>
                          <a:pt x="86" y="29"/>
                          <a:pt x="86" y="29"/>
                          <a:pt x="86" y="30"/>
                        </a:cubicBezTo>
                        <a:cubicBezTo>
                          <a:pt x="85" y="30"/>
                          <a:pt x="85" y="30"/>
                          <a:pt x="85" y="29"/>
                        </a:cubicBezTo>
                        <a:cubicBezTo>
                          <a:pt x="85" y="29"/>
                          <a:pt x="85" y="29"/>
                          <a:pt x="85" y="29"/>
                        </a:cubicBezTo>
                        <a:cubicBezTo>
                          <a:pt x="85" y="29"/>
                          <a:pt x="85" y="29"/>
                          <a:pt x="85" y="29"/>
                        </a:cubicBezTo>
                        <a:cubicBezTo>
                          <a:pt x="85" y="29"/>
                          <a:pt x="85" y="29"/>
                          <a:pt x="85" y="29"/>
                        </a:cubicBezTo>
                        <a:cubicBezTo>
                          <a:pt x="84" y="29"/>
                          <a:pt x="84" y="29"/>
                          <a:pt x="84" y="29"/>
                        </a:cubicBezTo>
                        <a:cubicBezTo>
                          <a:pt x="84" y="29"/>
                          <a:pt x="83" y="29"/>
                          <a:pt x="83" y="29"/>
                        </a:cubicBezTo>
                        <a:cubicBezTo>
                          <a:pt x="83" y="29"/>
                          <a:pt x="83" y="29"/>
                          <a:pt x="83" y="29"/>
                        </a:cubicBezTo>
                        <a:cubicBezTo>
                          <a:pt x="84" y="29"/>
                          <a:pt x="84" y="29"/>
                          <a:pt x="84" y="29"/>
                        </a:cubicBezTo>
                        <a:cubicBezTo>
                          <a:pt x="84" y="29"/>
                          <a:pt x="83" y="29"/>
                          <a:pt x="83" y="29"/>
                        </a:cubicBezTo>
                        <a:cubicBezTo>
                          <a:pt x="84" y="30"/>
                          <a:pt x="84" y="30"/>
                          <a:pt x="84" y="30"/>
                        </a:cubicBezTo>
                        <a:cubicBezTo>
                          <a:pt x="84" y="30"/>
                          <a:pt x="84" y="30"/>
                          <a:pt x="84" y="30"/>
                        </a:cubicBezTo>
                        <a:cubicBezTo>
                          <a:pt x="84" y="30"/>
                          <a:pt x="85" y="30"/>
                          <a:pt x="85" y="30"/>
                        </a:cubicBezTo>
                        <a:cubicBezTo>
                          <a:pt x="85" y="30"/>
                          <a:pt x="85" y="30"/>
                          <a:pt x="85" y="30"/>
                        </a:cubicBezTo>
                        <a:cubicBezTo>
                          <a:pt x="85" y="30"/>
                          <a:pt x="85" y="30"/>
                          <a:pt x="86" y="30"/>
                        </a:cubicBezTo>
                        <a:cubicBezTo>
                          <a:pt x="85" y="30"/>
                          <a:pt x="85" y="30"/>
                          <a:pt x="85" y="30"/>
                        </a:cubicBezTo>
                        <a:cubicBezTo>
                          <a:pt x="85" y="30"/>
                          <a:pt x="85" y="30"/>
                          <a:pt x="86" y="30"/>
                        </a:cubicBezTo>
                        <a:cubicBezTo>
                          <a:pt x="86" y="30"/>
                          <a:pt x="86" y="30"/>
                          <a:pt x="86" y="30"/>
                        </a:cubicBezTo>
                        <a:cubicBezTo>
                          <a:pt x="87" y="30"/>
                          <a:pt x="87" y="30"/>
                          <a:pt x="87" y="30"/>
                        </a:cubicBezTo>
                        <a:cubicBezTo>
                          <a:pt x="87" y="30"/>
                          <a:pt x="87" y="30"/>
                          <a:pt x="87" y="31"/>
                        </a:cubicBezTo>
                        <a:cubicBezTo>
                          <a:pt x="87" y="31"/>
                          <a:pt x="87" y="31"/>
                          <a:pt x="87" y="31"/>
                        </a:cubicBezTo>
                        <a:cubicBezTo>
                          <a:pt x="87" y="31"/>
                          <a:pt x="87" y="31"/>
                          <a:pt x="88" y="31"/>
                        </a:cubicBezTo>
                        <a:cubicBezTo>
                          <a:pt x="88" y="31"/>
                          <a:pt x="87" y="30"/>
                          <a:pt x="87" y="30"/>
                        </a:cubicBezTo>
                        <a:cubicBezTo>
                          <a:pt x="87" y="30"/>
                          <a:pt x="87" y="30"/>
                          <a:pt x="87" y="30"/>
                        </a:cubicBezTo>
                        <a:cubicBezTo>
                          <a:pt x="87" y="30"/>
                          <a:pt x="87" y="30"/>
                          <a:pt x="87" y="30"/>
                        </a:cubicBezTo>
                        <a:cubicBezTo>
                          <a:pt x="87" y="30"/>
                          <a:pt x="88" y="30"/>
                          <a:pt x="88" y="30"/>
                        </a:cubicBezTo>
                        <a:cubicBezTo>
                          <a:pt x="88" y="30"/>
                          <a:pt x="88" y="30"/>
                          <a:pt x="88" y="30"/>
                        </a:cubicBezTo>
                        <a:cubicBezTo>
                          <a:pt x="88" y="30"/>
                          <a:pt x="88" y="30"/>
                          <a:pt x="88" y="30"/>
                        </a:cubicBezTo>
                        <a:cubicBezTo>
                          <a:pt x="88" y="30"/>
                          <a:pt x="88" y="30"/>
                          <a:pt x="88" y="30"/>
                        </a:cubicBezTo>
                        <a:cubicBezTo>
                          <a:pt x="88" y="30"/>
                          <a:pt x="88" y="30"/>
                          <a:pt x="88" y="30"/>
                        </a:cubicBezTo>
                        <a:cubicBezTo>
                          <a:pt x="88" y="30"/>
                          <a:pt x="88" y="30"/>
                          <a:pt x="88" y="30"/>
                        </a:cubicBezTo>
                        <a:cubicBezTo>
                          <a:pt x="88" y="30"/>
                          <a:pt x="88" y="30"/>
                          <a:pt x="88" y="30"/>
                        </a:cubicBezTo>
                        <a:cubicBezTo>
                          <a:pt x="88" y="30"/>
                          <a:pt x="88" y="30"/>
                          <a:pt x="88" y="30"/>
                        </a:cubicBezTo>
                        <a:cubicBezTo>
                          <a:pt x="88" y="30"/>
                          <a:pt x="88" y="31"/>
                          <a:pt x="88" y="31"/>
                        </a:cubicBezTo>
                        <a:cubicBezTo>
                          <a:pt x="88" y="31"/>
                          <a:pt x="88" y="31"/>
                          <a:pt x="88" y="31"/>
                        </a:cubicBezTo>
                        <a:cubicBezTo>
                          <a:pt x="88" y="31"/>
                          <a:pt x="88" y="31"/>
                          <a:pt x="88" y="31"/>
                        </a:cubicBezTo>
                        <a:cubicBezTo>
                          <a:pt x="89" y="31"/>
                          <a:pt x="88" y="31"/>
                          <a:pt x="89" y="31"/>
                        </a:cubicBezTo>
                        <a:cubicBezTo>
                          <a:pt x="89" y="31"/>
                          <a:pt x="89" y="31"/>
                          <a:pt x="89" y="31"/>
                        </a:cubicBezTo>
                        <a:cubicBezTo>
                          <a:pt x="89" y="31"/>
                          <a:pt x="89" y="31"/>
                          <a:pt x="89" y="31"/>
                        </a:cubicBezTo>
                        <a:cubicBezTo>
                          <a:pt x="89" y="31"/>
                          <a:pt x="89" y="32"/>
                          <a:pt x="90" y="32"/>
                        </a:cubicBezTo>
                        <a:cubicBezTo>
                          <a:pt x="89" y="32"/>
                          <a:pt x="89" y="32"/>
                          <a:pt x="90" y="32"/>
                        </a:cubicBezTo>
                        <a:cubicBezTo>
                          <a:pt x="89" y="32"/>
                          <a:pt x="89" y="32"/>
                          <a:pt x="89" y="31"/>
                        </a:cubicBezTo>
                        <a:cubicBezTo>
                          <a:pt x="89" y="31"/>
                          <a:pt x="89" y="31"/>
                          <a:pt x="89" y="31"/>
                        </a:cubicBezTo>
                        <a:cubicBezTo>
                          <a:pt x="89" y="32"/>
                          <a:pt x="89" y="32"/>
                          <a:pt x="89" y="32"/>
                        </a:cubicBezTo>
                        <a:cubicBezTo>
                          <a:pt x="89" y="32"/>
                          <a:pt x="88" y="31"/>
                          <a:pt x="88" y="32"/>
                        </a:cubicBezTo>
                        <a:cubicBezTo>
                          <a:pt x="88" y="32"/>
                          <a:pt x="87" y="31"/>
                          <a:pt x="87" y="31"/>
                        </a:cubicBezTo>
                        <a:cubicBezTo>
                          <a:pt x="87" y="31"/>
                          <a:pt x="87" y="31"/>
                          <a:pt x="86" y="31"/>
                        </a:cubicBezTo>
                        <a:cubicBezTo>
                          <a:pt x="86" y="31"/>
                          <a:pt x="87" y="31"/>
                          <a:pt x="87" y="31"/>
                        </a:cubicBezTo>
                        <a:cubicBezTo>
                          <a:pt x="86" y="31"/>
                          <a:pt x="86" y="31"/>
                          <a:pt x="86" y="31"/>
                        </a:cubicBezTo>
                        <a:cubicBezTo>
                          <a:pt x="86" y="31"/>
                          <a:pt x="86" y="31"/>
                          <a:pt x="86" y="31"/>
                        </a:cubicBezTo>
                        <a:cubicBezTo>
                          <a:pt x="86" y="31"/>
                          <a:pt x="85" y="31"/>
                          <a:pt x="86" y="31"/>
                        </a:cubicBezTo>
                        <a:cubicBezTo>
                          <a:pt x="86" y="31"/>
                          <a:pt x="86" y="31"/>
                          <a:pt x="86" y="31"/>
                        </a:cubicBezTo>
                        <a:cubicBezTo>
                          <a:pt x="86" y="31"/>
                          <a:pt x="85" y="31"/>
                          <a:pt x="85" y="30"/>
                        </a:cubicBezTo>
                        <a:cubicBezTo>
                          <a:pt x="85" y="31"/>
                          <a:pt x="85" y="31"/>
                          <a:pt x="86" y="31"/>
                        </a:cubicBezTo>
                        <a:cubicBezTo>
                          <a:pt x="85" y="31"/>
                          <a:pt x="85" y="31"/>
                          <a:pt x="85" y="31"/>
                        </a:cubicBezTo>
                        <a:cubicBezTo>
                          <a:pt x="85" y="31"/>
                          <a:pt x="85" y="31"/>
                          <a:pt x="86" y="31"/>
                        </a:cubicBezTo>
                        <a:cubicBezTo>
                          <a:pt x="85" y="31"/>
                          <a:pt x="85" y="31"/>
                          <a:pt x="85" y="31"/>
                        </a:cubicBezTo>
                        <a:cubicBezTo>
                          <a:pt x="86" y="31"/>
                          <a:pt x="86" y="31"/>
                          <a:pt x="86" y="31"/>
                        </a:cubicBezTo>
                        <a:cubicBezTo>
                          <a:pt x="86" y="31"/>
                          <a:pt x="86" y="32"/>
                          <a:pt x="86" y="32"/>
                        </a:cubicBezTo>
                        <a:cubicBezTo>
                          <a:pt x="87" y="32"/>
                          <a:pt x="87" y="32"/>
                          <a:pt x="87" y="32"/>
                        </a:cubicBezTo>
                        <a:cubicBezTo>
                          <a:pt x="87" y="32"/>
                          <a:pt x="87" y="32"/>
                          <a:pt x="86" y="32"/>
                        </a:cubicBezTo>
                        <a:cubicBezTo>
                          <a:pt x="86" y="31"/>
                          <a:pt x="87" y="32"/>
                          <a:pt x="87" y="31"/>
                        </a:cubicBezTo>
                        <a:cubicBezTo>
                          <a:pt x="87" y="31"/>
                          <a:pt x="87" y="32"/>
                          <a:pt x="87" y="32"/>
                        </a:cubicBezTo>
                        <a:cubicBezTo>
                          <a:pt x="87" y="32"/>
                          <a:pt x="88" y="32"/>
                          <a:pt x="88" y="32"/>
                        </a:cubicBezTo>
                        <a:cubicBezTo>
                          <a:pt x="88" y="32"/>
                          <a:pt x="88" y="32"/>
                          <a:pt x="88" y="32"/>
                        </a:cubicBezTo>
                        <a:cubicBezTo>
                          <a:pt x="88" y="32"/>
                          <a:pt x="88" y="32"/>
                          <a:pt x="88" y="32"/>
                        </a:cubicBezTo>
                        <a:cubicBezTo>
                          <a:pt x="88" y="32"/>
                          <a:pt x="88" y="32"/>
                          <a:pt x="89" y="32"/>
                        </a:cubicBezTo>
                        <a:cubicBezTo>
                          <a:pt x="89" y="32"/>
                          <a:pt x="88" y="32"/>
                          <a:pt x="88" y="32"/>
                        </a:cubicBezTo>
                        <a:cubicBezTo>
                          <a:pt x="88" y="32"/>
                          <a:pt x="88" y="32"/>
                          <a:pt x="88" y="32"/>
                        </a:cubicBezTo>
                        <a:cubicBezTo>
                          <a:pt x="89" y="32"/>
                          <a:pt x="89" y="32"/>
                          <a:pt x="89" y="32"/>
                        </a:cubicBezTo>
                        <a:cubicBezTo>
                          <a:pt x="89" y="32"/>
                          <a:pt x="89" y="32"/>
                          <a:pt x="89" y="32"/>
                        </a:cubicBezTo>
                        <a:cubicBezTo>
                          <a:pt x="89" y="32"/>
                          <a:pt x="89" y="32"/>
                          <a:pt x="88" y="32"/>
                        </a:cubicBezTo>
                        <a:cubicBezTo>
                          <a:pt x="88" y="32"/>
                          <a:pt x="89" y="32"/>
                          <a:pt x="89" y="32"/>
                        </a:cubicBezTo>
                        <a:cubicBezTo>
                          <a:pt x="89" y="32"/>
                          <a:pt x="89" y="32"/>
                          <a:pt x="89" y="32"/>
                        </a:cubicBezTo>
                        <a:cubicBezTo>
                          <a:pt x="89" y="32"/>
                          <a:pt x="88" y="32"/>
                          <a:pt x="88" y="32"/>
                        </a:cubicBezTo>
                        <a:cubicBezTo>
                          <a:pt x="88" y="32"/>
                          <a:pt x="88" y="32"/>
                          <a:pt x="88" y="32"/>
                        </a:cubicBezTo>
                        <a:cubicBezTo>
                          <a:pt x="88" y="32"/>
                          <a:pt x="88" y="32"/>
                          <a:pt x="88" y="32"/>
                        </a:cubicBezTo>
                        <a:cubicBezTo>
                          <a:pt x="88" y="32"/>
                          <a:pt x="88" y="32"/>
                          <a:pt x="88" y="32"/>
                        </a:cubicBezTo>
                        <a:cubicBezTo>
                          <a:pt x="88" y="32"/>
                          <a:pt x="89" y="33"/>
                          <a:pt x="89" y="33"/>
                        </a:cubicBezTo>
                        <a:cubicBezTo>
                          <a:pt x="89" y="33"/>
                          <a:pt x="89" y="33"/>
                          <a:pt x="89" y="32"/>
                        </a:cubicBezTo>
                        <a:cubicBezTo>
                          <a:pt x="89" y="32"/>
                          <a:pt x="89" y="32"/>
                          <a:pt x="89" y="32"/>
                        </a:cubicBezTo>
                        <a:cubicBezTo>
                          <a:pt x="89" y="32"/>
                          <a:pt x="89" y="32"/>
                          <a:pt x="89" y="32"/>
                        </a:cubicBezTo>
                        <a:cubicBezTo>
                          <a:pt x="89" y="32"/>
                          <a:pt x="89" y="32"/>
                          <a:pt x="89" y="32"/>
                        </a:cubicBezTo>
                        <a:cubicBezTo>
                          <a:pt x="89" y="32"/>
                          <a:pt x="89" y="32"/>
                          <a:pt x="89" y="32"/>
                        </a:cubicBezTo>
                        <a:cubicBezTo>
                          <a:pt x="90" y="32"/>
                          <a:pt x="90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2"/>
                        </a:cubicBezTo>
                        <a:cubicBezTo>
                          <a:pt x="91" y="32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4"/>
                        </a:cubicBezTo>
                        <a:cubicBezTo>
                          <a:pt x="91" y="34"/>
                          <a:pt x="91" y="34"/>
                          <a:pt x="92" y="34"/>
                        </a:cubicBezTo>
                        <a:cubicBezTo>
                          <a:pt x="92" y="34"/>
                          <a:pt x="92" y="34"/>
                          <a:pt x="92" y="34"/>
                        </a:cubicBezTo>
                        <a:cubicBezTo>
                          <a:pt x="92" y="34"/>
                          <a:pt x="91" y="34"/>
                          <a:pt x="92" y="34"/>
                        </a:cubicBezTo>
                        <a:cubicBezTo>
                          <a:pt x="92" y="34"/>
                          <a:pt x="91" y="34"/>
                          <a:pt x="91" y="34"/>
                        </a:cubicBezTo>
                        <a:cubicBezTo>
                          <a:pt x="91" y="33"/>
                          <a:pt x="92" y="33"/>
                          <a:pt x="92" y="34"/>
                        </a:cubicBezTo>
                        <a:cubicBezTo>
                          <a:pt x="92" y="33"/>
                          <a:pt x="92" y="33"/>
                          <a:pt x="92" y="33"/>
                        </a:cubicBezTo>
                        <a:cubicBezTo>
                          <a:pt x="92" y="33"/>
                          <a:pt x="92" y="33"/>
                          <a:pt x="92" y="33"/>
                        </a:cubicBezTo>
                        <a:cubicBezTo>
                          <a:pt x="92" y="33"/>
                          <a:pt x="92" y="33"/>
                          <a:pt x="92" y="34"/>
                        </a:cubicBezTo>
                        <a:cubicBezTo>
                          <a:pt x="92" y="34"/>
                          <a:pt x="92" y="34"/>
                          <a:pt x="92" y="34"/>
                        </a:cubicBezTo>
                        <a:cubicBezTo>
                          <a:pt x="92" y="34"/>
                          <a:pt x="92" y="34"/>
                          <a:pt x="92" y="34"/>
                        </a:cubicBezTo>
                        <a:cubicBezTo>
                          <a:pt x="92" y="34"/>
                          <a:pt x="92" y="34"/>
                          <a:pt x="92" y="34"/>
                        </a:cubicBezTo>
                        <a:cubicBezTo>
                          <a:pt x="92" y="34"/>
                          <a:pt x="92" y="35"/>
                          <a:pt x="92" y="34"/>
                        </a:cubicBezTo>
                        <a:cubicBezTo>
                          <a:pt x="92" y="34"/>
                          <a:pt x="92" y="34"/>
                          <a:pt x="92" y="34"/>
                        </a:cubicBezTo>
                        <a:cubicBezTo>
                          <a:pt x="92" y="34"/>
                          <a:pt x="92" y="34"/>
                          <a:pt x="93" y="34"/>
                        </a:cubicBezTo>
                        <a:cubicBezTo>
                          <a:pt x="93" y="34"/>
                          <a:pt x="93" y="34"/>
                          <a:pt x="93" y="34"/>
                        </a:cubicBezTo>
                        <a:cubicBezTo>
                          <a:pt x="93" y="35"/>
                          <a:pt x="93" y="35"/>
                          <a:pt x="93" y="35"/>
                        </a:cubicBezTo>
                        <a:cubicBezTo>
                          <a:pt x="93" y="35"/>
                          <a:pt x="93" y="35"/>
                          <a:pt x="93" y="35"/>
                        </a:cubicBezTo>
                        <a:cubicBezTo>
                          <a:pt x="93" y="35"/>
                          <a:pt x="93" y="34"/>
                          <a:pt x="93" y="34"/>
                        </a:cubicBezTo>
                        <a:cubicBezTo>
                          <a:pt x="93" y="35"/>
                          <a:pt x="93" y="35"/>
                          <a:pt x="93" y="35"/>
                        </a:cubicBezTo>
                        <a:cubicBezTo>
                          <a:pt x="93" y="35"/>
                          <a:pt x="93" y="35"/>
                          <a:pt x="93" y="35"/>
                        </a:cubicBezTo>
                        <a:cubicBezTo>
                          <a:pt x="93" y="35"/>
                          <a:pt x="93" y="35"/>
                          <a:pt x="93" y="35"/>
                        </a:cubicBezTo>
                        <a:cubicBezTo>
                          <a:pt x="93" y="35"/>
                          <a:pt x="94" y="35"/>
                          <a:pt x="94" y="35"/>
                        </a:cubicBezTo>
                        <a:cubicBezTo>
                          <a:pt x="94" y="35"/>
                          <a:pt x="94" y="35"/>
                          <a:pt x="94" y="35"/>
                        </a:cubicBezTo>
                        <a:cubicBezTo>
                          <a:pt x="94" y="35"/>
                          <a:pt x="94" y="35"/>
                          <a:pt x="94" y="35"/>
                        </a:cubicBezTo>
                        <a:cubicBezTo>
                          <a:pt x="95" y="36"/>
                          <a:pt x="95" y="36"/>
                          <a:pt x="95" y="36"/>
                        </a:cubicBezTo>
                        <a:cubicBezTo>
                          <a:pt x="95" y="36"/>
                          <a:pt x="94" y="36"/>
                          <a:pt x="94" y="36"/>
                        </a:cubicBezTo>
                        <a:cubicBezTo>
                          <a:pt x="94" y="36"/>
                          <a:pt x="94" y="36"/>
                          <a:pt x="94" y="36"/>
                        </a:cubicBezTo>
                        <a:cubicBezTo>
                          <a:pt x="94" y="36"/>
                          <a:pt x="94" y="36"/>
                          <a:pt x="94" y="36"/>
                        </a:cubicBezTo>
                        <a:cubicBezTo>
                          <a:pt x="94" y="36"/>
                          <a:pt x="94" y="36"/>
                          <a:pt x="94" y="36"/>
                        </a:cubicBezTo>
                        <a:cubicBezTo>
                          <a:pt x="94" y="36"/>
                          <a:pt x="94" y="36"/>
                          <a:pt x="93" y="36"/>
                        </a:cubicBezTo>
                        <a:cubicBezTo>
                          <a:pt x="94" y="36"/>
                          <a:pt x="94" y="36"/>
                          <a:pt x="93" y="36"/>
                        </a:cubicBezTo>
                        <a:cubicBezTo>
                          <a:pt x="93" y="36"/>
                          <a:pt x="93" y="36"/>
                          <a:pt x="93" y="36"/>
                        </a:cubicBezTo>
                        <a:cubicBezTo>
                          <a:pt x="93" y="36"/>
                          <a:pt x="93" y="36"/>
                          <a:pt x="93" y="36"/>
                        </a:cubicBezTo>
                        <a:cubicBezTo>
                          <a:pt x="93" y="36"/>
                          <a:pt x="93" y="36"/>
                          <a:pt x="93" y="36"/>
                        </a:cubicBezTo>
                        <a:cubicBezTo>
                          <a:pt x="93" y="35"/>
                          <a:pt x="92" y="36"/>
                          <a:pt x="91" y="35"/>
                        </a:cubicBezTo>
                        <a:cubicBezTo>
                          <a:pt x="91" y="35"/>
                          <a:pt x="91" y="35"/>
                          <a:pt x="91" y="35"/>
                        </a:cubicBezTo>
                        <a:cubicBezTo>
                          <a:pt x="91" y="35"/>
                          <a:pt x="91" y="35"/>
                          <a:pt x="91" y="35"/>
                        </a:cubicBezTo>
                        <a:cubicBezTo>
                          <a:pt x="91" y="35"/>
                          <a:pt x="91" y="35"/>
                          <a:pt x="90" y="35"/>
                        </a:cubicBezTo>
                        <a:cubicBezTo>
                          <a:pt x="90" y="35"/>
                          <a:pt x="90" y="35"/>
                          <a:pt x="90" y="35"/>
                        </a:cubicBezTo>
                        <a:cubicBezTo>
                          <a:pt x="90" y="35"/>
                          <a:pt x="90" y="35"/>
                          <a:pt x="90" y="35"/>
                        </a:cubicBezTo>
                        <a:cubicBezTo>
                          <a:pt x="90" y="35"/>
                          <a:pt x="89" y="35"/>
                          <a:pt x="89" y="35"/>
                        </a:cubicBezTo>
                        <a:cubicBezTo>
                          <a:pt x="89" y="35"/>
                          <a:pt x="89" y="35"/>
                          <a:pt x="88" y="35"/>
                        </a:cubicBezTo>
                        <a:cubicBezTo>
                          <a:pt x="88" y="34"/>
                          <a:pt x="87" y="34"/>
                          <a:pt x="87" y="34"/>
                        </a:cubicBezTo>
                        <a:cubicBezTo>
                          <a:pt x="87" y="34"/>
                          <a:pt x="88" y="34"/>
                          <a:pt x="88" y="34"/>
                        </a:cubicBezTo>
                        <a:cubicBezTo>
                          <a:pt x="88" y="34"/>
                          <a:pt x="88" y="34"/>
                          <a:pt x="88" y="34"/>
                        </a:cubicBezTo>
                        <a:cubicBezTo>
                          <a:pt x="88" y="34"/>
                          <a:pt x="88" y="34"/>
                          <a:pt x="87" y="34"/>
                        </a:cubicBezTo>
                        <a:cubicBezTo>
                          <a:pt x="88" y="34"/>
                          <a:pt x="86" y="34"/>
                          <a:pt x="86" y="33"/>
                        </a:cubicBezTo>
                        <a:cubicBezTo>
                          <a:pt x="86" y="33"/>
                          <a:pt x="86" y="33"/>
                          <a:pt x="86" y="33"/>
                        </a:cubicBezTo>
                        <a:cubicBezTo>
                          <a:pt x="85" y="33"/>
                          <a:pt x="85" y="33"/>
                          <a:pt x="85" y="33"/>
                        </a:cubicBezTo>
                        <a:cubicBezTo>
                          <a:pt x="85" y="33"/>
                          <a:pt x="85" y="33"/>
                          <a:pt x="85" y="33"/>
                        </a:cubicBezTo>
                        <a:cubicBezTo>
                          <a:pt x="84" y="33"/>
                          <a:pt x="83" y="33"/>
                          <a:pt x="81" y="32"/>
                        </a:cubicBezTo>
                        <a:cubicBezTo>
                          <a:pt x="81" y="32"/>
                          <a:pt x="81" y="32"/>
                          <a:pt x="81" y="32"/>
                        </a:cubicBezTo>
                        <a:cubicBezTo>
                          <a:pt x="81" y="32"/>
                          <a:pt x="81" y="32"/>
                          <a:pt x="81" y="32"/>
                        </a:cubicBezTo>
                        <a:cubicBezTo>
                          <a:pt x="81" y="32"/>
                          <a:pt x="81" y="32"/>
                          <a:pt x="81" y="32"/>
                        </a:cubicBezTo>
                        <a:cubicBezTo>
                          <a:pt x="81" y="32"/>
                          <a:pt x="81" y="32"/>
                          <a:pt x="81" y="32"/>
                        </a:cubicBezTo>
                        <a:cubicBezTo>
                          <a:pt x="81" y="32"/>
                          <a:pt x="81" y="32"/>
                          <a:pt x="81" y="32"/>
                        </a:cubicBezTo>
                        <a:cubicBezTo>
                          <a:pt x="80" y="32"/>
                          <a:pt x="81" y="32"/>
                          <a:pt x="81" y="32"/>
                        </a:cubicBezTo>
                        <a:cubicBezTo>
                          <a:pt x="80" y="32"/>
                          <a:pt x="80" y="32"/>
                          <a:pt x="80" y="32"/>
                        </a:cubicBezTo>
                        <a:cubicBezTo>
                          <a:pt x="80" y="32"/>
                          <a:pt x="80" y="32"/>
                          <a:pt x="80" y="32"/>
                        </a:cubicBezTo>
                        <a:cubicBezTo>
                          <a:pt x="80" y="32"/>
                          <a:pt x="80" y="32"/>
                          <a:pt x="79" y="31"/>
                        </a:cubicBezTo>
                        <a:cubicBezTo>
                          <a:pt x="79" y="31"/>
                          <a:pt x="79" y="31"/>
                          <a:pt x="79" y="31"/>
                        </a:cubicBezTo>
                        <a:cubicBezTo>
                          <a:pt x="79" y="31"/>
                          <a:pt x="79" y="31"/>
                          <a:pt x="79" y="31"/>
                        </a:cubicBezTo>
                        <a:cubicBezTo>
                          <a:pt x="79" y="31"/>
                          <a:pt x="79" y="31"/>
                          <a:pt x="78" y="31"/>
                        </a:cubicBezTo>
                        <a:cubicBezTo>
                          <a:pt x="78" y="31"/>
                          <a:pt x="79" y="31"/>
                          <a:pt x="79" y="31"/>
                        </a:cubicBezTo>
                        <a:cubicBezTo>
                          <a:pt x="78" y="31"/>
                          <a:pt x="78" y="31"/>
                          <a:pt x="78" y="31"/>
                        </a:cubicBezTo>
                        <a:cubicBezTo>
                          <a:pt x="78" y="31"/>
                          <a:pt x="77" y="31"/>
                          <a:pt x="77" y="31"/>
                        </a:cubicBezTo>
                        <a:cubicBezTo>
                          <a:pt x="77" y="31"/>
                          <a:pt x="76" y="30"/>
                          <a:pt x="76" y="30"/>
                        </a:cubicBezTo>
                        <a:cubicBezTo>
                          <a:pt x="76" y="30"/>
                          <a:pt x="76" y="30"/>
                          <a:pt x="76" y="30"/>
                        </a:cubicBezTo>
                        <a:cubicBezTo>
                          <a:pt x="76" y="30"/>
                          <a:pt x="75" y="30"/>
                          <a:pt x="75" y="30"/>
                        </a:cubicBezTo>
                        <a:cubicBezTo>
                          <a:pt x="75" y="30"/>
                          <a:pt x="75" y="30"/>
                          <a:pt x="76" y="30"/>
                        </a:cubicBezTo>
                        <a:cubicBezTo>
                          <a:pt x="76" y="30"/>
                          <a:pt x="75" y="30"/>
                          <a:pt x="75" y="30"/>
                        </a:cubicBezTo>
                        <a:cubicBezTo>
                          <a:pt x="75" y="30"/>
                          <a:pt x="76" y="30"/>
                          <a:pt x="76" y="30"/>
                        </a:cubicBezTo>
                        <a:cubicBezTo>
                          <a:pt x="76" y="30"/>
                          <a:pt x="76" y="30"/>
                          <a:pt x="76" y="30"/>
                        </a:cubicBezTo>
                        <a:cubicBezTo>
                          <a:pt x="76" y="30"/>
                          <a:pt x="76" y="30"/>
                          <a:pt x="76" y="30"/>
                        </a:cubicBezTo>
                        <a:cubicBezTo>
                          <a:pt x="77" y="30"/>
                          <a:pt x="77" y="30"/>
                          <a:pt x="78" y="31"/>
                        </a:cubicBezTo>
                        <a:cubicBezTo>
                          <a:pt x="78" y="31"/>
                          <a:pt x="78" y="31"/>
                          <a:pt x="78" y="31"/>
                        </a:cubicBezTo>
                        <a:cubicBezTo>
                          <a:pt x="79" y="31"/>
                          <a:pt x="81" y="31"/>
                          <a:pt x="82" y="32"/>
                        </a:cubicBezTo>
                        <a:cubicBezTo>
                          <a:pt x="82" y="32"/>
                          <a:pt x="82" y="32"/>
                          <a:pt x="82" y="32"/>
                        </a:cubicBezTo>
                        <a:cubicBezTo>
                          <a:pt x="82" y="32"/>
                          <a:pt x="82" y="32"/>
                          <a:pt x="82" y="32"/>
                        </a:cubicBezTo>
                        <a:cubicBezTo>
                          <a:pt x="83" y="32"/>
                          <a:pt x="83" y="32"/>
                          <a:pt x="84" y="32"/>
                        </a:cubicBezTo>
                        <a:cubicBezTo>
                          <a:pt x="84" y="32"/>
                          <a:pt x="84" y="32"/>
                          <a:pt x="84" y="32"/>
                        </a:cubicBezTo>
                        <a:cubicBezTo>
                          <a:pt x="84" y="32"/>
                          <a:pt x="84" y="32"/>
                          <a:pt x="84" y="32"/>
                        </a:cubicBezTo>
                        <a:cubicBezTo>
                          <a:pt x="84" y="32"/>
                          <a:pt x="84" y="32"/>
                          <a:pt x="84" y="33"/>
                        </a:cubicBezTo>
                        <a:cubicBezTo>
                          <a:pt x="84" y="33"/>
                          <a:pt x="84" y="33"/>
                          <a:pt x="85" y="33"/>
                        </a:cubicBezTo>
                        <a:cubicBezTo>
                          <a:pt x="85" y="33"/>
                          <a:pt x="85" y="33"/>
                          <a:pt x="85" y="33"/>
                        </a:cubicBezTo>
                        <a:cubicBezTo>
                          <a:pt x="84" y="32"/>
                          <a:pt x="84" y="32"/>
                          <a:pt x="83" y="32"/>
                        </a:cubicBezTo>
                        <a:cubicBezTo>
                          <a:pt x="83" y="32"/>
                          <a:pt x="83" y="32"/>
                          <a:pt x="83" y="32"/>
                        </a:cubicBezTo>
                        <a:cubicBezTo>
                          <a:pt x="83" y="32"/>
                          <a:pt x="83" y="32"/>
                          <a:pt x="83" y="32"/>
                        </a:cubicBezTo>
                        <a:cubicBezTo>
                          <a:pt x="83" y="32"/>
                          <a:pt x="83" y="32"/>
                          <a:pt x="82" y="32"/>
                        </a:cubicBezTo>
                        <a:cubicBezTo>
                          <a:pt x="83" y="32"/>
                          <a:pt x="82" y="31"/>
                          <a:pt x="82" y="31"/>
                        </a:cubicBezTo>
                        <a:cubicBezTo>
                          <a:pt x="82" y="32"/>
                          <a:pt x="82" y="31"/>
                          <a:pt x="82" y="31"/>
                        </a:cubicBezTo>
                        <a:cubicBezTo>
                          <a:pt x="82" y="31"/>
                          <a:pt x="82" y="31"/>
                          <a:pt x="81" y="31"/>
                        </a:cubicBezTo>
                        <a:cubicBezTo>
                          <a:pt x="82" y="31"/>
                          <a:pt x="82" y="31"/>
                          <a:pt x="82" y="31"/>
                        </a:cubicBezTo>
                        <a:cubicBezTo>
                          <a:pt x="82" y="31"/>
                          <a:pt x="83" y="31"/>
                          <a:pt x="82" y="31"/>
                        </a:cubicBezTo>
                        <a:cubicBezTo>
                          <a:pt x="83" y="31"/>
                          <a:pt x="83" y="31"/>
                          <a:pt x="83" y="32"/>
                        </a:cubicBezTo>
                        <a:cubicBezTo>
                          <a:pt x="83" y="32"/>
                          <a:pt x="84" y="32"/>
                          <a:pt x="84" y="32"/>
                        </a:cubicBezTo>
                        <a:cubicBezTo>
                          <a:pt x="84" y="32"/>
                          <a:pt x="84" y="32"/>
                          <a:pt x="84" y="32"/>
                        </a:cubicBezTo>
                        <a:cubicBezTo>
                          <a:pt x="84" y="32"/>
                          <a:pt x="83" y="32"/>
                          <a:pt x="83" y="32"/>
                        </a:cubicBezTo>
                        <a:cubicBezTo>
                          <a:pt x="83" y="31"/>
                          <a:pt x="83" y="31"/>
                          <a:pt x="82" y="31"/>
                        </a:cubicBezTo>
                        <a:cubicBezTo>
                          <a:pt x="82" y="31"/>
                          <a:pt x="83" y="31"/>
                          <a:pt x="83" y="31"/>
                        </a:cubicBezTo>
                        <a:cubicBezTo>
                          <a:pt x="83" y="31"/>
                          <a:pt x="82" y="31"/>
                          <a:pt x="82" y="31"/>
                        </a:cubicBezTo>
                        <a:cubicBezTo>
                          <a:pt x="82" y="31"/>
                          <a:pt x="82" y="31"/>
                          <a:pt x="82" y="31"/>
                        </a:cubicBezTo>
                        <a:cubicBezTo>
                          <a:pt x="82" y="31"/>
                          <a:pt x="82" y="31"/>
                          <a:pt x="82" y="30"/>
                        </a:cubicBezTo>
                        <a:cubicBezTo>
                          <a:pt x="82" y="30"/>
                          <a:pt x="82" y="31"/>
                          <a:pt x="82" y="31"/>
                        </a:cubicBezTo>
                        <a:cubicBezTo>
                          <a:pt x="83" y="30"/>
                          <a:pt x="82" y="30"/>
                          <a:pt x="82" y="30"/>
                        </a:cubicBezTo>
                        <a:cubicBezTo>
                          <a:pt x="82" y="30"/>
                          <a:pt x="82" y="30"/>
                          <a:pt x="82" y="30"/>
                        </a:cubicBezTo>
                        <a:cubicBezTo>
                          <a:pt x="82" y="30"/>
                          <a:pt x="82" y="30"/>
                          <a:pt x="82" y="30"/>
                        </a:cubicBezTo>
                        <a:cubicBezTo>
                          <a:pt x="82" y="30"/>
                          <a:pt x="81" y="30"/>
                          <a:pt x="81" y="30"/>
                        </a:cubicBezTo>
                        <a:cubicBezTo>
                          <a:pt x="81" y="30"/>
                          <a:pt x="81" y="30"/>
                          <a:pt x="81" y="30"/>
                        </a:cubicBezTo>
                        <a:cubicBezTo>
                          <a:pt x="81" y="30"/>
                          <a:pt x="81" y="30"/>
                          <a:pt x="81" y="30"/>
                        </a:cubicBezTo>
                        <a:cubicBezTo>
                          <a:pt x="81" y="30"/>
                          <a:pt x="80" y="30"/>
                          <a:pt x="80" y="29"/>
                        </a:cubicBezTo>
                        <a:cubicBezTo>
                          <a:pt x="80" y="29"/>
                          <a:pt x="80" y="29"/>
                          <a:pt x="80" y="29"/>
                        </a:cubicBezTo>
                        <a:cubicBezTo>
                          <a:pt x="79" y="29"/>
                          <a:pt x="78" y="29"/>
                          <a:pt x="78" y="29"/>
                        </a:cubicBezTo>
                        <a:cubicBezTo>
                          <a:pt x="78" y="29"/>
                          <a:pt x="78" y="29"/>
                          <a:pt x="78" y="29"/>
                        </a:cubicBezTo>
                        <a:cubicBezTo>
                          <a:pt x="78" y="29"/>
                          <a:pt x="79" y="29"/>
                          <a:pt x="79" y="29"/>
                        </a:cubicBezTo>
                        <a:cubicBezTo>
                          <a:pt x="79" y="29"/>
                          <a:pt x="80" y="29"/>
                          <a:pt x="80" y="30"/>
                        </a:cubicBezTo>
                        <a:cubicBezTo>
                          <a:pt x="80" y="30"/>
                          <a:pt x="80" y="29"/>
                          <a:pt x="80" y="29"/>
                        </a:cubicBezTo>
                        <a:cubicBezTo>
                          <a:pt x="80" y="30"/>
                          <a:pt x="79" y="29"/>
                          <a:pt x="79" y="29"/>
                        </a:cubicBezTo>
                        <a:cubicBezTo>
                          <a:pt x="79" y="29"/>
                          <a:pt x="79" y="29"/>
                          <a:pt x="78" y="29"/>
                        </a:cubicBezTo>
                        <a:cubicBezTo>
                          <a:pt x="78" y="29"/>
                          <a:pt x="79" y="29"/>
                          <a:pt x="79" y="29"/>
                        </a:cubicBezTo>
                        <a:cubicBezTo>
                          <a:pt x="79" y="30"/>
                          <a:pt x="79" y="30"/>
                          <a:pt x="79" y="30"/>
                        </a:cubicBezTo>
                        <a:cubicBezTo>
                          <a:pt x="79" y="30"/>
                          <a:pt x="79" y="29"/>
                          <a:pt x="78" y="30"/>
                        </a:cubicBezTo>
                        <a:cubicBezTo>
                          <a:pt x="78" y="29"/>
                          <a:pt x="78" y="29"/>
                          <a:pt x="78" y="29"/>
                        </a:cubicBezTo>
                        <a:cubicBezTo>
                          <a:pt x="78" y="29"/>
                          <a:pt x="78" y="29"/>
                          <a:pt x="78" y="29"/>
                        </a:cubicBezTo>
                        <a:cubicBezTo>
                          <a:pt x="78" y="29"/>
                          <a:pt x="78" y="29"/>
                          <a:pt x="78" y="30"/>
                        </a:cubicBezTo>
                        <a:cubicBezTo>
                          <a:pt x="78" y="29"/>
                          <a:pt x="78" y="29"/>
                          <a:pt x="77" y="29"/>
                        </a:cubicBezTo>
                        <a:cubicBezTo>
                          <a:pt x="77" y="29"/>
                          <a:pt x="78" y="29"/>
                          <a:pt x="77" y="29"/>
                        </a:cubicBezTo>
                        <a:cubicBezTo>
                          <a:pt x="77" y="29"/>
                          <a:pt x="77" y="29"/>
                          <a:pt x="77" y="29"/>
                        </a:cubicBezTo>
                        <a:cubicBezTo>
                          <a:pt x="77" y="29"/>
                          <a:pt x="76" y="29"/>
                          <a:pt x="76" y="29"/>
                        </a:cubicBezTo>
                        <a:cubicBezTo>
                          <a:pt x="76" y="29"/>
                          <a:pt x="76" y="29"/>
                          <a:pt x="76" y="29"/>
                        </a:cubicBezTo>
                        <a:cubicBezTo>
                          <a:pt x="76" y="29"/>
                          <a:pt x="76" y="29"/>
                          <a:pt x="76" y="29"/>
                        </a:cubicBezTo>
                        <a:cubicBezTo>
                          <a:pt x="76" y="29"/>
                          <a:pt x="76" y="29"/>
                          <a:pt x="76" y="29"/>
                        </a:cubicBezTo>
                        <a:cubicBezTo>
                          <a:pt x="76" y="29"/>
                          <a:pt x="76" y="29"/>
                          <a:pt x="76" y="29"/>
                        </a:cubicBezTo>
                        <a:cubicBezTo>
                          <a:pt x="76" y="29"/>
                          <a:pt x="76" y="29"/>
                          <a:pt x="76" y="29"/>
                        </a:cubicBezTo>
                        <a:cubicBezTo>
                          <a:pt x="75" y="29"/>
                          <a:pt x="75" y="29"/>
                          <a:pt x="75" y="29"/>
                        </a:cubicBezTo>
                        <a:cubicBezTo>
                          <a:pt x="75" y="29"/>
                          <a:pt x="76" y="29"/>
                          <a:pt x="76" y="29"/>
                        </a:cubicBezTo>
                        <a:cubicBezTo>
                          <a:pt x="75" y="29"/>
                          <a:pt x="75" y="29"/>
                          <a:pt x="75" y="29"/>
                        </a:cubicBezTo>
                        <a:cubicBezTo>
                          <a:pt x="75" y="29"/>
                          <a:pt x="75" y="29"/>
                          <a:pt x="75" y="29"/>
                        </a:cubicBezTo>
                        <a:cubicBezTo>
                          <a:pt x="75" y="29"/>
                          <a:pt x="75" y="29"/>
                          <a:pt x="75" y="29"/>
                        </a:cubicBezTo>
                        <a:cubicBezTo>
                          <a:pt x="75" y="29"/>
                          <a:pt x="75" y="29"/>
                          <a:pt x="75" y="29"/>
                        </a:cubicBezTo>
                        <a:cubicBezTo>
                          <a:pt x="75" y="29"/>
                          <a:pt x="74" y="29"/>
                          <a:pt x="74" y="29"/>
                        </a:cubicBezTo>
                        <a:cubicBezTo>
                          <a:pt x="74" y="29"/>
                          <a:pt x="74" y="29"/>
                          <a:pt x="74" y="29"/>
                        </a:cubicBezTo>
                        <a:cubicBezTo>
                          <a:pt x="74" y="29"/>
                          <a:pt x="74" y="29"/>
                          <a:pt x="74" y="29"/>
                        </a:cubicBezTo>
                        <a:cubicBezTo>
                          <a:pt x="74" y="29"/>
                          <a:pt x="73" y="29"/>
                          <a:pt x="73" y="29"/>
                        </a:cubicBezTo>
                        <a:cubicBezTo>
                          <a:pt x="72" y="28"/>
                          <a:pt x="72" y="28"/>
                          <a:pt x="71" y="28"/>
                        </a:cubicBezTo>
                        <a:cubicBezTo>
                          <a:pt x="71" y="28"/>
                          <a:pt x="71" y="28"/>
                          <a:pt x="71" y="28"/>
                        </a:cubicBezTo>
                        <a:cubicBezTo>
                          <a:pt x="71" y="28"/>
                          <a:pt x="71" y="27"/>
                          <a:pt x="71" y="28"/>
                        </a:cubicBezTo>
                        <a:cubicBezTo>
                          <a:pt x="71" y="28"/>
                          <a:pt x="71" y="28"/>
                          <a:pt x="71" y="28"/>
                        </a:cubicBezTo>
                        <a:cubicBezTo>
                          <a:pt x="71" y="28"/>
                          <a:pt x="71" y="28"/>
                          <a:pt x="71" y="28"/>
                        </a:cubicBezTo>
                        <a:cubicBezTo>
                          <a:pt x="71" y="28"/>
                          <a:pt x="71" y="28"/>
                          <a:pt x="71" y="28"/>
                        </a:cubicBezTo>
                        <a:cubicBezTo>
                          <a:pt x="71" y="28"/>
                          <a:pt x="71" y="28"/>
                          <a:pt x="71" y="28"/>
                        </a:cubicBezTo>
                        <a:cubicBezTo>
                          <a:pt x="72" y="28"/>
                          <a:pt x="72" y="28"/>
                          <a:pt x="72" y="28"/>
                        </a:cubicBezTo>
                        <a:cubicBezTo>
                          <a:pt x="72" y="28"/>
                          <a:pt x="72" y="28"/>
                          <a:pt x="72" y="28"/>
                        </a:cubicBezTo>
                        <a:cubicBezTo>
                          <a:pt x="72" y="28"/>
                          <a:pt x="72" y="28"/>
                          <a:pt x="72" y="28"/>
                        </a:cubicBezTo>
                        <a:cubicBezTo>
                          <a:pt x="72" y="28"/>
                          <a:pt x="72" y="28"/>
                          <a:pt x="72" y="28"/>
                        </a:cubicBezTo>
                        <a:cubicBezTo>
                          <a:pt x="72" y="28"/>
                          <a:pt x="72" y="28"/>
                          <a:pt x="72" y="28"/>
                        </a:cubicBezTo>
                        <a:cubicBezTo>
                          <a:pt x="72" y="28"/>
                          <a:pt x="72" y="28"/>
                          <a:pt x="71" y="28"/>
                        </a:cubicBezTo>
                        <a:cubicBezTo>
                          <a:pt x="72" y="28"/>
                          <a:pt x="72" y="28"/>
                          <a:pt x="72" y="28"/>
                        </a:cubicBezTo>
                        <a:cubicBezTo>
                          <a:pt x="72" y="28"/>
                          <a:pt x="71" y="28"/>
                          <a:pt x="71" y="28"/>
                        </a:cubicBezTo>
                        <a:cubicBezTo>
                          <a:pt x="71" y="28"/>
                          <a:pt x="71" y="28"/>
                          <a:pt x="71" y="27"/>
                        </a:cubicBezTo>
                        <a:cubicBezTo>
                          <a:pt x="71" y="28"/>
                          <a:pt x="70" y="27"/>
                          <a:pt x="70" y="27"/>
                        </a:cubicBezTo>
                        <a:cubicBezTo>
                          <a:pt x="70" y="27"/>
                          <a:pt x="70" y="27"/>
                          <a:pt x="70" y="27"/>
                        </a:cubicBezTo>
                        <a:cubicBezTo>
                          <a:pt x="70" y="27"/>
                          <a:pt x="69" y="27"/>
                          <a:pt x="69" y="27"/>
                        </a:cubicBezTo>
                        <a:cubicBezTo>
                          <a:pt x="69" y="27"/>
                          <a:pt x="69" y="26"/>
                          <a:pt x="69" y="26"/>
                        </a:cubicBezTo>
                        <a:cubicBezTo>
                          <a:pt x="69" y="26"/>
                          <a:pt x="69" y="27"/>
                          <a:pt x="70" y="27"/>
                        </a:cubicBezTo>
                        <a:cubicBezTo>
                          <a:pt x="69" y="27"/>
                          <a:pt x="69" y="27"/>
                          <a:pt x="69" y="27"/>
                        </a:cubicBezTo>
                        <a:cubicBezTo>
                          <a:pt x="69" y="27"/>
                          <a:pt x="69" y="27"/>
                          <a:pt x="69" y="27"/>
                        </a:cubicBezTo>
                        <a:cubicBezTo>
                          <a:pt x="69" y="27"/>
                          <a:pt x="68" y="27"/>
                          <a:pt x="68" y="27"/>
                        </a:cubicBezTo>
                        <a:cubicBezTo>
                          <a:pt x="68" y="27"/>
                          <a:pt x="68" y="27"/>
                          <a:pt x="68" y="27"/>
                        </a:cubicBezTo>
                        <a:cubicBezTo>
                          <a:pt x="68" y="27"/>
                          <a:pt x="68" y="27"/>
                          <a:pt x="68" y="27"/>
                        </a:cubicBezTo>
                        <a:cubicBezTo>
                          <a:pt x="68" y="27"/>
                          <a:pt x="68" y="27"/>
                          <a:pt x="68" y="27"/>
                        </a:cubicBezTo>
                        <a:cubicBezTo>
                          <a:pt x="68" y="27"/>
                          <a:pt x="68" y="27"/>
                          <a:pt x="68" y="27"/>
                        </a:cubicBezTo>
                        <a:cubicBezTo>
                          <a:pt x="68" y="27"/>
                          <a:pt x="67" y="27"/>
                          <a:pt x="67" y="27"/>
                        </a:cubicBezTo>
                        <a:cubicBezTo>
                          <a:pt x="67" y="27"/>
                          <a:pt x="67" y="27"/>
                          <a:pt x="66" y="27"/>
                        </a:cubicBezTo>
                        <a:cubicBezTo>
                          <a:pt x="66" y="27"/>
                          <a:pt x="65" y="26"/>
                          <a:pt x="65" y="26"/>
                        </a:cubicBezTo>
                        <a:cubicBezTo>
                          <a:pt x="65" y="26"/>
                          <a:pt x="65" y="26"/>
                          <a:pt x="65" y="26"/>
                        </a:cubicBezTo>
                        <a:cubicBezTo>
                          <a:pt x="65" y="26"/>
                          <a:pt x="65" y="26"/>
                          <a:pt x="65" y="26"/>
                        </a:cubicBezTo>
                        <a:cubicBezTo>
                          <a:pt x="65" y="26"/>
                          <a:pt x="65" y="26"/>
                          <a:pt x="65" y="26"/>
                        </a:cubicBezTo>
                        <a:cubicBezTo>
                          <a:pt x="65" y="26"/>
                          <a:pt x="64" y="26"/>
                          <a:pt x="64" y="26"/>
                        </a:cubicBezTo>
                        <a:cubicBezTo>
                          <a:pt x="64" y="26"/>
                          <a:pt x="64" y="26"/>
                          <a:pt x="64" y="26"/>
                        </a:cubicBezTo>
                        <a:cubicBezTo>
                          <a:pt x="64" y="26"/>
                          <a:pt x="64" y="26"/>
                          <a:pt x="64" y="26"/>
                        </a:cubicBezTo>
                        <a:cubicBezTo>
                          <a:pt x="64" y="26"/>
                          <a:pt x="64" y="26"/>
                          <a:pt x="64" y="26"/>
                        </a:cubicBezTo>
                        <a:cubicBezTo>
                          <a:pt x="65" y="26"/>
                          <a:pt x="66" y="26"/>
                          <a:pt x="66" y="27"/>
                        </a:cubicBezTo>
                        <a:cubicBezTo>
                          <a:pt x="66" y="27"/>
                          <a:pt x="66" y="27"/>
                          <a:pt x="66" y="27"/>
                        </a:cubicBezTo>
                        <a:cubicBezTo>
                          <a:pt x="66" y="27"/>
                          <a:pt x="66" y="27"/>
                          <a:pt x="66" y="27"/>
                        </a:cubicBezTo>
                        <a:cubicBezTo>
                          <a:pt x="66" y="27"/>
                          <a:pt x="66" y="27"/>
                          <a:pt x="66" y="27"/>
                        </a:cubicBezTo>
                        <a:cubicBezTo>
                          <a:pt x="67" y="27"/>
                          <a:pt x="67" y="27"/>
                          <a:pt x="67" y="27"/>
                        </a:cubicBezTo>
                        <a:cubicBezTo>
                          <a:pt x="68" y="27"/>
                          <a:pt x="67" y="27"/>
                          <a:pt x="67" y="27"/>
                        </a:cubicBezTo>
                        <a:cubicBezTo>
                          <a:pt x="70" y="28"/>
                          <a:pt x="72" y="29"/>
                          <a:pt x="74" y="29"/>
                        </a:cubicBezTo>
                        <a:cubicBezTo>
                          <a:pt x="74" y="30"/>
                          <a:pt x="74" y="29"/>
                          <a:pt x="74" y="29"/>
                        </a:cubicBezTo>
                        <a:cubicBezTo>
                          <a:pt x="74" y="30"/>
                          <a:pt x="74" y="30"/>
                          <a:pt x="75" y="30"/>
                        </a:cubicBezTo>
                        <a:cubicBezTo>
                          <a:pt x="75" y="30"/>
                          <a:pt x="74" y="30"/>
                          <a:pt x="75" y="30"/>
                        </a:cubicBezTo>
                        <a:cubicBezTo>
                          <a:pt x="74" y="30"/>
                          <a:pt x="74" y="30"/>
                          <a:pt x="74" y="30"/>
                        </a:cubicBezTo>
                        <a:cubicBezTo>
                          <a:pt x="74" y="30"/>
                          <a:pt x="74" y="29"/>
                          <a:pt x="74" y="29"/>
                        </a:cubicBezTo>
                        <a:cubicBezTo>
                          <a:pt x="73" y="29"/>
                          <a:pt x="73" y="29"/>
                          <a:pt x="73" y="29"/>
                        </a:cubicBezTo>
                        <a:cubicBezTo>
                          <a:pt x="73" y="29"/>
                          <a:pt x="73" y="29"/>
                          <a:pt x="73" y="29"/>
                        </a:cubicBezTo>
                        <a:cubicBezTo>
                          <a:pt x="73" y="29"/>
                          <a:pt x="72" y="29"/>
                          <a:pt x="72" y="29"/>
                        </a:cubicBezTo>
                        <a:cubicBezTo>
                          <a:pt x="72" y="29"/>
                          <a:pt x="73" y="29"/>
                          <a:pt x="73" y="29"/>
                        </a:cubicBezTo>
                        <a:cubicBezTo>
                          <a:pt x="72" y="29"/>
                          <a:pt x="72" y="29"/>
                          <a:pt x="72" y="29"/>
                        </a:cubicBezTo>
                        <a:cubicBezTo>
                          <a:pt x="72" y="29"/>
                          <a:pt x="72" y="29"/>
                          <a:pt x="72" y="29"/>
                        </a:cubicBezTo>
                        <a:cubicBezTo>
                          <a:pt x="72" y="29"/>
                          <a:pt x="72" y="29"/>
                          <a:pt x="72" y="29"/>
                        </a:cubicBezTo>
                        <a:cubicBezTo>
                          <a:pt x="72" y="29"/>
                          <a:pt x="72" y="29"/>
                          <a:pt x="71" y="29"/>
                        </a:cubicBezTo>
                        <a:cubicBezTo>
                          <a:pt x="71" y="29"/>
                          <a:pt x="72" y="29"/>
                          <a:pt x="71" y="29"/>
                        </a:cubicBezTo>
                        <a:cubicBezTo>
                          <a:pt x="71" y="29"/>
                          <a:pt x="71" y="29"/>
                          <a:pt x="70" y="28"/>
                        </a:cubicBezTo>
                        <a:cubicBezTo>
                          <a:pt x="71" y="28"/>
                          <a:pt x="71" y="28"/>
                          <a:pt x="71" y="28"/>
                        </a:cubicBezTo>
                        <a:cubicBezTo>
                          <a:pt x="70" y="28"/>
                          <a:pt x="70" y="28"/>
                          <a:pt x="70" y="28"/>
                        </a:cubicBezTo>
                        <a:cubicBezTo>
                          <a:pt x="70" y="28"/>
                          <a:pt x="70" y="28"/>
                          <a:pt x="70" y="28"/>
                        </a:cubicBezTo>
                        <a:cubicBezTo>
                          <a:pt x="70" y="28"/>
                          <a:pt x="70" y="28"/>
                          <a:pt x="70" y="28"/>
                        </a:cubicBezTo>
                        <a:cubicBezTo>
                          <a:pt x="70" y="28"/>
                          <a:pt x="69" y="28"/>
                          <a:pt x="69" y="28"/>
                        </a:cubicBezTo>
                        <a:cubicBezTo>
                          <a:pt x="68" y="27"/>
                          <a:pt x="65" y="27"/>
                          <a:pt x="64" y="26"/>
                        </a:cubicBezTo>
                        <a:cubicBezTo>
                          <a:pt x="64" y="26"/>
                          <a:pt x="64" y="26"/>
                          <a:pt x="64" y="26"/>
                        </a:cubicBezTo>
                        <a:cubicBezTo>
                          <a:pt x="64" y="26"/>
                          <a:pt x="63" y="26"/>
                          <a:pt x="63" y="26"/>
                        </a:cubicBezTo>
                        <a:cubicBezTo>
                          <a:pt x="63" y="26"/>
                          <a:pt x="63" y="26"/>
                          <a:pt x="63" y="26"/>
                        </a:cubicBezTo>
                        <a:cubicBezTo>
                          <a:pt x="62" y="26"/>
                          <a:pt x="62" y="26"/>
                          <a:pt x="62" y="25"/>
                        </a:cubicBezTo>
                        <a:cubicBezTo>
                          <a:pt x="62" y="25"/>
                          <a:pt x="62" y="25"/>
                          <a:pt x="62" y="25"/>
                        </a:cubicBezTo>
                        <a:cubicBezTo>
                          <a:pt x="63" y="25"/>
                          <a:pt x="63" y="26"/>
                          <a:pt x="63" y="26"/>
                        </a:cubicBezTo>
                        <a:cubicBezTo>
                          <a:pt x="64" y="26"/>
                          <a:pt x="64" y="26"/>
                          <a:pt x="64" y="26"/>
                        </a:cubicBezTo>
                        <a:cubicBezTo>
                          <a:pt x="64" y="26"/>
                          <a:pt x="64" y="26"/>
                          <a:pt x="63" y="26"/>
                        </a:cubicBezTo>
                        <a:cubicBezTo>
                          <a:pt x="63" y="26"/>
                          <a:pt x="63" y="26"/>
                          <a:pt x="64" y="26"/>
                        </a:cubicBezTo>
                        <a:cubicBezTo>
                          <a:pt x="63" y="26"/>
                          <a:pt x="63" y="26"/>
                          <a:pt x="63" y="26"/>
                        </a:cubicBezTo>
                        <a:cubicBezTo>
                          <a:pt x="63" y="26"/>
                          <a:pt x="63" y="26"/>
                          <a:pt x="63" y="26"/>
                        </a:cubicBezTo>
                        <a:cubicBezTo>
                          <a:pt x="63" y="26"/>
                          <a:pt x="63" y="26"/>
                          <a:pt x="63" y="26"/>
                        </a:cubicBezTo>
                        <a:cubicBezTo>
                          <a:pt x="63" y="26"/>
                          <a:pt x="63" y="26"/>
                          <a:pt x="63" y="25"/>
                        </a:cubicBezTo>
                        <a:cubicBezTo>
                          <a:pt x="63" y="25"/>
                          <a:pt x="63" y="25"/>
                          <a:pt x="63" y="25"/>
                        </a:cubicBezTo>
                        <a:cubicBezTo>
                          <a:pt x="62" y="25"/>
                          <a:pt x="62" y="25"/>
                          <a:pt x="62" y="25"/>
                        </a:cubicBezTo>
                        <a:cubicBezTo>
                          <a:pt x="62" y="25"/>
                          <a:pt x="62" y="25"/>
                          <a:pt x="63" y="25"/>
                        </a:cubicBezTo>
                        <a:cubicBezTo>
                          <a:pt x="63" y="25"/>
                          <a:pt x="62" y="25"/>
                          <a:pt x="62" y="25"/>
                        </a:cubicBezTo>
                        <a:cubicBezTo>
                          <a:pt x="62" y="25"/>
                          <a:pt x="62" y="25"/>
                          <a:pt x="61" y="25"/>
                        </a:cubicBezTo>
                        <a:cubicBezTo>
                          <a:pt x="61" y="25"/>
                          <a:pt x="61" y="24"/>
                          <a:pt x="60" y="24"/>
                        </a:cubicBezTo>
                        <a:cubicBezTo>
                          <a:pt x="60" y="24"/>
                          <a:pt x="60" y="24"/>
                          <a:pt x="60" y="24"/>
                        </a:cubicBezTo>
                        <a:cubicBezTo>
                          <a:pt x="60" y="24"/>
                          <a:pt x="61" y="24"/>
                          <a:pt x="61" y="24"/>
                        </a:cubicBezTo>
                        <a:cubicBezTo>
                          <a:pt x="61" y="24"/>
                          <a:pt x="61" y="24"/>
                          <a:pt x="61" y="24"/>
                        </a:cubicBezTo>
                        <a:cubicBezTo>
                          <a:pt x="61" y="24"/>
                          <a:pt x="61" y="24"/>
                          <a:pt x="61" y="24"/>
                        </a:cubicBezTo>
                        <a:cubicBezTo>
                          <a:pt x="61" y="24"/>
                          <a:pt x="61" y="24"/>
                          <a:pt x="61" y="24"/>
                        </a:cubicBezTo>
                        <a:cubicBezTo>
                          <a:pt x="61" y="24"/>
                          <a:pt x="61" y="24"/>
                          <a:pt x="60" y="24"/>
                        </a:cubicBezTo>
                        <a:cubicBezTo>
                          <a:pt x="60" y="24"/>
                          <a:pt x="61" y="24"/>
                          <a:pt x="61" y="24"/>
                        </a:cubicBezTo>
                        <a:cubicBezTo>
                          <a:pt x="60" y="24"/>
                          <a:pt x="61" y="24"/>
                          <a:pt x="60" y="24"/>
                        </a:cubicBezTo>
                        <a:cubicBezTo>
                          <a:pt x="61" y="24"/>
                          <a:pt x="61" y="24"/>
                          <a:pt x="61" y="24"/>
                        </a:cubicBezTo>
                        <a:cubicBezTo>
                          <a:pt x="61" y="24"/>
                          <a:pt x="61" y="24"/>
                          <a:pt x="61" y="24"/>
                        </a:cubicBezTo>
                        <a:cubicBezTo>
                          <a:pt x="61" y="24"/>
                          <a:pt x="62" y="24"/>
                          <a:pt x="62" y="24"/>
                        </a:cubicBezTo>
                        <a:cubicBezTo>
                          <a:pt x="62" y="24"/>
                          <a:pt x="62" y="24"/>
                          <a:pt x="62" y="24"/>
                        </a:cubicBezTo>
                        <a:cubicBezTo>
                          <a:pt x="62" y="24"/>
                          <a:pt x="62" y="24"/>
                          <a:pt x="61" y="24"/>
                        </a:cubicBezTo>
                        <a:cubicBezTo>
                          <a:pt x="62" y="25"/>
                          <a:pt x="63" y="25"/>
                          <a:pt x="63" y="25"/>
                        </a:cubicBezTo>
                        <a:cubicBezTo>
                          <a:pt x="63" y="25"/>
                          <a:pt x="63" y="25"/>
                          <a:pt x="63" y="25"/>
                        </a:cubicBezTo>
                        <a:cubicBezTo>
                          <a:pt x="63" y="25"/>
                          <a:pt x="63" y="25"/>
                          <a:pt x="63" y="25"/>
                        </a:cubicBezTo>
                        <a:cubicBezTo>
                          <a:pt x="63" y="25"/>
                          <a:pt x="63" y="25"/>
                          <a:pt x="63" y="25"/>
                        </a:cubicBezTo>
                        <a:cubicBezTo>
                          <a:pt x="63" y="25"/>
                          <a:pt x="64" y="25"/>
                          <a:pt x="64" y="25"/>
                        </a:cubicBezTo>
                        <a:cubicBezTo>
                          <a:pt x="64" y="25"/>
                          <a:pt x="64" y="25"/>
                          <a:pt x="63" y="25"/>
                        </a:cubicBezTo>
                        <a:cubicBezTo>
                          <a:pt x="64" y="25"/>
                          <a:pt x="64" y="25"/>
                          <a:pt x="65" y="25"/>
                        </a:cubicBezTo>
                        <a:cubicBezTo>
                          <a:pt x="65" y="25"/>
                          <a:pt x="65" y="25"/>
                          <a:pt x="65" y="25"/>
                        </a:cubicBezTo>
                        <a:cubicBezTo>
                          <a:pt x="65" y="25"/>
                          <a:pt x="65" y="25"/>
                          <a:pt x="66" y="25"/>
                        </a:cubicBezTo>
                        <a:cubicBezTo>
                          <a:pt x="66" y="25"/>
                          <a:pt x="66" y="25"/>
                          <a:pt x="66" y="25"/>
                        </a:cubicBezTo>
                        <a:cubicBezTo>
                          <a:pt x="65" y="25"/>
                          <a:pt x="66" y="25"/>
                          <a:pt x="65" y="25"/>
                        </a:cubicBezTo>
                        <a:cubicBezTo>
                          <a:pt x="65" y="25"/>
                          <a:pt x="65" y="25"/>
                          <a:pt x="65" y="25"/>
                        </a:cubicBezTo>
                        <a:cubicBezTo>
                          <a:pt x="65" y="25"/>
                          <a:pt x="65" y="25"/>
                          <a:pt x="65" y="25"/>
                        </a:cubicBezTo>
                        <a:cubicBezTo>
                          <a:pt x="65" y="25"/>
                          <a:pt x="65" y="25"/>
                          <a:pt x="65" y="25"/>
                        </a:cubicBezTo>
                        <a:cubicBezTo>
                          <a:pt x="65" y="25"/>
                          <a:pt x="65" y="25"/>
                          <a:pt x="65" y="25"/>
                        </a:cubicBezTo>
                        <a:cubicBezTo>
                          <a:pt x="65" y="25"/>
                          <a:pt x="65" y="25"/>
                          <a:pt x="65" y="25"/>
                        </a:cubicBezTo>
                        <a:cubicBezTo>
                          <a:pt x="65" y="25"/>
                          <a:pt x="65" y="25"/>
                          <a:pt x="65" y="25"/>
                        </a:cubicBezTo>
                        <a:cubicBezTo>
                          <a:pt x="64" y="25"/>
                          <a:pt x="65" y="25"/>
                          <a:pt x="65" y="25"/>
                        </a:cubicBezTo>
                        <a:cubicBezTo>
                          <a:pt x="65" y="25"/>
                          <a:pt x="65" y="24"/>
                          <a:pt x="64" y="24"/>
                        </a:cubicBezTo>
                        <a:cubicBezTo>
                          <a:pt x="64" y="24"/>
                          <a:pt x="64" y="24"/>
                          <a:pt x="65" y="24"/>
                        </a:cubicBezTo>
                        <a:cubicBezTo>
                          <a:pt x="64" y="25"/>
                          <a:pt x="64" y="24"/>
                          <a:pt x="64" y="24"/>
                        </a:cubicBezTo>
                        <a:cubicBezTo>
                          <a:pt x="64" y="24"/>
                          <a:pt x="63" y="24"/>
                          <a:pt x="63" y="24"/>
                        </a:cubicBezTo>
                        <a:cubicBezTo>
                          <a:pt x="63" y="24"/>
                          <a:pt x="63" y="24"/>
                          <a:pt x="63" y="24"/>
                        </a:cubicBezTo>
                        <a:cubicBezTo>
                          <a:pt x="63" y="24"/>
                          <a:pt x="64" y="24"/>
                          <a:pt x="64" y="24"/>
                        </a:cubicBezTo>
                        <a:cubicBezTo>
                          <a:pt x="64" y="24"/>
                          <a:pt x="64" y="24"/>
                          <a:pt x="64" y="24"/>
                        </a:cubicBezTo>
                        <a:cubicBezTo>
                          <a:pt x="64" y="24"/>
                          <a:pt x="64" y="24"/>
                          <a:pt x="65" y="24"/>
                        </a:cubicBezTo>
                        <a:cubicBezTo>
                          <a:pt x="64" y="24"/>
                          <a:pt x="64" y="24"/>
                          <a:pt x="64" y="24"/>
                        </a:cubicBezTo>
                        <a:cubicBezTo>
                          <a:pt x="65" y="24"/>
                          <a:pt x="65" y="24"/>
                          <a:pt x="65" y="24"/>
                        </a:cubicBezTo>
                        <a:cubicBezTo>
                          <a:pt x="65" y="24"/>
                          <a:pt x="64" y="24"/>
                          <a:pt x="64" y="24"/>
                        </a:cubicBezTo>
                        <a:cubicBezTo>
                          <a:pt x="64" y="24"/>
                          <a:pt x="64" y="24"/>
                          <a:pt x="64" y="24"/>
                        </a:cubicBezTo>
                        <a:cubicBezTo>
                          <a:pt x="64" y="24"/>
                          <a:pt x="64" y="24"/>
                          <a:pt x="64" y="24"/>
                        </a:cubicBezTo>
                        <a:cubicBezTo>
                          <a:pt x="64" y="23"/>
                          <a:pt x="64" y="23"/>
                          <a:pt x="63" y="23"/>
                        </a:cubicBezTo>
                        <a:cubicBezTo>
                          <a:pt x="64" y="23"/>
                          <a:pt x="64" y="23"/>
                          <a:pt x="64" y="23"/>
                        </a:cubicBezTo>
                        <a:cubicBezTo>
                          <a:pt x="64" y="23"/>
                          <a:pt x="63" y="23"/>
                          <a:pt x="63" y="23"/>
                        </a:cubicBezTo>
                        <a:cubicBezTo>
                          <a:pt x="63" y="23"/>
                          <a:pt x="64" y="23"/>
                          <a:pt x="64" y="23"/>
                        </a:cubicBezTo>
                        <a:cubicBezTo>
                          <a:pt x="64" y="23"/>
                          <a:pt x="64" y="23"/>
                          <a:pt x="64" y="23"/>
                        </a:cubicBezTo>
                        <a:cubicBezTo>
                          <a:pt x="64" y="23"/>
                          <a:pt x="64" y="23"/>
                          <a:pt x="64" y="23"/>
                        </a:cubicBezTo>
                        <a:cubicBezTo>
                          <a:pt x="65" y="23"/>
                          <a:pt x="64" y="24"/>
                          <a:pt x="65" y="24"/>
                        </a:cubicBezTo>
                        <a:cubicBezTo>
                          <a:pt x="65" y="24"/>
                          <a:pt x="65" y="24"/>
                          <a:pt x="65" y="24"/>
                        </a:cubicBezTo>
                        <a:cubicBezTo>
                          <a:pt x="65" y="24"/>
                          <a:pt x="65" y="24"/>
                          <a:pt x="65" y="24"/>
                        </a:cubicBezTo>
                        <a:cubicBezTo>
                          <a:pt x="65" y="24"/>
                          <a:pt x="65" y="24"/>
                          <a:pt x="65" y="24"/>
                        </a:cubicBezTo>
                        <a:cubicBezTo>
                          <a:pt x="65" y="24"/>
                          <a:pt x="65" y="24"/>
                          <a:pt x="65" y="24"/>
                        </a:cubicBezTo>
                        <a:cubicBezTo>
                          <a:pt x="66" y="24"/>
                          <a:pt x="66" y="24"/>
                          <a:pt x="66" y="24"/>
                        </a:cubicBezTo>
                        <a:cubicBezTo>
                          <a:pt x="66" y="24"/>
                          <a:pt x="66" y="24"/>
                          <a:pt x="66" y="24"/>
                        </a:cubicBezTo>
                        <a:cubicBezTo>
                          <a:pt x="66" y="24"/>
                          <a:pt x="67" y="24"/>
                          <a:pt x="67" y="24"/>
                        </a:cubicBezTo>
                        <a:cubicBezTo>
                          <a:pt x="67" y="24"/>
                          <a:pt x="67" y="24"/>
                          <a:pt x="67" y="24"/>
                        </a:cubicBezTo>
                        <a:cubicBezTo>
                          <a:pt x="67" y="24"/>
                          <a:pt x="67" y="24"/>
                          <a:pt x="67" y="24"/>
                        </a:cubicBezTo>
                        <a:cubicBezTo>
                          <a:pt x="67" y="24"/>
                          <a:pt x="68" y="24"/>
                          <a:pt x="67" y="24"/>
                        </a:cubicBezTo>
                        <a:cubicBezTo>
                          <a:pt x="67" y="24"/>
                          <a:pt x="68" y="24"/>
                          <a:pt x="68" y="25"/>
                        </a:cubicBezTo>
                        <a:cubicBezTo>
                          <a:pt x="68" y="24"/>
                          <a:pt x="69" y="25"/>
                          <a:pt x="69" y="25"/>
                        </a:cubicBezTo>
                        <a:cubicBezTo>
                          <a:pt x="69" y="25"/>
                          <a:pt x="69" y="25"/>
                          <a:pt x="69" y="25"/>
                        </a:cubicBezTo>
                        <a:cubicBezTo>
                          <a:pt x="69" y="25"/>
                          <a:pt x="69" y="25"/>
                          <a:pt x="70" y="25"/>
                        </a:cubicBezTo>
                        <a:cubicBezTo>
                          <a:pt x="69" y="25"/>
                          <a:pt x="69" y="25"/>
                          <a:pt x="70" y="25"/>
                        </a:cubicBezTo>
                        <a:cubicBezTo>
                          <a:pt x="70" y="25"/>
                          <a:pt x="70" y="25"/>
                          <a:pt x="69" y="25"/>
                        </a:cubicBezTo>
                        <a:cubicBezTo>
                          <a:pt x="70" y="25"/>
                          <a:pt x="70" y="25"/>
                          <a:pt x="70" y="25"/>
                        </a:cubicBezTo>
                        <a:cubicBezTo>
                          <a:pt x="70" y="25"/>
                          <a:pt x="69" y="25"/>
                          <a:pt x="69" y="24"/>
                        </a:cubicBezTo>
                        <a:cubicBezTo>
                          <a:pt x="69" y="25"/>
                          <a:pt x="69" y="24"/>
                          <a:pt x="69" y="24"/>
                        </a:cubicBezTo>
                        <a:cubicBezTo>
                          <a:pt x="68" y="24"/>
                          <a:pt x="69" y="24"/>
                          <a:pt x="68" y="24"/>
                        </a:cubicBezTo>
                        <a:cubicBezTo>
                          <a:pt x="69" y="24"/>
                          <a:pt x="69" y="24"/>
                          <a:pt x="69" y="24"/>
                        </a:cubicBezTo>
                        <a:cubicBezTo>
                          <a:pt x="68" y="24"/>
                          <a:pt x="67" y="24"/>
                          <a:pt x="67" y="24"/>
                        </a:cubicBezTo>
                        <a:cubicBezTo>
                          <a:pt x="67" y="23"/>
                          <a:pt x="67" y="23"/>
                          <a:pt x="67" y="23"/>
                        </a:cubicBezTo>
                        <a:cubicBezTo>
                          <a:pt x="67" y="23"/>
                          <a:pt x="66" y="23"/>
                          <a:pt x="66" y="23"/>
                        </a:cubicBezTo>
                        <a:cubicBezTo>
                          <a:pt x="66" y="24"/>
                          <a:pt x="66" y="24"/>
                          <a:pt x="66" y="24"/>
                        </a:cubicBezTo>
                        <a:cubicBezTo>
                          <a:pt x="66" y="24"/>
                          <a:pt x="66" y="24"/>
                          <a:pt x="66" y="23"/>
                        </a:cubicBezTo>
                        <a:cubicBezTo>
                          <a:pt x="66" y="23"/>
                          <a:pt x="66" y="24"/>
                          <a:pt x="66" y="23"/>
                        </a:cubicBezTo>
                        <a:cubicBezTo>
                          <a:pt x="66" y="23"/>
                          <a:pt x="66" y="23"/>
                          <a:pt x="66" y="23"/>
                        </a:cubicBezTo>
                        <a:cubicBezTo>
                          <a:pt x="65" y="23"/>
                          <a:pt x="65" y="23"/>
                          <a:pt x="65" y="23"/>
                        </a:cubicBezTo>
                        <a:cubicBezTo>
                          <a:pt x="65" y="23"/>
                          <a:pt x="66" y="23"/>
                          <a:pt x="65" y="23"/>
                        </a:cubicBezTo>
                        <a:cubicBezTo>
                          <a:pt x="66" y="23"/>
                          <a:pt x="67" y="23"/>
                          <a:pt x="67" y="23"/>
                        </a:cubicBezTo>
                        <a:cubicBezTo>
                          <a:pt x="67" y="23"/>
                          <a:pt x="67" y="23"/>
                          <a:pt x="67" y="23"/>
                        </a:cubicBezTo>
                        <a:cubicBezTo>
                          <a:pt x="67" y="23"/>
                          <a:pt x="67" y="23"/>
                          <a:pt x="67" y="23"/>
                        </a:cubicBezTo>
                        <a:cubicBezTo>
                          <a:pt x="68" y="23"/>
                          <a:pt x="68" y="23"/>
                          <a:pt x="68" y="23"/>
                        </a:cubicBezTo>
                        <a:cubicBezTo>
                          <a:pt x="68" y="23"/>
                          <a:pt x="67" y="23"/>
                          <a:pt x="67" y="23"/>
                        </a:cubicBezTo>
                        <a:cubicBezTo>
                          <a:pt x="67" y="22"/>
                          <a:pt x="67" y="22"/>
                          <a:pt x="67" y="22"/>
                        </a:cubicBezTo>
                        <a:cubicBezTo>
                          <a:pt x="66" y="22"/>
                          <a:pt x="65" y="22"/>
                          <a:pt x="65" y="22"/>
                        </a:cubicBezTo>
                        <a:cubicBezTo>
                          <a:pt x="65" y="22"/>
                          <a:pt x="67" y="22"/>
                          <a:pt x="67" y="23"/>
                        </a:cubicBezTo>
                        <a:cubicBezTo>
                          <a:pt x="67" y="23"/>
                          <a:pt x="65" y="22"/>
                          <a:pt x="65" y="22"/>
                        </a:cubicBezTo>
                        <a:cubicBezTo>
                          <a:pt x="65" y="22"/>
                          <a:pt x="65" y="22"/>
                          <a:pt x="65" y="22"/>
                        </a:cubicBezTo>
                        <a:cubicBezTo>
                          <a:pt x="65" y="22"/>
                          <a:pt x="65" y="22"/>
                          <a:pt x="65" y="22"/>
                        </a:cubicBezTo>
                        <a:cubicBezTo>
                          <a:pt x="65" y="22"/>
                          <a:pt x="65" y="22"/>
                          <a:pt x="65" y="22"/>
                        </a:cubicBezTo>
                        <a:cubicBezTo>
                          <a:pt x="65" y="22"/>
                          <a:pt x="65" y="22"/>
                          <a:pt x="65" y="22"/>
                        </a:cubicBezTo>
                        <a:cubicBezTo>
                          <a:pt x="65" y="22"/>
                          <a:pt x="65" y="22"/>
                          <a:pt x="65" y="22"/>
                        </a:cubicBezTo>
                        <a:close/>
                        <a:moveTo>
                          <a:pt x="88" y="34"/>
                        </a:moveTo>
                        <a:cubicBezTo>
                          <a:pt x="88" y="34"/>
                          <a:pt x="88" y="34"/>
                          <a:pt x="88" y="34"/>
                        </a:cubicBezTo>
                        <a:cubicBezTo>
                          <a:pt x="88" y="34"/>
                          <a:pt x="88" y="34"/>
                          <a:pt x="88" y="34"/>
                        </a:cubicBezTo>
                        <a:cubicBezTo>
                          <a:pt x="88" y="34"/>
                          <a:pt x="88" y="34"/>
                          <a:pt x="88" y="34"/>
                        </a:cubicBezTo>
                        <a:close/>
                        <a:moveTo>
                          <a:pt x="79" y="31"/>
                        </a:moveTo>
                        <a:cubicBezTo>
                          <a:pt x="80" y="31"/>
                          <a:pt x="80" y="32"/>
                          <a:pt x="80" y="32"/>
                        </a:cubicBezTo>
                        <a:cubicBezTo>
                          <a:pt x="80" y="31"/>
                          <a:pt x="80" y="31"/>
                          <a:pt x="80" y="31"/>
                        </a:cubicBezTo>
                        <a:cubicBezTo>
                          <a:pt x="80" y="31"/>
                          <a:pt x="79" y="31"/>
                          <a:pt x="79" y="31"/>
                        </a:cubicBezTo>
                        <a:close/>
                        <a:moveTo>
                          <a:pt x="83" y="31"/>
                        </a:moveTo>
                        <a:cubicBezTo>
                          <a:pt x="83" y="31"/>
                          <a:pt x="83" y="31"/>
                          <a:pt x="83" y="31"/>
                        </a:cubicBezTo>
                        <a:cubicBezTo>
                          <a:pt x="83" y="31"/>
                          <a:pt x="83" y="31"/>
                          <a:pt x="83" y="31"/>
                        </a:cubicBezTo>
                        <a:cubicBezTo>
                          <a:pt x="83" y="31"/>
                          <a:pt x="83" y="31"/>
                          <a:pt x="83" y="31"/>
                        </a:cubicBezTo>
                        <a:close/>
                        <a:moveTo>
                          <a:pt x="85" y="32"/>
                        </a:moveTo>
                        <a:cubicBezTo>
                          <a:pt x="85" y="32"/>
                          <a:pt x="84" y="32"/>
                          <a:pt x="84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5" y="32"/>
                          <a:pt x="84" y="32"/>
                          <a:pt x="84" y="32"/>
                        </a:cubicBezTo>
                        <a:cubicBezTo>
                          <a:pt x="84" y="32"/>
                          <a:pt x="85" y="32"/>
                          <a:pt x="85" y="32"/>
                        </a:cubicBezTo>
                        <a:close/>
                        <a:moveTo>
                          <a:pt x="84" y="32"/>
                        </a:moveTo>
                        <a:cubicBezTo>
                          <a:pt x="84" y="32"/>
                          <a:pt x="84" y="32"/>
                          <a:pt x="84" y="32"/>
                        </a:cubicBezTo>
                        <a:cubicBezTo>
                          <a:pt x="84" y="32"/>
                          <a:pt x="84" y="32"/>
                          <a:pt x="84" y="32"/>
                        </a:cubicBezTo>
                        <a:close/>
                        <a:moveTo>
                          <a:pt x="85" y="32"/>
                        </a:moveTo>
                        <a:cubicBezTo>
                          <a:pt x="85" y="32"/>
                          <a:pt x="85" y="33"/>
                          <a:pt x="85" y="33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lose/>
                        <a:moveTo>
                          <a:pt x="85" y="33"/>
                        </a:moveTo>
                        <a:cubicBezTo>
                          <a:pt x="85" y="33"/>
                          <a:pt x="85" y="33"/>
                          <a:pt x="85" y="33"/>
                        </a:cubicBezTo>
                        <a:cubicBezTo>
                          <a:pt x="85" y="33"/>
                          <a:pt x="85" y="33"/>
                          <a:pt x="85" y="33"/>
                        </a:cubicBezTo>
                        <a:cubicBezTo>
                          <a:pt x="85" y="33"/>
                          <a:pt x="86" y="33"/>
                          <a:pt x="86" y="33"/>
                        </a:cubicBezTo>
                        <a:cubicBezTo>
                          <a:pt x="85" y="33"/>
                          <a:pt x="85" y="33"/>
                          <a:pt x="85" y="33"/>
                        </a:cubicBezTo>
                        <a:close/>
                        <a:moveTo>
                          <a:pt x="90" y="34"/>
                        </a:moveTo>
                        <a:cubicBezTo>
                          <a:pt x="90" y="34"/>
                          <a:pt x="90" y="34"/>
                          <a:pt x="90" y="34"/>
                        </a:cubicBezTo>
                        <a:cubicBezTo>
                          <a:pt x="90" y="34"/>
                          <a:pt x="90" y="34"/>
                          <a:pt x="90" y="34"/>
                        </a:cubicBezTo>
                        <a:cubicBezTo>
                          <a:pt x="90" y="34"/>
                          <a:pt x="90" y="34"/>
                          <a:pt x="90" y="34"/>
                        </a:cubicBezTo>
                        <a:close/>
                        <a:moveTo>
                          <a:pt x="89" y="34"/>
                        </a:moveTo>
                        <a:cubicBezTo>
                          <a:pt x="89" y="34"/>
                          <a:pt x="90" y="34"/>
                          <a:pt x="90" y="34"/>
                        </a:cubicBezTo>
                        <a:cubicBezTo>
                          <a:pt x="89" y="34"/>
                          <a:pt x="89" y="34"/>
                          <a:pt x="89" y="34"/>
                        </a:cubicBezTo>
                        <a:close/>
                        <a:moveTo>
                          <a:pt x="86" y="33"/>
                        </a:moveTo>
                        <a:cubicBezTo>
                          <a:pt x="86" y="33"/>
                          <a:pt x="86" y="33"/>
                          <a:pt x="85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5" y="32"/>
                          <a:pt x="85" y="33"/>
                          <a:pt x="85" y="33"/>
                        </a:cubicBezTo>
                        <a:cubicBezTo>
                          <a:pt x="86" y="33"/>
                          <a:pt x="86" y="33"/>
                          <a:pt x="86" y="33"/>
                        </a:cubicBezTo>
                        <a:cubicBezTo>
                          <a:pt x="86" y="33"/>
                          <a:pt x="86" y="33"/>
                          <a:pt x="86" y="33"/>
                        </a:cubicBezTo>
                        <a:cubicBezTo>
                          <a:pt x="86" y="33"/>
                          <a:pt x="86" y="33"/>
                          <a:pt x="86" y="33"/>
                        </a:cubicBezTo>
                        <a:cubicBezTo>
                          <a:pt x="86" y="33"/>
                          <a:pt x="86" y="33"/>
                          <a:pt x="86" y="33"/>
                        </a:cubicBezTo>
                        <a:cubicBezTo>
                          <a:pt x="87" y="33"/>
                          <a:pt x="88" y="34"/>
                          <a:pt x="89" y="34"/>
                        </a:cubicBezTo>
                        <a:cubicBezTo>
                          <a:pt x="88" y="33"/>
                          <a:pt x="87" y="33"/>
                          <a:pt x="86" y="33"/>
                        </a:cubicBezTo>
                        <a:cubicBezTo>
                          <a:pt x="86" y="33"/>
                          <a:pt x="86" y="33"/>
                          <a:pt x="86" y="33"/>
                        </a:cubicBezTo>
                        <a:close/>
                        <a:moveTo>
                          <a:pt x="91" y="34"/>
                        </a:moveTo>
                        <a:cubicBezTo>
                          <a:pt x="91" y="34"/>
                          <a:pt x="91" y="34"/>
                          <a:pt x="91" y="34"/>
                        </a:cubicBezTo>
                        <a:cubicBezTo>
                          <a:pt x="91" y="34"/>
                          <a:pt x="92" y="34"/>
                          <a:pt x="92" y="34"/>
                        </a:cubicBezTo>
                        <a:cubicBezTo>
                          <a:pt x="91" y="34"/>
                          <a:pt x="91" y="34"/>
                          <a:pt x="91" y="34"/>
                        </a:cubicBezTo>
                        <a:close/>
                        <a:moveTo>
                          <a:pt x="91" y="34"/>
                        </a:moveTo>
                        <a:cubicBezTo>
                          <a:pt x="91" y="34"/>
                          <a:pt x="91" y="34"/>
                          <a:pt x="91" y="34"/>
                        </a:cubicBezTo>
                        <a:cubicBezTo>
                          <a:pt x="91" y="34"/>
                          <a:pt x="91" y="34"/>
                          <a:pt x="91" y="34"/>
                        </a:cubicBezTo>
                        <a:cubicBezTo>
                          <a:pt x="91" y="34"/>
                          <a:pt x="91" y="34"/>
                          <a:pt x="91" y="34"/>
                        </a:cubicBezTo>
                        <a:close/>
                        <a:moveTo>
                          <a:pt x="91" y="34"/>
                        </a:moveTo>
                        <a:cubicBezTo>
                          <a:pt x="91" y="34"/>
                          <a:pt x="90" y="34"/>
                          <a:pt x="90" y="34"/>
                        </a:cubicBezTo>
                        <a:cubicBezTo>
                          <a:pt x="91" y="34"/>
                          <a:pt x="91" y="34"/>
                          <a:pt x="91" y="34"/>
                        </a:cubicBezTo>
                        <a:close/>
                        <a:moveTo>
                          <a:pt x="88" y="32"/>
                        </a:moveTo>
                        <a:cubicBezTo>
                          <a:pt x="88" y="33"/>
                          <a:pt x="88" y="33"/>
                          <a:pt x="88" y="33"/>
                        </a:cubicBezTo>
                        <a:cubicBezTo>
                          <a:pt x="88" y="33"/>
                          <a:pt x="88" y="33"/>
                          <a:pt x="88" y="32"/>
                        </a:cubicBezTo>
                        <a:close/>
                        <a:moveTo>
                          <a:pt x="91" y="33"/>
                        </a:moveTo>
                        <a:cubicBezTo>
                          <a:pt x="90" y="33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lose/>
                        <a:moveTo>
                          <a:pt x="91" y="33"/>
                        </a:moveTo>
                        <a:cubicBezTo>
                          <a:pt x="90" y="33"/>
                          <a:pt x="90" y="33"/>
                          <a:pt x="90" y="33"/>
                        </a:cubicBezTo>
                        <a:cubicBezTo>
                          <a:pt x="90" y="33"/>
                          <a:pt x="90" y="33"/>
                          <a:pt x="90" y="33"/>
                        </a:cubicBezTo>
                        <a:cubicBezTo>
                          <a:pt x="90" y="33"/>
                          <a:pt x="90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ubicBezTo>
                          <a:pt x="90" y="33"/>
                          <a:pt x="91" y="33"/>
                          <a:pt x="91" y="33"/>
                        </a:cubicBezTo>
                        <a:close/>
                        <a:moveTo>
                          <a:pt x="90" y="33"/>
                        </a:moveTo>
                        <a:cubicBezTo>
                          <a:pt x="89" y="33"/>
                          <a:pt x="90" y="33"/>
                          <a:pt x="90" y="33"/>
                        </a:cubicBezTo>
                        <a:cubicBezTo>
                          <a:pt x="90" y="32"/>
                          <a:pt x="90" y="32"/>
                          <a:pt x="90" y="32"/>
                        </a:cubicBezTo>
                        <a:cubicBezTo>
                          <a:pt x="90" y="32"/>
                          <a:pt x="90" y="32"/>
                          <a:pt x="90" y="32"/>
                        </a:cubicBezTo>
                        <a:cubicBezTo>
                          <a:pt x="90" y="32"/>
                          <a:pt x="89" y="32"/>
                          <a:pt x="89" y="32"/>
                        </a:cubicBezTo>
                        <a:cubicBezTo>
                          <a:pt x="90" y="33"/>
                          <a:pt x="90" y="32"/>
                          <a:pt x="89" y="33"/>
                        </a:cubicBezTo>
                        <a:cubicBezTo>
                          <a:pt x="89" y="33"/>
                          <a:pt x="90" y="33"/>
                          <a:pt x="90" y="33"/>
                        </a:cubicBezTo>
                        <a:close/>
                        <a:moveTo>
                          <a:pt x="90" y="33"/>
                        </a:moveTo>
                        <a:cubicBezTo>
                          <a:pt x="90" y="33"/>
                          <a:pt x="90" y="33"/>
                          <a:pt x="90" y="33"/>
                        </a:cubicBezTo>
                        <a:cubicBezTo>
                          <a:pt x="90" y="33"/>
                          <a:pt x="90" y="33"/>
                          <a:pt x="90" y="33"/>
                        </a:cubicBezTo>
                        <a:cubicBezTo>
                          <a:pt x="90" y="33"/>
                          <a:pt x="90" y="33"/>
                          <a:pt x="89" y="33"/>
                        </a:cubicBezTo>
                        <a:cubicBezTo>
                          <a:pt x="89" y="33"/>
                          <a:pt x="90" y="33"/>
                          <a:pt x="90" y="33"/>
                        </a:cubicBezTo>
                        <a:close/>
                        <a:moveTo>
                          <a:pt x="85" y="31"/>
                        </a:moveTo>
                        <a:cubicBezTo>
                          <a:pt x="84" y="31"/>
                          <a:pt x="84" y="31"/>
                          <a:pt x="83" y="31"/>
                        </a:cubicBezTo>
                        <a:cubicBezTo>
                          <a:pt x="83" y="31"/>
                          <a:pt x="83" y="31"/>
                          <a:pt x="83" y="31"/>
                        </a:cubicBezTo>
                        <a:cubicBezTo>
                          <a:pt x="84" y="31"/>
                          <a:pt x="84" y="31"/>
                          <a:pt x="84" y="31"/>
                        </a:cubicBezTo>
                        <a:cubicBezTo>
                          <a:pt x="84" y="31"/>
                          <a:pt x="84" y="31"/>
                          <a:pt x="84" y="31"/>
                        </a:cubicBezTo>
                        <a:cubicBezTo>
                          <a:pt x="84" y="31"/>
                          <a:pt x="84" y="31"/>
                          <a:pt x="84" y="31"/>
                        </a:cubicBezTo>
                        <a:cubicBezTo>
                          <a:pt x="84" y="31"/>
                          <a:pt x="84" y="31"/>
                          <a:pt x="84" y="31"/>
                        </a:cubicBezTo>
                        <a:cubicBezTo>
                          <a:pt x="84" y="32"/>
                          <a:pt x="85" y="32"/>
                          <a:pt x="85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6" y="32"/>
                          <a:pt x="85" y="32"/>
                          <a:pt x="85" y="32"/>
                        </a:cubicBezTo>
                        <a:cubicBezTo>
                          <a:pt x="86" y="32"/>
                          <a:pt x="86" y="32"/>
                          <a:pt x="86" y="32"/>
                        </a:cubicBezTo>
                        <a:cubicBezTo>
                          <a:pt x="86" y="32"/>
                          <a:pt x="86" y="32"/>
                          <a:pt x="86" y="32"/>
                        </a:cubicBezTo>
                        <a:cubicBezTo>
                          <a:pt x="86" y="32"/>
                          <a:pt x="85" y="32"/>
                          <a:pt x="86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5" y="32"/>
                          <a:pt x="85" y="32"/>
                          <a:pt x="86" y="32"/>
                        </a:cubicBezTo>
                        <a:cubicBezTo>
                          <a:pt x="86" y="32"/>
                          <a:pt x="86" y="32"/>
                          <a:pt x="86" y="32"/>
                        </a:cubicBezTo>
                        <a:cubicBezTo>
                          <a:pt x="86" y="32"/>
                          <a:pt x="86" y="32"/>
                          <a:pt x="86" y="32"/>
                        </a:cubicBezTo>
                        <a:cubicBezTo>
                          <a:pt x="86" y="33"/>
                          <a:pt x="86" y="33"/>
                          <a:pt x="86" y="33"/>
                        </a:cubicBezTo>
                        <a:cubicBezTo>
                          <a:pt x="86" y="32"/>
                          <a:pt x="86" y="33"/>
                          <a:pt x="87" y="33"/>
                        </a:cubicBezTo>
                        <a:cubicBezTo>
                          <a:pt x="87" y="32"/>
                          <a:pt x="86" y="32"/>
                          <a:pt x="86" y="32"/>
                        </a:cubicBezTo>
                        <a:cubicBezTo>
                          <a:pt x="86" y="32"/>
                          <a:pt x="87" y="32"/>
                          <a:pt x="87" y="32"/>
                        </a:cubicBezTo>
                        <a:cubicBezTo>
                          <a:pt x="87" y="32"/>
                          <a:pt x="86" y="32"/>
                          <a:pt x="86" y="32"/>
                        </a:cubicBezTo>
                        <a:cubicBezTo>
                          <a:pt x="86" y="32"/>
                          <a:pt x="87" y="32"/>
                          <a:pt x="87" y="32"/>
                        </a:cubicBezTo>
                        <a:cubicBezTo>
                          <a:pt x="87" y="32"/>
                          <a:pt x="86" y="32"/>
                          <a:pt x="86" y="32"/>
                        </a:cubicBezTo>
                        <a:cubicBezTo>
                          <a:pt x="86" y="32"/>
                          <a:pt x="85" y="31"/>
                          <a:pt x="85" y="32"/>
                        </a:cubicBezTo>
                        <a:cubicBezTo>
                          <a:pt x="85" y="31"/>
                          <a:pt x="85" y="31"/>
                          <a:pt x="85" y="31"/>
                        </a:cubicBezTo>
                        <a:cubicBezTo>
                          <a:pt x="85" y="31"/>
                          <a:pt x="85" y="31"/>
                          <a:pt x="85" y="31"/>
                        </a:cubicBezTo>
                        <a:cubicBezTo>
                          <a:pt x="85" y="31"/>
                          <a:pt x="85" y="31"/>
                          <a:pt x="85" y="31"/>
                        </a:cubicBezTo>
                        <a:close/>
                        <a:moveTo>
                          <a:pt x="85" y="31"/>
                        </a:moveTo>
                        <a:cubicBezTo>
                          <a:pt x="85" y="31"/>
                          <a:pt x="85" y="31"/>
                          <a:pt x="85" y="31"/>
                        </a:cubicBezTo>
                        <a:cubicBezTo>
                          <a:pt x="85" y="31"/>
                          <a:pt x="85" y="31"/>
                          <a:pt x="85" y="31"/>
                        </a:cubicBezTo>
                        <a:cubicBezTo>
                          <a:pt x="85" y="31"/>
                          <a:pt x="85" y="31"/>
                          <a:pt x="85" y="31"/>
                        </a:cubicBezTo>
                        <a:close/>
                        <a:moveTo>
                          <a:pt x="73" y="22"/>
                        </a:moveTo>
                        <a:cubicBezTo>
                          <a:pt x="74" y="22"/>
                          <a:pt x="74" y="22"/>
                          <a:pt x="74" y="22"/>
                        </a:cubicBezTo>
                        <a:cubicBezTo>
                          <a:pt x="73" y="22"/>
                          <a:pt x="73" y="22"/>
                          <a:pt x="73" y="22"/>
                        </a:cubicBezTo>
                        <a:cubicBezTo>
                          <a:pt x="73" y="22"/>
                          <a:pt x="73" y="22"/>
                          <a:pt x="73" y="22"/>
                        </a:cubicBezTo>
                        <a:close/>
                        <a:moveTo>
                          <a:pt x="72" y="22"/>
                        </a:moveTo>
                        <a:cubicBezTo>
                          <a:pt x="72" y="22"/>
                          <a:pt x="72" y="22"/>
                          <a:pt x="72" y="22"/>
                        </a:cubicBezTo>
                        <a:cubicBezTo>
                          <a:pt x="72" y="22"/>
                          <a:pt x="72" y="22"/>
                          <a:pt x="72" y="22"/>
                        </a:cubicBezTo>
                        <a:close/>
                        <a:moveTo>
                          <a:pt x="74" y="23"/>
                        </a:move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4" y="22"/>
                        </a:cubicBezTo>
                        <a:cubicBezTo>
                          <a:pt x="74" y="22"/>
                          <a:pt x="74" y="22"/>
                          <a:pt x="73" y="22"/>
                        </a:cubicBezTo>
                        <a:cubicBezTo>
                          <a:pt x="74" y="22"/>
                          <a:pt x="74" y="23"/>
                          <a:pt x="74" y="23"/>
                        </a:cubicBezTo>
                        <a:close/>
                        <a:moveTo>
                          <a:pt x="74" y="23"/>
                        </a:moveTo>
                        <a:cubicBezTo>
                          <a:pt x="74" y="23"/>
                          <a:pt x="73" y="22"/>
                          <a:pt x="73" y="22"/>
                        </a:cubicBezTo>
                        <a:cubicBezTo>
                          <a:pt x="73" y="23"/>
                          <a:pt x="74" y="23"/>
                          <a:pt x="74" y="23"/>
                        </a:cubicBezTo>
                        <a:close/>
                        <a:moveTo>
                          <a:pt x="75" y="24"/>
                        </a:moveTo>
                        <a:cubicBezTo>
                          <a:pt x="75" y="24"/>
                          <a:pt x="75" y="24"/>
                          <a:pt x="75" y="24"/>
                        </a:cubicBezTo>
                        <a:cubicBezTo>
                          <a:pt x="75" y="24"/>
                          <a:pt x="76" y="24"/>
                          <a:pt x="76" y="24"/>
                        </a:cubicBezTo>
                        <a:cubicBezTo>
                          <a:pt x="76" y="24"/>
                          <a:pt x="75" y="24"/>
                          <a:pt x="75" y="24"/>
                        </a:cubicBezTo>
                        <a:cubicBezTo>
                          <a:pt x="76" y="24"/>
                          <a:pt x="76" y="24"/>
                          <a:pt x="76" y="24"/>
                        </a:cubicBezTo>
                        <a:cubicBezTo>
                          <a:pt x="76" y="24"/>
                          <a:pt x="76" y="24"/>
                          <a:pt x="76" y="24"/>
                        </a:cubicBezTo>
                        <a:cubicBezTo>
                          <a:pt x="76" y="24"/>
                          <a:pt x="75" y="24"/>
                          <a:pt x="75" y="24"/>
                        </a:cubicBezTo>
                        <a:cubicBezTo>
                          <a:pt x="75" y="24"/>
                          <a:pt x="75" y="24"/>
                          <a:pt x="75" y="24"/>
                        </a:cubicBezTo>
                        <a:cubicBezTo>
                          <a:pt x="75" y="24"/>
                          <a:pt x="75" y="24"/>
                          <a:pt x="75" y="24"/>
                        </a:cubicBezTo>
                        <a:cubicBezTo>
                          <a:pt x="75" y="24"/>
                          <a:pt x="74" y="24"/>
                          <a:pt x="75" y="24"/>
                        </a:cubicBezTo>
                        <a:cubicBezTo>
                          <a:pt x="74" y="24"/>
                          <a:pt x="74" y="24"/>
                          <a:pt x="74" y="24"/>
                        </a:cubicBezTo>
                        <a:cubicBezTo>
                          <a:pt x="74" y="24"/>
                          <a:pt x="75" y="24"/>
                          <a:pt x="75" y="24"/>
                        </a:cubicBezTo>
                        <a:cubicBezTo>
                          <a:pt x="75" y="24"/>
                          <a:pt x="74" y="24"/>
                          <a:pt x="74" y="24"/>
                        </a:cubicBezTo>
                        <a:cubicBezTo>
                          <a:pt x="75" y="24"/>
                          <a:pt x="75" y="24"/>
                          <a:pt x="75" y="24"/>
                        </a:cubicBezTo>
                        <a:cubicBezTo>
                          <a:pt x="75" y="24"/>
                          <a:pt x="75" y="24"/>
                          <a:pt x="75" y="24"/>
                        </a:cubicBezTo>
                        <a:cubicBezTo>
                          <a:pt x="75" y="24"/>
                          <a:pt x="75" y="24"/>
                          <a:pt x="75" y="24"/>
                        </a:cubicBezTo>
                        <a:close/>
                        <a:moveTo>
                          <a:pt x="79" y="26"/>
                        </a:moveTo>
                        <a:cubicBezTo>
                          <a:pt x="79" y="26"/>
                          <a:pt x="79" y="26"/>
                          <a:pt x="79" y="26"/>
                        </a:cubicBezTo>
                        <a:cubicBezTo>
                          <a:pt x="79" y="26"/>
                          <a:pt x="79" y="27"/>
                          <a:pt x="79" y="27"/>
                        </a:cubicBezTo>
                        <a:cubicBezTo>
                          <a:pt x="79" y="27"/>
                          <a:pt x="79" y="27"/>
                          <a:pt x="79" y="26"/>
                        </a:cubicBezTo>
                        <a:close/>
                        <a:moveTo>
                          <a:pt x="77" y="26"/>
                        </a:move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7" y="26"/>
                          <a:pt x="77" y="26"/>
                        </a:cubicBezTo>
                        <a:close/>
                        <a:moveTo>
                          <a:pt x="78" y="26"/>
                        </a:move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8" y="26"/>
                          <a:pt x="79" y="26"/>
                        </a:cubicBezTo>
                        <a:cubicBezTo>
                          <a:pt x="79" y="26"/>
                          <a:pt x="79" y="26"/>
                          <a:pt x="79" y="26"/>
                        </a:cubicBezTo>
                        <a:cubicBezTo>
                          <a:pt x="79" y="26"/>
                          <a:pt x="78" y="26"/>
                          <a:pt x="78" y="26"/>
                        </a:cubicBez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8" y="26"/>
                          <a:pt x="78" y="26"/>
                        </a:cubicBezTo>
                        <a:close/>
                        <a:moveTo>
                          <a:pt x="77" y="26"/>
                        </a:move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7" y="26"/>
                          <a:pt x="77" y="26"/>
                        </a:cubicBezTo>
                        <a:cubicBezTo>
                          <a:pt x="77" y="26"/>
                          <a:pt x="77" y="26"/>
                          <a:pt x="77" y="26"/>
                        </a:cubicBezTo>
                        <a:cubicBezTo>
                          <a:pt x="77" y="26"/>
                          <a:pt x="77" y="26"/>
                          <a:pt x="77" y="26"/>
                        </a:cubicBezTo>
                        <a:close/>
                        <a:moveTo>
                          <a:pt x="78" y="26"/>
                        </a:moveTo>
                        <a:cubicBezTo>
                          <a:pt x="78" y="27"/>
                          <a:pt x="78" y="27"/>
                          <a:pt x="79" y="27"/>
                        </a:cubicBezTo>
                        <a:cubicBezTo>
                          <a:pt x="79" y="27"/>
                          <a:pt x="79" y="27"/>
                          <a:pt x="79" y="27"/>
                        </a:cubicBezTo>
                        <a:cubicBezTo>
                          <a:pt x="78" y="27"/>
                          <a:pt x="78" y="26"/>
                          <a:pt x="78" y="26"/>
                        </a:cubicBezTo>
                        <a:close/>
                        <a:moveTo>
                          <a:pt x="67" y="23"/>
                        </a:moveTo>
                        <a:cubicBezTo>
                          <a:pt x="67" y="23"/>
                          <a:pt x="67" y="23"/>
                          <a:pt x="67" y="23"/>
                        </a:cubicBezTo>
                        <a:cubicBezTo>
                          <a:pt x="67" y="23"/>
                          <a:pt x="66" y="23"/>
                          <a:pt x="66" y="23"/>
                        </a:cubicBezTo>
                        <a:cubicBezTo>
                          <a:pt x="66" y="23"/>
                          <a:pt x="66" y="23"/>
                          <a:pt x="67" y="23"/>
                        </a:cubicBezTo>
                        <a:close/>
                        <a:moveTo>
                          <a:pt x="69" y="24"/>
                        </a:moveTo>
                        <a:cubicBezTo>
                          <a:pt x="69" y="24"/>
                          <a:pt x="69" y="24"/>
                          <a:pt x="69" y="24"/>
                        </a:cubicBezTo>
                        <a:cubicBezTo>
                          <a:pt x="69" y="24"/>
                          <a:pt x="69" y="24"/>
                          <a:pt x="69" y="24"/>
                        </a:cubicBezTo>
                        <a:close/>
                        <a:moveTo>
                          <a:pt x="70" y="24"/>
                        </a:moveTo>
                        <a:cubicBezTo>
                          <a:pt x="70" y="24"/>
                          <a:pt x="70" y="24"/>
                          <a:pt x="70" y="24"/>
                        </a:cubicBezTo>
                        <a:cubicBezTo>
                          <a:pt x="70" y="24"/>
                          <a:pt x="70" y="24"/>
                          <a:pt x="70" y="24"/>
                        </a:cubicBezTo>
                        <a:cubicBezTo>
                          <a:pt x="70" y="24"/>
                          <a:pt x="70" y="24"/>
                          <a:pt x="70" y="24"/>
                        </a:cubicBezTo>
                        <a:cubicBezTo>
                          <a:pt x="70" y="24"/>
                          <a:pt x="70" y="24"/>
                          <a:pt x="70" y="24"/>
                        </a:cubicBezTo>
                        <a:cubicBezTo>
                          <a:pt x="70" y="24"/>
                          <a:pt x="70" y="24"/>
                          <a:pt x="69" y="24"/>
                        </a:cubicBezTo>
                        <a:cubicBezTo>
                          <a:pt x="70" y="24"/>
                          <a:pt x="70" y="24"/>
                          <a:pt x="70" y="24"/>
                        </a:cubicBezTo>
                        <a:cubicBezTo>
                          <a:pt x="70" y="24"/>
                          <a:pt x="69" y="24"/>
                          <a:pt x="69" y="24"/>
                        </a:cubicBezTo>
                        <a:cubicBezTo>
                          <a:pt x="69" y="24"/>
                          <a:pt x="70" y="24"/>
                          <a:pt x="70" y="24"/>
                        </a:cubicBezTo>
                        <a:cubicBezTo>
                          <a:pt x="70" y="24"/>
                          <a:pt x="70" y="25"/>
                          <a:pt x="69" y="24"/>
                        </a:cubicBezTo>
                        <a:cubicBezTo>
                          <a:pt x="70" y="25"/>
                          <a:pt x="70" y="24"/>
                          <a:pt x="70" y="24"/>
                        </a:cubicBezTo>
                        <a:close/>
                        <a:moveTo>
                          <a:pt x="72" y="25"/>
                        </a:moveTo>
                        <a:cubicBezTo>
                          <a:pt x="71" y="25"/>
                          <a:pt x="71" y="25"/>
                          <a:pt x="71" y="24"/>
                        </a:cubicBezTo>
                        <a:cubicBezTo>
                          <a:pt x="71" y="24"/>
                          <a:pt x="71" y="24"/>
                          <a:pt x="71" y="24"/>
                        </a:cubicBezTo>
                        <a:cubicBezTo>
                          <a:pt x="71" y="24"/>
                          <a:pt x="71" y="24"/>
                          <a:pt x="71" y="25"/>
                        </a:cubicBezTo>
                        <a:cubicBezTo>
                          <a:pt x="71" y="25"/>
                          <a:pt x="71" y="25"/>
                          <a:pt x="71" y="25"/>
                        </a:cubicBezTo>
                        <a:cubicBezTo>
                          <a:pt x="71" y="25"/>
                          <a:pt x="72" y="25"/>
                          <a:pt x="72" y="25"/>
                        </a:cubicBezTo>
                        <a:close/>
                        <a:moveTo>
                          <a:pt x="74" y="26"/>
                        </a:moveTo>
                        <a:cubicBezTo>
                          <a:pt x="74" y="26"/>
                          <a:pt x="74" y="26"/>
                          <a:pt x="75" y="26"/>
                        </a:cubicBezTo>
                        <a:cubicBezTo>
                          <a:pt x="74" y="26"/>
                          <a:pt x="75" y="26"/>
                          <a:pt x="75" y="26"/>
                        </a:cubicBezTo>
                        <a:cubicBezTo>
                          <a:pt x="75" y="26"/>
                          <a:pt x="75" y="26"/>
                          <a:pt x="75" y="26"/>
                        </a:cubicBezTo>
                        <a:cubicBezTo>
                          <a:pt x="75" y="26"/>
                          <a:pt x="75" y="26"/>
                          <a:pt x="74" y="26"/>
                        </a:cubicBezTo>
                        <a:cubicBezTo>
                          <a:pt x="75" y="26"/>
                          <a:pt x="74" y="26"/>
                          <a:pt x="74" y="26"/>
                        </a:cubicBezTo>
                        <a:cubicBezTo>
                          <a:pt x="75" y="26"/>
                          <a:pt x="75" y="27"/>
                          <a:pt x="75" y="27"/>
                        </a:cubicBezTo>
                        <a:cubicBezTo>
                          <a:pt x="75" y="27"/>
                          <a:pt x="75" y="26"/>
                          <a:pt x="75" y="26"/>
                        </a:cubicBezTo>
                        <a:cubicBezTo>
                          <a:pt x="75" y="26"/>
                          <a:pt x="75" y="26"/>
                          <a:pt x="75" y="27"/>
                        </a:cubicBezTo>
                        <a:cubicBezTo>
                          <a:pt x="75" y="26"/>
                          <a:pt x="75" y="26"/>
                          <a:pt x="75" y="26"/>
                        </a:cubicBezTo>
                        <a:cubicBezTo>
                          <a:pt x="75" y="26"/>
                          <a:pt x="74" y="26"/>
                          <a:pt x="74" y="26"/>
                        </a:cubicBezTo>
                        <a:close/>
                        <a:moveTo>
                          <a:pt x="73" y="26"/>
                        </a:moveTo>
                        <a:cubicBezTo>
                          <a:pt x="73" y="26"/>
                          <a:pt x="74" y="26"/>
                          <a:pt x="74" y="26"/>
                        </a:cubicBezTo>
                        <a:cubicBezTo>
                          <a:pt x="74" y="26"/>
                          <a:pt x="74" y="26"/>
                          <a:pt x="73" y="26"/>
                        </a:cubicBezTo>
                        <a:close/>
                        <a:moveTo>
                          <a:pt x="73" y="25"/>
                        </a:moveTo>
                        <a:cubicBezTo>
                          <a:pt x="73" y="25"/>
                          <a:pt x="73" y="25"/>
                          <a:pt x="73" y="25"/>
                        </a:cubicBezTo>
                        <a:cubicBezTo>
                          <a:pt x="73" y="26"/>
                          <a:pt x="73" y="25"/>
                          <a:pt x="73" y="25"/>
                        </a:cubicBezTo>
                        <a:cubicBezTo>
                          <a:pt x="73" y="26"/>
                          <a:pt x="73" y="26"/>
                          <a:pt x="73" y="25"/>
                        </a:cubicBezTo>
                        <a:close/>
                        <a:moveTo>
                          <a:pt x="70" y="25"/>
                        </a:moveTo>
                        <a:cubicBezTo>
                          <a:pt x="70" y="25"/>
                          <a:pt x="70" y="25"/>
                          <a:pt x="70" y="25"/>
                        </a:cubicBezTo>
                        <a:cubicBezTo>
                          <a:pt x="70" y="25"/>
                          <a:pt x="70" y="25"/>
                          <a:pt x="70" y="25"/>
                        </a:cubicBezTo>
                        <a:cubicBezTo>
                          <a:pt x="70" y="25"/>
                          <a:pt x="70" y="25"/>
                          <a:pt x="71" y="25"/>
                        </a:cubicBezTo>
                        <a:cubicBezTo>
                          <a:pt x="71" y="25"/>
                          <a:pt x="71" y="25"/>
                          <a:pt x="71" y="25"/>
                        </a:cubicBezTo>
                        <a:cubicBezTo>
                          <a:pt x="71" y="25"/>
                          <a:pt x="71" y="25"/>
                          <a:pt x="71" y="25"/>
                        </a:cubicBezTo>
                        <a:cubicBezTo>
                          <a:pt x="71" y="25"/>
                          <a:pt x="71" y="25"/>
                          <a:pt x="71" y="25"/>
                        </a:cubicBezTo>
                        <a:cubicBezTo>
                          <a:pt x="71" y="25"/>
                          <a:pt x="71" y="25"/>
                          <a:pt x="71" y="25"/>
                        </a:cubicBezTo>
                        <a:cubicBezTo>
                          <a:pt x="71" y="25"/>
                          <a:pt x="70" y="24"/>
                          <a:pt x="70" y="25"/>
                        </a:cubicBezTo>
                        <a:cubicBezTo>
                          <a:pt x="70" y="25"/>
                          <a:pt x="70" y="25"/>
                          <a:pt x="70" y="25"/>
                        </a:cubicBezTo>
                        <a:close/>
                        <a:moveTo>
                          <a:pt x="72" y="25"/>
                        </a:moveTo>
                        <a:cubicBezTo>
                          <a:pt x="72" y="25"/>
                          <a:pt x="72" y="25"/>
                          <a:pt x="72" y="25"/>
                        </a:cubicBezTo>
                        <a:cubicBezTo>
                          <a:pt x="72" y="25"/>
                          <a:pt x="71" y="25"/>
                          <a:pt x="71" y="25"/>
                        </a:cubicBezTo>
                        <a:cubicBezTo>
                          <a:pt x="72" y="25"/>
                          <a:pt x="72" y="25"/>
                          <a:pt x="72" y="25"/>
                        </a:cubicBezTo>
                        <a:close/>
                        <a:moveTo>
                          <a:pt x="71" y="25"/>
                        </a:moveTo>
                        <a:cubicBezTo>
                          <a:pt x="71" y="25"/>
                          <a:pt x="71" y="25"/>
                          <a:pt x="71" y="25"/>
                        </a:cubicBezTo>
                        <a:cubicBezTo>
                          <a:pt x="71" y="25"/>
                          <a:pt x="71" y="25"/>
                          <a:pt x="71" y="25"/>
                        </a:cubicBezTo>
                        <a:close/>
                        <a:moveTo>
                          <a:pt x="72" y="26"/>
                        </a:moveTo>
                        <a:cubicBezTo>
                          <a:pt x="73" y="26"/>
                          <a:pt x="73" y="26"/>
                          <a:pt x="72" y="26"/>
                        </a:cubicBezTo>
                        <a:cubicBezTo>
                          <a:pt x="73" y="26"/>
                          <a:pt x="73" y="26"/>
                          <a:pt x="73" y="26"/>
                        </a:cubicBezTo>
                        <a:cubicBezTo>
                          <a:pt x="73" y="26"/>
                          <a:pt x="73" y="26"/>
                          <a:pt x="73" y="26"/>
                        </a:cubicBezTo>
                        <a:cubicBezTo>
                          <a:pt x="73" y="26"/>
                          <a:pt x="73" y="27"/>
                          <a:pt x="74" y="26"/>
                        </a:cubicBezTo>
                        <a:cubicBezTo>
                          <a:pt x="73" y="26"/>
                          <a:pt x="73" y="26"/>
                          <a:pt x="73" y="26"/>
                        </a:cubicBezTo>
                        <a:cubicBezTo>
                          <a:pt x="73" y="26"/>
                          <a:pt x="72" y="26"/>
                          <a:pt x="72" y="26"/>
                        </a:cubicBezTo>
                        <a:cubicBezTo>
                          <a:pt x="72" y="26"/>
                          <a:pt x="72" y="26"/>
                          <a:pt x="72" y="25"/>
                        </a:cubicBezTo>
                        <a:cubicBezTo>
                          <a:pt x="72" y="25"/>
                          <a:pt x="72" y="26"/>
                          <a:pt x="72" y="26"/>
                        </a:cubicBezTo>
                        <a:cubicBezTo>
                          <a:pt x="72" y="25"/>
                          <a:pt x="72" y="25"/>
                          <a:pt x="72" y="25"/>
                        </a:cubicBezTo>
                        <a:cubicBezTo>
                          <a:pt x="72" y="25"/>
                          <a:pt x="72" y="25"/>
                          <a:pt x="72" y="25"/>
                        </a:cubicBezTo>
                        <a:cubicBezTo>
                          <a:pt x="72" y="25"/>
                          <a:pt x="72" y="25"/>
                          <a:pt x="72" y="26"/>
                        </a:cubicBezTo>
                        <a:cubicBezTo>
                          <a:pt x="72" y="26"/>
                          <a:pt x="72" y="25"/>
                          <a:pt x="72" y="26"/>
                        </a:cubicBezTo>
                        <a:cubicBezTo>
                          <a:pt x="72" y="26"/>
                          <a:pt x="72" y="26"/>
                          <a:pt x="73" y="26"/>
                        </a:cubicBezTo>
                        <a:cubicBezTo>
                          <a:pt x="73" y="26"/>
                          <a:pt x="72" y="26"/>
                          <a:pt x="72" y="26"/>
                        </a:cubicBezTo>
                        <a:close/>
                        <a:moveTo>
                          <a:pt x="74" y="26"/>
                        </a:moveTo>
                        <a:cubicBezTo>
                          <a:pt x="74" y="26"/>
                          <a:pt x="74" y="26"/>
                          <a:pt x="74" y="26"/>
                        </a:cubicBezTo>
                        <a:cubicBezTo>
                          <a:pt x="74" y="26"/>
                          <a:pt x="74" y="26"/>
                          <a:pt x="74" y="26"/>
                        </a:cubicBezTo>
                        <a:cubicBezTo>
                          <a:pt x="74" y="26"/>
                          <a:pt x="74" y="27"/>
                          <a:pt x="74" y="27"/>
                        </a:cubicBezTo>
                        <a:cubicBezTo>
                          <a:pt x="74" y="27"/>
                          <a:pt x="75" y="27"/>
                          <a:pt x="75" y="27"/>
                        </a:cubicBezTo>
                        <a:cubicBezTo>
                          <a:pt x="75" y="27"/>
                          <a:pt x="75" y="27"/>
                          <a:pt x="75" y="27"/>
                        </a:cubicBezTo>
                        <a:cubicBezTo>
                          <a:pt x="75" y="27"/>
                          <a:pt x="74" y="27"/>
                          <a:pt x="74" y="26"/>
                        </a:cubicBezTo>
                        <a:cubicBezTo>
                          <a:pt x="74" y="26"/>
                          <a:pt x="74" y="27"/>
                          <a:pt x="74" y="26"/>
                        </a:cubicBezTo>
                        <a:close/>
                        <a:moveTo>
                          <a:pt x="76" y="27"/>
                        </a:moveTo>
                        <a:cubicBezTo>
                          <a:pt x="76" y="27"/>
                          <a:pt x="76" y="27"/>
                          <a:pt x="76" y="27"/>
                        </a:cubicBezTo>
                        <a:cubicBezTo>
                          <a:pt x="76" y="27"/>
                          <a:pt x="76" y="27"/>
                          <a:pt x="76" y="27"/>
                        </a:cubicBezTo>
                        <a:close/>
                        <a:moveTo>
                          <a:pt x="77" y="27"/>
                        </a:moveTo>
                        <a:cubicBezTo>
                          <a:pt x="77" y="28"/>
                          <a:pt x="77" y="27"/>
                          <a:pt x="77" y="28"/>
                        </a:cubicBezTo>
                        <a:cubicBezTo>
                          <a:pt x="77" y="28"/>
                          <a:pt x="77" y="28"/>
                          <a:pt x="78" y="28"/>
                        </a:cubicBezTo>
                        <a:cubicBezTo>
                          <a:pt x="77" y="28"/>
                          <a:pt x="77" y="27"/>
                          <a:pt x="77" y="27"/>
                        </a:cubicBezTo>
                        <a:close/>
                        <a:moveTo>
                          <a:pt x="78" y="28"/>
                        </a:moveTo>
                        <a:cubicBezTo>
                          <a:pt x="78" y="28"/>
                          <a:pt x="79" y="28"/>
                          <a:pt x="79" y="28"/>
                        </a:cubicBezTo>
                        <a:cubicBezTo>
                          <a:pt x="79" y="28"/>
                          <a:pt x="79" y="28"/>
                          <a:pt x="78" y="28"/>
                        </a:cubicBezTo>
                        <a:cubicBezTo>
                          <a:pt x="78" y="28"/>
                          <a:pt x="78" y="28"/>
                          <a:pt x="78" y="28"/>
                        </a:cubicBezTo>
                        <a:close/>
                        <a:moveTo>
                          <a:pt x="71" y="26"/>
                        </a:moveTo>
                        <a:cubicBezTo>
                          <a:pt x="71" y="26"/>
                          <a:pt x="72" y="26"/>
                          <a:pt x="72" y="26"/>
                        </a:cubicBezTo>
                        <a:cubicBezTo>
                          <a:pt x="72" y="26"/>
                          <a:pt x="71" y="26"/>
                          <a:pt x="72" y="26"/>
                        </a:cubicBezTo>
                        <a:cubicBezTo>
                          <a:pt x="71" y="26"/>
                          <a:pt x="71" y="25"/>
                          <a:pt x="71" y="25"/>
                        </a:cubicBezTo>
                        <a:cubicBezTo>
                          <a:pt x="71" y="26"/>
                          <a:pt x="72" y="26"/>
                          <a:pt x="71" y="26"/>
                        </a:cubicBezTo>
                        <a:close/>
                        <a:moveTo>
                          <a:pt x="73" y="27"/>
                        </a:moveTo>
                        <a:cubicBezTo>
                          <a:pt x="73" y="27"/>
                          <a:pt x="73" y="27"/>
                          <a:pt x="73" y="26"/>
                        </a:cubicBezTo>
                        <a:cubicBezTo>
                          <a:pt x="73" y="27"/>
                          <a:pt x="73" y="27"/>
                          <a:pt x="73" y="27"/>
                        </a:cubicBezTo>
                        <a:cubicBezTo>
                          <a:pt x="73" y="27"/>
                          <a:pt x="73" y="27"/>
                          <a:pt x="72" y="27"/>
                        </a:cubicBezTo>
                        <a:cubicBezTo>
                          <a:pt x="72" y="27"/>
                          <a:pt x="72" y="27"/>
                          <a:pt x="72" y="27"/>
                        </a:cubicBezTo>
                        <a:cubicBezTo>
                          <a:pt x="72" y="27"/>
                          <a:pt x="73" y="27"/>
                          <a:pt x="73" y="27"/>
                        </a:cubicBezTo>
                        <a:cubicBezTo>
                          <a:pt x="73" y="27"/>
                          <a:pt x="73" y="27"/>
                          <a:pt x="73" y="27"/>
                        </a:cubicBezTo>
                        <a:cubicBezTo>
                          <a:pt x="73" y="27"/>
                          <a:pt x="73" y="27"/>
                          <a:pt x="73" y="27"/>
                        </a:cubicBezTo>
                        <a:cubicBezTo>
                          <a:pt x="73" y="27"/>
                          <a:pt x="74" y="27"/>
                          <a:pt x="74" y="27"/>
                        </a:cubicBezTo>
                        <a:cubicBezTo>
                          <a:pt x="74" y="27"/>
                          <a:pt x="74" y="27"/>
                          <a:pt x="74" y="27"/>
                        </a:cubicBezTo>
                        <a:cubicBezTo>
                          <a:pt x="74" y="27"/>
                          <a:pt x="74" y="27"/>
                          <a:pt x="74" y="27"/>
                        </a:cubicBezTo>
                        <a:cubicBezTo>
                          <a:pt x="74" y="27"/>
                          <a:pt x="74" y="27"/>
                          <a:pt x="74" y="27"/>
                        </a:cubicBezTo>
                        <a:cubicBezTo>
                          <a:pt x="74" y="27"/>
                          <a:pt x="74" y="27"/>
                          <a:pt x="73" y="27"/>
                        </a:cubicBezTo>
                        <a:close/>
                        <a:moveTo>
                          <a:pt x="68" y="25"/>
                        </a:moveTo>
                        <a:cubicBezTo>
                          <a:pt x="68" y="25"/>
                          <a:pt x="68" y="25"/>
                          <a:pt x="68" y="25"/>
                        </a:cubicBezTo>
                        <a:cubicBezTo>
                          <a:pt x="68" y="25"/>
                          <a:pt x="68" y="26"/>
                          <a:pt x="68" y="26"/>
                        </a:cubicBezTo>
                        <a:cubicBezTo>
                          <a:pt x="68" y="26"/>
                          <a:pt x="68" y="26"/>
                          <a:pt x="68" y="25"/>
                        </a:cubicBezTo>
                        <a:close/>
                        <a:moveTo>
                          <a:pt x="69" y="26"/>
                        </a:moveTo>
                        <a:cubicBezTo>
                          <a:pt x="69" y="26"/>
                          <a:pt x="69" y="26"/>
                          <a:pt x="69" y="26"/>
                        </a:cubicBezTo>
                        <a:cubicBezTo>
                          <a:pt x="68" y="26"/>
                          <a:pt x="68" y="26"/>
                          <a:pt x="68" y="26"/>
                        </a:cubicBezTo>
                        <a:cubicBezTo>
                          <a:pt x="68" y="26"/>
                          <a:pt x="68" y="26"/>
                          <a:pt x="69" y="26"/>
                        </a:cubicBezTo>
                        <a:close/>
                        <a:moveTo>
                          <a:pt x="70" y="26"/>
                        </a:moveTo>
                        <a:cubicBezTo>
                          <a:pt x="70" y="26"/>
                          <a:pt x="70" y="26"/>
                          <a:pt x="70" y="26"/>
                        </a:cubicBezTo>
                        <a:cubicBezTo>
                          <a:pt x="70" y="26"/>
                          <a:pt x="70" y="26"/>
                          <a:pt x="70" y="26"/>
                        </a:cubicBezTo>
                        <a:cubicBezTo>
                          <a:pt x="70" y="26"/>
                          <a:pt x="70" y="26"/>
                          <a:pt x="70" y="26"/>
                        </a:cubicBezTo>
                        <a:close/>
                        <a:moveTo>
                          <a:pt x="70" y="26"/>
                        </a:moveTo>
                        <a:cubicBezTo>
                          <a:pt x="70" y="26"/>
                          <a:pt x="69" y="26"/>
                          <a:pt x="69" y="26"/>
                        </a:cubicBezTo>
                        <a:cubicBezTo>
                          <a:pt x="69" y="26"/>
                          <a:pt x="70" y="26"/>
                          <a:pt x="70" y="26"/>
                        </a:cubicBezTo>
                        <a:close/>
                        <a:moveTo>
                          <a:pt x="67" y="24"/>
                        </a:moveTo>
                        <a:cubicBezTo>
                          <a:pt x="67" y="24"/>
                          <a:pt x="67" y="24"/>
                          <a:pt x="67" y="24"/>
                        </a:cubicBezTo>
                        <a:cubicBezTo>
                          <a:pt x="67" y="25"/>
                          <a:pt x="67" y="25"/>
                          <a:pt x="67" y="25"/>
                        </a:cubicBezTo>
                        <a:cubicBezTo>
                          <a:pt x="67" y="24"/>
                          <a:pt x="67" y="24"/>
                          <a:pt x="67" y="24"/>
                        </a:cubicBezTo>
                        <a:close/>
                        <a:moveTo>
                          <a:pt x="68" y="25"/>
                        </a:moveTo>
                        <a:cubicBezTo>
                          <a:pt x="68" y="25"/>
                          <a:pt x="69" y="25"/>
                          <a:pt x="69" y="25"/>
                        </a:cubicBezTo>
                        <a:cubicBezTo>
                          <a:pt x="68" y="25"/>
                          <a:pt x="68" y="25"/>
                          <a:pt x="68" y="25"/>
                        </a:cubicBezTo>
                        <a:close/>
                        <a:moveTo>
                          <a:pt x="67" y="25"/>
                        </a:moveTo>
                        <a:cubicBezTo>
                          <a:pt x="68" y="25"/>
                          <a:pt x="68" y="25"/>
                          <a:pt x="68" y="25"/>
                        </a:cubicBezTo>
                        <a:cubicBezTo>
                          <a:pt x="68" y="25"/>
                          <a:pt x="67" y="25"/>
                          <a:pt x="67" y="25"/>
                        </a:cubicBezTo>
                        <a:close/>
                        <a:moveTo>
                          <a:pt x="70" y="25"/>
                        </a:moveTo>
                        <a:cubicBezTo>
                          <a:pt x="69" y="25"/>
                          <a:pt x="69" y="25"/>
                          <a:pt x="69" y="25"/>
                        </a:cubicBezTo>
                        <a:cubicBezTo>
                          <a:pt x="70" y="25"/>
                          <a:pt x="70" y="25"/>
                          <a:pt x="70" y="25"/>
                        </a:cubicBezTo>
                        <a:cubicBezTo>
                          <a:pt x="70" y="25"/>
                          <a:pt x="70" y="25"/>
                          <a:pt x="70" y="25"/>
                        </a:cubicBezTo>
                        <a:cubicBezTo>
                          <a:pt x="70" y="25"/>
                          <a:pt x="70" y="25"/>
                          <a:pt x="70" y="25"/>
                        </a:cubicBezTo>
                        <a:close/>
                        <a:moveTo>
                          <a:pt x="66" y="24"/>
                        </a:moveTo>
                        <a:cubicBezTo>
                          <a:pt x="66" y="24"/>
                          <a:pt x="67" y="24"/>
                          <a:pt x="67" y="24"/>
                        </a:cubicBezTo>
                        <a:cubicBezTo>
                          <a:pt x="66" y="24"/>
                          <a:pt x="66" y="24"/>
                          <a:pt x="66" y="24"/>
                        </a:cubicBezTo>
                        <a:cubicBezTo>
                          <a:pt x="66" y="24"/>
                          <a:pt x="66" y="24"/>
                          <a:pt x="66" y="24"/>
                        </a:cubicBezTo>
                        <a:close/>
                        <a:moveTo>
                          <a:pt x="65" y="24"/>
                        </a:moveTo>
                        <a:cubicBezTo>
                          <a:pt x="65" y="24"/>
                          <a:pt x="66" y="25"/>
                          <a:pt x="66" y="24"/>
                        </a:cubicBezTo>
                        <a:cubicBezTo>
                          <a:pt x="66" y="24"/>
                          <a:pt x="66" y="24"/>
                          <a:pt x="66" y="24"/>
                        </a:cubicBezTo>
                        <a:cubicBezTo>
                          <a:pt x="66" y="24"/>
                          <a:pt x="66" y="24"/>
                          <a:pt x="66" y="24"/>
                        </a:cubicBezTo>
                        <a:cubicBezTo>
                          <a:pt x="65" y="24"/>
                          <a:pt x="66" y="24"/>
                          <a:pt x="65" y="24"/>
                        </a:cubicBezTo>
                        <a:cubicBezTo>
                          <a:pt x="65" y="24"/>
                          <a:pt x="65" y="24"/>
                          <a:pt x="65" y="24"/>
                        </a:cubicBezTo>
                        <a:close/>
                        <a:moveTo>
                          <a:pt x="64" y="24"/>
                        </a:moveTo>
                        <a:cubicBezTo>
                          <a:pt x="64" y="24"/>
                          <a:pt x="64" y="24"/>
                          <a:pt x="64" y="24"/>
                        </a:cubicBezTo>
                        <a:cubicBezTo>
                          <a:pt x="64" y="24"/>
                          <a:pt x="64" y="24"/>
                          <a:pt x="64" y="24"/>
                        </a:cubicBezTo>
                        <a:close/>
                        <a:moveTo>
                          <a:pt x="68" y="25"/>
                        </a:moveTo>
                        <a:cubicBezTo>
                          <a:pt x="68" y="25"/>
                          <a:pt x="68" y="25"/>
                          <a:pt x="68" y="25"/>
                        </a:cubicBezTo>
                        <a:cubicBezTo>
                          <a:pt x="68" y="25"/>
                          <a:pt x="67" y="25"/>
                          <a:pt x="68" y="25"/>
                        </a:cubicBezTo>
                        <a:cubicBezTo>
                          <a:pt x="67" y="25"/>
                          <a:pt x="67" y="25"/>
                          <a:pt x="67" y="25"/>
                        </a:cubicBezTo>
                        <a:cubicBezTo>
                          <a:pt x="67" y="25"/>
                          <a:pt x="67" y="25"/>
                          <a:pt x="67" y="25"/>
                        </a:cubicBezTo>
                        <a:cubicBezTo>
                          <a:pt x="67" y="25"/>
                          <a:pt x="67" y="25"/>
                          <a:pt x="68" y="25"/>
                        </a:cubicBezTo>
                        <a:close/>
                        <a:moveTo>
                          <a:pt x="66" y="26"/>
                        </a:moveTo>
                        <a:cubicBezTo>
                          <a:pt x="66" y="26"/>
                          <a:pt x="66" y="26"/>
                          <a:pt x="66" y="26"/>
                        </a:cubicBezTo>
                        <a:cubicBezTo>
                          <a:pt x="66" y="26"/>
                          <a:pt x="66" y="25"/>
                          <a:pt x="66" y="25"/>
                        </a:cubicBezTo>
                        <a:cubicBezTo>
                          <a:pt x="66" y="25"/>
                          <a:pt x="66" y="26"/>
                          <a:pt x="66" y="26"/>
                        </a:cubicBezTo>
                        <a:close/>
                        <a:moveTo>
                          <a:pt x="66" y="26"/>
                        </a:moveTo>
                        <a:cubicBezTo>
                          <a:pt x="66" y="26"/>
                          <a:pt x="66" y="25"/>
                          <a:pt x="65" y="25"/>
                        </a:cubicBezTo>
                        <a:cubicBezTo>
                          <a:pt x="66" y="26"/>
                          <a:pt x="66" y="26"/>
                          <a:pt x="66" y="26"/>
                        </a:cubicBezTo>
                        <a:close/>
                        <a:moveTo>
                          <a:pt x="66" y="26"/>
                        </a:moveTo>
                        <a:cubicBezTo>
                          <a:pt x="66" y="26"/>
                          <a:pt x="65" y="25"/>
                          <a:pt x="65" y="26"/>
                        </a:cubicBezTo>
                        <a:cubicBezTo>
                          <a:pt x="65" y="26"/>
                          <a:pt x="65" y="26"/>
                          <a:pt x="66" y="26"/>
                        </a:cubicBezTo>
                        <a:close/>
                        <a:moveTo>
                          <a:pt x="63" y="25"/>
                        </a:moveTo>
                        <a:cubicBezTo>
                          <a:pt x="63" y="25"/>
                          <a:pt x="63" y="25"/>
                          <a:pt x="63" y="25"/>
                        </a:cubicBezTo>
                        <a:cubicBezTo>
                          <a:pt x="63" y="25"/>
                          <a:pt x="63" y="25"/>
                          <a:pt x="63" y="25"/>
                        </a:cubicBezTo>
                        <a:cubicBezTo>
                          <a:pt x="63" y="25"/>
                          <a:pt x="63" y="25"/>
                          <a:pt x="63" y="25"/>
                        </a:cubicBezTo>
                        <a:close/>
                        <a:moveTo>
                          <a:pt x="63" y="25"/>
                        </a:moveTo>
                        <a:cubicBezTo>
                          <a:pt x="64" y="25"/>
                          <a:pt x="64" y="25"/>
                          <a:pt x="64" y="25"/>
                        </a:cubicBezTo>
                        <a:cubicBezTo>
                          <a:pt x="64" y="25"/>
                          <a:pt x="63" y="25"/>
                          <a:pt x="63" y="25"/>
                        </a:cubicBezTo>
                        <a:close/>
                        <a:moveTo>
                          <a:pt x="65" y="25"/>
                        </a:moveTo>
                        <a:cubicBezTo>
                          <a:pt x="65" y="25"/>
                          <a:pt x="65" y="25"/>
                          <a:pt x="64" y="25"/>
                        </a:cubicBezTo>
                        <a:cubicBezTo>
                          <a:pt x="64" y="25"/>
                          <a:pt x="64" y="25"/>
                          <a:pt x="64" y="25"/>
                        </a:cubicBezTo>
                        <a:cubicBezTo>
                          <a:pt x="64" y="25"/>
                          <a:pt x="63" y="25"/>
                          <a:pt x="63" y="25"/>
                        </a:cubicBezTo>
                        <a:cubicBezTo>
                          <a:pt x="63" y="25"/>
                          <a:pt x="64" y="26"/>
                          <a:pt x="64" y="26"/>
                        </a:cubicBezTo>
                        <a:cubicBezTo>
                          <a:pt x="64" y="26"/>
                          <a:pt x="64" y="26"/>
                          <a:pt x="64" y="25"/>
                        </a:cubicBezTo>
                        <a:cubicBezTo>
                          <a:pt x="64" y="26"/>
                          <a:pt x="64" y="25"/>
                          <a:pt x="65" y="25"/>
                        </a:cubicBezTo>
                        <a:close/>
                        <a:moveTo>
                          <a:pt x="67" y="26"/>
                        </a:moveTo>
                        <a:cubicBezTo>
                          <a:pt x="67" y="26"/>
                          <a:pt x="67" y="26"/>
                          <a:pt x="66" y="26"/>
                        </a:cubicBezTo>
                        <a:cubicBezTo>
                          <a:pt x="66" y="26"/>
                          <a:pt x="67" y="26"/>
                          <a:pt x="67" y="26"/>
                        </a:cubicBezTo>
                        <a:cubicBezTo>
                          <a:pt x="67" y="26"/>
                          <a:pt x="67" y="26"/>
                          <a:pt x="67" y="26"/>
                        </a:cubicBezTo>
                        <a:close/>
                        <a:moveTo>
                          <a:pt x="68" y="26"/>
                        </a:moveTo>
                        <a:cubicBezTo>
                          <a:pt x="68" y="26"/>
                          <a:pt x="68" y="26"/>
                          <a:pt x="68" y="26"/>
                        </a:cubicBezTo>
                        <a:cubicBezTo>
                          <a:pt x="68" y="26"/>
                          <a:pt x="68" y="26"/>
                          <a:pt x="68" y="26"/>
                        </a:cubicBezTo>
                        <a:cubicBezTo>
                          <a:pt x="68" y="26"/>
                          <a:pt x="68" y="26"/>
                          <a:pt x="68" y="26"/>
                        </a:cubicBezTo>
                        <a:cubicBezTo>
                          <a:pt x="68" y="26"/>
                          <a:pt x="68" y="26"/>
                          <a:pt x="68" y="26"/>
                        </a:cubicBezTo>
                        <a:cubicBezTo>
                          <a:pt x="68" y="26"/>
                          <a:pt x="67" y="25"/>
                          <a:pt x="67" y="26"/>
                        </a:cubicBezTo>
                        <a:cubicBezTo>
                          <a:pt x="67" y="25"/>
                          <a:pt x="67" y="26"/>
                          <a:pt x="67" y="26"/>
                        </a:cubicBezTo>
                        <a:cubicBezTo>
                          <a:pt x="67" y="25"/>
                          <a:pt x="67" y="25"/>
                          <a:pt x="67" y="25"/>
                        </a:cubicBezTo>
                        <a:cubicBezTo>
                          <a:pt x="67" y="25"/>
                          <a:pt x="67" y="25"/>
                          <a:pt x="67" y="25"/>
                        </a:cubicBezTo>
                        <a:cubicBezTo>
                          <a:pt x="66" y="25"/>
                          <a:pt x="66" y="25"/>
                          <a:pt x="66" y="25"/>
                        </a:cubicBezTo>
                        <a:cubicBezTo>
                          <a:pt x="67" y="26"/>
                          <a:pt x="67" y="26"/>
                          <a:pt x="67" y="26"/>
                        </a:cubicBezTo>
                        <a:cubicBezTo>
                          <a:pt x="68" y="26"/>
                          <a:pt x="68" y="26"/>
                          <a:pt x="67" y="26"/>
                        </a:cubicBezTo>
                        <a:cubicBezTo>
                          <a:pt x="68" y="26"/>
                          <a:pt x="68" y="26"/>
                          <a:pt x="69" y="27"/>
                        </a:cubicBezTo>
                        <a:cubicBezTo>
                          <a:pt x="69" y="27"/>
                          <a:pt x="69" y="27"/>
                          <a:pt x="69" y="26"/>
                        </a:cubicBezTo>
                        <a:cubicBezTo>
                          <a:pt x="68" y="26"/>
                          <a:pt x="69" y="26"/>
                          <a:pt x="69" y="26"/>
                        </a:cubicBezTo>
                        <a:cubicBezTo>
                          <a:pt x="69" y="26"/>
                          <a:pt x="68" y="26"/>
                          <a:pt x="68" y="26"/>
                        </a:cubicBezTo>
                        <a:close/>
                        <a:moveTo>
                          <a:pt x="69" y="26"/>
                        </a:moveTo>
                        <a:cubicBezTo>
                          <a:pt x="69" y="26"/>
                          <a:pt x="69" y="26"/>
                          <a:pt x="69" y="26"/>
                        </a:cubicBezTo>
                        <a:cubicBezTo>
                          <a:pt x="69" y="26"/>
                          <a:pt x="69" y="26"/>
                          <a:pt x="69" y="26"/>
                        </a:cubicBezTo>
                        <a:cubicBezTo>
                          <a:pt x="69" y="26"/>
                          <a:pt x="69" y="26"/>
                          <a:pt x="69" y="26"/>
                        </a:cubicBezTo>
                        <a:cubicBezTo>
                          <a:pt x="69" y="26"/>
                          <a:pt x="69" y="26"/>
                          <a:pt x="69" y="26"/>
                        </a:cubicBezTo>
                        <a:cubicBezTo>
                          <a:pt x="69" y="26"/>
                          <a:pt x="69" y="26"/>
                          <a:pt x="68" y="26"/>
                        </a:cubicBezTo>
                        <a:cubicBezTo>
                          <a:pt x="69" y="26"/>
                          <a:pt x="69" y="26"/>
                          <a:pt x="69" y="26"/>
                        </a:cubicBezTo>
                        <a:cubicBezTo>
                          <a:pt x="69" y="26"/>
                          <a:pt x="69" y="26"/>
                          <a:pt x="69" y="26"/>
                        </a:cubicBezTo>
                        <a:close/>
                        <a:moveTo>
                          <a:pt x="70" y="26"/>
                        </a:moveTo>
                        <a:cubicBezTo>
                          <a:pt x="70" y="26"/>
                          <a:pt x="70" y="26"/>
                          <a:pt x="70" y="26"/>
                        </a:cubicBezTo>
                        <a:cubicBezTo>
                          <a:pt x="70" y="26"/>
                          <a:pt x="70" y="26"/>
                          <a:pt x="70" y="26"/>
                        </a:cubicBezTo>
                        <a:close/>
                        <a:moveTo>
                          <a:pt x="70" y="27"/>
                        </a:moveTo>
                        <a:cubicBezTo>
                          <a:pt x="70" y="27"/>
                          <a:pt x="70" y="27"/>
                          <a:pt x="70" y="27"/>
                        </a:cubicBezTo>
                        <a:cubicBezTo>
                          <a:pt x="70" y="27"/>
                          <a:pt x="70" y="27"/>
                          <a:pt x="69" y="26"/>
                        </a:cubicBezTo>
                        <a:cubicBezTo>
                          <a:pt x="69" y="26"/>
                          <a:pt x="69" y="27"/>
                          <a:pt x="69" y="27"/>
                        </a:cubicBezTo>
                        <a:cubicBezTo>
                          <a:pt x="70" y="27"/>
                          <a:pt x="70" y="27"/>
                          <a:pt x="70" y="27"/>
                        </a:cubicBezTo>
                        <a:close/>
                        <a:moveTo>
                          <a:pt x="73" y="28"/>
                        </a:moveTo>
                        <a:cubicBezTo>
                          <a:pt x="72" y="27"/>
                          <a:pt x="72" y="27"/>
                          <a:pt x="72" y="27"/>
                        </a:cubicBezTo>
                        <a:cubicBezTo>
                          <a:pt x="72" y="28"/>
                          <a:pt x="73" y="28"/>
                          <a:pt x="73" y="28"/>
                        </a:cubicBezTo>
                        <a:close/>
                        <a:moveTo>
                          <a:pt x="73" y="28"/>
                        </a:moveTo>
                        <a:cubicBezTo>
                          <a:pt x="73" y="28"/>
                          <a:pt x="73" y="28"/>
                          <a:pt x="73" y="28"/>
                        </a:cubicBezTo>
                        <a:cubicBezTo>
                          <a:pt x="73" y="28"/>
                          <a:pt x="73" y="28"/>
                          <a:pt x="73" y="28"/>
                        </a:cubicBezTo>
                        <a:cubicBezTo>
                          <a:pt x="73" y="28"/>
                          <a:pt x="74" y="28"/>
                          <a:pt x="74" y="28"/>
                        </a:cubicBezTo>
                        <a:cubicBezTo>
                          <a:pt x="73" y="28"/>
                          <a:pt x="73" y="28"/>
                          <a:pt x="73" y="28"/>
                        </a:cubicBezTo>
                        <a:cubicBezTo>
                          <a:pt x="73" y="28"/>
                          <a:pt x="73" y="28"/>
                          <a:pt x="73" y="28"/>
                        </a:cubicBezTo>
                        <a:close/>
                        <a:moveTo>
                          <a:pt x="74" y="28"/>
                        </a:moveTo>
                        <a:cubicBezTo>
                          <a:pt x="74" y="28"/>
                          <a:pt x="74" y="28"/>
                          <a:pt x="74" y="28"/>
                        </a:cubicBezTo>
                        <a:cubicBezTo>
                          <a:pt x="74" y="28"/>
                          <a:pt x="73" y="28"/>
                          <a:pt x="73" y="28"/>
                        </a:cubicBezTo>
                        <a:cubicBezTo>
                          <a:pt x="73" y="28"/>
                          <a:pt x="73" y="28"/>
                          <a:pt x="73" y="28"/>
                        </a:cubicBezTo>
                        <a:cubicBezTo>
                          <a:pt x="73" y="28"/>
                          <a:pt x="73" y="28"/>
                          <a:pt x="72" y="28"/>
                        </a:cubicBezTo>
                        <a:cubicBezTo>
                          <a:pt x="72" y="28"/>
                          <a:pt x="73" y="28"/>
                          <a:pt x="73" y="28"/>
                        </a:cubicBezTo>
                        <a:cubicBezTo>
                          <a:pt x="73" y="28"/>
                          <a:pt x="73" y="28"/>
                          <a:pt x="72" y="28"/>
                        </a:cubicBezTo>
                        <a:cubicBezTo>
                          <a:pt x="73" y="28"/>
                          <a:pt x="73" y="28"/>
                          <a:pt x="73" y="28"/>
                        </a:cubicBezTo>
                        <a:cubicBezTo>
                          <a:pt x="73" y="28"/>
                          <a:pt x="73" y="28"/>
                          <a:pt x="73" y="28"/>
                        </a:cubicBezTo>
                        <a:cubicBezTo>
                          <a:pt x="73" y="28"/>
                          <a:pt x="73" y="28"/>
                          <a:pt x="73" y="28"/>
                        </a:cubicBezTo>
                        <a:cubicBezTo>
                          <a:pt x="73" y="28"/>
                          <a:pt x="73" y="28"/>
                          <a:pt x="73" y="28"/>
                        </a:cubicBezTo>
                        <a:cubicBezTo>
                          <a:pt x="73" y="28"/>
                          <a:pt x="73" y="28"/>
                          <a:pt x="74" y="28"/>
                        </a:cubicBezTo>
                        <a:cubicBezTo>
                          <a:pt x="74" y="29"/>
                          <a:pt x="74" y="28"/>
                          <a:pt x="74" y="29"/>
                        </a:cubicBezTo>
                        <a:cubicBezTo>
                          <a:pt x="74" y="29"/>
                          <a:pt x="74" y="29"/>
                          <a:pt x="73" y="29"/>
                        </a:cubicBezTo>
                        <a:cubicBezTo>
                          <a:pt x="74" y="29"/>
                          <a:pt x="73" y="29"/>
                          <a:pt x="73" y="29"/>
                        </a:cubicBezTo>
                        <a:cubicBezTo>
                          <a:pt x="74" y="29"/>
                          <a:pt x="74" y="29"/>
                          <a:pt x="74" y="28"/>
                        </a:cubicBezTo>
                        <a:close/>
                        <a:moveTo>
                          <a:pt x="74" y="28"/>
                        </a:moveTo>
                        <a:cubicBezTo>
                          <a:pt x="74" y="28"/>
                          <a:pt x="74" y="28"/>
                          <a:pt x="74" y="28"/>
                        </a:cubicBezTo>
                        <a:cubicBezTo>
                          <a:pt x="74" y="28"/>
                          <a:pt x="74" y="28"/>
                          <a:pt x="74" y="28"/>
                        </a:cubicBezTo>
                        <a:close/>
                        <a:moveTo>
                          <a:pt x="74" y="28"/>
                        </a:moveTo>
                        <a:cubicBezTo>
                          <a:pt x="74" y="28"/>
                          <a:pt x="74" y="28"/>
                          <a:pt x="74" y="28"/>
                        </a:cubicBezTo>
                        <a:cubicBezTo>
                          <a:pt x="74" y="28"/>
                          <a:pt x="74" y="28"/>
                          <a:pt x="74" y="28"/>
                        </a:cubicBezTo>
                        <a:cubicBezTo>
                          <a:pt x="75" y="28"/>
                          <a:pt x="75" y="28"/>
                          <a:pt x="75" y="28"/>
                        </a:cubicBezTo>
                        <a:cubicBezTo>
                          <a:pt x="74" y="28"/>
                          <a:pt x="74" y="28"/>
                          <a:pt x="74" y="28"/>
                        </a:cubicBezTo>
                        <a:close/>
                        <a:moveTo>
                          <a:pt x="75" y="28"/>
                        </a:moveTo>
                        <a:cubicBezTo>
                          <a:pt x="75" y="28"/>
                          <a:pt x="75" y="28"/>
                          <a:pt x="75" y="28"/>
                        </a:cubicBezTo>
                        <a:cubicBezTo>
                          <a:pt x="75" y="28"/>
                          <a:pt x="74" y="28"/>
                          <a:pt x="74" y="27"/>
                        </a:cubicBezTo>
                        <a:cubicBezTo>
                          <a:pt x="75" y="27"/>
                          <a:pt x="75" y="27"/>
                          <a:pt x="75" y="27"/>
                        </a:cubicBezTo>
                        <a:cubicBezTo>
                          <a:pt x="75" y="28"/>
                          <a:pt x="76" y="28"/>
                          <a:pt x="76" y="28"/>
                        </a:cubicBezTo>
                        <a:cubicBezTo>
                          <a:pt x="76" y="28"/>
                          <a:pt x="76" y="28"/>
                          <a:pt x="76" y="28"/>
                        </a:cubicBezTo>
                        <a:cubicBezTo>
                          <a:pt x="76" y="28"/>
                          <a:pt x="76" y="28"/>
                          <a:pt x="76" y="28"/>
                        </a:cubicBezTo>
                        <a:cubicBezTo>
                          <a:pt x="76" y="28"/>
                          <a:pt x="76" y="28"/>
                          <a:pt x="75" y="28"/>
                        </a:cubicBezTo>
                        <a:cubicBezTo>
                          <a:pt x="75" y="27"/>
                          <a:pt x="75" y="27"/>
                          <a:pt x="75" y="27"/>
                        </a:cubicBezTo>
                        <a:cubicBezTo>
                          <a:pt x="75" y="27"/>
                          <a:pt x="75" y="27"/>
                          <a:pt x="76" y="27"/>
                        </a:cubicBezTo>
                        <a:cubicBezTo>
                          <a:pt x="75" y="27"/>
                          <a:pt x="75" y="27"/>
                          <a:pt x="75" y="27"/>
                        </a:cubicBezTo>
                        <a:cubicBezTo>
                          <a:pt x="75" y="27"/>
                          <a:pt x="75" y="27"/>
                          <a:pt x="75" y="27"/>
                        </a:cubicBezTo>
                        <a:cubicBezTo>
                          <a:pt x="75" y="27"/>
                          <a:pt x="75" y="27"/>
                          <a:pt x="75" y="27"/>
                        </a:cubicBezTo>
                        <a:cubicBezTo>
                          <a:pt x="75" y="27"/>
                          <a:pt x="75" y="27"/>
                          <a:pt x="75" y="27"/>
                        </a:cubicBezTo>
                        <a:cubicBezTo>
                          <a:pt x="75" y="27"/>
                          <a:pt x="75" y="27"/>
                          <a:pt x="74" y="27"/>
                        </a:cubicBezTo>
                        <a:cubicBezTo>
                          <a:pt x="74" y="27"/>
                          <a:pt x="75" y="27"/>
                          <a:pt x="75" y="27"/>
                        </a:cubicBezTo>
                        <a:cubicBezTo>
                          <a:pt x="74" y="27"/>
                          <a:pt x="74" y="27"/>
                          <a:pt x="74" y="27"/>
                        </a:cubicBezTo>
                        <a:cubicBezTo>
                          <a:pt x="74" y="27"/>
                          <a:pt x="74" y="27"/>
                          <a:pt x="74" y="28"/>
                        </a:cubicBezTo>
                        <a:cubicBezTo>
                          <a:pt x="74" y="28"/>
                          <a:pt x="74" y="28"/>
                          <a:pt x="74" y="28"/>
                        </a:cubicBezTo>
                        <a:cubicBezTo>
                          <a:pt x="74" y="28"/>
                          <a:pt x="74" y="27"/>
                          <a:pt x="74" y="27"/>
                        </a:cubicBezTo>
                        <a:cubicBezTo>
                          <a:pt x="74" y="28"/>
                          <a:pt x="73" y="27"/>
                          <a:pt x="73" y="27"/>
                        </a:cubicBezTo>
                        <a:cubicBezTo>
                          <a:pt x="73" y="27"/>
                          <a:pt x="73" y="28"/>
                          <a:pt x="74" y="28"/>
                        </a:cubicBezTo>
                        <a:cubicBezTo>
                          <a:pt x="73" y="27"/>
                          <a:pt x="73" y="28"/>
                          <a:pt x="73" y="27"/>
                        </a:cubicBezTo>
                        <a:cubicBezTo>
                          <a:pt x="73" y="27"/>
                          <a:pt x="74" y="27"/>
                          <a:pt x="74" y="27"/>
                        </a:cubicBezTo>
                        <a:cubicBezTo>
                          <a:pt x="73" y="27"/>
                          <a:pt x="73" y="27"/>
                          <a:pt x="73" y="27"/>
                        </a:cubicBezTo>
                        <a:cubicBezTo>
                          <a:pt x="73" y="27"/>
                          <a:pt x="73" y="27"/>
                          <a:pt x="73" y="27"/>
                        </a:cubicBezTo>
                        <a:cubicBezTo>
                          <a:pt x="72" y="27"/>
                          <a:pt x="72" y="27"/>
                          <a:pt x="72" y="27"/>
                        </a:cubicBezTo>
                        <a:cubicBezTo>
                          <a:pt x="72" y="27"/>
                          <a:pt x="73" y="27"/>
                          <a:pt x="73" y="28"/>
                        </a:cubicBezTo>
                        <a:cubicBezTo>
                          <a:pt x="74" y="28"/>
                          <a:pt x="74" y="28"/>
                          <a:pt x="74" y="28"/>
                        </a:cubicBezTo>
                        <a:cubicBezTo>
                          <a:pt x="75" y="28"/>
                          <a:pt x="75" y="28"/>
                          <a:pt x="75" y="28"/>
                        </a:cubicBezTo>
                        <a:cubicBezTo>
                          <a:pt x="75" y="28"/>
                          <a:pt x="75" y="28"/>
                          <a:pt x="75" y="28"/>
                        </a:cubicBezTo>
                        <a:cubicBezTo>
                          <a:pt x="75" y="28"/>
                          <a:pt x="75" y="28"/>
                          <a:pt x="75" y="28"/>
                        </a:cubicBezTo>
                        <a:cubicBezTo>
                          <a:pt x="75" y="28"/>
                          <a:pt x="76" y="28"/>
                          <a:pt x="76" y="28"/>
                        </a:cubicBezTo>
                        <a:cubicBezTo>
                          <a:pt x="76" y="28"/>
                          <a:pt x="76" y="28"/>
                          <a:pt x="76" y="28"/>
                        </a:cubicBezTo>
                        <a:cubicBezTo>
                          <a:pt x="76" y="28"/>
                          <a:pt x="76" y="29"/>
                          <a:pt x="76" y="28"/>
                        </a:cubicBezTo>
                        <a:cubicBezTo>
                          <a:pt x="76" y="28"/>
                          <a:pt x="75" y="28"/>
                          <a:pt x="75" y="28"/>
                        </a:cubicBezTo>
                        <a:close/>
                        <a:moveTo>
                          <a:pt x="79" y="29"/>
                        </a:moveTo>
                        <a:cubicBezTo>
                          <a:pt x="79" y="29"/>
                          <a:pt x="79" y="29"/>
                          <a:pt x="80" y="28"/>
                        </a:cubicBezTo>
                        <a:cubicBezTo>
                          <a:pt x="79" y="28"/>
                          <a:pt x="79" y="28"/>
                          <a:pt x="79" y="28"/>
                        </a:cubicBezTo>
                        <a:cubicBezTo>
                          <a:pt x="79" y="28"/>
                          <a:pt x="79" y="29"/>
                          <a:pt x="79" y="29"/>
                        </a:cubicBezTo>
                        <a:cubicBezTo>
                          <a:pt x="79" y="28"/>
                          <a:pt x="79" y="28"/>
                          <a:pt x="79" y="28"/>
                        </a:cubicBezTo>
                        <a:cubicBezTo>
                          <a:pt x="79" y="28"/>
                          <a:pt x="79" y="29"/>
                          <a:pt x="79" y="29"/>
                        </a:cubicBezTo>
                        <a:close/>
                        <a:moveTo>
                          <a:pt x="78" y="28"/>
                        </a:moveTo>
                        <a:cubicBezTo>
                          <a:pt x="77" y="28"/>
                          <a:pt x="77" y="28"/>
                          <a:pt x="77" y="28"/>
                        </a:cubicBezTo>
                        <a:cubicBezTo>
                          <a:pt x="77" y="28"/>
                          <a:pt x="77" y="28"/>
                          <a:pt x="77" y="28"/>
                        </a:cubicBezTo>
                        <a:cubicBezTo>
                          <a:pt x="77" y="28"/>
                          <a:pt x="77" y="28"/>
                          <a:pt x="77" y="28"/>
                        </a:cubicBezTo>
                        <a:cubicBezTo>
                          <a:pt x="77" y="28"/>
                          <a:pt x="77" y="28"/>
                          <a:pt x="77" y="28"/>
                        </a:cubicBezTo>
                        <a:cubicBezTo>
                          <a:pt x="77" y="28"/>
                          <a:pt x="77" y="28"/>
                          <a:pt x="77" y="28"/>
                        </a:cubicBezTo>
                        <a:cubicBezTo>
                          <a:pt x="77" y="28"/>
                          <a:pt x="77" y="28"/>
                          <a:pt x="77" y="28"/>
                        </a:cubicBezTo>
                        <a:cubicBezTo>
                          <a:pt x="77" y="28"/>
                          <a:pt x="77" y="28"/>
                          <a:pt x="77" y="28"/>
                        </a:cubicBezTo>
                        <a:cubicBezTo>
                          <a:pt x="78" y="28"/>
                          <a:pt x="78" y="28"/>
                          <a:pt x="78" y="28"/>
                        </a:cubicBezTo>
                        <a:close/>
                        <a:moveTo>
                          <a:pt x="77" y="28"/>
                        </a:moveTo>
                        <a:cubicBezTo>
                          <a:pt x="77" y="28"/>
                          <a:pt x="77" y="28"/>
                          <a:pt x="78" y="28"/>
                        </a:cubicBezTo>
                        <a:cubicBezTo>
                          <a:pt x="77" y="28"/>
                          <a:pt x="78" y="28"/>
                          <a:pt x="77" y="28"/>
                        </a:cubicBezTo>
                        <a:cubicBezTo>
                          <a:pt x="77" y="28"/>
                          <a:pt x="77" y="28"/>
                          <a:pt x="77" y="28"/>
                        </a:cubicBezTo>
                        <a:close/>
                        <a:moveTo>
                          <a:pt x="78" y="29"/>
                        </a:moveTo>
                        <a:cubicBezTo>
                          <a:pt x="79" y="29"/>
                          <a:pt x="79" y="29"/>
                          <a:pt x="80" y="29"/>
                        </a:cubicBezTo>
                        <a:cubicBezTo>
                          <a:pt x="80" y="29"/>
                          <a:pt x="80" y="29"/>
                          <a:pt x="80" y="29"/>
                        </a:cubicBezTo>
                        <a:cubicBezTo>
                          <a:pt x="80" y="29"/>
                          <a:pt x="80" y="29"/>
                          <a:pt x="80" y="29"/>
                        </a:cubicBezTo>
                        <a:cubicBezTo>
                          <a:pt x="79" y="29"/>
                          <a:pt x="80" y="29"/>
                          <a:pt x="79" y="29"/>
                        </a:cubicBezTo>
                        <a:cubicBezTo>
                          <a:pt x="79" y="29"/>
                          <a:pt x="79" y="29"/>
                          <a:pt x="79" y="29"/>
                        </a:cubicBezTo>
                        <a:cubicBezTo>
                          <a:pt x="79" y="29"/>
                          <a:pt x="79" y="29"/>
                          <a:pt x="79" y="29"/>
                        </a:cubicBezTo>
                        <a:cubicBezTo>
                          <a:pt x="79" y="28"/>
                          <a:pt x="78" y="28"/>
                          <a:pt x="78" y="28"/>
                        </a:cubicBezTo>
                        <a:cubicBezTo>
                          <a:pt x="78" y="28"/>
                          <a:pt x="78" y="28"/>
                          <a:pt x="78" y="28"/>
                        </a:cubicBezTo>
                        <a:cubicBezTo>
                          <a:pt x="78" y="28"/>
                          <a:pt x="78" y="28"/>
                          <a:pt x="78" y="28"/>
                        </a:cubicBezTo>
                        <a:cubicBezTo>
                          <a:pt x="78" y="28"/>
                          <a:pt x="78" y="28"/>
                          <a:pt x="78" y="29"/>
                        </a:cubicBezTo>
                        <a:cubicBezTo>
                          <a:pt x="78" y="29"/>
                          <a:pt x="78" y="29"/>
                          <a:pt x="78" y="29"/>
                        </a:cubicBezTo>
                        <a:close/>
                        <a:moveTo>
                          <a:pt x="80" y="29"/>
                        </a:moveTo>
                        <a:cubicBezTo>
                          <a:pt x="80" y="29"/>
                          <a:pt x="81" y="29"/>
                          <a:pt x="81" y="29"/>
                        </a:cubicBezTo>
                        <a:cubicBezTo>
                          <a:pt x="81" y="29"/>
                          <a:pt x="80" y="29"/>
                          <a:pt x="80" y="29"/>
                        </a:cubicBezTo>
                        <a:close/>
                        <a:moveTo>
                          <a:pt x="84" y="31"/>
                        </a:moveTo>
                        <a:cubicBezTo>
                          <a:pt x="84" y="31"/>
                          <a:pt x="84" y="31"/>
                          <a:pt x="84" y="31"/>
                        </a:cubicBezTo>
                        <a:cubicBezTo>
                          <a:pt x="84" y="31"/>
                          <a:pt x="84" y="31"/>
                          <a:pt x="84" y="31"/>
                        </a:cubicBezTo>
                        <a:cubicBezTo>
                          <a:pt x="84" y="30"/>
                          <a:pt x="84" y="30"/>
                          <a:pt x="84" y="30"/>
                        </a:cubicBezTo>
                        <a:cubicBezTo>
                          <a:pt x="84" y="31"/>
                          <a:pt x="84" y="31"/>
                          <a:pt x="84" y="30"/>
                        </a:cubicBezTo>
                        <a:cubicBezTo>
                          <a:pt x="84" y="30"/>
                          <a:pt x="84" y="30"/>
                          <a:pt x="84" y="31"/>
                        </a:cubicBezTo>
                        <a:close/>
                        <a:moveTo>
                          <a:pt x="85" y="30"/>
                        </a:moveTo>
                        <a:cubicBezTo>
                          <a:pt x="84" y="31"/>
                          <a:pt x="85" y="31"/>
                          <a:pt x="85" y="31"/>
                        </a:cubicBezTo>
                        <a:cubicBezTo>
                          <a:pt x="85" y="31"/>
                          <a:pt x="85" y="31"/>
                          <a:pt x="85" y="31"/>
                        </a:cubicBezTo>
                        <a:cubicBezTo>
                          <a:pt x="85" y="31"/>
                          <a:pt x="85" y="31"/>
                          <a:pt x="85" y="31"/>
                        </a:cubicBezTo>
                        <a:cubicBezTo>
                          <a:pt x="85" y="30"/>
                          <a:pt x="85" y="30"/>
                          <a:pt x="85" y="30"/>
                        </a:cubicBezTo>
                        <a:close/>
                        <a:moveTo>
                          <a:pt x="87" y="31"/>
                        </a:moveTo>
                        <a:cubicBezTo>
                          <a:pt x="87" y="31"/>
                          <a:pt x="87" y="31"/>
                          <a:pt x="87" y="31"/>
                        </a:cubicBezTo>
                        <a:cubicBezTo>
                          <a:pt x="87" y="31"/>
                          <a:pt x="87" y="31"/>
                          <a:pt x="87" y="31"/>
                        </a:cubicBezTo>
                        <a:cubicBezTo>
                          <a:pt x="87" y="31"/>
                          <a:pt x="87" y="31"/>
                          <a:pt x="87" y="31"/>
                        </a:cubicBezTo>
                        <a:cubicBezTo>
                          <a:pt x="87" y="31"/>
                          <a:pt x="87" y="31"/>
                          <a:pt x="87" y="31"/>
                        </a:cubicBezTo>
                        <a:close/>
                        <a:moveTo>
                          <a:pt x="85" y="30"/>
                        </a:moveTo>
                        <a:cubicBezTo>
                          <a:pt x="85" y="30"/>
                          <a:pt x="84" y="30"/>
                          <a:pt x="84" y="30"/>
                        </a:cubicBezTo>
                        <a:cubicBezTo>
                          <a:pt x="84" y="30"/>
                          <a:pt x="85" y="30"/>
                          <a:pt x="85" y="30"/>
                        </a:cubicBezTo>
                        <a:close/>
                        <a:moveTo>
                          <a:pt x="88" y="31"/>
                        </a:moveTo>
                        <a:cubicBezTo>
                          <a:pt x="88" y="31"/>
                          <a:pt x="88" y="31"/>
                          <a:pt x="87" y="31"/>
                        </a:cubicBezTo>
                        <a:cubicBezTo>
                          <a:pt x="87" y="31"/>
                          <a:pt x="88" y="31"/>
                          <a:pt x="87" y="31"/>
                        </a:cubicBezTo>
                        <a:cubicBezTo>
                          <a:pt x="88" y="31"/>
                          <a:pt x="88" y="31"/>
                          <a:pt x="88" y="31"/>
                        </a:cubicBezTo>
                        <a:cubicBezTo>
                          <a:pt x="88" y="31"/>
                          <a:pt x="88" y="31"/>
                          <a:pt x="88" y="31"/>
                        </a:cubicBezTo>
                        <a:close/>
                        <a:moveTo>
                          <a:pt x="88" y="31"/>
                        </a:moveTo>
                        <a:cubicBezTo>
                          <a:pt x="88" y="31"/>
                          <a:pt x="88" y="31"/>
                          <a:pt x="88" y="31"/>
                        </a:cubicBezTo>
                        <a:cubicBezTo>
                          <a:pt x="88" y="31"/>
                          <a:pt x="88" y="31"/>
                          <a:pt x="88" y="31"/>
                        </a:cubicBezTo>
                        <a:cubicBezTo>
                          <a:pt x="88" y="31"/>
                          <a:pt x="88" y="31"/>
                          <a:pt x="89" y="31"/>
                        </a:cubicBezTo>
                        <a:cubicBezTo>
                          <a:pt x="88" y="31"/>
                          <a:pt x="89" y="31"/>
                          <a:pt x="89" y="31"/>
                        </a:cubicBezTo>
                        <a:cubicBezTo>
                          <a:pt x="89" y="31"/>
                          <a:pt x="89" y="31"/>
                          <a:pt x="88" y="31"/>
                        </a:cubicBezTo>
                        <a:cubicBezTo>
                          <a:pt x="88" y="31"/>
                          <a:pt x="88" y="31"/>
                          <a:pt x="88" y="31"/>
                        </a:cubicBezTo>
                        <a:close/>
                        <a:moveTo>
                          <a:pt x="87" y="31"/>
                        </a:moveTo>
                        <a:cubicBezTo>
                          <a:pt x="87" y="31"/>
                          <a:pt x="87" y="31"/>
                          <a:pt x="87" y="31"/>
                        </a:cubicBezTo>
                        <a:cubicBezTo>
                          <a:pt x="87" y="30"/>
                          <a:pt x="86" y="31"/>
                          <a:pt x="87" y="31"/>
                        </a:cubicBezTo>
                        <a:close/>
                        <a:moveTo>
                          <a:pt x="83" y="30"/>
                        </a:moveTo>
                        <a:cubicBezTo>
                          <a:pt x="83" y="30"/>
                          <a:pt x="84" y="30"/>
                          <a:pt x="84" y="30"/>
                        </a:cubicBezTo>
                        <a:cubicBezTo>
                          <a:pt x="84" y="30"/>
                          <a:pt x="83" y="30"/>
                          <a:pt x="83" y="30"/>
                        </a:cubicBezTo>
                        <a:close/>
                        <a:moveTo>
                          <a:pt x="80" y="29"/>
                        </a:moveTo>
                        <a:cubicBezTo>
                          <a:pt x="80" y="29"/>
                          <a:pt x="80" y="28"/>
                          <a:pt x="80" y="28"/>
                        </a:cubicBezTo>
                        <a:cubicBezTo>
                          <a:pt x="79" y="28"/>
                          <a:pt x="80" y="28"/>
                          <a:pt x="80" y="29"/>
                        </a:cubicBezTo>
                        <a:cubicBezTo>
                          <a:pt x="80" y="29"/>
                          <a:pt x="80" y="28"/>
                          <a:pt x="80" y="29"/>
                        </a:cubicBezTo>
                        <a:cubicBezTo>
                          <a:pt x="80" y="29"/>
                          <a:pt x="80" y="29"/>
                          <a:pt x="80" y="29"/>
                        </a:cubicBezTo>
                        <a:cubicBezTo>
                          <a:pt x="81" y="29"/>
                          <a:pt x="81" y="29"/>
                          <a:pt x="81" y="29"/>
                        </a:cubicBezTo>
                        <a:cubicBezTo>
                          <a:pt x="81" y="29"/>
                          <a:pt x="81" y="29"/>
                          <a:pt x="81" y="29"/>
                        </a:cubicBezTo>
                        <a:cubicBezTo>
                          <a:pt x="81" y="29"/>
                          <a:pt x="82" y="29"/>
                          <a:pt x="82" y="29"/>
                        </a:cubicBezTo>
                        <a:cubicBezTo>
                          <a:pt x="82" y="29"/>
                          <a:pt x="82" y="29"/>
                          <a:pt x="81" y="29"/>
                        </a:cubicBezTo>
                        <a:cubicBezTo>
                          <a:pt x="81" y="29"/>
                          <a:pt x="81" y="29"/>
                          <a:pt x="81" y="29"/>
                        </a:cubicBezTo>
                        <a:cubicBezTo>
                          <a:pt x="81" y="29"/>
                          <a:pt x="82" y="29"/>
                          <a:pt x="82" y="29"/>
                        </a:cubicBezTo>
                        <a:cubicBezTo>
                          <a:pt x="82" y="30"/>
                          <a:pt x="82" y="30"/>
                          <a:pt x="82" y="30"/>
                        </a:cubicBezTo>
                        <a:cubicBezTo>
                          <a:pt x="81" y="29"/>
                          <a:pt x="81" y="29"/>
                          <a:pt x="81" y="29"/>
                        </a:cubicBezTo>
                        <a:cubicBezTo>
                          <a:pt x="81" y="29"/>
                          <a:pt x="81" y="30"/>
                          <a:pt x="81" y="30"/>
                        </a:cubicBezTo>
                        <a:cubicBezTo>
                          <a:pt x="82" y="30"/>
                          <a:pt x="82" y="30"/>
                          <a:pt x="82" y="30"/>
                        </a:cubicBezTo>
                        <a:cubicBezTo>
                          <a:pt x="82" y="30"/>
                          <a:pt x="82" y="30"/>
                          <a:pt x="82" y="30"/>
                        </a:cubicBezTo>
                        <a:cubicBezTo>
                          <a:pt x="82" y="30"/>
                          <a:pt x="82" y="30"/>
                          <a:pt x="82" y="30"/>
                        </a:cubicBezTo>
                        <a:cubicBezTo>
                          <a:pt x="82" y="30"/>
                          <a:pt x="82" y="30"/>
                          <a:pt x="83" y="30"/>
                        </a:cubicBezTo>
                        <a:cubicBezTo>
                          <a:pt x="83" y="30"/>
                          <a:pt x="83" y="30"/>
                          <a:pt x="83" y="30"/>
                        </a:cubicBezTo>
                        <a:cubicBezTo>
                          <a:pt x="83" y="30"/>
                          <a:pt x="82" y="30"/>
                          <a:pt x="82" y="30"/>
                        </a:cubicBezTo>
                        <a:cubicBezTo>
                          <a:pt x="82" y="30"/>
                          <a:pt x="82" y="29"/>
                          <a:pt x="82" y="29"/>
                        </a:cubicBezTo>
                        <a:cubicBezTo>
                          <a:pt x="82" y="29"/>
                          <a:pt x="82" y="29"/>
                          <a:pt x="82" y="29"/>
                        </a:cubicBezTo>
                        <a:cubicBezTo>
                          <a:pt x="82" y="29"/>
                          <a:pt x="83" y="29"/>
                          <a:pt x="83" y="29"/>
                        </a:cubicBezTo>
                        <a:cubicBezTo>
                          <a:pt x="83" y="29"/>
                          <a:pt x="83" y="29"/>
                          <a:pt x="83" y="29"/>
                        </a:cubicBezTo>
                        <a:cubicBezTo>
                          <a:pt x="83" y="29"/>
                          <a:pt x="83" y="29"/>
                          <a:pt x="83" y="29"/>
                        </a:cubicBezTo>
                        <a:cubicBezTo>
                          <a:pt x="82" y="29"/>
                          <a:pt x="82" y="29"/>
                          <a:pt x="82" y="29"/>
                        </a:cubicBezTo>
                        <a:cubicBezTo>
                          <a:pt x="82" y="29"/>
                          <a:pt x="81" y="28"/>
                          <a:pt x="80" y="29"/>
                        </a:cubicBezTo>
                        <a:close/>
                        <a:moveTo>
                          <a:pt x="79" y="28"/>
                        </a:moveTo>
                        <a:cubicBezTo>
                          <a:pt x="79" y="28"/>
                          <a:pt x="79" y="28"/>
                          <a:pt x="79" y="28"/>
                        </a:cubicBezTo>
                        <a:cubicBezTo>
                          <a:pt x="79" y="28"/>
                          <a:pt x="79" y="28"/>
                          <a:pt x="80" y="28"/>
                        </a:cubicBezTo>
                        <a:cubicBezTo>
                          <a:pt x="79" y="28"/>
                          <a:pt x="79" y="28"/>
                          <a:pt x="79" y="28"/>
                        </a:cubicBezTo>
                        <a:cubicBezTo>
                          <a:pt x="79" y="28"/>
                          <a:pt x="79" y="28"/>
                          <a:pt x="79" y="28"/>
                        </a:cubicBezTo>
                        <a:close/>
                        <a:moveTo>
                          <a:pt x="78" y="28"/>
                        </a:moveTo>
                        <a:cubicBezTo>
                          <a:pt x="78" y="28"/>
                          <a:pt x="78" y="28"/>
                          <a:pt x="78" y="28"/>
                        </a:cubicBezTo>
                        <a:cubicBezTo>
                          <a:pt x="78" y="28"/>
                          <a:pt x="78" y="28"/>
                          <a:pt x="78" y="28"/>
                        </a:cubicBezTo>
                        <a:cubicBezTo>
                          <a:pt x="78" y="28"/>
                          <a:pt x="78" y="27"/>
                          <a:pt x="78" y="28"/>
                        </a:cubicBezTo>
                        <a:close/>
                        <a:moveTo>
                          <a:pt x="76" y="27"/>
                        </a:moveTo>
                        <a:cubicBezTo>
                          <a:pt x="76" y="27"/>
                          <a:pt x="75" y="27"/>
                          <a:pt x="75" y="27"/>
                        </a:cubicBezTo>
                        <a:cubicBezTo>
                          <a:pt x="75" y="27"/>
                          <a:pt x="76" y="27"/>
                          <a:pt x="76" y="27"/>
                        </a:cubicBezTo>
                        <a:close/>
                        <a:moveTo>
                          <a:pt x="76" y="27"/>
                        </a:moveTo>
                        <a:cubicBezTo>
                          <a:pt x="76" y="27"/>
                          <a:pt x="76" y="26"/>
                          <a:pt x="76" y="27"/>
                        </a:cubicBezTo>
                        <a:cubicBezTo>
                          <a:pt x="76" y="27"/>
                          <a:pt x="76" y="27"/>
                          <a:pt x="76" y="27"/>
                        </a:cubicBezTo>
                        <a:cubicBezTo>
                          <a:pt x="76" y="27"/>
                          <a:pt x="77" y="27"/>
                          <a:pt x="77" y="27"/>
                        </a:cubicBezTo>
                        <a:cubicBezTo>
                          <a:pt x="76" y="26"/>
                          <a:pt x="76" y="26"/>
                          <a:pt x="76" y="26"/>
                        </a:cubicBezTo>
                        <a:cubicBezTo>
                          <a:pt x="76" y="26"/>
                          <a:pt x="75" y="26"/>
                          <a:pt x="75" y="27"/>
                        </a:cubicBezTo>
                        <a:cubicBezTo>
                          <a:pt x="75" y="26"/>
                          <a:pt x="76" y="26"/>
                          <a:pt x="76" y="26"/>
                        </a:cubicBezTo>
                        <a:cubicBezTo>
                          <a:pt x="76" y="27"/>
                          <a:pt x="76" y="27"/>
                          <a:pt x="76" y="27"/>
                        </a:cubicBezTo>
                        <a:cubicBezTo>
                          <a:pt x="76" y="27"/>
                          <a:pt x="76" y="27"/>
                          <a:pt x="76" y="27"/>
                        </a:cubicBezTo>
                        <a:close/>
                        <a:moveTo>
                          <a:pt x="80" y="28"/>
                        </a:moveTo>
                        <a:cubicBezTo>
                          <a:pt x="80" y="28"/>
                          <a:pt x="79" y="27"/>
                          <a:pt x="79" y="28"/>
                        </a:cubicBezTo>
                        <a:cubicBezTo>
                          <a:pt x="79" y="28"/>
                          <a:pt x="80" y="28"/>
                          <a:pt x="80" y="28"/>
                        </a:cubicBezTo>
                        <a:cubicBezTo>
                          <a:pt x="80" y="28"/>
                          <a:pt x="80" y="28"/>
                          <a:pt x="80" y="28"/>
                        </a:cubicBezTo>
                        <a:cubicBezTo>
                          <a:pt x="80" y="28"/>
                          <a:pt x="80" y="28"/>
                          <a:pt x="80" y="28"/>
                        </a:cubicBezTo>
                        <a:close/>
                        <a:moveTo>
                          <a:pt x="77" y="27"/>
                        </a:moveTo>
                        <a:cubicBezTo>
                          <a:pt x="77" y="27"/>
                          <a:pt x="77" y="27"/>
                          <a:pt x="77" y="27"/>
                        </a:cubicBezTo>
                        <a:cubicBezTo>
                          <a:pt x="77" y="27"/>
                          <a:pt x="77" y="27"/>
                          <a:pt x="77" y="27"/>
                        </a:cubicBezTo>
                        <a:cubicBezTo>
                          <a:pt x="77" y="27"/>
                          <a:pt x="77" y="27"/>
                          <a:pt x="77" y="27"/>
                        </a:cubicBezTo>
                        <a:cubicBezTo>
                          <a:pt x="77" y="27"/>
                          <a:pt x="77" y="27"/>
                          <a:pt x="77" y="27"/>
                        </a:cubicBezTo>
                        <a:close/>
                        <a:moveTo>
                          <a:pt x="78" y="27"/>
                        </a:moveTo>
                        <a:cubicBezTo>
                          <a:pt x="78" y="27"/>
                          <a:pt x="78" y="27"/>
                          <a:pt x="78" y="27"/>
                        </a:cubicBezTo>
                        <a:cubicBezTo>
                          <a:pt x="78" y="27"/>
                          <a:pt x="78" y="27"/>
                          <a:pt x="78" y="27"/>
                        </a:cubicBezTo>
                        <a:close/>
                        <a:moveTo>
                          <a:pt x="77" y="27"/>
                        </a:moveTo>
                        <a:cubicBezTo>
                          <a:pt x="77" y="27"/>
                          <a:pt x="77" y="27"/>
                          <a:pt x="77" y="26"/>
                        </a:cubicBezTo>
                        <a:cubicBezTo>
                          <a:pt x="77" y="26"/>
                          <a:pt x="77" y="26"/>
                          <a:pt x="77" y="26"/>
                        </a:cubicBezTo>
                        <a:cubicBezTo>
                          <a:pt x="77" y="26"/>
                          <a:pt x="77" y="27"/>
                          <a:pt x="77" y="27"/>
                        </a:cubicBezTo>
                        <a:close/>
                        <a:moveTo>
                          <a:pt x="74" y="25"/>
                        </a:moveTo>
                        <a:cubicBezTo>
                          <a:pt x="74" y="25"/>
                          <a:pt x="73" y="25"/>
                          <a:pt x="73" y="25"/>
                        </a:cubicBezTo>
                        <a:cubicBezTo>
                          <a:pt x="73" y="26"/>
                          <a:pt x="74" y="26"/>
                          <a:pt x="74" y="25"/>
                        </a:cubicBezTo>
                        <a:close/>
                        <a:moveTo>
                          <a:pt x="72" y="25"/>
                        </a:moveTo>
                        <a:cubicBezTo>
                          <a:pt x="72" y="25"/>
                          <a:pt x="72" y="25"/>
                          <a:pt x="72" y="24"/>
                        </a:cubicBezTo>
                        <a:cubicBezTo>
                          <a:pt x="71" y="25"/>
                          <a:pt x="72" y="25"/>
                          <a:pt x="72" y="25"/>
                        </a:cubicBezTo>
                        <a:cubicBezTo>
                          <a:pt x="72" y="25"/>
                          <a:pt x="72" y="25"/>
                          <a:pt x="72" y="25"/>
                        </a:cubicBezTo>
                        <a:cubicBezTo>
                          <a:pt x="72" y="25"/>
                          <a:pt x="72" y="25"/>
                          <a:pt x="72" y="25"/>
                        </a:cubicBezTo>
                        <a:cubicBezTo>
                          <a:pt x="72" y="25"/>
                          <a:pt x="72" y="25"/>
                          <a:pt x="72" y="25"/>
                        </a:cubicBezTo>
                        <a:cubicBezTo>
                          <a:pt x="72" y="24"/>
                          <a:pt x="72" y="25"/>
                          <a:pt x="72" y="25"/>
                        </a:cubicBezTo>
                        <a:close/>
                        <a:moveTo>
                          <a:pt x="71" y="24"/>
                        </a:moveTo>
                        <a:cubicBezTo>
                          <a:pt x="71" y="24"/>
                          <a:pt x="71" y="24"/>
                          <a:pt x="71" y="24"/>
                        </a:cubicBezTo>
                        <a:cubicBezTo>
                          <a:pt x="71" y="24"/>
                          <a:pt x="72" y="25"/>
                          <a:pt x="71" y="24"/>
                        </a:cubicBezTo>
                        <a:cubicBezTo>
                          <a:pt x="71" y="24"/>
                          <a:pt x="71" y="24"/>
                          <a:pt x="71" y="24"/>
                        </a:cubicBezTo>
                        <a:cubicBezTo>
                          <a:pt x="71" y="24"/>
                          <a:pt x="71" y="24"/>
                          <a:pt x="71" y="24"/>
                        </a:cubicBezTo>
                        <a:close/>
                        <a:moveTo>
                          <a:pt x="71" y="24"/>
                        </a:moveTo>
                        <a:cubicBezTo>
                          <a:pt x="71" y="24"/>
                          <a:pt x="70" y="24"/>
                          <a:pt x="70" y="24"/>
                        </a:cubicBezTo>
                        <a:cubicBezTo>
                          <a:pt x="71" y="24"/>
                          <a:pt x="71" y="24"/>
                          <a:pt x="71" y="24"/>
                        </a:cubicBezTo>
                        <a:cubicBezTo>
                          <a:pt x="71" y="24"/>
                          <a:pt x="71" y="24"/>
                          <a:pt x="71" y="24"/>
                        </a:cubicBezTo>
                        <a:close/>
                        <a:moveTo>
                          <a:pt x="72" y="24"/>
                        </a:moveTo>
                        <a:cubicBezTo>
                          <a:pt x="72" y="24"/>
                          <a:pt x="73" y="25"/>
                          <a:pt x="73" y="25"/>
                        </a:cubicBezTo>
                        <a:cubicBezTo>
                          <a:pt x="72" y="24"/>
                          <a:pt x="72" y="24"/>
                          <a:pt x="72" y="24"/>
                        </a:cubicBezTo>
                        <a:close/>
                        <a:moveTo>
                          <a:pt x="67" y="23"/>
                        </a:moveTo>
                        <a:cubicBezTo>
                          <a:pt x="67" y="23"/>
                          <a:pt x="67" y="23"/>
                          <a:pt x="67" y="23"/>
                        </a:cubicBezTo>
                        <a:cubicBezTo>
                          <a:pt x="67" y="23"/>
                          <a:pt x="67" y="23"/>
                          <a:pt x="67" y="23"/>
                        </a:cubicBezTo>
                        <a:cubicBezTo>
                          <a:pt x="67" y="23"/>
                          <a:pt x="67" y="23"/>
                          <a:pt x="67" y="23"/>
                        </a:cubicBezTo>
                        <a:cubicBezTo>
                          <a:pt x="67" y="23"/>
                          <a:pt x="67" y="23"/>
                          <a:pt x="67" y="23"/>
                        </a:cubicBezTo>
                        <a:cubicBezTo>
                          <a:pt x="67" y="23"/>
                          <a:pt x="67" y="24"/>
                          <a:pt x="67" y="23"/>
                        </a:cubicBezTo>
                        <a:cubicBezTo>
                          <a:pt x="67" y="23"/>
                          <a:pt x="67" y="23"/>
                          <a:pt x="67" y="23"/>
                        </a:cubicBezTo>
                        <a:cubicBezTo>
                          <a:pt x="67" y="23"/>
                          <a:pt x="68" y="23"/>
                          <a:pt x="68" y="23"/>
                        </a:cubicBezTo>
                        <a:cubicBezTo>
                          <a:pt x="68" y="23"/>
                          <a:pt x="68" y="23"/>
                          <a:pt x="68" y="23"/>
                        </a:cubicBezTo>
                        <a:cubicBezTo>
                          <a:pt x="68" y="24"/>
                          <a:pt x="68" y="24"/>
                          <a:pt x="69" y="24"/>
                        </a:cubicBezTo>
                        <a:cubicBezTo>
                          <a:pt x="69" y="24"/>
                          <a:pt x="69" y="24"/>
                          <a:pt x="69" y="24"/>
                        </a:cubicBezTo>
                        <a:cubicBezTo>
                          <a:pt x="69" y="24"/>
                          <a:pt x="69" y="23"/>
                          <a:pt x="69" y="23"/>
                        </a:cubicBezTo>
                        <a:cubicBezTo>
                          <a:pt x="68" y="24"/>
                          <a:pt x="68" y="23"/>
                          <a:pt x="68" y="23"/>
                        </a:cubicBezTo>
                        <a:cubicBezTo>
                          <a:pt x="68" y="23"/>
                          <a:pt x="68" y="23"/>
                          <a:pt x="68" y="23"/>
                        </a:cubicBezTo>
                        <a:cubicBezTo>
                          <a:pt x="68" y="23"/>
                          <a:pt x="68" y="23"/>
                          <a:pt x="68" y="23"/>
                        </a:cubicBezTo>
                        <a:cubicBezTo>
                          <a:pt x="68" y="23"/>
                          <a:pt x="67" y="23"/>
                          <a:pt x="67" y="23"/>
                        </a:cubicBezTo>
                        <a:close/>
                        <a:moveTo>
                          <a:pt x="64" y="21"/>
                        </a:moveTo>
                        <a:cubicBezTo>
                          <a:pt x="64" y="21"/>
                          <a:pt x="64" y="21"/>
                          <a:pt x="64" y="21"/>
                        </a:cubicBezTo>
                        <a:cubicBezTo>
                          <a:pt x="64" y="21"/>
                          <a:pt x="64" y="21"/>
                          <a:pt x="64" y="21"/>
                        </a:cubicBezTo>
                        <a:cubicBezTo>
                          <a:pt x="64" y="21"/>
                          <a:pt x="64" y="21"/>
                          <a:pt x="64" y="21"/>
                        </a:cubicBezTo>
                        <a:cubicBezTo>
                          <a:pt x="64" y="21"/>
                          <a:pt x="64" y="21"/>
                          <a:pt x="64" y="21"/>
                        </a:cubicBezTo>
                        <a:close/>
                        <a:moveTo>
                          <a:pt x="80" y="26"/>
                        </a:moveTo>
                        <a:cubicBezTo>
                          <a:pt x="80" y="26"/>
                          <a:pt x="80" y="26"/>
                          <a:pt x="80" y="26"/>
                        </a:cubicBezTo>
                        <a:cubicBezTo>
                          <a:pt x="80" y="26"/>
                          <a:pt x="80" y="26"/>
                          <a:pt x="80" y="26"/>
                        </a:cubicBezTo>
                        <a:close/>
                        <a:moveTo>
                          <a:pt x="96" y="30"/>
                        </a:moveTo>
                        <a:cubicBezTo>
                          <a:pt x="97" y="30"/>
                          <a:pt x="95" y="29"/>
                          <a:pt x="96" y="29"/>
                        </a:cubicBezTo>
                        <a:cubicBezTo>
                          <a:pt x="96" y="29"/>
                          <a:pt x="96" y="29"/>
                          <a:pt x="96" y="29"/>
                        </a:cubicBezTo>
                        <a:cubicBezTo>
                          <a:pt x="96" y="29"/>
                          <a:pt x="96" y="29"/>
                          <a:pt x="97" y="29"/>
                        </a:cubicBezTo>
                        <a:cubicBezTo>
                          <a:pt x="97" y="30"/>
                          <a:pt x="96" y="30"/>
                          <a:pt x="96" y="30"/>
                        </a:cubicBezTo>
                        <a:close/>
                        <a:moveTo>
                          <a:pt x="97" y="25"/>
                        </a:moveTo>
                        <a:cubicBezTo>
                          <a:pt x="97" y="25"/>
                          <a:pt x="97" y="25"/>
                          <a:pt x="97" y="25"/>
                        </a:cubicBezTo>
                        <a:cubicBezTo>
                          <a:pt x="97" y="25"/>
                          <a:pt x="97" y="25"/>
                          <a:pt x="97" y="25"/>
                        </a:cubicBezTo>
                        <a:cubicBezTo>
                          <a:pt x="97" y="25"/>
                          <a:pt x="97" y="25"/>
                          <a:pt x="97" y="25"/>
                        </a:cubicBezTo>
                        <a:cubicBezTo>
                          <a:pt x="97" y="25"/>
                          <a:pt x="97" y="25"/>
                          <a:pt x="97" y="25"/>
                        </a:cubicBezTo>
                        <a:close/>
                        <a:moveTo>
                          <a:pt x="95" y="31"/>
                        </a:moveTo>
                        <a:cubicBezTo>
                          <a:pt x="95" y="31"/>
                          <a:pt x="95" y="31"/>
                          <a:pt x="95" y="31"/>
                        </a:cubicBezTo>
                        <a:cubicBezTo>
                          <a:pt x="95" y="31"/>
                          <a:pt x="95" y="31"/>
                          <a:pt x="96" y="31"/>
                        </a:cubicBezTo>
                        <a:cubicBezTo>
                          <a:pt x="96" y="31"/>
                          <a:pt x="96" y="31"/>
                          <a:pt x="96" y="31"/>
                        </a:cubicBezTo>
                        <a:cubicBezTo>
                          <a:pt x="96" y="31"/>
                          <a:pt x="96" y="31"/>
                          <a:pt x="96" y="31"/>
                        </a:cubicBezTo>
                        <a:cubicBezTo>
                          <a:pt x="95" y="31"/>
                          <a:pt x="95" y="31"/>
                          <a:pt x="95" y="31"/>
                        </a:cubicBezTo>
                        <a:cubicBezTo>
                          <a:pt x="95" y="31"/>
                          <a:pt x="96" y="31"/>
                          <a:pt x="96" y="31"/>
                        </a:cubicBezTo>
                        <a:cubicBezTo>
                          <a:pt x="96" y="31"/>
                          <a:pt x="95" y="31"/>
                          <a:pt x="95" y="31"/>
                        </a:cubicBezTo>
                        <a:close/>
                        <a:moveTo>
                          <a:pt x="95" y="30"/>
                        </a:moveTo>
                        <a:cubicBezTo>
                          <a:pt x="95" y="30"/>
                          <a:pt x="95" y="30"/>
                          <a:pt x="96" y="30"/>
                        </a:cubicBezTo>
                        <a:cubicBezTo>
                          <a:pt x="96" y="30"/>
                          <a:pt x="96" y="30"/>
                          <a:pt x="96" y="30"/>
                        </a:cubicBezTo>
                        <a:cubicBezTo>
                          <a:pt x="96" y="30"/>
                          <a:pt x="96" y="30"/>
                          <a:pt x="96" y="31"/>
                        </a:cubicBezTo>
                        <a:cubicBezTo>
                          <a:pt x="96" y="30"/>
                          <a:pt x="95" y="30"/>
                          <a:pt x="95" y="30"/>
                        </a:cubicBezTo>
                        <a:cubicBezTo>
                          <a:pt x="95" y="30"/>
                          <a:pt x="95" y="30"/>
                          <a:pt x="96" y="30"/>
                        </a:cubicBezTo>
                        <a:cubicBezTo>
                          <a:pt x="96" y="30"/>
                          <a:pt x="96" y="30"/>
                          <a:pt x="96" y="30"/>
                        </a:cubicBezTo>
                        <a:cubicBezTo>
                          <a:pt x="96" y="30"/>
                          <a:pt x="95" y="30"/>
                          <a:pt x="95" y="30"/>
                        </a:cubicBezTo>
                        <a:cubicBezTo>
                          <a:pt x="95" y="30"/>
                          <a:pt x="95" y="30"/>
                          <a:pt x="95" y="30"/>
                        </a:cubicBezTo>
                        <a:cubicBezTo>
                          <a:pt x="95" y="30"/>
                          <a:pt x="95" y="30"/>
                          <a:pt x="95" y="30"/>
                        </a:cubicBezTo>
                        <a:cubicBezTo>
                          <a:pt x="95" y="30"/>
                          <a:pt x="95" y="30"/>
                          <a:pt x="95" y="30"/>
                        </a:cubicBezTo>
                        <a:cubicBezTo>
                          <a:pt x="94" y="30"/>
                          <a:pt x="94" y="30"/>
                          <a:pt x="94" y="30"/>
                        </a:cubicBezTo>
                        <a:cubicBezTo>
                          <a:pt x="94" y="29"/>
                          <a:pt x="94" y="29"/>
                          <a:pt x="94" y="29"/>
                        </a:cubicBezTo>
                        <a:cubicBezTo>
                          <a:pt x="94" y="29"/>
                          <a:pt x="95" y="29"/>
                          <a:pt x="95" y="30"/>
                        </a:cubicBezTo>
                        <a:close/>
                        <a:moveTo>
                          <a:pt x="95" y="32"/>
                        </a:moveTo>
                        <a:cubicBezTo>
                          <a:pt x="95" y="32"/>
                          <a:pt x="95" y="32"/>
                          <a:pt x="95" y="32"/>
                        </a:cubicBezTo>
                        <a:cubicBezTo>
                          <a:pt x="95" y="32"/>
                          <a:pt x="95" y="32"/>
                          <a:pt x="95" y="32"/>
                        </a:cubicBezTo>
                        <a:cubicBezTo>
                          <a:pt x="95" y="32"/>
                          <a:pt x="95" y="32"/>
                          <a:pt x="95" y="32"/>
                        </a:cubicBezTo>
                        <a:close/>
                        <a:moveTo>
                          <a:pt x="97" y="25"/>
                        </a:moveTo>
                        <a:cubicBezTo>
                          <a:pt x="97" y="25"/>
                          <a:pt x="97" y="25"/>
                          <a:pt x="97" y="25"/>
                        </a:cubicBezTo>
                        <a:cubicBezTo>
                          <a:pt x="97" y="25"/>
                          <a:pt x="97" y="25"/>
                          <a:pt x="97" y="25"/>
                        </a:cubicBezTo>
                        <a:cubicBezTo>
                          <a:pt x="97" y="25"/>
                          <a:pt x="97" y="25"/>
                          <a:pt x="97" y="25"/>
                        </a:cubicBezTo>
                        <a:cubicBezTo>
                          <a:pt x="97" y="25"/>
                          <a:pt x="97" y="25"/>
                          <a:pt x="97" y="25"/>
                        </a:cubicBezTo>
                        <a:close/>
                        <a:moveTo>
                          <a:pt x="91" y="31"/>
                        </a:moveTo>
                        <a:cubicBezTo>
                          <a:pt x="91" y="31"/>
                          <a:pt x="91" y="31"/>
                          <a:pt x="91" y="31"/>
                        </a:cubicBezTo>
                        <a:cubicBezTo>
                          <a:pt x="91" y="31"/>
                          <a:pt x="91" y="31"/>
                          <a:pt x="91" y="31"/>
                        </a:cubicBezTo>
                        <a:cubicBezTo>
                          <a:pt x="91" y="31"/>
                          <a:pt x="91" y="31"/>
                          <a:pt x="91" y="30"/>
                        </a:cubicBezTo>
                        <a:cubicBezTo>
                          <a:pt x="91" y="30"/>
                          <a:pt x="90" y="30"/>
                          <a:pt x="89" y="30"/>
                        </a:cubicBezTo>
                        <a:cubicBezTo>
                          <a:pt x="89" y="30"/>
                          <a:pt x="89" y="30"/>
                          <a:pt x="89" y="29"/>
                        </a:cubicBezTo>
                        <a:cubicBezTo>
                          <a:pt x="90" y="29"/>
                          <a:pt x="90" y="30"/>
                          <a:pt x="90" y="30"/>
                        </a:cubicBezTo>
                        <a:cubicBezTo>
                          <a:pt x="91" y="30"/>
                          <a:pt x="91" y="30"/>
                          <a:pt x="91" y="30"/>
                        </a:cubicBezTo>
                        <a:cubicBezTo>
                          <a:pt x="91" y="30"/>
                          <a:pt x="91" y="30"/>
                          <a:pt x="91" y="30"/>
                        </a:cubicBezTo>
                        <a:cubicBezTo>
                          <a:pt x="91" y="30"/>
                          <a:pt x="91" y="30"/>
                          <a:pt x="92" y="30"/>
                        </a:cubicBezTo>
                        <a:cubicBezTo>
                          <a:pt x="91" y="30"/>
                          <a:pt x="91" y="30"/>
                          <a:pt x="91" y="30"/>
                        </a:cubicBezTo>
                        <a:cubicBezTo>
                          <a:pt x="91" y="30"/>
                          <a:pt x="92" y="30"/>
                          <a:pt x="92" y="30"/>
                        </a:cubicBezTo>
                        <a:cubicBezTo>
                          <a:pt x="92" y="30"/>
                          <a:pt x="92" y="30"/>
                          <a:pt x="92" y="30"/>
                        </a:cubicBezTo>
                        <a:cubicBezTo>
                          <a:pt x="92" y="31"/>
                          <a:pt x="91" y="30"/>
                          <a:pt x="91" y="31"/>
                        </a:cubicBezTo>
                        <a:cubicBezTo>
                          <a:pt x="92" y="31"/>
                          <a:pt x="92" y="31"/>
                          <a:pt x="92" y="31"/>
                        </a:cubicBezTo>
                        <a:cubicBezTo>
                          <a:pt x="92" y="31"/>
                          <a:pt x="93" y="31"/>
                          <a:pt x="93" y="31"/>
                        </a:cubicBezTo>
                        <a:cubicBezTo>
                          <a:pt x="93" y="31"/>
                          <a:pt x="94" y="31"/>
                          <a:pt x="94" y="31"/>
                        </a:cubicBezTo>
                        <a:cubicBezTo>
                          <a:pt x="94" y="31"/>
                          <a:pt x="94" y="31"/>
                          <a:pt x="94" y="31"/>
                        </a:cubicBezTo>
                        <a:cubicBezTo>
                          <a:pt x="94" y="32"/>
                          <a:pt x="95" y="31"/>
                          <a:pt x="95" y="32"/>
                        </a:cubicBezTo>
                        <a:cubicBezTo>
                          <a:pt x="95" y="32"/>
                          <a:pt x="95" y="32"/>
                          <a:pt x="95" y="32"/>
                        </a:cubicBezTo>
                        <a:cubicBezTo>
                          <a:pt x="95" y="32"/>
                          <a:pt x="95" y="32"/>
                          <a:pt x="95" y="32"/>
                        </a:cubicBezTo>
                        <a:cubicBezTo>
                          <a:pt x="94" y="32"/>
                          <a:pt x="94" y="32"/>
                          <a:pt x="94" y="32"/>
                        </a:cubicBezTo>
                        <a:cubicBezTo>
                          <a:pt x="94" y="32"/>
                          <a:pt x="94" y="32"/>
                          <a:pt x="94" y="32"/>
                        </a:cubicBezTo>
                        <a:cubicBezTo>
                          <a:pt x="94" y="31"/>
                          <a:pt x="94" y="32"/>
                          <a:pt x="94" y="32"/>
                        </a:cubicBezTo>
                        <a:cubicBezTo>
                          <a:pt x="94" y="32"/>
                          <a:pt x="94" y="32"/>
                          <a:pt x="95" y="32"/>
                        </a:cubicBezTo>
                        <a:cubicBezTo>
                          <a:pt x="94" y="32"/>
                          <a:pt x="94" y="32"/>
                          <a:pt x="94" y="31"/>
                        </a:cubicBezTo>
                        <a:cubicBezTo>
                          <a:pt x="93" y="31"/>
                          <a:pt x="93" y="31"/>
                          <a:pt x="93" y="31"/>
                        </a:cubicBezTo>
                        <a:cubicBezTo>
                          <a:pt x="93" y="31"/>
                          <a:pt x="93" y="31"/>
                          <a:pt x="93" y="31"/>
                        </a:cubicBezTo>
                        <a:cubicBezTo>
                          <a:pt x="93" y="31"/>
                          <a:pt x="92" y="31"/>
                          <a:pt x="92" y="31"/>
                        </a:cubicBezTo>
                        <a:cubicBezTo>
                          <a:pt x="92" y="31"/>
                          <a:pt x="92" y="31"/>
                          <a:pt x="92" y="31"/>
                        </a:cubicBezTo>
                        <a:cubicBezTo>
                          <a:pt x="91" y="31"/>
                          <a:pt x="92" y="31"/>
                          <a:pt x="91" y="31"/>
                        </a:cubicBezTo>
                        <a:cubicBezTo>
                          <a:pt x="91" y="31"/>
                          <a:pt x="92" y="31"/>
                          <a:pt x="92" y="31"/>
                        </a:cubicBezTo>
                        <a:cubicBezTo>
                          <a:pt x="91" y="31"/>
                          <a:pt x="91" y="31"/>
                          <a:pt x="91" y="31"/>
                        </a:cubicBezTo>
                        <a:cubicBezTo>
                          <a:pt x="91" y="31"/>
                          <a:pt x="91" y="31"/>
                          <a:pt x="91" y="31"/>
                        </a:cubicBezTo>
                        <a:cubicBezTo>
                          <a:pt x="91" y="31"/>
                          <a:pt x="91" y="31"/>
                          <a:pt x="91" y="31"/>
                        </a:cubicBezTo>
                        <a:cubicBezTo>
                          <a:pt x="91" y="31"/>
                          <a:pt x="91" y="31"/>
                          <a:pt x="91" y="31"/>
                        </a:cubicBezTo>
                        <a:cubicBezTo>
                          <a:pt x="90" y="31"/>
                          <a:pt x="90" y="31"/>
                          <a:pt x="90" y="31"/>
                        </a:cubicBezTo>
                        <a:cubicBezTo>
                          <a:pt x="90" y="31"/>
                          <a:pt x="91" y="31"/>
                          <a:pt x="90" y="31"/>
                        </a:cubicBezTo>
                        <a:cubicBezTo>
                          <a:pt x="90" y="30"/>
                          <a:pt x="91" y="31"/>
                          <a:pt x="91" y="31"/>
                        </a:cubicBezTo>
                        <a:close/>
                        <a:moveTo>
                          <a:pt x="92" y="31"/>
                        </a:moveTo>
                        <a:cubicBezTo>
                          <a:pt x="92" y="31"/>
                          <a:pt x="92" y="31"/>
                          <a:pt x="92" y="31"/>
                        </a:cubicBezTo>
                        <a:cubicBezTo>
                          <a:pt x="92" y="31"/>
                          <a:pt x="92" y="31"/>
                          <a:pt x="92" y="31"/>
                        </a:cubicBezTo>
                        <a:cubicBezTo>
                          <a:pt x="92" y="31"/>
                          <a:pt x="92" y="31"/>
                          <a:pt x="92" y="31"/>
                        </a:cubicBezTo>
                        <a:cubicBezTo>
                          <a:pt x="92" y="31"/>
                          <a:pt x="93" y="31"/>
                          <a:pt x="92" y="31"/>
                        </a:cubicBezTo>
                        <a:close/>
                        <a:moveTo>
                          <a:pt x="95" y="28"/>
                        </a:moveTo>
                        <a:cubicBezTo>
                          <a:pt x="95" y="28"/>
                          <a:pt x="95" y="28"/>
                          <a:pt x="95" y="28"/>
                        </a:cubicBezTo>
                        <a:cubicBezTo>
                          <a:pt x="95" y="28"/>
                          <a:pt x="95" y="28"/>
                          <a:pt x="95" y="28"/>
                        </a:cubicBezTo>
                        <a:cubicBezTo>
                          <a:pt x="95" y="28"/>
                          <a:pt x="95" y="28"/>
                          <a:pt x="95" y="28"/>
                        </a:cubicBezTo>
                        <a:cubicBezTo>
                          <a:pt x="95" y="27"/>
                          <a:pt x="94" y="28"/>
                          <a:pt x="94" y="27"/>
                        </a:cubicBezTo>
                        <a:cubicBezTo>
                          <a:pt x="94" y="27"/>
                          <a:pt x="94" y="27"/>
                          <a:pt x="94" y="27"/>
                        </a:cubicBezTo>
                        <a:cubicBezTo>
                          <a:pt x="95" y="28"/>
                          <a:pt x="95" y="28"/>
                          <a:pt x="95" y="28"/>
                        </a:cubicBezTo>
                        <a:close/>
                        <a:moveTo>
                          <a:pt x="96" y="25"/>
                        </a:moveTo>
                        <a:cubicBezTo>
                          <a:pt x="95" y="25"/>
                          <a:pt x="96" y="25"/>
                          <a:pt x="96" y="25"/>
                        </a:cubicBezTo>
                        <a:cubicBezTo>
                          <a:pt x="96" y="25"/>
                          <a:pt x="96" y="25"/>
                          <a:pt x="96" y="25"/>
                        </a:cubicBezTo>
                        <a:cubicBezTo>
                          <a:pt x="96" y="25"/>
                          <a:pt x="95" y="25"/>
                          <a:pt x="95" y="25"/>
                        </a:cubicBezTo>
                        <a:cubicBezTo>
                          <a:pt x="95" y="25"/>
                          <a:pt x="95" y="25"/>
                          <a:pt x="95" y="25"/>
                        </a:cubicBezTo>
                        <a:cubicBezTo>
                          <a:pt x="95" y="25"/>
                          <a:pt x="95" y="25"/>
                          <a:pt x="94" y="25"/>
                        </a:cubicBezTo>
                        <a:cubicBezTo>
                          <a:pt x="94" y="25"/>
                          <a:pt x="95" y="25"/>
                          <a:pt x="95" y="25"/>
                        </a:cubicBezTo>
                        <a:cubicBezTo>
                          <a:pt x="94" y="25"/>
                          <a:pt x="94" y="25"/>
                          <a:pt x="94" y="25"/>
                        </a:cubicBezTo>
                        <a:cubicBezTo>
                          <a:pt x="95" y="25"/>
                          <a:pt x="95" y="25"/>
                          <a:pt x="96" y="25"/>
                        </a:cubicBezTo>
                        <a:close/>
                        <a:moveTo>
                          <a:pt x="96" y="26"/>
                        </a:moveTo>
                        <a:cubicBezTo>
                          <a:pt x="95" y="26"/>
                          <a:pt x="95" y="26"/>
                          <a:pt x="95" y="26"/>
                        </a:cubicBezTo>
                        <a:cubicBezTo>
                          <a:pt x="95" y="26"/>
                          <a:pt x="95" y="26"/>
                          <a:pt x="94" y="26"/>
                        </a:cubicBezTo>
                        <a:cubicBezTo>
                          <a:pt x="94" y="26"/>
                          <a:pt x="95" y="26"/>
                          <a:pt x="94" y="26"/>
                        </a:cubicBezTo>
                        <a:cubicBezTo>
                          <a:pt x="95" y="26"/>
                          <a:pt x="95" y="26"/>
                          <a:pt x="95" y="26"/>
                        </a:cubicBezTo>
                        <a:cubicBezTo>
                          <a:pt x="95" y="27"/>
                          <a:pt x="95" y="26"/>
                          <a:pt x="95" y="26"/>
                        </a:cubicBezTo>
                        <a:cubicBezTo>
                          <a:pt x="94" y="26"/>
                          <a:pt x="94" y="27"/>
                          <a:pt x="94" y="27"/>
                        </a:cubicBezTo>
                        <a:cubicBezTo>
                          <a:pt x="94" y="27"/>
                          <a:pt x="94" y="27"/>
                          <a:pt x="94" y="27"/>
                        </a:cubicBezTo>
                        <a:cubicBezTo>
                          <a:pt x="94" y="27"/>
                          <a:pt x="94" y="27"/>
                          <a:pt x="94" y="27"/>
                        </a:cubicBezTo>
                        <a:cubicBezTo>
                          <a:pt x="94" y="26"/>
                          <a:pt x="94" y="27"/>
                          <a:pt x="94" y="27"/>
                        </a:cubicBezTo>
                        <a:cubicBezTo>
                          <a:pt x="94" y="26"/>
                          <a:pt x="93" y="26"/>
                          <a:pt x="93" y="26"/>
                        </a:cubicBezTo>
                        <a:cubicBezTo>
                          <a:pt x="93" y="26"/>
                          <a:pt x="93" y="26"/>
                          <a:pt x="93" y="26"/>
                        </a:cubicBezTo>
                        <a:cubicBezTo>
                          <a:pt x="94" y="26"/>
                          <a:pt x="94" y="26"/>
                          <a:pt x="93" y="26"/>
                        </a:cubicBezTo>
                        <a:cubicBezTo>
                          <a:pt x="93" y="26"/>
                          <a:pt x="94" y="26"/>
                          <a:pt x="94" y="26"/>
                        </a:cubicBezTo>
                        <a:cubicBezTo>
                          <a:pt x="94" y="26"/>
                          <a:pt x="94" y="26"/>
                          <a:pt x="94" y="26"/>
                        </a:cubicBezTo>
                        <a:cubicBezTo>
                          <a:pt x="94" y="26"/>
                          <a:pt x="94" y="26"/>
                          <a:pt x="94" y="26"/>
                        </a:cubicBezTo>
                        <a:cubicBezTo>
                          <a:pt x="94" y="26"/>
                          <a:pt x="94" y="26"/>
                          <a:pt x="94" y="26"/>
                        </a:cubicBezTo>
                        <a:cubicBezTo>
                          <a:pt x="94" y="26"/>
                          <a:pt x="94" y="26"/>
                          <a:pt x="94" y="26"/>
                        </a:cubicBezTo>
                        <a:cubicBezTo>
                          <a:pt x="94" y="26"/>
                          <a:pt x="94" y="26"/>
                          <a:pt x="94" y="26"/>
                        </a:cubicBezTo>
                        <a:cubicBezTo>
                          <a:pt x="93" y="26"/>
                          <a:pt x="93" y="25"/>
                          <a:pt x="92" y="25"/>
                        </a:cubicBezTo>
                        <a:cubicBezTo>
                          <a:pt x="92" y="25"/>
                          <a:pt x="92" y="25"/>
                          <a:pt x="92" y="25"/>
                        </a:cubicBezTo>
                        <a:cubicBezTo>
                          <a:pt x="92" y="25"/>
                          <a:pt x="93" y="25"/>
                          <a:pt x="94" y="26"/>
                        </a:cubicBezTo>
                        <a:cubicBezTo>
                          <a:pt x="94" y="26"/>
                          <a:pt x="95" y="26"/>
                          <a:pt x="95" y="26"/>
                        </a:cubicBezTo>
                        <a:cubicBezTo>
                          <a:pt x="95" y="26"/>
                          <a:pt x="95" y="26"/>
                          <a:pt x="95" y="26"/>
                        </a:cubicBezTo>
                        <a:cubicBezTo>
                          <a:pt x="95" y="26"/>
                          <a:pt x="95" y="26"/>
                          <a:pt x="95" y="26"/>
                        </a:cubicBezTo>
                        <a:cubicBezTo>
                          <a:pt x="95" y="26"/>
                          <a:pt x="95" y="26"/>
                          <a:pt x="95" y="26"/>
                        </a:cubicBezTo>
                        <a:cubicBezTo>
                          <a:pt x="95" y="26"/>
                          <a:pt x="95" y="26"/>
                          <a:pt x="96" y="26"/>
                        </a:cubicBezTo>
                        <a:close/>
                        <a:moveTo>
                          <a:pt x="94" y="27"/>
                        </a:moveTo>
                        <a:cubicBezTo>
                          <a:pt x="94" y="27"/>
                          <a:pt x="94" y="27"/>
                          <a:pt x="94" y="27"/>
                        </a:cubicBezTo>
                        <a:cubicBezTo>
                          <a:pt x="94" y="27"/>
                          <a:pt x="94" y="27"/>
                          <a:pt x="94" y="27"/>
                        </a:cubicBezTo>
                        <a:cubicBezTo>
                          <a:pt x="94" y="27"/>
                          <a:pt x="94" y="27"/>
                          <a:pt x="94" y="27"/>
                        </a:cubicBezTo>
                        <a:cubicBezTo>
                          <a:pt x="94" y="27"/>
                          <a:pt x="94" y="27"/>
                          <a:pt x="94" y="27"/>
                        </a:cubicBezTo>
                        <a:cubicBezTo>
                          <a:pt x="94" y="27"/>
                          <a:pt x="94" y="27"/>
                          <a:pt x="94" y="27"/>
                        </a:cubicBezTo>
                        <a:cubicBezTo>
                          <a:pt x="94" y="27"/>
                          <a:pt x="94" y="27"/>
                          <a:pt x="94" y="27"/>
                        </a:cubicBezTo>
                        <a:close/>
                        <a:moveTo>
                          <a:pt x="93" y="28"/>
                        </a:move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4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lose/>
                        <a:moveTo>
                          <a:pt x="93" y="27"/>
                        </a:moveTo>
                        <a:cubicBezTo>
                          <a:pt x="93" y="27"/>
                          <a:pt x="93" y="27"/>
                          <a:pt x="93" y="27"/>
                        </a:cubicBezTo>
                        <a:cubicBezTo>
                          <a:pt x="93" y="27"/>
                          <a:pt x="93" y="27"/>
                          <a:pt x="93" y="27"/>
                        </a:cubicBezTo>
                        <a:cubicBezTo>
                          <a:pt x="93" y="27"/>
                          <a:pt x="93" y="27"/>
                          <a:pt x="93" y="27"/>
                        </a:cubicBezTo>
                        <a:cubicBezTo>
                          <a:pt x="92" y="27"/>
                          <a:pt x="93" y="27"/>
                          <a:pt x="93" y="27"/>
                        </a:cubicBezTo>
                        <a:close/>
                        <a:moveTo>
                          <a:pt x="90" y="32"/>
                        </a:moveTo>
                        <a:cubicBezTo>
                          <a:pt x="90" y="32"/>
                          <a:pt x="90" y="32"/>
                          <a:pt x="90" y="32"/>
                        </a:cubicBezTo>
                        <a:cubicBezTo>
                          <a:pt x="90" y="32"/>
                          <a:pt x="90" y="32"/>
                          <a:pt x="90" y="32"/>
                        </a:cubicBezTo>
                        <a:cubicBezTo>
                          <a:pt x="91" y="32"/>
                          <a:pt x="91" y="32"/>
                          <a:pt x="91" y="32"/>
                        </a:cubicBezTo>
                        <a:cubicBezTo>
                          <a:pt x="91" y="32"/>
                          <a:pt x="91" y="32"/>
                          <a:pt x="91" y="32"/>
                        </a:cubicBezTo>
                        <a:cubicBezTo>
                          <a:pt x="91" y="32"/>
                          <a:pt x="91" y="32"/>
                          <a:pt x="91" y="32"/>
                        </a:cubicBezTo>
                        <a:cubicBezTo>
                          <a:pt x="91" y="32"/>
                          <a:pt x="91" y="32"/>
                          <a:pt x="90" y="32"/>
                        </a:cubicBezTo>
                        <a:cubicBezTo>
                          <a:pt x="90" y="32"/>
                          <a:pt x="90" y="32"/>
                          <a:pt x="90" y="32"/>
                        </a:cubicBezTo>
                        <a:cubicBezTo>
                          <a:pt x="90" y="33"/>
                          <a:pt x="90" y="32"/>
                          <a:pt x="90" y="32"/>
                        </a:cubicBezTo>
                        <a:close/>
                        <a:moveTo>
                          <a:pt x="91" y="28"/>
                        </a:moveTo>
                        <a:cubicBezTo>
                          <a:pt x="91" y="28"/>
                          <a:pt x="91" y="28"/>
                          <a:pt x="91" y="28"/>
                        </a:cubicBezTo>
                        <a:cubicBezTo>
                          <a:pt x="91" y="28"/>
                          <a:pt x="91" y="28"/>
                          <a:pt x="91" y="28"/>
                        </a:cubicBezTo>
                        <a:cubicBezTo>
                          <a:pt x="91" y="28"/>
                          <a:pt x="91" y="28"/>
                          <a:pt x="91" y="28"/>
                        </a:cubicBezTo>
                        <a:cubicBezTo>
                          <a:pt x="90" y="28"/>
                          <a:pt x="90" y="28"/>
                          <a:pt x="90" y="28"/>
                        </a:cubicBezTo>
                        <a:cubicBezTo>
                          <a:pt x="90" y="28"/>
                          <a:pt x="90" y="28"/>
                          <a:pt x="90" y="28"/>
                        </a:cubicBezTo>
                        <a:cubicBezTo>
                          <a:pt x="90" y="28"/>
                          <a:pt x="91" y="28"/>
                          <a:pt x="91" y="28"/>
                        </a:cubicBezTo>
                        <a:cubicBezTo>
                          <a:pt x="91" y="28"/>
                          <a:pt x="91" y="28"/>
                          <a:pt x="90" y="28"/>
                        </a:cubicBezTo>
                        <a:cubicBezTo>
                          <a:pt x="90" y="28"/>
                          <a:pt x="91" y="28"/>
                          <a:pt x="91" y="28"/>
                        </a:cubicBezTo>
                        <a:cubicBezTo>
                          <a:pt x="90" y="28"/>
                          <a:pt x="90" y="28"/>
                          <a:pt x="90" y="27"/>
                        </a:cubicBezTo>
                        <a:cubicBezTo>
                          <a:pt x="90" y="27"/>
                          <a:pt x="90" y="27"/>
                          <a:pt x="90" y="27"/>
                        </a:cubicBezTo>
                        <a:cubicBezTo>
                          <a:pt x="91" y="27"/>
                          <a:pt x="91" y="27"/>
                          <a:pt x="91" y="27"/>
                        </a:cubicBezTo>
                        <a:cubicBezTo>
                          <a:pt x="91" y="27"/>
                          <a:pt x="91" y="27"/>
                          <a:pt x="91" y="27"/>
                        </a:cubicBezTo>
                        <a:cubicBezTo>
                          <a:pt x="92" y="27"/>
                          <a:pt x="91" y="27"/>
                          <a:pt x="92" y="27"/>
                        </a:cubicBezTo>
                        <a:cubicBezTo>
                          <a:pt x="92" y="27"/>
                          <a:pt x="92" y="27"/>
                          <a:pt x="92" y="27"/>
                        </a:cubicBezTo>
                        <a:cubicBezTo>
                          <a:pt x="92" y="27"/>
                          <a:pt x="92" y="28"/>
                          <a:pt x="92" y="28"/>
                        </a:cubicBezTo>
                        <a:cubicBezTo>
                          <a:pt x="92" y="28"/>
                          <a:pt x="92" y="28"/>
                          <a:pt x="92" y="28"/>
                        </a:cubicBezTo>
                        <a:cubicBezTo>
                          <a:pt x="92" y="28"/>
                          <a:pt x="92" y="28"/>
                          <a:pt x="92" y="28"/>
                        </a:cubicBezTo>
                        <a:cubicBezTo>
                          <a:pt x="92" y="28"/>
                          <a:pt x="92" y="28"/>
                          <a:pt x="92" y="28"/>
                        </a:cubicBezTo>
                        <a:cubicBezTo>
                          <a:pt x="92" y="28"/>
                          <a:pt x="92" y="28"/>
                          <a:pt x="92" y="28"/>
                        </a:cubicBezTo>
                        <a:cubicBezTo>
                          <a:pt x="92" y="28"/>
                          <a:pt x="91" y="28"/>
                          <a:pt x="91" y="28"/>
                        </a:cubicBezTo>
                        <a:close/>
                        <a:moveTo>
                          <a:pt x="91" y="26"/>
                        </a:moveTo>
                        <a:cubicBezTo>
                          <a:pt x="91" y="27"/>
                          <a:pt x="91" y="26"/>
                          <a:pt x="92" y="27"/>
                        </a:cubicBezTo>
                        <a:cubicBezTo>
                          <a:pt x="92" y="27"/>
                          <a:pt x="92" y="27"/>
                          <a:pt x="92" y="27"/>
                        </a:cubicBezTo>
                        <a:cubicBezTo>
                          <a:pt x="92" y="27"/>
                          <a:pt x="92" y="27"/>
                          <a:pt x="92" y="27"/>
                        </a:cubicBezTo>
                        <a:cubicBezTo>
                          <a:pt x="92" y="27"/>
                          <a:pt x="91" y="27"/>
                          <a:pt x="91" y="27"/>
                        </a:cubicBezTo>
                        <a:cubicBezTo>
                          <a:pt x="91" y="27"/>
                          <a:pt x="91" y="27"/>
                          <a:pt x="91" y="26"/>
                        </a:cubicBezTo>
                        <a:close/>
                        <a:moveTo>
                          <a:pt x="89" y="24"/>
                        </a:moveTo>
                        <a:cubicBezTo>
                          <a:pt x="89" y="24"/>
                          <a:pt x="89" y="24"/>
                          <a:pt x="89" y="24"/>
                        </a:cubicBezTo>
                        <a:cubicBezTo>
                          <a:pt x="89" y="24"/>
                          <a:pt x="89" y="24"/>
                          <a:pt x="89" y="24"/>
                        </a:cubicBezTo>
                        <a:close/>
                        <a:moveTo>
                          <a:pt x="89" y="24"/>
                        </a:moveTo>
                        <a:cubicBezTo>
                          <a:pt x="89" y="24"/>
                          <a:pt x="89" y="24"/>
                          <a:pt x="89" y="24"/>
                        </a:cubicBezTo>
                        <a:cubicBezTo>
                          <a:pt x="89" y="24"/>
                          <a:pt x="89" y="24"/>
                          <a:pt x="89" y="24"/>
                        </a:cubicBezTo>
                        <a:close/>
                        <a:moveTo>
                          <a:pt x="89" y="23"/>
                        </a:moveTo>
                        <a:cubicBezTo>
                          <a:pt x="89" y="24"/>
                          <a:pt x="90" y="23"/>
                          <a:pt x="90" y="24"/>
                        </a:cubicBezTo>
                        <a:cubicBezTo>
                          <a:pt x="90" y="24"/>
                          <a:pt x="90" y="24"/>
                          <a:pt x="90" y="24"/>
                        </a:cubicBezTo>
                        <a:cubicBezTo>
                          <a:pt x="90" y="24"/>
                          <a:pt x="91" y="24"/>
                          <a:pt x="91" y="24"/>
                        </a:cubicBezTo>
                        <a:cubicBezTo>
                          <a:pt x="91" y="24"/>
                          <a:pt x="91" y="24"/>
                          <a:pt x="91" y="24"/>
                        </a:cubicBezTo>
                        <a:cubicBezTo>
                          <a:pt x="91" y="24"/>
                          <a:pt x="91" y="24"/>
                          <a:pt x="91" y="24"/>
                        </a:cubicBezTo>
                        <a:cubicBezTo>
                          <a:pt x="91" y="24"/>
                          <a:pt x="91" y="24"/>
                          <a:pt x="91" y="24"/>
                        </a:cubicBezTo>
                        <a:cubicBezTo>
                          <a:pt x="91" y="24"/>
                          <a:pt x="91" y="24"/>
                          <a:pt x="92" y="24"/>
                        </a:cubicBezTo>
                        <a:cubicBezTo>
                          <a:pt x="91" y="24"/>
                          <a:pt x="91" y="24"/>
                          <a:pt x="91" y="24"/>
                        </a:cubicBezTo>
                        <a:cubicBezTo>
                          <a:pt x="91" y="24"/>
                          <a:pt x="90" y="24"/>
                          <a:pt x="90" y="24"/>
                        </a:cubicBezTo>
                        <a:cubicBezTo>
                          <a:pt x="90" y="24"/>
                          <a:pt x="90" y="24"/>
                          <a:pt x="90" y="24"/>
                        </a:cubicBezTo>
                        <a:cubicBezTo>
                          <a:pt x="90" y="24"/>
                          <a:pt x="90" y="24"/>
                          <a:pt x="89" y="24"/>
                        </a:cubicBezTo>
                        <a:cubicBezTo>
                          <a:pt x="89" y="24"/>
                          <a:pt x="89" y="24"/>
                          <a:pt x="89" y="23"/>
                        </a:cubicBezTo>
                        <a:close/>
                        <a:moveTo>
                          <a:pt x="90" y="24"/>
                        </a:moveTo>
                        <a:cubicBezTo>
                          <a:pt x="90" y="24"/>
                          <a:pt x="91" y="24"/>
                          <a:pt x="91" y="24"/>
                        </a:cubicBezTo>
                        <a:cubicBezTo>
                          <a:pt x="90" y="24"/>
                          <a:pt x="90" y="24"/>
                          <a:pt x="90" y="24"/>
                        </a:cubicBezTo>
                        <a:close/>
                        <a:moveTo>
                          <a:pt x="90" y="27"/>
                        </a:moveTo>
                        <a:cubicBezTo>
                          <a:pt x="90" y="27"/>
                          <a:pt x="90" y="27"/>
                          <a:pt x="90" y="27"/>
                        </a:cubicBezTo>
                        <a:cubicBezTo>
                          <a:pt x="90" y="27"/>
                          <a:pt x="90" y="27"/>
                          <a:pt x="90" y="27"/>
                        </a:cubicBezTo>
                        <a:cubicBezTo>
                          <a:pt x="90" y="27"/>
                          <a:pt x="90" y="27"/>
                          <a:pt x="90" y="27"/>
                        </a:cubicBezTo>
                        <a:cubicBezTo>
                          <a:pt x="90" y="27"/>
                          <a:pt x="90" y="27"/>
                          <a:pt x="90" y="27"/>
                        </a:cubicBezTo>
                        <a:close/>
                        <a:moveTo>
                          <a:pt x="89" y="26"/>
                        </a:moveTo>
                        <a:cubicBezTo>
                          <a:pt x="89" y="26"/>
                          <a:pt x="90" y="26"/>
                          <a:pt x="90" y="26"/>
                        </a:cubicBezTo>
                        <a:cubicBezTo>
                          <a:pt x="90" y="26"/>
                          <a:pt x="90" y="26"/>
                          <a:pt x="90" y="26"/>
                        </a:cubicBezTo>
                        <a:cubicBezTo>
                          <a:pt x="90" y="26"/>
                          <a:pt x="90" y="26"/>
                          <a:pt x="90" y="26"/>
                        </a:cubicBezTo>
                        <a:cubicBezTo>
                          <a:pt x="90" y="26"/>
                          <a:pt x="90" y="26"/>
                          <a:pt x="90" y="26"/>
                        </a:cubicBezTo>
                        <a:cubicBezTo>
                          <a:pt x="90" y="26"/>
                          <a:pt x="90" y="27"/>
                          <a:pt x="89" y="26"/>
                        </a:cubicBezTo>
                        <a:cubicBezTo>
                          <a:pt x="90" y="26"/>
                          <a:pt x="90" y="27"/>
                          <a:pt x="90" y="27"/>
                        </a:cubicBezTo>
                        <a:cubicBezTo>
                          <a:pt x="90" y="27"/>
                          <a:pt x="89" y="27"/>
                          <a:pt x="89" y="27"/>
                        </a:cubicBezTo>
                        <a:cubicBezTo>
                          <a:pt x="89" y="27"/>
                          <a:pt x="89" y="27"/>
                          <a:pt x="90" y="27"/>
                        </a:cubicBezTo>
                        <a:cubicBezTo>
                          <a:pt x="89" y="26"/>
                          <a:pt x="89" y="27"/>
                          <a:pt x="89" y="26"/>
                        </a:cubicBezTo>
                        <a:cubicBezTo>
                          <a:pt x="89" y="27"/>
                          <a:pt x="89" y="27"/>
                          <a:pt x="89" y="27"/>
                        </a:cubicBezTo>
                        <a:cubicBezTo>
                          <a:pt x="89" y="27"/>
                          <a:pt x="89" y="27"/>
                          <a:pt x="89" y="27"/>
                        </a:cubicBezTo>
                        <a:cubicBezTo>
                          <a:pt x="89" y="27"/>
                          <a:pt x="89" y="27"/>
                          <a:pt x="88" y="27"/>
                        </a:cubicBezTo>
                        <a:cubicBezTo>
                          <a:pt x="89" y="26"/>
                          <a:pt x="88" y="26"/>
                          <a:pt x="89" y="26"/>
                        </a:cubicBezTo>
                        <a:cubicBezTo>
                          <a:pt x="88" y="26"/>
                          <a:pt x="88" y="26"/>
                          <a:pt x="88" y="26"/>
                        </a:cubicBezTo>
                        <a:cubicBezTo>
                          <a:pt x="88" y="26"/>
                          <a:pt x="88" y="26"/>
                          <a:pt x="88" y="26"/>
                        </a:cubicBezTo>
                        <a:cubicBezTo>
                          <a:pt x="88" y="26"/>
                          <a:pt x="88" y="27"/>
                          <a:pt x="88" y="27"/>
                        </a:cubicBezTo>
                        <a:cubicBezTo>
                          <a:pt x="88" y="26"/>
                          <a:pt x="88" y="26"/>
                          <a:pt x="88" y="26"/>
                        </a:cubicBezTo>
                        <a:cubicBezTo>
                          <a:pt x="88" y="26"/>
                          <a:pt x="88" y="26"/>
                          <a:pt x="87" y="26"/>
                        </a:cubicBezTo>
                        <a:cubicBezTo>
                          <a:pt x="87" y="26"/>
                          <a:pt x="87" y="26"/>
                          <a:pt x="87" y="26"/>
                        </a:cubicBezTo>
                        <a:cubicBezTo>
                          <a:pt x="87" y="26"/>
                          <a:pt x="87" y="26"/>
                          <a:pt x="87" y="26"/>
                        </a:cubicBezTo>
                        <a:cubicBezTo>
                          <a:pt x="86" y="26"/>
                          <a:pt x="86" y="26"/>
                          <a:pt x="86" y="25"/>
                        </a:cubicBezTo>
                        <a:cubicBezTo>
                          <a:pt x="86" y="25"/>
                          <a:pt x="87" y="26"/>
                          <a:pt x="87" y="26"/>
                        </a:cubicBezTo>
                        <a:cubicBezTo>
                          <a:pt x="87" y="26"/>
                          <a:pt x="87" y="26"/>
                          <a:pt x="87" y="26"/>
                        </a:cubicBezTo>
                        <a:cubicBezTo>
                          <a:pt x="87" y="26"/>
                          <a:pt x="87" y="26"/>
                          <a:pt x="88" y="26"/>
                        </a:cubicBezTo>
                        <a:cubicBezTo>
                          <a:pt x="88" y="26"/>
                          <a:pt x="88" y="26"/>
                          <a:pt x="88" y="26"/>
                        </a:cubicBezTo>
                        <a:cubicBezTo>
                          <a:pt x="88" y="26"/>
                          <a:pt x="89" y="26"/>
                          <a:pt x="89" y="26"/>
                        </a:cubicBezTo>
                        <a:cubicBezTo>
                          <a:pt x="89" y="26"/>
                          <a:pt x="90" y="26"/>
                          <a:pt x="89" y="26"/>
                        </a:cubicBezTo>
                        <a:close/>
                        <a:moveTo>
                          <a:pt x="89" y="24"/>
                        </a:moveTo>
                        <a:cubicBezTo>
                          <a:pt x="89" y="24"/>
                          <a:pt x="89" y="24"/>
                          <a:pt x="89" y="24"/>
                        </a:cubicBezTo>
                        <a:cubicBezTo>
                          <a:pt x="89" y="24"/>
                          <a:pt x="89" y="24"/>
                          <a:pt x="89" y="24"/>
                        </a:cubicBezTo>
                        <a:cubicBezTo>
                          <a:pt x="90" y="24"/>
                          <a:pt x="90" y="24"/>
                          <a:pt x="91" y="25"/>
                        </a:cubicBezTo>
                        <a:cubicBezTo>
                          <a:pt x="91" y="25"/>
                          <a:pt x="91" y="25"/>
                          <a:pt x="91" y="25"/>
                        </a:cubicBezTo>
                        <a:cubicBezTo>
                          <a:pt x="91" y="25"/>
                          <a:pt x="91" y="25"/>
                          <a:pt x="91" y="25"/>
                        </a:cubicBezTo>
                        <a:cubicBezTo>
                          <a:pt x="91" y="25"/>
                          <a:pt x="91" y="25"/>
                          <a:pt x="91" y="25"/>
                        </a:cubicBezTo>
                        <a:cubicBezTo>
                          <a:pt x="91" y="25"/>
                          <a:pt x="91" y="25"/>
                          <a:pt x="91" y="25"/>
                        </a:cubicBezTo>
                        <a:cubicBezTo>
                          <a:pt x="91" y="25"/>
                          <a:pt x="91" y="25"/>
                          <a:pt x="91" y="25"/>
                        </a:cubicBezTo>
                        <a:cubicBezTo>
                          <a:pt x="91" y="25"/>
                          <a:pt x="92" y="25"/>
                          <a:pt x="92" y="25"/>
                        </a:cubicBezTo>
                        <a:cubicBezTo>
                          <a:pt x="92" y="25"/>
                          <a:pt x="91" y="25"/>
                          <a:pt x="91" y="25"/>
                        </a:cubicBezTo>
                        <a:cubicBezTo>
                          <a:pt x="91" y="25"/>
                          <a:pt x="91" y="25"/>
                          <a:pt x="90" y="25"/>
                        </a:cubicBezTo>
                        <a:cubicBezTo>
                          <a:pt x="90" y="25"/>
                          <a:pt x="90" y="25"/>
                          <a:pt x="90" y="25"/>
                        </a:cubicBezTo>
                        <a:cubicBezTo>
                          <a:pt x="90" y="25"/>
                          <a:pt x="90" y="25"/>
                          <a:pt x="90" y="25"/>
                        </a:cubicBezTo>
                        <a:cubicBezTo>
                          <a:pt x="90" y="25"/>
                          <a:pt x="89" y="24"/>
                          <a:pt x="89" y="24"/>
                        </a:cubicBezTo>
                        <a:cubicBezTo>
                          <a:pt x="89" y="24"/>
                          <a:pt x="89" y="24"/>
                          <a:pt x="89" y="24"/>
                        </a:cubicBezTo>
                        <a:close/>
                        <a:moveTo>
                          <a:pt x="90" y="24"/>
                        </a:moveTo>
                        <a:cubicBezTo>
                          <a:pt x="90" y="24"/>
                          <a:pt x="90" y="24"/>
                          <a:pt x="90" y="24"/>
                        </a:cubicBezTo>
                        <a:cubicBezTo>
                          <a:pt x="90" y="24"/>
                          <a:pt x="90" y="24"/>
                          <a:pt x="90" y="24"/>
                        </a:cubicBezTo>
                        <a:close/>
                        <a:moveTo>
                          <a:pt x="88" y="29"/>
                        </a:moveTo>
                        <a:cubicBezTo>
                          <a:pt x="88" y="29"/>
                          <a:pt x="89" y="29"/>
                          <a:pt x="89" y="29"/>
                        </a:cubicBezTo>
                        <a:cubicBezTo>
                          <a:pt x="89" y="30"/>
                          <a:pt x="89" y="30"/>
                          <a:pt x="89" y="30"/>
                        </a:cubicBezTo>
                        <a:cubicBezTo>
                          <a:pt x="89" y="30"/>
                          <a:pt x="88" y="29"/>
                          <a:pt x="88" y="29"/>
                        </a:cubicBezTo>
                        <a:cubicBezTo>
                          <a:pt x="88" y="30"/>
                          <a:pt x="88" y="29"/>
                          <a:pt x="88" y="29"/>
                        </a:cubicBezTo>
                        <a:close/>
                        <a:moveTo>
                          <a:pt x="88" y="27"/>
                        </a:moveTo>
                        <a:cubicBezTo>
                          <a:pt x="88" y="27"/>
                          <a:pt x="88" y="27"/>
                          <a:pt x="88" y="27"/>
                        </a:cubicBezTo>
                        <a:cubicBezTo>
                          <a:pt x="88" y="27"/>
                          <a:pt x="89" y="27"/>
                          <a:pt x="89" y="28"/>
                        </a:cubicBezTo>
                        <a:cubicBezTo>
                          <a:pt x="89" y="28"/>
                          <a:pt x="89" y="28"/>
                          <a:pt x="89" y="28"/>
                        </a:cubicBezTo>
                        <a:cubicBezTo>
                          <a:pt x="89" y="28"/>
                          <a:pt x="89" y="28"/>
                          <a:pt x="89" y="28"/>
                        </a:cubicBezTo>
                        <a:cubicBezTo>
                          <a:pt x="89" y="28"/>
                          <a:pt x="89" y="28"/>
                          <a:pt x="89" y="28"/>
                        </a:cubicBezTo>
                        <a:cubicBezTo>
                          <a:pt x="89" y="28"/>
                          <a:pt x="89" y="28"/>
                          <a:pt x="88" y="27"/>
                        </a:cubicBezTo>
                        <a:cubicBezTo>
                          <a:pt x="88" y="28"/>
                          <a:pt x="87" y="27"/>
                          <a:pt x="87" y="27"/>
                        </a:cubicBezTo>
                        <a:cubicBezTo>
                          <a:pt x="87" y="27"/>
                          <a:pt x="87" y="27"/>
                          <a:pt x="88" y="27"/>
                        </a:cubicBezTo>
                        <a:close/>
                        <a:moveTo>
                          <a:pt x="88" y="29"/>
                        </a:moveTo>
                        <a:cubicBezTo>
                          <a:pt x="88" y="29"/>
                          <a:pt x="88" y="29"/>
                          <a:pt x="88" y="29"/>
                        </a:cubicBezTo>
                        <a:cubicBezTo>
                          <a:pt x="88" y="29"/>
                          <a:pt x="89" y="29"/>
                          <a:pt x="89" y="29"/>
                        </a:cubicBezTo>
                        <a:cubicBezTo>
                          <a:pt x="88" y="29"/>
                          <a:pt x="88" y="29"/>
                          <a:pt x="88" y="29"/>
                        </a:cubicBezTo>
                        <a:cubicBezTo>
                          <a:pt x="88" y="29"/>
                          <a:pt x="88" y="29"/>
                          <a:pt x="88" y="29"/>
                        </a:cubicBezTo>
                        <a:cubicBezTo>
                          <a:pt x="88" y="29"/>
                          <a:pt x="88" y="29"/>
                          <a:pt x="88" y="29"/>
                        </a:cubicBezTo>
                        <a:cubicBezTo>
                          <a:pt x="88" y="29"/>
                          <a:pt x="88" y="29"/>
                          <a:pt x="88" y="29"/>
                        </a:cubicBezTo>
                        <a:close/>
                        <a:moveTo>
                          <a:pt x="88" y="31"/>
                        </a:moveTo>
                        <a:cubicBezTo>
                          <a:pt x="88" y="31"/>
                          <a:pt x="88" y="31"/>
                          <a:pt x="88" y="31"/>
                        </a:cubicBezTo>
                        <a:cubicBezTo>
                          <a:pt x="88" y="31"/>
                          <a:pt x="88" y="31"/>
                          <a:pt x="88" y="31"/>
                        </a:cubicBezTo>
                        <a:cubicBezTo>
                          <a:pt x="88" y="31"/>
                          <a:pt x="88" y="31"/>
                          <a:pt x="88" y="31"/>
                        </a:cubicBezTo>
                        <a:close/>
                        <a:moveTo>
                          <a:pt x="89" y="25"/>
                        </a:moveTo>
                        <a:cubicBezTo>
                          <a:pt x="89" y="25"/>
                          <a:pt x="89" y="25"/>
                          <a:pt x="90" y="25"/>
                        </a:cubicBezTo>
                        <a:cubicBezTo>
                          <a:pt x="89" y="25"/>
                          <a:pt x="89" y="25"/>
                          <a:pt x="90" y="25"/>
                        </a:cubicBezTo>
                        <a:cubicBezTo>
                          <a:pt x="90" y="25"/>
                          <a:pt x="89" y="25"/>
                          <a:pt x="89" y="25"/>
                        </a:cubicBezTo>
                        <a:close/>
                        <a:moveTo>
                          <a:pt x="86" y="28"/>
                        </a:moveTo>
                        <a:cubicBezTo>
                          <a:pt x="86" y="28"/>
                          <a:pt x="85" y="28"/>
                          <a:pt x="85" y="28"/>
                        </a:cubicBezTo>
                        <a:cubicBezTo>
                          <a:pt x="86" y="28"/>
                          <a:pt x="86" y="28"/>
                          <a:pt x="86" y="28"/>
                        </a:cubicBezTo>
                        <a:cubicBezTo>
                          <a:pt x="86" y="28"/>
                          <a:pt x="86" y="28"/>
                          <a:pt x="86" y="28"/>
                        </a:cubicBezTo>
                        <a:cubicBezTo>
                          <a:pt x="87" y="28"/>
                          <a:pt x="86" y="29"/>
                          <a:pt x="86" y="29"/>
                        </a:cubicBezTo>
                        <a:cubicBezTo>
                          <a:pt x="87" y="29"/>
                          <a:pt x="87" y="29"/>
                          <a:pt x="87" y="29"/>
                        </a:cubicBezTo>
                        <a:cubicBezTo>
                          <a:pt x="87" y="29"/>
                          <a:pt x="87" y="28"/>
                          <a:pt x="87" y="28"/>
                        </a:cubicBezTo>
                        <a:cubicBezTo>
                          <a:pt x="87" y="28"/>
                          <a:pt x="87" y="28"/>
                          <a:pt x="87" y="28"/>
                        </a:cubicBezTo>
                        <a:cubicBezTo>
                          <a:pt x="87" y="29"/>
                          <a:pt x="87" y="29"/>
                          <a:pt x="87" y="29"/>
                        </a:cubicBezTo>
                        <a:cubicBezTo>
                          <a:pt x="87" y="29"/>
                          <a:pt x="87" y="29"/>
                          <a:pt x="88" y="29"/>
                        </a:cubicBezTo>
                        <a:cubicBezTo>
                          <a:pt x="87" y="29"/>
                          <a:pt x="86" y="28"/>
                          <a:pt x="86" y="29"/>
                        </a:cubicBezTo>
                        <a:cubicBezTo>
                          <a:pt x="85" y="28"/>
                          <a:pt x="85" y="28"/>
                          <a:pt x="85" y="28"/>
                        </a:cubicBezTo>
                        <a:cubicBezTo>
                          <a:pt x="85" y="28"/>
                          <a:pt x="85" y="28"/>
                          <a:pt x="86" y="28"/>
                        </a:cubicBezTo>
                        <a:close/>
                        <a:moveTo>
                          <a:pt x="89" y="25"/>
                        </a:moveTo>
                        <a:cubicBezTo>
                          <a:pt x="89" y="25"/>
                          <a:pt x="89" y="25"/>
                          <a:pt x="89" y="25"/>
                        </a:cubicBezTo>
                        <a:cubicBezTo>
                          <a:pt x="89" y="24"/>
                          <a:pt x="88" y="24"/>
                          <a:pt x="88" y="24"/>
                        </a:cubicBezTo>
                        <a:cubicBezTo>
                          <a:pt x="88" y="24"/>
                          <a:pt x="88" y="24"/>
                          <a:pt x="89" y="24"/>
                        </a:cubicBezTo>
                        <a:cubicBezTo>
                          <a:pt x="88" y="24"/>
                          <a:pt x="88" y="24"/>
                          <a:pt x="87" y="24"/>
                        </a:cubicBezTo>
                        <a:cubicBezTo>
                          <a:pt x="87" y="24"/>
                          <a:pt x="87" y="24"/>
                          <a:pt x="87" y="24"/>
                        </a:cubicBezTo>
                        <a:cubicBezTo>
                          <a:pt x="87" y="24"/>
                          <a:pt x="87" y="24"/>
                          <a:pt x="86" y="24"/>
                        </a:cubicBezTo>
                        <a:cubicBezTo>
                          <a:pt x="86" y="24"/>
                          <a:pt x="86" y="24"/>
                          <a:pt x="86" y="24"/>
                        </a:cubicBezTo>
                        <a:cubicBezTo>
                          <a:pt x="86" y="24"/>
                          <a:pt x="86" y="23"/>
                          <a:pt x="85" y="23"/>
                        </a:cubicBezTo>
                        <a:cubicBezTo>
                          <a:pt x="85" y="23"/>
                          <a:pt x="86" y="23"/>
                          <a:pt x="86" y="23"/>
                        </a:cubicBezTo>
                        <a:cubicBezTo>
                          <a:pt x="87" y="24"/>
                          <a:pt x="88" y="24"/>
                          <a:pt x="88" y="24"/>
                        </a:cubicBezTo>
                        <a:cubicBezTo>
                          <a:pt x="88" y="24"/>
                          <a:pt x="88" y="24"/>
                          <a:pt x="88" y="24"/>
                        </a:cubicBezTo>
                        <a:cubicBezTo>
                          <a:pt x="89" y="24"/>
                          <a:pt x="89" y="24"/>
                          <a:pt x="89" y="24"/>
                        </a:cubicBezTo>
                        <a:cubicBezTo>
                          <a:pt x="89" y="24"/>
                          <a:pt x="89" y="24"/>
                          <a:pt x="89" y="24"/>
                        </a:cubicBezTo>
                        <a:cubicBezTo>
                          <a:pt x="89" y="24"/>
                          <a:pt x="89" y="24"/>
                          <a:pt x="89" y="25"/>
                        </a:cubicBezTo>
                        <a:cubicBezTo>
                          <a:pt x="89" y="25"/>
                          <a:pt x="89" y="25"/>
                          <a:pt x="89" y="25"/>
                        </a:cubicBezTo>
                        <a:close/>
                        <a:moveTo>
                          <a:pt x="86" y="28"/>
                        </a:moveTo>
                        <a:cubicBezTo>
                          <a:pt x="86" y="28"/>
                          <a:pt x="86" y="28"/>
                          <a:pt x="86" y="28"/>
                        </a:cubicBezTo>
                        <a:cubicBezTo>
                          <a:pt x="86" y="28"/>
                          <a:pt x="86" y="28"/>
                          <a:pt x="86" y="27"/>
                        </a:cubicBezTo>
                        <a:cubicBezTo>
                          <a:pt x="86" y="27"/>
                          <a:pt x="87" y="28"/>
                          <a:pt x="88" y="28"/>
                        </a:cubicBezTo>
                        <a:cubicBezTo>
                          <a:pt x="87" y="28"/>
                          <a:pt x="86" y="28"/>
                          <a:pt x="86" y="28"/>
                        </a:cubicBezTo>
                        <a:close/>
                        <a:moveTo>
                          <a:pt x="88" y="24"/>
                        </a:moveTo>
                        <a:cubicBezTo>
                          <a:pt x="88" y="23"/>
                          <a:pt x="88" y="23"/>
                          <a:pt x="88" y="24"/>
                        </a:cubicBezTo>
                        <a:cubicBezTo>
                          <a:pt x="88" y="24"/>
                          <a:pt x="88" y="24"/>
                          <a:pt x="88" y="24"/>
                        </a:cubicBezTo>
                        <a:close/>
                        <a:moveTo>
                          <a:pt x="85" y="30"/>
                        </a:moveTo>
                        <a:cubicBezTo>
                          <a:pt x="85" y="30"/>
                          <a:pt x="85" y="30"/>
                          <a:pt x="85" y="30"/>
                        </a:cubicBezTo>
                        <a:cubicBezTo>
                          <a:pt x="85" y="30"/>
                          <a:pt x="85" y="30"/>
                          <a:pt x="85" y="30"/>
                        </a:cubicBezTo>
                        <a:close/>
                        <a:moveTo>
                          <a:pt x="86" y="26"/>
                        </a:moveTo>
                        <a:cubicBezTo>
                          <a:pt x="86" y="25"/>
                          <a:pt x="85" y="25"/>
                          <a:pt x="85" y="25"/>
                        </a:cubicBezTo>
                        <a:cubicBezTo>
                          <a:pt x="85" y="25"/>
                          <a:pt x="84" y="25"/>
                          <a:pt x="84" y="25"/>
                        </a:cubicBezTo>
                        <a:cubicBezTo>
                          <a:pt x="84" y="25"/>
                          <a:pt x="85" y="25"/>
                          <a:pt x="85" y="25"/>
                        </a:cubicBezTo>
                        <a:cubicBezTo>
                          <a:pt x="86" y="25"/>
                          <a:pt x="86" y="25"/>
                          <a:pt x="86" y="25"/>
                        </a:cubicBezTo>
                        <a:cubicBezTo>
                          <a:pt x="86" y="25"/>
                          <a:pt x="86" y="25"/>
                          <a:pt x="86" y="26"/>
                        </a:cubicBezTo>
                        <a:cubicBezTo>
                          <a:pt x="86" y="26"/>
                          <a:pt x="86" y="26"/>
                          <a:pt x="86" y="25"/>
                        </a:cubicBezTo>
                        <a:cubicBezTo>
                          <a:pt x="86" y="26"/>
                          <a:pt x="86" y="26"/>
                          <a:pt x="86" y="26"/>
                        </a:cubicBezTo>
                        <a:cubicBezTo>
                          <a:pt x="86" y="26"/>
                          <a:pt x="86" y="26"/>
                          <a:pt x="86" y="26"/>
                        </a:cubicBezTo>
                        <a:cubicBezTo>
                          <a:pt x="86" y="26"/>
                          <a:pt x="86" y="26"/>
                          <a:pt x="86" y="26"/>
                        </a:cubicBezTo>
                        <a:close/>
                        <a:moveTo>
                          <a:pt x="84" y="31"/>
                        </a:moveTo>
                        <a:cubicBezTo>
                          <a:pt x="84" y="31"/>
                          <a:pt x="84" y="31"/>
                          <a:pt x="84" y="31"/>
                        </a:cubicBezTo>
                        <a:cubicBezTo>
                          <a:pt x="84" y="31"/>
                          <a:pt x="84" y="31"/>
                          <a:pt x="84" y="31"/>
                        </a:cubicBezTo>
                        <a:cubicBezTo>
                          <a:pt x="84" y="31"/>
                          <a:pt x="83" y="31"/>
                          <a:pt x="84" y="31"/>
                        </a:cubicBezTo>
                        <a:close/>
                        <a:moveTo>
                          <a:pt x="86" y="22"/>
                        </a:moveTo>
                        <a:cubicBezTo>
                          <a:pt x="86" y="22"/>
                          <a:pt x="86" y="22"/>
                          <a:pt x="86" y="22"/>
                        </a:cubicBezTo>
                        <a:cubicBezTo>
                          <a:pt x="86" y="22"/>
                          <a:pt x="86" y="22"/>
                          <a:pt x="85" y="22"/>
                        </a:cubicBezTo>
                        <a:cubicBezTo>
                          <a:pt x="85" y="22"/>
                          <a:pt x="86" y="22"/>
                          <a:pt x="86" y="22"/>
                        </a:cubicBezTo>
                        <a:close/>
                        <a:moveTo>
                          <a:pt x="85" y="25"/>
                        </a:moveTo>
                        <a:cubicBezTo>
                          <a:pt x="85" y="25"/>
                          <a:pt x="85" y="25"/>
                          <a:pt x="85" y="25"/>
                        </a:cubicBezTo>
                        <a:cubicBezTo>
                          <a:pt x="84" y="25"/>
                          <a:pt x="85" y="25"/>
                          <a:pt x="85" y="25"/>
                        </a:cubicBezTo>
                        <a:close/>
                        <a:moveTo>
                          <a:pt x="81" y="31"/>
                        </a:moveTo>
                        <a:cubicBezTo>
                          <a:pt x="81" y="31"/>
                          <a:pt x="81" y="31"/>
                          <a:pt x="80" y="31"/>
                        </a:cubicBezTo>
                        <a:cubicBezTo>
                          <a:pt x="81" y="31"/>
                          <a:pt x="81" y="31"/>
                          <a:pt x="81" y="31"/>
                        </a:cubicBezTo>
                        <a:cubicBezTo>
                          <a:pt x="81" y="31"/>
                          <a:pt x="81" y="31"/>
                          <a:pt x="81" y="31"/>
                        </a:cubicBezTo>
                        <a:cubicBezTo>
                          <a:pt x="81" y="31"/>
                          <a:pt x="82" y="31"/>
                          <a:pt x="81" y="31"/>
                        </a:cubicBezTo>
                        <a:close/>
                        <a:moveTo>
                          <a:pt x="81" y="31"/>
                        </a:moveTo>
                        <a:cubicBezTo>
                          <a:pt x="81" y="31"/>
                          <a:pt x="81" y="31"/>
                          <a:pt x="81" y="31"/>
                        </a:cubicBezTo>
                        <a:cubicBezTo>
                          <a:pt x="81" y="31"/>
                          <a:pt x="81" y="31"/>
                          <a:pt x="81" y="31"/>
                        </a:cubicBezTo>
                        <a:cubicBezTo>
                          <a:pt x="81" y="30"/>
                          <a:pt x="80" y="30"/>
                          <a:pt x="80" y="30"/>
                        </a:cubicBezTo>
                        <a:cubicBezTo>
                          <a:pt x="80" y="30"/>
                          <a:pt x="80" y="30"/>
                          <a:pt x="81" y="30"/>
                        </a:cubicBezTo>
                        <a:cubicBezTo>
                          <a:pt x="81" y="30"/>
                          <a:pt x="81" y="30"/>
                          <a:pt x="81" y="31"/>
                        </a:cubicBezTo>
                        <a:cubicBezTo>
                          <a:pt x="81" y="31"/>
                          <a:pt x="81" y="31"/>
                          <a:pt x="81" y="30"/>
                        </a:cubicBezTo>
                        <a:cubicBezTo>
                          <a:pt x="81" y="30"/>
                          <a:pt x="81" y="31"/>
                          <a:pt x="81" y="31"/>
                        </a:cubicBezTo>
                        <a:cubicBezTo>
                          <a:pt x="81" y="31"/>
                          <a:pt x="81" y="31"/>
                          <a:pt x="81" y="31"/>
                        </a:cubicBezTo>
                        <a:close/>
                        <a:moveTo>
                          <a:pt x="82" y="22"/>
                        </a:moveTo>
                        <a:cubicBezTo>
                          <a:pt x="82" y="22"/>
                          <a:pt x="82" y="22"/>
                          <a:pt x="82" y="22"/>
                        </a:cubicBezTo>
                        <a:cubicBezTo>
                          <a:pt x="82" y="22"/>
                          <a:pt x="83" y="22"/>
                          <a:pt x="83" y="23"/>
                        </a:cubicBezTo>
                        <a:cubicBezTo>
                          <a:pt x="83" y="22"/>
                          <a:pt x="83" y="23"/>
                          <a:pt x="83" y="22"/>
                        </a:cubicBezTo>
                        <a:cubicBezTo>
                          <a:pt x="83" y="22"/>
                          <a:pt x="83" y="23"/>
                          <a:pt x="83" y="23"/>
                        </a:cubicBezTo>
                        <a:cubicBezTo>
                          <a:pt x="83" y="23"/>
                          <a:pt x="82" y="23"/>
                          <a:pt x="82" y="22"/>
                        </a:cubicBezTo>
                        <a:close/>
                        <a:moveTo>
                          <a:pt x="83" y="21"/>
                        </a:moveTo>
                        <a:cubicBezTo>
                          <a:pt x="83" y="21"/>
                          <a:pt x="83" y="21"/>
                          <a:pt x="83" y="21"/>
                        </a:cubicBezTo>
                        <a:cubicBezTo>
                          <a:pt x="83" y="21"/>
                          <a:pt x="83" y="21"/>
                          <a:pt x="83" y="21"/>
                        </a:cubicBezTo>
                        <a:cubicBezTo>
                          <a:pt x="83" y="21"/>
                          <a:pt x="83" y="21"/>
                          <a:pt x="83" y="21"/>
                        </a:cubicBezTo>
                        <a:cubicBezTo>
                          <a:pt x="83" y="21"/>
                          <a:pt x="83" y="21"/>
                          <a:pt x="83" y="21"/>
                        </a:cubicBezTo>
                        <a:cubicBezTo>
                          <a:pt x="83" y="21"/>
                          <a:pt x="83" y="21"/>
                          <a:pt x="83" y="21"/>
                        </a:cubicBezTo>
                        <a:close/>
                        <a:moveTo>
                          <a:pt x="80" y="21"/>
                        </a:moveTo>
                        <a:cubicBezTo>
                          <a:pt x="80" y="20"/>
                          <a:pt x="80" y="20"/>
                          <a:pt x="80" y="20"/>
                        </a:cubicBezTo>
                        <a:cubicBezTo>
                          <a:pt x="80" y="20"/>
                          <a:pt x="80" y="20"/>
                          <a:pt x="80" y="20"/>
                        </a:cubicBezTo>
                        <a:cubicBezTo>
                          <a:pt x="81" y="20"/>
                          <a:pt x="82" y="21"/>
                          <a:pt x="83" y="21"/>
                        </a:cubicBezTo>
                        <a:cubicBezTo>
                          <a:pt x="83" y="21"/>
                          <a:pt x="82" y="21"/>
                          <a:pt x="82" y="21"/>
                        </a:cubicBezTo>
                        <a:cubicBezTo>
                          <a:pt x="82" y="21"/>
                          <a:pt x="82" y="21"/>
                          <a:pt x="82" y="21"/>
                        </a:cubicBezTo>
                        <a:cubicBezTo>
                          <a:pt x="82" y="21"/>
                          <a:pt x="82" y="21"/>
                          <a:pt x="82" y="21"/>
                        </a:cubicBezTo>
                        <a:cubicBezTo>
                          <a:pt x="82" y="21"/>
                          <a:pt x="82" y="21"/>
                          <a:pt x="82" y="21"/>
                        </a:cubicBezTo>
                        <a:cubicBezTo>
                          <a:pt x="81" y="21"/>
                          <a:pt x="81" y="21"/>
                          <a:pt x="81" y="20"/>
                        </a:cubicBezTo>
                        <a:cubicBezTo>
                          <a:pt x="81" y="21"/>
                          <a:pt x="81" y="21"/>
                          <a:pt x="81" y="21"/>
                        </a:cubicBezTo>
                        <a:cubicBezTo>
                          <a:pt x="81" y="21"/>
                          <a:pt x="81" y="21"/>
                          <a:pt x="80" y="21"/>
                        </a:cubicBezTo>
                        <a:close/>
                        <a:moveTo>
                          <a:pt x="82" y="22"/>
                        </a:moveTo>
                        <a:cubicBezTo>
                          <a:pt x="82" y="22"/>
                          <a:pt x="81" y="22"/>
                          <a:pt x="81" y="22"/>
                        </a:cubicBezTo>
                        <a:cubicBezTo>
                          <a:pt x="82" y="22"/>
                          <a:pt x="82" y="22"/>
                          <a:pt x="82" y="22"/>
                        </a:cubicBezTo>
                        <a:cubicBezTo>
                          <a:pt x="82" y="22"/>
                          <a:pt x="82" y="22"/>
                          <a:pt x="82" y="22"/>
                        </a:cubicBezTo>
                        <a:close/>
                        <a:moveTo>
                          <a:pt x="78" y="22"/>
                        </a:moveTo>
                        <a:cubicBezTo>
                          <a:pt x="79" y="22"/>
                          <a:pt x="80" y="22"/>
                          <a:pt x="81" y="23"/>
                        </a:cubicBezTo>
                        <a:cubicBezTo>
                          <a:pt x="81" y="23"/>
                          <a:pt x="81" y="23"/>
                          <a:pt x="80" y="23"/>
                        </a:cubicBezTo>
                        <a:cubicBezTo>
                          <a:pt x="80" y="23"/>
                          <a:pt x="80" y="23"/>
                          <a:pt x="80" y="23"/>
                        </a:cubicBezTo>
                        <a:cubicBezTo>
                          <a:pt x="81" y="23"/>
                          <a:pt x="81" y="23"/>
                          <a:pt x="81" y="23"/>
                        </a:cubicBezTo>
                        <a:cubicBezTo>
                          <a:pt x="81" y="23"/>
                          <a:pt x="81" y="23"/>
                          <a:pt x="81" y="23"/>
                        </a:cubicBezTo>
                        <a:cubicBezTo>
                          <a:pt x="81" y="23"/>
                          <a:pt x="81" y="23"/>
                          <a:pt x="80" y="23"/>
                        </a:cubicBezTo>
                        <a:cubicBezTo>
                          <a:pt x="80" y="23"/>
                          <a:pt x="81" y="23"/>
                          <a:pt x="81" y="23"/>
                        </a:cubicBezTo>
                        <a:cubicBezTo>
                          <a:pt x="81" y="23"/>
                          <a:pt x="81" y="23"/>
                          <a:pt x="81" y="23"/>
                        </a:cubicBezTo>
                        <a:cubicBezTo>
                          <a:pt x="81" y="23"/>
                          <a:pt x="81" y="24"/>
                          <a:pt x="81" y="24"/>
                        </a:cubicBezTo>
                        <a:cubicBezTo>
                          <a:pt x="81" y="24"/>
                          <a:pt x="81" y="24"/>
                          <a:pt x="81" y="24"/>
                        </a:cubicBezTo>
                        <a:cubicBezTo>
                          <a:pt x="81" y="24"/>
                          <a:pt x="81" y="23"/>
                          <a:pt x="81" y="23"/>
                        </a:cubicBezTo>
                        <a:cubicBezTo>
                          <a:pt x="81" y="24"/>
                          <a:pt x="81" y="24"/>
                          <a:pt x="81" y="24"/>
                        </a:cubicBezTo>
                        <a:cubicBezTo>
                          <a:pt x="81" y="24"/>
                          <a:pt x="80" y="24"/>
                          <a:pt x="80" y="24"/>
                        </a:cubicBezTo>
                        <a:cubicBezTo>
                          <a:pt x="80" y="24"/>
                          <a:pt x="80" y="24"/>
                          <a:pt x="80" y="24"/>
                        </a:cubicBezTo>
                        <a:cubicBezTo>
                          <a:pt x="80" y="23"/>
                          <a:pt x="80" y="24"/>
                          <a:pt x="80" y="23"/>
                        </a:cubicBezTo>
                        <a:cubicBezTo>
                          <a:pt x="80" y="23"/>
                          <a:pt x="80" y="23"/>
                          <a:pt x="80" y="23"/>
                        </a:cubicBezTo>
                        <a:cubicBezTo>
                          <a:pt x="80" y="23"/>
                          <a:pt x="80" y="23"/>
                          <a:pt x="80" y="23"/>
                        </a:cubicBezTo>
                        <a:cubicBezTo>
                          <a:pt x="79" y="23"/>
                          <a:pt x="79" y="23"/>
                          <a:pt x="79" y="23"/>
                        </a:cubicBezTo>
                        <a:cubicBezTo>
                          <a:pt x="79" y="23"/>
                          <a:pt x="79" y="23"/>
                          <a:pt x="79" y="23"/>
                        </a:cubicBezTo>
                        <a:cubicBezTo>
                          <a:pt x="79" y="23"/>
                          <a:pt x="79" y="23"/>
                          <a:pt x="80" y="23"/>
                        </a:cubicBezTo>
                        <a:cubicBezTo>
                          <a:pt x="80" y="23"/>
                          <a:pt x="80" y="23"/>
                          <a:pt x="80" y="23"/>
                        </a:cubicBezTo>
                        <a:cubicBezTo>
                          <a:pt x="80" y="23"/>
                          <a:pt x="79" y="23"/>
                          <a:pt x="79" y="23"/>
                        </a:cubicBezTo>
                        <a:cubicBezTo>
                          <a:pt x="79" y="23"/>
                          <a:pt x="79" y="23"/>
                          <a:pt x="79" y="23"/>
                        </a:cubicBezTo>
                        <a:cubicBezTo>
                          <a:pt x="78" y="23"/>
                          <a:pt x="78" y="23"/>
                          <a:pt x="78" y="23"/>
                        </a:cubicBezTo>
                        <a:cubicBezTo>
                          <a:pt x="78" y="23"/>
                          <a:pt x="78" y="23"/>
                          <a:pt x="78" y="23"/>
                        </a:cubicBezTo>
                        <a:cubicBezTo>
                          <a:pt x="78" y="22"/>
                          <a:pt x="77" y="22"/>
                          <a:pt x="76" y="22"/>
                        </a:cubicBezTo>
                        <a:cubicBezTo>
                          <a:pt x="76" y="22"/>
                          <a:pt x="77" y="22"/>
                          <a:pt x="77" y="22"/>
                        </a:cubicBezTo>
                        <a:cubicBezTo>
                          <a:pt x="77" y="22"/>
                          <a:pt x="78" y="22"/>
                          <a:pt x="77" y="22"/>
                        </a:cubicBezTo>
                        <a:cubicBezTo>
                          <a:pt x="78" y="22"/>
                          <a:pt x="78" y="22"/>
                          <a:pt x="78" y="22"/>
                        </a:cubicBezTo>
                        <a:cubicBezTo>
                          <a:pt x="78" y="22"/>
                          <a:pt x="79" y="22"/>
                          <a:pt x="79" y="23"/>
                        </a:cubicBezTo>
                        <a:cubicBezTo>
                          <a:pt x="79" y="23"/>
                          <a:pt x="79" y="23"/>
                          <a:pt x="80" y="23"/>
                        </a:cubicBezTo>
                        <a:cubicBezTo>
                          <a:pt x="80" y="23"/>
                          <a:pt x="80" y="23"/>
                          <a:pt x="80" y="23"/>
                        </a:cubicBezTo>
                        <a:cubicBezTo>
                          <a:pt x="79" y="23"/>
                          <a:pt x="79" y="23"/>
                          <a:pt x="79" y="23"/>
                        </a:cubicBezTo>
                        <a:cubicBezTo>
                          <a:pt x="79" y="22"/>
                          <a:pt x="79" y="22"/>
                          <a:pt x="79" y="22"/>
                        </a:cubicBezTo>
                        <a:cubicBezTo>
                          <a:pt x="78" y="22"/>
                          <a:pt x="78" y="22"/>
                          <a:pt x="78" y="22"/>
                        </a:cubicBezTo>
                        <a:cubicBezTo>
                          <a:pt x="78" y="22"/>
                          <a:pt x="78" y="22"/>
                          <a:pt x="78" y="22"/>
                        </a:cubicBezTo>
                        <a:close/>
                        <a:moveTo>
                          <a:pt x="81" y="22"/>
                        </a:moveTo>
                        <a:cubicBezTo>
                          <a:pt x="81" y="22"/>
                          <a:pt x="81" y="22"/>
                          <a:pt x="81" y="22"/>
                        </a:cubicBezTo>
                        <a:cubicBezTo>
                          <a:pt x="81" y="22"/>
                          <a:pt x="81" y="22"/>
                          <a:pt x="81" y="22"/>
                        </a:cubicBezTo>
                        <a:cubicBezTo>
                          <a:pt x="81" y="22"/>
                          <a:pt x="81" y="22"/>
                          <a:pt x="81" y="22"/>
                        </a:cubicBezTo>
                        <a:cubicBezTo>
                          <a:pt x="81" y="22"/>
                          <a:pt x="81" y="22"/>
                          <a:pt x="81" y="22"/>
                        </a:cubicBezTo>
                        <a:cubicBezTo>
                          <a:pt x="81" y="22"/>
                          <a:pt x="81" y="22"/>
                          <a:pt x="82" y="22"/>
                        </a:cubicBezTo>
                        <a:cubicBezTo>
                          <a:pt x="81" y="22"/>
                          <a:pt x="81" y="22"/>
                          <a:pt x="81" y="22"/>
                        </a:cubicBezTo>
                        <a:cubicBezTo>
                          <a:pt x="81" y="22"/>
                          <a:pt x="81" y="22"/>
                          <a:pt x="81" y="22"/>
                        </a:cubicBezTo>
                        <a:cubicBezTo>
                          <a:pt x="81" y="22"/>
                          <a:pt x="81" y="22"/>
                          <a:pt x="81" y="22"/>
                        </a:cubicBezTo>
                        <a:close/>
                        <a:moveTo>
                          <a:pt x="79" y="23"/>
                        </a:moveTo>
                        <a:cubicBezTo>
                          <a:pt x="79" y="23"/>
                          <a:pt x="79" y="23"/>
                          <a:pt x="79" y="23"/>
                        </a:cubicBezTo>
                        <a:cubicBezTo>
                          <a:pt x="79" y="24"/>
                          <a:pt x="79" y="23"/>
                          <a:pt x="79" y="23"/>
                        </a:cubicBezTo>
                        <a:cubicBezTo>
                          <a:pt x="79" y="23"/>
                          <a:pt x="78" y="23"/>
                          <a:pt x="78" y="23"/>
                        </a:cubicBezTo>
                        <a:cubicBezTo>
                          <a:pt x="78" y="23"/>
                          <a:pt x="78" y="23"/>
                          <a:pt x="79" y="23"/>
                        </a:cubicBezTo>
                        <a:close/>
                        <a:moveTo>
                          <a:pt x="74" y="25"/>
                        </a:moveTo>
                        <a:cubicBezTo>
                          <a:pt x="74" y="26"/>
                          <a:pt x="74" y="25"/>
                          <a:pt x="74" y="25"/>
                        </a:cubicBezTo>
                        <a:cubicBezTo>
                          <a:pt x="74" y="25"/>
                          <a:pt x="74" y="25"/>
                          <a:pt x="74" y="25"/>
                        </a:cubicBezTo>
                        <a:cubicBezTo>
                          <a:pt x="74" y="25"/>
                          <a:pt x="74" y="25"/>
                          <a:pt x="74" y="25"/>
                        </a:cubicBezTo>
                        <a:close/>
                        <a:moveTo>
                          <a:pt x="74" y="20"/>
                        </a:moveTo>
                        <a:cubicBezTo>
                          <a:pt x="74" y="20"/>
                          <a:pt x="74" y="20"/>
                          <a:pt x="74" y="20"/>
                        </a:cubicBezTo>
                        <a:cubicBezTo>
                          <a:pt x="74" y="20"/>
                          <a:pt x="74" y="20"/>
                          <a:pt x="74" y="20"/>
                        </a:cubicBezTo>
                        <a:cubicBezTo>
                          <a:pt x="74" y="19"/>
                          <a:pt x="73" y="19"/>
                          <a:pt x="73" y="19"/>
                        </a:cubicBezTo>
                        <a:cubicBezTo>
                          <a:pt x="73" y="19"/>
                          <a:pt x="73" y="19"/>
                          <a:pt x="73" y="19"/>
                        </a:cubicBezTo>
                        <a:cubicBezTo>
                          <a:pt x="73" y="19"/>
                          <a:pt x="74" y="19"/>
                          <a:pt x="75" y="19"/>
                        </a:cubicBezTo>
                        <a:cubicBezTo>
                          <a:pt x="75" y="19"/>
                          <a:pt x="75" y="19"/>
                          <a:pt x="75" y="19"/>
                        </a:cubicBezTo>
                        <a:cubicBezTo>
                          <a:pt x="75" y="20"/>
                          <a:pt x="75" y="20"/>
                          <a:pt x="75" y="20"/>
                        </a:cubicBezTo>
                        <a:cubicBezTo>
                          <a:pt x="75" y="19"/>
                          <a:pt x="75" y="19"/>
                          <a:pt x="74" y="19"/>
                        </a:cubicBezTo>
                        <a:cubicBezTo>
                          <a:pt x="74" y="20"/>
                          <a:pt x="74" y="20"/>
                          <a:pt x="74" y="20"/>
                        </a:cubicBezTo>
                        <a:cubicBezTo>
                          <a:pt x="74" y="20"/>
                          <a:pt x="74" y="20"/>
                          <a:pt x="74" y="20"/>
                        </a:cubicBezTo>
                        <a:cubicBezTo>
                          <a:pt x="75" y="20"/>
                          <a:pt x="75" y="20"/>
                          <a:pt x="75" y="20"/>
                        </a:cubicBezTo>
                        <a:cubicBezTo>
                          <a:pt x="75" y="20"/>
                          <a:pt x="75" y="20"/>
                          <a:pt x="75" y="20"/>
                        </a:cubicBezTo>
                        <a:cubicBezTo>
                          <a:pt x="75" y="20"/>
                          <a:pt x="74" y="20"/>
                          <a:pt x="74" y="20"/>
                        </a:cubicBezTo>
                        <a:close/>
                        <a:moveTo>
                          <a:pt x="74" y="20"/>
                        </a:moveTo>
                        <a:cubicBezTo>
                          <a:pt x="74" y="19"/>
                          <a:pt x="74" y="19"/>
                          <a:pt x="74" y="19"/>
                        </a:cubicBezTo>
                        <a:cubicBezTo>
                          <a:pt x="74" y="19"/>
                          <a:pt x="74" y="19"/>
                          <a:pt x="74" y="19"/>
                        </a:cubicBezTo>
                        <a:cubicBezTo>
                          <a:pt x="74" y="20"/>
                          <a:pt x="74" y="20"/>
                          <a:pt x="74" y="20"/>
                        </a:cubicBezTo>
                        <a:close/>
                        <a:moveTo>
                          <a:pt x="71" y="28"/>
                        </a:moveTo>
                        <a:cubicBezTo>
                          <a:pt x="71" y="28"/>
                          <a:pt x="71" y="28"/>
                          <a:pt x="71" y="28"/>
                        </a:cubicBezTo>
                        <a:cubicBezTo>
                          <a:pt x="71" y="28"/>
                          <a:pt x="71" y="28"/>
                          <a:pt x="71" y="28"/>
                        </a:cubicBezTo>
                        <a:close/>
                        <a:moveTo>
                          <a:pt x="71" y="22"/>
                        </a:moveTo>
                        <a:cubicBezTo>
                          <a:pt x="70" y="22"/>
                          <a:pt x="70" y="23"/>
                          <a:pt x="71" y="23"/>
                        </a:cubicBezTo>
                        <a:cubicBezTo>
                          <a:pt x="70" y="23"/>
                          <a:pt x="70" y="22"/>
                          <a:pt x="70" y="23"/>
                        </a:cubicBezTo>
                        <a:cubicBezTo>
                          <a:pt x="71" y="23"/>
                          <a:pt x="71" y="23"/>
                          <a:pt x="71" y="23"/>
                        </a:cubicBezTo>
                        <a:cubicBezTo>
                          <a:pt x="72" y="23"/>
                          <a:pt x="71" y="23"/>
                          <a:pt x="71" y="23"/>
                        </a:cubicBezTo>
                        <a:cubicBezTo>
                          <a:pt x="71" y="23"/>
                          <a:pt x="71" y="23"/>
                          <a:pt x="71" y="23"/>
                        </a:cubicBezTo>
                        <a:cubicBezTo>
                          <a:pt x="70" y="23"/>
                          <a:pt x="70" y="23"/>
                          <a:pt x="70" y="22"/>
                        </a:cubicBezTo>
                        <a:cubicBezTo>
                          <a:pt x="70" y="23"/>
                          <a:pt x="70" y="23"/>
                          <a:pt x="70" y="22"/>
                        </a:cubicBezTo>
                        <a:cubicBezTo>
                          <a:pt x="70" y="22"/>
                          <a:pt x="70" y="22"/>
                          <a:pt x="70" y="22"/>
                        </a:cubicBezTo>
                        <a:cubicBezTo>
                          <a:pt x="70" y="22"/>
                          <a:pt x="70" y="22"/>
                          <a:pt x="70" y="22"/>
                        </a:cubicBezTo>
                        <a:cubicBezTo>
                          <a:pt x="70" y="22"/>
                          <a:pt x="69" y="22"/>
                          <a:pt x="69" y="22"/>
                        </a:cubicBezTo>
                        <a:cubicBezTo>
                          <a:pt x="69" y="22"/>
                          <a:pt x="69" y="22"/>
                          <a:pt x="70" y="22"/>
                        </a:cubicBezTo>
                        <a:cubicBezTo>
                          <a:pt x="70" y="22"/>
                          <a:pt x="70" y="22"/>
                          <a:pt x="71" y="22"/>
                        </a:cubicBezTo>
                        <a:close/>
                        <a:moveTo>
                          <a:pt x="72" y="23"/>
                        </a:moveTo>
                        <a:cubicBezTo>
                          <a:pt x="72" y="23"/>
                          <a:pt x="72" y="23"/>
                          <a:pt x="72" y="23"/>
                        </a:cubicBezTo>
                        <a:cubicBezTo>
                          <a:pt x="72" y="23"/>
                          <a:pt x="72" y="23"/>
                          <a:pt x="72" y="23"/>
                        </a:cubicBezTo>
                        <a:cubicBezTo>
                          <a:pt x="72" y="24"/>
                          <a:pt x="72" y="23"/>
                          <a:pt x="72" y="23"/>
                        </a:cubicBezTo>
                        <a:cubicBezTo>
                          <a:pt x="72" y="23"/>
                          <a:pt x="72" y="23"/>
                          <a:pt x="72" y="23"/>
                        </a:cubicBezTo>
                        <a:cubicBezTo>
                          <a:pt x="72" y="23"/>
                          <a:pt x="71" y="23"/>
                          <a:pt x="71" y="23"/>
                        </a:cubicBezTo>
                        <a:cubicBezTo>
                          <a:pt x="72" y="23"/>
                          <a:pt x="72" y="23"/>
                          <a:pt x="72" y="23"/>
                        </a:cubicBezTo>
                        <a:close/>
                        <a:moveTo>
                          <a:pt x="70" y="27"/>
                        </a:moveTo>
                        <a:cubicBezTo>
                          <a:pt x="70" y="27"/>
                          <a:pt x="70" y="28"/>
                          <a:pt x="70" y="28"/>
                        </a:cubicBezTo>
                        <a:cubicBezTo>
                          <a:pt x="70" y="28"/>
                          <a:pt x="70" y="28"/>
                          <a:pt x="70" y="28"/>
                        </a:cubicBezTo>
                        <a:cubicBezTo>
                          <a:pt x="70" y="28"/>
                          <a:pt x="70" y="28"/>
                          <a:pt x="70" y="28"/>
                        </a:cubicBezTo>
                        <a:cubicBezTo>
                          <a:pt x="70" y="28"/>
                          <a:pt x="69" y="28"/>
                          <a:pt x="70" y="27"/>
                        </a:cubicBezTo>
                        <a:cubicBezTo>
                          <a:pt x="69" y="27"/>
                          <a:pt x="69" y="27"/>
                          <a:pt x="69" y="27"/>
                        </a:cubicBezTo>
                        <a:cubicBezTo>
                          <a:pt x="69" y="28"/>
                          <a:pt x="69" y="27"/>
                          <a:pt x="69" y="27"/>
                        </a:cubicBezTo>
                        <a:cubicBezTo>
                          <a:pt x="69" y="27"/>
                          <a:pt x="69" y="27"/>
                          <a:pt x="70" y="27"/>
                        </a:cubicBezTo>
                        <a:close/>
                        <a:moveTo>
                          <a:pt x="72" y="19"/>
                        </a:moveTo>
                        <a:cubicBezTo>
                          <a:pt x="72" y="19"/>
                          <a:pt x="71" y="19"/>
                          <a:pt x="71" y="19"/>
                        </a:cubicBezTo>
                        <a:cubicBezTo>
                          <a:pt x="71" y="19"/>
                          <a:pt x="71" y="19"/>
                          <a:pt x="71" y="18"/>
                        </a:cubicBezTo>
                        <a:cubicBezTo>
                          <a:pt x="71" y="18"/>
                          <a:pt x="71" y="19"/>
                          <a:pt x="71" y="19"/>
                        </a:cubicBezTo>
                        <a:cubicBezTo>
                          <a:pt x="71" y="18"/>
                          <a:pt x="71" y="18"/>
                          <a:pt x="71" y="18"/>
                        </a:cubicBezTo>
                        <a:cubicBezTo>
                          <a:pt x="71" y="18"/>
                          <a:pt x="71" y="18"/>
                          <a:pt x="71" y="18"/>
                        </a:cubicBezTo>
                        <a:cubicBezTo>
                          <a:pt x="71" y="18"/>
                          <a:pt x="71" y="18"/>
                          <a:pt x="71" y="18"/>
                        </a:cubicBezTo>
                        <a:cubicBezTo>
                          <a:pt x="71" y="18"/>
                          <a:pt x="71" y="18"/>
                          <a:pt x="72" y="18"/>
                        </a:cubicBezTo>
                        <a:cubicBezTo>
                          <a:pt x="72" y="18"/>
                          <a:pt x="72" y="18"/>
                          <a:pt x="72" y="18"/>
                        </a:cubicBezTo>
                        <a:cubicBezTo>
                          <a:pt x="72" y="18"/>
                          <a:pt x="72" y="19"/>
                          <a:pt x="72" y="19"/>
                        </a:cubicBezTo>
                        <a:cubicBezTo>
                          <a:pt x="72" y="19"/>
                          <a:pt x="72" y="19"/>
                          <a:pt x="71" y="18"/>
                        </a:cubicBezTo>
                        <a:cubicBezTo>
                          <a:pt x="71" y="19"/>
                          <a:pt x="72" y="19"/>
                          <a:pt x="72" y="19"/>
                        </a:cubicBezTo>
                        <a:close/>
                        <a:moveTo>
                          <a:pt x="69" y="28"/>
                        </a:moveTo>
                        <a:cubicBezTo>
                          <a:pt x="69" y="28"/>
                          <a:pt x="69" y="28"/>
                          <a:pt x="69" y="28"/>
                        </a:cubicBezTo>
                        <a:cubicBezTo>
                          <a:pt x="69" y="28"/>
                          <a:pt x="69" y="28"/>
                          <a:pt x="69" y="28"/>
                        </a:cubicBezTo>
                        <a:cubicBezTo>
                          <a:pt x="69" y="28"/>
                          <a:pt x="68" y="28"/>
                          <a:pt x="68" y="28"/>
                        </a:cubicBezTo>
                        <a:lnTo>
                          <a:pt x="69" y="28"/>
                        </a:lnTo>
                        <a:close/>
                        <a:moveTo>
                          <a:pt x="63" y="24"/>
                        </a:moveTo>
                        <a:cubicBezTo>
                          <a:pt x="63" y="25"/>
                          <a:pt x="63" y="24"/>
                          <a:pt x="63" y="24"/>
                        </a:cubicBezTo>
                        <a:cubicBezTo>
                          <a:pt x="63" y="24"/>
                          <a:pt x="63" y="24"/>
                          <a:pt x="63" y="24"/>
                        </a:cubicBezTo>
                        <a:cubicBezTo>
                          <a:pt x="63" y="24"/>
                          <a:pt x="64" y="25"/>
                          <a:pt x="64" y="24"/>
                        </a:cubicBezTo>
                        <a:cubicBezTo>
                          <a:pt x="64" y="24"/>
                          <a:pt x="64" y="24"/>
                          <a:pt x="64" y="24"/>
                        </a:cubicBezTo>
                        <a:cubicBezTo>
                          <a:pt x="64" y="25"/>
                          <a:pt x="64" y="25"/>
                          <a:pt x="64" y="25"/>
                        </a:cubicBezTo>
                        <a:cubicBezTo>
                          <a:pt x="64" y="25"/>
                          <a:pt x="64" y="25"/>
                          <a:pt x="64" y="25"/>
                        </a:cubicBezTo>
                        <a:cubicBezTo>
                          <a:pt x="64" y="25"/>
                          <a:pt x="64" y="25"/>
                          <a:pt x="63" y="24"/>
                        </a:cubicBezTo>
                        <a:close/>
                        <a:moveTo>
                          <a:pt x="60" y="23"/>
                        </a:moveTo>
                        <a:cubicBezTo>
                          <a:pt x="60" y="23"/>
                          <a:pt x="60" y="23"/>
                          <a:pt x="60" y="23"/>
                        </a:cubicBezTo>
                        <a:cubicBezTo>
                          <a:pt x="60" y="23"/>
                          <a:pt x="60" y="23"/>
                          <a:pt x="61" y="23"/>
                        </a:cubicBezTo>
                        <a:cubicBezTo>
                          <a:pt x="61" y="23"/>
                          <a:pt x="60" y="23"/>
                          <a:pt x="60" y="23"/>
                        </a:cubicBezTo>
                        <a:cubicBezTo>
                          <a:pt x="60" y="23"/>
                          <a:pt x="60" y="23"/>
                          <a:pt x="60" y="23"/>
                        </a:cubicBezTo>
                        <a:cubicBezTo>
                          <a:pt x="60" y="23"/>
                          <a:pt x="59" y="23"/>
                          <a:pt x="59" y="22"/>
                        </a:cubicBezTo>
                        <a:cubicBezTo>
                          <a:pt x="59" y="23"/>
                          <a:pt x="59" y="23"/>
                          <a:pt x="60" y="23"/>
                        </a:cubicBezTo>
                        <a:close/>
                        <a:moveTo>
                          <a:pt x="63" y="25"/>
                        </a:moveTo>
                        <a:cubicBezTo>
                          <a:pt x="62" y="25"/>
                          <a:pt x="62" y="25"/>
                          <a:pt x="62" y="25"/>
                        </a:cubicBezTo>
                        <a:cubicBezTo>
                          <a:pt x="62" y="24"/>
                          <a:pt x="62" y="25"/>
                          <a:pt x="62" y="24"/>
                        </a:cubicBezTo>
                        <a:cubicBezTo>
                          <a:pt x="63" y="24"/>
                          <a:pt x="63" y="25"/>
                          <a:pt x="63" y="25"/>
                        </a:cubicBezTo>
                        <a:cubicBezTo>
                          <a:pt x="63" y="25"/>
                          <a:pt x="62" y="24"/>
                          <a:pt x="63" y="25"/>
                        </a:cubicBezTo>
                        <a:close/>
                        <a:moveTo>
                          <a:pt x="60" y="22"/>
                        </a:moveTo>
                        <a:cubicBezTo>
                          <a:pt x="61" y="22"/>
                          <a:pt x="61" y="22"/>
                          <a:pt x="61" y="22"/>
                        </a:cubicBezTo>
                        <a:cubicBezTo>
                          <a:pt x="61" y="22"/>
                          <a:pt x="61" y="22"/>
                          <a:pt x="61" y="22"/>
                        </a:cubicBezTo>
                        <a:cubicBezTo>
                          <a:pt x="61" y="22"/>
                          <a:pt x="61" y="22"/>
                          <a:pt x="61" y="22"/>
                        </a:cubicBezTo>
                        <a:cubicBezTo>
                          <a:pt x="61" y="22"/>
                          <a:pt x="61" y="22"/>
                          <a:pt x="60" y="22"/>
                        </a:cubicBezTo>
                        <a:close/>
                        <a:moveTo>
                          <a:pt x="59" y="22"/>
                        </a:moveTo>
                        <a:cubicBezTo>
                          <a:pt x="59" y="22"/>
                          <a:pt x="59" y="22"/>
                          <a:pt x="59" y="22"/>
                        </a:cubicBezTo>
                        <a:cubicBezTo>
                          <a:pt x="59" y="22"/>
                          <a:pt x="59" y="22"/>
                          <a:pt x="59" y="21"/>
                        </a:cubicBezTo>
                        <a:cubicBezTo>
                          <a:pt x="58" y="21"/>
                          <a:pt x="58" y="22"/>
                          <a:pt x="58" y="21"/>
                        </a:cubicBezTo>
                        <a:cubicBezTo>
                          <a:pt x="58" y="21"/>
                          <a:pt x="58" y="21"/>
                          <a:pt x="58" y="21"/>
                        </a:cubicBezTo>
                        <a:cubicBezTo>
                          <a:pt x="58" y="21"/>
                          <a:pt x="59" y="21"/>
                          <a:pt x="59" y="21"/>
                        </a:cubicBezTo>
                        <a:cubicBezTo>
                          <a:pt x="58" y="21"/>
                          <a:pt x="58" y="21"/>
                          <a:pt x="58" y="21"/>
                        </a:cubicBezTo>
                        <a:cubicBezTo>
                          <a:pt x="58" y="21"/>
                          <a:pt x="58" y="21"/>
                          <a:pt x="59" y="21"/>
                        </a:cubicBezTo>
                        <a:cubicBezTo>
                          <a:pt x="59" y="21"/>
                          <a:pt x="58" y="21"/>
                          <a:pt x="58" y="21"/>
                        </a:cubicBezTo>
                        <a:cubicBezTo>
                          <a:pt x="58" y="21"/>
                          <a:pt x="59" y="21"/>
                          <a:pt x="59" y="21"/>
                        </a:cubicBezTo>
                        <a:cubicBezTo>
                          <a:pt x="59" y="21"/>
                          <a:pt x="59" y="21"/>
                          <a:pt x="59" y="21"/>
                        </a:cubicBezTo>
                        <a:cubicBezTo>
                          <a:pt x="59" y="21"/>
                          <a:pt x="60" y="21"/>
                          <a:pt x="60" y="22"/>
                        </a:cubicBezTo>
                        <a:cubicBezTo>
                          <a:pt x="59" y="22"/>
                          <a:pt x="59" y="21"/>
                          <a:pt x="59" y="21"/>
                        </a:cubicBezTo>
                        <a:cubicBezTo>
                          <a:pt x="59" y="22"/>
                          <a:pt x="59" y="22"/>
                          <a:pt x="59" y="22"/>
                        </a:cubicBezTo>
                        <a:cubicBezTo>
                          <a:pt x="60" y="22"/>
                          <a:pt x="60" y="22"/>
                          <a:pt x="60" y="22"/>
                        </a:cubicBezTo>
                        <a:cubicBezTo>
                          <a:pt x="60" y="22"/>
                          <a:pt x="60" y="22"/>
                          <a:pt x="60" y="22"/>
                        </a:cubicBezTo>
                        <a:cubicBezTo>
                          <a:pt x="60" y="22"/>
                          <a:pt x="60" y="22"/>
                          <a:pt x="60" y="22"/>
                        </a:cubicBezTo>
                        <a:cubicBezTo>
                          <a:pt x="60" y="22"/>
                          <a:pt x="60" y="22"/>
                          <a:pt x="60" y="22"/>
                        </a:cubicBezTo>
                        <a:cubicBezTo>
                          <a:pt x="60" y="22"/>
                          <a:pt x="60" y="21"/>
                          <a:pt x="60" y="22"/>
                        </a:cubicBezTo>
                        <a:cubicBezTo>
                          <a:pt x="60" y="22"/>
                          <a:pt x="60" y="21"/>
                          <a:pt x="60" y="21"/>
                        </a:cubicBezTo>
                        <a:cubicBezTo>
                          <a:pt x="60" y="21"/>
                          <a:pt x="60" y="21"/>
                          <a:pt x="60" y="21"/>
                        </a:cubicBezTo>
                        <a:cubicBezTo>
                          <a:pt x="60" y="22"/>
                          <a:pt x="60" y="22"/>
                          <a:pt x="61" y="22"/>
                        </a:cubicBezTo>
                        <a:cubicBezTo>
                          <a:pt x="61" y="22"/>
                          <a:pt x="60" y="22"/>
                          <a:pt x="60" y="22"/>
                        </a:cubicBezTo>
                        <a:cubicBezTo>
                          <a:pt x="60" y="22"/>
                          <a:pt x="60" y="22"/>
                          <a:pt x="61" y="22"/>
                        </a:cubicBezTo>
                        <a:cubicBezTo>
                          <a:pt x="61" y="22"/>
                          <a:pt x="61" y="22"/>
                          <a:pt x="61" y="22"/>
                        </a:cubicBezTo>
                        <a:cubicBezTo>
                          <a:pt x="61" y="22"/>
                          <a:pt x="61" y="22"/>
                          <a:pt x="61" y="22"/>
                        </a:cubicBezTo>
                        <a:cubicBezTo>
                          <a:pt x="61" y="22"/>
                          <a:pt x="61" y="22"/>
                          <a:pt x="61" y="22"/>
                        </a:cubicBezTo>
                        <a:cubicBezTo>
                          <a:pt x="62" y="22"/>
                          <a:pt x="62" y="22"/>
                          <a:pt x="62" y="22"/>
                        </a:cubicBezTo>
                        <a:cubicBezTo>
                          <a:pt x="62" y="22"/>
                          <a:pt x="62" y="23"/>
                          <a:pt x="62" y="23"/>
                        </a:cubicBezTo>
                        <a:cubicBezTo>
                          <a:pt x="62" y="23"/>
                          <a:pt x="63" y="23"/>
                          <a:pt x="63" y="23"/>
                        </a:cubicBezTo>
                        <a:cubicBezTo>
                          <a:pt x="63" y="23"/>
                          <a:pt x="63" y="23"/>
                          <a:pt x="63" y="23"/>
                        </a:cubicBezTo>
                        <a:cubicBezTo>
                          <a:pt x="63" y="23"/>
                          <a:pt x="63" y="23"/>
                          <a:pt x="62" y="23"/>
                        </a:cubicBezTo>
                        <a:cubicBezTo>
                          <a:pt x="62" y="23"/>
                          <a:pt x="62" y="23"/>
                          <a:pt x="62" y="23"/>
                        </a:cubicBezTo>
                        <a:cubicBezTo>
                          <a:pt x="62" y="23"/>
                          <a:pt x="62" y="23"/>
                          <a:pt x="62" y="23"/>
                        </a:cubicBezTo>
                        <a:cubicBezTo>
                          <a:pt x="62" y="23"/>
                          <a:pt x="62" y="23"/>
                          <a:pt x="62" y="23"/>
                        </a:cubicBezTo>
                        <a:cubicBezTo>
                          <a:pt x="61" y="22"/>
                          <a:pt x="62" y="23"/>
                          <a:pt x="61" y="23"/>
                        </a:cubicBezTo>
                        <a:cubicBezTo>
                          <a:pt x="61" y="23"/>
                          <a:pt x="61" y="23"/>
                          <a:pt x="61" y="23"/>
                        </a:cubicBezTo>
                        <a:cubicBezTo>
                          <a:pt x="61" y="23"/>
                          <a:pt x="61" y="23"/>
                          <a:pt x="61" y="23"/>
                        </a:cubicBezTo>
                        <a:cubicBezTo>
                          <a:pt x="61" y="23"/>
                          <a:pt x="61" y="23"/>
                          <a:pt x="61" y="23"/>
                        </a:cubicBezTo>
                        <a:cubicBezTo>
                          <a:pt x="61" y="23"/>
                          <a:pt x="61" y="23"/>
                          <a:pt x="60" y="23"/>
                        </a:cubicBezTo>
                        <a:cubicBezTo>
                          <a:pt x="60" y="23"/>
                          <a:pt x="61" y="23"/>
                          <a:pt x="61" y="23"/>
                        </a:cubicBezTo>
                        <a:cubicBezTo>
                          <a:pt x="60" y="22"/>
                          <a:pt x="60" y="23"/>
                          <a:pt x="60" y="23"/>
                        </a:cubicBezTo>
                        <a:cubicBezTo>
                          <a:pt x="60" y="22"/>
                          <a:pt x="60" y="22"/>
                          <a:pt x="60" y="22"/>
                        </a:cubicBezTo>
                        <a:cubicBezTo>
                          <a:pt x="60" y="22"/>
                          <a:pt x="60" y="22"/>
                          <a:pt x="60" y="22"/>
                        </a:cubicBezTo>
                        <a:cubicBezTo>
                          <a:pt x="60" y="22"/>
                          <a:pt x="60" y="22"/>
                          <a:pt x="60" y="22"/>
                        </a:cubicBezTo>
                        <a:cubicBezTo>
                          <a:pt x="60" y="22"/>
                          <a:pt x="59" y="22"/>
                          <a:pt x="59" y="22"/>
                        </a:cubicBezTo>
                        <a:cubicBezTo>
                          <a:pt x="59" y="22"/>
                          <a:pt x="59" y="22"/>
                          <a:pt x="59" y="22"/>
                        </a:cubicBezTo>
                        <a:close/>
                        <a:moveTo>
                          <a:pt x="61" y="22"/>
                        </a:moveTo>
                        <a:cubicBezTo>
                          <a:pt x="61" y="23"/>
                          <a:pt x="61" y="22"/>
                          <a:pt x="61" y="22"/>
                        </a:cubicBezTo>
                        <a:cubicBezTo>
                          <a:pt x="61" y="22"/>
                          <a:pt x="61" y="22"/>
                          <a:pt x="61" y="22"/>
                        </a:cubicBezTo>
                        <a:cubicBezTo>
                          <a:pt x="61" y="22"/>
                          <a:pt x="61" y="22"/>
                          <a:pt x="61" y="22"/>
                        </a:cubicBezTo>
                        <a:close/>
                        <a:moveTo>
                          <a:pt x="63" y="24"/>
                        </a:moveTo>
                        <a:cubicBezTo>
                          <a:pt x="62" y="24"/>
                          <a:pt x="62" y="24"/>
                          <a:pt x="62" y="24"/>
                        </a:cubicBezTo>
                        <a:cubicBezTo>
                          <a:pt x="62" y="24"/>
                          <a:pt x="63" y="24"/>
                          <a:pt x="63" y="24"/>
                        </a:cubicBezTo>
                        <a:close/>
                        <a:moveTo>
                          <a:pt x="62" y="22"/>
                        </a:moveTo>
                        <a:cubicBezTo>
                          <a:pt x="62" y="22"/>
                          <a:pt x="62" y="22"/>
                          <a:pt x="61" y="22"/>
                        </a:cubicBezTo>
                        <a:cubicBezTo>
                          <a:pt x="61" y="22"/>
                          <a:pt x="62" y="22"/>
                          <a:pt x="61" y="22"/>
                        </a:cubicBezTo>
                        <a:cubicBezTo>
                          <a:pt x="61" y="21"/>
                          <a:pt x="62" y="22"/>
                          <a:pt x="62" y="22"/>
                        </a:cubicBezTo>
                        <a:cubicBezTo>
                          <a:pt x="62" y="22"/>
                          <a:pt x="62" y="22"/>
                          <a:pt x="63" y="22"/>
                        </a:cubicBezTo>
                        <a:cubicBezTo>
                          <a:pt x="63" y="22"/>
                          <a:pt x="62" y="22"/>
                          <a:pt x="62" y="22"/>
                        </a:cubicBezTo>
                        <a:cubicBezTo>
                          <a:pt x="62" y="22"/>
                          <a:pt x="62" y="22"/>
                          <a:pt x="62" y="22"/>
                        </a:cubicBezTo>
                        <a:close/>
                        <a:moveTo>
                          <a:pt x="61" y="25"/>
                        </a:move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1" y="25"/>
                          <a:pt x="61" y="25"/>
                        </a:cubicBezTo>
                        <a:close/>
                        <a:moveTo>
                          <a:pt x="62" y="19"/>
                        </a:moveTo>
                        <a:cubicBezTo>
                          <a:pt x="62" y="19"/>
                          <a:pt x="62" y="19"/>
                          <a:pt x="62" y="19"/>
                        </a:cubicBezTo>
                        <a:cubicBezTo>
                          <a:pt x="62" y="19"/>
                          <a:pt x="62" y="19"/>
                          <a:pt x="63" y="19"/>
                        </a:cubicBezTo>
                        <a:cubicBezTo>
                          <a:pt x="62" y="19"/>
                          <a:pt x="62" y="19"/>
                          <a:pt x="62" y="19"/>
                        </a:cubicBezTo>
                        <a:close/>
                        <a:moveTo>
                          <a:pt x="61" y="25"/>
                        </a:move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0" y="25"/>
                          <a:pt x="60" y="25"/>
                        </a:cubicBezTo>
                        <a:cubicBezTo>
                          <a:pt x="60" y="25"/>
                          <a:pt x="60" y="25"/>
                          <a:pt x="60" y="25"/>
                        </a:cubicBez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1" y="25"/>
                          <a:pt x="61" y="25"/>
                        </a:cubicBezTo>
                        <a:close/>
                        <a:moveTo>
                          <a:pt x="60" y="24"/>
                        </a:moveTo>
                        <a:cubicBezTo>
                          <a:pt x="60" y="24"/>
                          <a:pt x="60" y="24"/>
                          <a:pt x="60" y="24"/>
                        </a:cubicBezTo>
                        <a:cubicBezTo>
                          <a:pt x="60" y="24"/>
                          <a:pt x="60" y="24"/>
                          <a:pt x="60" y="24"/>
                        </a:cubicBezTo>
                        <a:cubicBezTo>
                          <a:pt x="60" y="24"/>
                          <a:pt x="60" y="24"/>
                          <a:pt x="60" y="24"/>
                        </a:cubicBezTo>
                        <a:cubicBezTo>
                          <a:pt x="60" y="24"/>
                          <a:pt x="60" y="24"/>
                          <a:pt x="60" y="24"/>
                        </a:cubicBezTo>
                        <a:cubicBezTo>
                          <a:pt x="60" y="24"/>
                          <a:pt x="60" y="24"/>
                          <a:pt x="60" y="24"/>
                        </a:cubicBezTo>
                        <a:cubicBezTo>
                          <a:pt x="60" y="24"/>
                          <a:pt x="60" y="24"/>
                          <a:pt x="60" y="24"/>
                        </a:cubicBezTo>
                        <a:cubicBezTo>
                          <a:pt x="60" y="24"/>
                          <a:pt x="60" y="24"/>
                          <a:pt x="60" y="24"/>
                        </a:cubicBezTo>
                        <a:close/>
                        <a:moveTo>
                          <a:pt x="57" y="23"/>
                        </a:moveTo>
                        <a:cubicBezTo>
                          <a:pt x="57" y="23"/>
                          <a:pt x="57" y="23"/>
                          <a:pt x="57" y="23"/>
                        </a:cubicBezTo>
                        <a:cubicBezTo>
                          <a:pt x="57" y="23"/>
                          <a:pt x="58" y="23"/>
                          <a:pt x="58" y="23"/>
                        </a:cubicBezTo>
                        <a:cubicBezTo>
                          <a:pt x="58" y="24"/>
                          <a:pt x="59" y="24"/>
                          <a:pt x="59" y="24"/>
                        </a:cubicBezTo>
                        <a:cubicBezTo>
                          <a:pt x="59" y="24"/>
                          <a:pt x="59" y="24"/>
                          <a:pt x="59" y="24"/>
                        </a:cubicBezTo>
                        <a:cubicBezTo>
                          <a:pt x="58" y="24"/>
                          <a:pt x="58" y="24"/>
                          <a:pt x="58" y="24"/>
                        </a:cubicBezTo>
                        <a:cubicBezTo>
                          <a:pt x="58" y="24"/>
                          <a:pt x="57" y="23"/>
                          <a:pt x="57" y="23"/>
                        </a:cubicBezTo>
                        <a:cubicBezTo>
                          <a:pt x="57" y="23"/>
                          <a:pt x="57" y="23"/>
                          <a:pt x="57" y="23"/>
                        </a:cubicBezTo>
                        <a:cubicBezTo>
                          <a:pt x="57" y="23"/>
                          <a:pt x="57" y="23"/>
                          <a:pt x="57" y="23"/>
                        </a:cubicBezTo>
                        <a:cubicBezTo>
                          <a:pt x="57" y="24"/>
                          <a:pt x="57" y="23"/>
                          <a:pt x="56" y="23"/>
                        </a:cubicBezTo>
                        <a:cubicBezTo>
                          <a:pt x="56" y="23"/>
                          <a:pt x="56" y="23"/>
                          <a:pt x="56" y="23"/>
                        </a:cubicBezTo>
                        <a:cubicBezTo>
                          <a:pt x="55" y="23"/>
                          <a:pt x="55" y="23"/>
                          <a:pt x="55" y="23"/>
                        </a:cubicBezTo>
                        <a:cubicBezTo>
                          <a:pt x="56" y="23"/>
                          <a:pt x="56" y="23"/>
                          <a:pt x="57" y="23"/>
                        </a:cubicBezTo>
                        <a:cubicBezTo>
                          <a:pt x="57" y="23"/>
                          <a:pt x="57" y="23"/>
                          <a:pt x="57" y="23"/>
                        </a:cubicBezTo>
                        <a:cubicBezTo>
                          <a:pt x="57" y="23"/>
                          <a:pt x="57" y="23"/>
                          <a:pt x="57" y="23"/>
                        </a:cubicBezTo>
                        <a:cubicBezTo>
                          <a:pt x="57" y="23"/>
                          <a:pt x="57" y="23"/>
                          <a:pt x="57" y="23"/>
                        </a:cubicBezTo>
                        <a:cubicBezTo>
                          <a:pt x="56" y="23"/>
                          <a:pt x="57" y="23"/>
                          <a:pt x="57" y="23"/>
                        </a:cubicBezTo>
                        <a:cubicBezTo>
                          <a:pt x="57" y="23"/>
                          <a:pt x="57" y="23"/>
                          <a:pt x="57" y="23"/>
                        </a:cubicBezTo>
                        <a:cubicBezTo>
                          <a:pt x="56" y="23"/>
                          <a:pt x="56" y="23"/>
                          <a:pt x="56" y="23"/>
                        </a:cubicBezTo>
                        <a:cubicBezTo>
                          <a:pt x="56" y="22"/>
                          <a:pt x="57" y="23"/>
                          <a:pt x="57" y="23"/>
                        </a:cubicBezTo>
                        <a:close/>
                        <a:moveTo>
                          <a:pt x="57" y="22"/>
                        </a:moveTo>
                        <a:cubicBezTo>
                          <a:pt x="57" y="22"/>
                          <a:pt x="57" y="22"/>
                          <a:pt x="57" y="22"/>
                        </a:cubicBezTo>
                        <a:cubicBezTo>
                          <a:pt x="57" y="22"/>
                          <a:pt x="57" y="22"/>
                          <a:pt x="57" y="22"/>
                        </a:cubicBezTo>
                        <a:cubicBezTo>
                          <a:pt x="57" y="22"/>
                          <a:pt x="57" y="22"/>
                          <a:pt x="57" y="22"/>
                        </a:cubicBezTo>
                        <a:cubicBezTo>
                          <a:pt x="56" y="22"/>
                          <a:pt x="57" y="22"/>
                          <a:pt x="56" y="22"/>
                        </a:cubicBezTo>
                        <a:cubicBezTo>
                          <a:pt x="56" y="22"/>
                          <a:pt x="56" y="22"/>
                          <a:pt x="56" y="22"/>
                        </a:cubicBezTo>
                        <a:cubicBezTo>
                          <a:pt x="56" y="22"/>
                          <a:pt x="56" y="22"/>
                          <a:pt x="56" y="22"/>
                        </a:cubicBezTo>
                        <a:cubicBezTo>
                          <a:pt x="56" y="22"/>
                          <a:pt x="57" y="22"/>
                          <a:pt x="56" y="22"/>
                        </a:cubicBezTo>
                        <a:cubicBezTo>
                          <a:pt x="57" y="22"/>
                          <a:pt x="57" y="22"/>
                          <a:pt x="57" y="22"/>
                        </a:cubicBezTo>
                        <a:close/>
                        <a:moveTo>
                          <a:pt x="59" y="22"/>
                        </a:moveTo>
                        <a:cubicBezTo>
                          <a:pt x="59" y="22"/>
                          <a:pt x="58" y="22"/>
                          <a:pt x="58" y="22"/>
                        </a:cubicBezTo>
                        <a:cubicBezTo>
                          <a:pt x="58" y="22"/>
                          <a:pt x="58" y="22"/>
                          <a:pt x="58" y="22"/>
                        </a:cubicBezTo>
                        <a:cubicBezTo>
                          <a:pt x="58" y="22"/>
                          <a:pt x="58" y="22"/>
                          <a:pt x="59" y="22"/>
                        </a:cubicBezTo>
                        <a:close/>
                        <a:moveTo>
                          <a:pt x="57" y="22"/>
                        </a:moveTo>
                        <a:cubicBezTo>
                          <a:pt x="57" y="22"/>
                          <a:pt x="57" y="22"/>
                          <a:pt x="58" y="22"/>
                        </a:cubicBezTo>
                        <a:cubicBezTo>
                          <a:pt x="58" y="22"/>
                          <a:pt x="58" y="22"/>
                          <a:pt x="58" y="22"/>
                        </a:cubicBezTo>
                        <a:cubicBezTo>
                          <a:pt x="58" y="22"/>
                          <a:pt x="57" y="22"/>
                          <a:pt x="57" y="22"/>
                        </a:cubicBezTo>
                        <a:close/>
                        <a:moveTo>
                          <a:pt x="58" y="22"/>
                        </a:moveTo>
                        <a:cubicBezTo>
                          <a:pt x="58" y="22"/>
                          <a:pt x="58" y="22"/>
                          <a:pt x="58" y="22"/>
                        </a:cubicBezTo>
                        <a:cubicBezTo>
                          <a:pt x="58" y="22"/>
                          <a:pt x="58" y="22"/>
                          <a:pt x="58" y="22"/>
                        </a:cubicBezTo>
                        <a:cubicBezTo>
                          <a:pt x="58" y="22"/>
                          <a:pt x="58" y="22"/>
                          <a:pt x="58" y="22"/>
                        </a:cubicBezTo>
                        <a:cubicBezTo>
                          <a:pt x="58" y="22"/>
                          <a:pt x="58" y="22"/>
                          <a:pt x="58" y="22"/>
                        </a:cubicBezTo>
                        <a:close/>
                        <a:moveTo>
                          <a:pt x="58" y="23"/>
                        </a:moveTo>
                        <a:cubicBezTo>
                          <a:pt x="58" y="23"/>
                          <a:pt x="58" y="23"/>
                          <a:pt x="58" y="23"/>
                        </a:cubicBezTo>
                        <a:cubicBezTo>
                          <a:pt x="58" y="23"/>
                          <a:pt x="57" y="23"/>
                          <a:pt x="57" y="23"/>
                        </a:cubicBezTo>
                        <a:lnTo>
                          <a:pt x="58" y="23"/>
                        </a:lnTo>
                        <a:close/>
                        <a:moveTo>
                          <a:pt x="56" y="21"/>
                        </a:moveTo>
                        <a:cubicBezTo>
                          <a:pt x="56" y="21"/>
                          <a:pt x="56" y="21"/>
                          <a:pt x="56" y="21"/>
                        </a:cubicBezTo>
                        <a:cubicBezTo>
                          <a:pt x="56" y="21"/>
                          <a:pt x="56" y="21"/>
                          <a:pt x="56" y="21"/>
                        </a:cubicBezTo>
                        <a:cubicBezTo>
                          <a:pt x="56" y="21"/>
                          <a:pt x="57" y="21"/>
                          <a:pt x="57" y="21"/>
                        </a:cubicBezTo>
                        <a:cubicBezTo>
                          <a:pt x="57" y="21"/>
                          <a:pt x="56" y="21"/>
                          <a:pt x="56" y="21"/>
                        </a:cubicBezTo>
                        <a:close/>
                        <a:moveTo>
                          <a:pt x="54" y="23"/>
                        </a:moveTo>
                        <a:cubicBezTo>
                          <a:pt x="54" y="23"/>
                          <a:pt x="54" y="23"/>
                          <a:pt x="54" y="23"/>
                        </a:cubicBezTo>
                        <a:cubicBezTo>
                          <a:pt x="54" y="23"/>
                          <a:pt x="54" y="23"/>
                          <a:pt x="54" y="23"/>
                        </a:cubicBezTo>
                        <a:cubicBezTo>
                          <a:pt x="54" y="23"/>
                          <a:pt x="54" y="23"/>
                          <a:pt x="54" y="23"/>
                        </a:cubicBezTo>
                        <a:cubicBezTo>
                          <a:pt x="54" y="22"/>
                          <a:pt x="54" y="23"/>
                          <a:pt x="54" y="23"/>
                        </a:cubicBezTo>
                        <a:close/>
                        <a:moveTo>
                          <a:pt x="54" y="23"/>
                        </a:moveTo>
                        <a:cubicBezTo>
                          <a:pt x="54" y="23"/>
                          <a:pt x="54" y="23"/>
                          <a:pt x="54" y="23"/>
                        </a:cubicBezTo>
                        <a:cubicBezTo>
                          <a:pt x="54" y="23"/>
                          <a:pt x="54" y="23"/>
                          <a:pt x="54" y="23"/>
                        </a:cubicBezTo>
                        <a:close/>
                        <a:moveTo>
                          <a:pt x="52" y="19"/>
                        </a:moveTo>
                        <a:cubicBezTo>
                          <a:pt x="52" y="19"/>
                          <a:pt x="52" y="19"/>
                          <a:pt x="51" y="19"/>
                        </a:cubicBezTo>
                        <a:cubicBezTo>
                          <a:pt x="52" y="19"/>
                          <a:pt x="51" y="19"/>
                          <a:pt x="52" y="19"/>
                        </a:cubicBezTo>
                        <a:cubicBezTo>
                          <a:pt x="52" y="19"/>
                          <a:pt x="52" y="19"/>
                          <a:pt x="52" y="19"/>
                        </a:cubicBezTo>
                        <a:cubicBezTo>
                          <a:pt x="52" y="19"/>
                          <a:pt x="52" y="19"/>
                          <a:pt x="52" y="19"/>
                        </a:cubicBezTo>
                        <a:close/>
                        <a:moveTo>
                          <a:pt x="51" y="19"/>
                        </a:moveTo>
                        <a:cubicBezTo>
                          <a:pt x="51" y="19"/>
                          <a:pt x="51" y="19"/>
                          <a:pt x="51" y="19"/>
                        </a:cubicBezTo>
                        <a:cubicBezTo>
                          <a:pt x="51" y="19"/>
                          <a:pt x="51" y="19"/>
                          <a:pt x="50" y="19"/>
                        </a:cubicBezTo>
                        <a:cubicBezTo>
                          <a:pt x="50" y="19"/>
                          <a:pt x="51" y="19"/>
                          <a:pt x="51" y="19"/>
                        </a:cubicBezTo>
                        <a:cubicBezTo>
                          <a:pt x="51" y="19"/>
                          <a:pt x="51" y="19"/>
                          <a:pt x="51" y="19"/>
                        </a:cubicBezTo>
                        <a:cubicBezTo>
                          <a:pt x="51" y="19"/>
                          <a:pt x="51" y="19"/>
                          <a:pt x="51" y="19"/>
                        </a:cubicBezTo>
                        <a:cubicBezTo>
                          <a:pt x="51" y="19"/>
                          <a:pt x="51" y="19"/>
                          <a:pt x="52" y="19"/>
                        </a:cubicBezTo>
                        <a:cubicBezTo>
                          <a:pt x="51" y="19"/>
                          <a:pt x="51" y="19"/>
                          <a:pt x="51" y="19"/>
                        </a:cubicBezTo>
                        <a:cubicBezTo>
                          <a:pt x="51" y="19"/>
                          <a:pt x="51" y="19"/>
                          <a:pt x="51" y="19"/>
                        </a:cubicBezTo>
                        <a:cubicBezTo>
                          <a:pt x="51" y="19"/>
                          <a:pt x="51" y="19"/>
                          <a:pt x="51" y="19"/>
                        </a:cubicBezTo>
                        <a:cubicBezTo>
                          <a:pt x="51" y="19"/>
                          <a:pt x="51" y="19"/>
                          <a:pt x="51" y="19"/>
                        </a:cubicBezTo>
                        <a:close/>
                        <a:moveTo>
                          <a:pt x="47" y="20"/>
                        </a:moveTo>
                        <a:cubicBezTo>
                          <a:pt x="46" y="20"/>
                          <a:pt x="46" y="19"/>
                          <a:pt x="46" y="19"/>
                        </a:cubicBezTo>
                        <a:cubicBezTo>
                          <a:pt x="45" y="19"/>
                          <a:pt x="44" y="19"/>
                          <a:pt x="46" y="19"/>
                        </a:cubicBezTo>
                        <a:cubicBezTo>
                          <a:pt x="46" y="19"/>
                          <a:pt x="46" y="19"/>
                          <a:pt x="45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7" y="20"/>
                          <a:pt x="47" y="19"/>
                          <a:pt x="47" y="19"/>
                        </a:cubicBezTo>
                        <a:cubicBezTo>
                          <a:pt x="47" y="19"/>
                          <a:pt x="47" y="20"/>
                          <a:pt x="47" y="20"/>
                        </a:cubicBezTo>
                        <a:cubicBezTo>
                          <a:pt x="47" y="20"/>
                          <a:pt x="47" y="20"/>
                          <a:pt x="47" y="20"/>
                        </a:cubicBezTo>
                        <a:close/>
                        <a:moveTo>
                          <a:pt x="46" y="19"/>
                        </a:move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lose/>
                        <a:moveTo>
                          <a:pt x="45" y="20"/>
                        </a:moveTo>
                        <a:cubicBezTo>
                          <a:pt x="46" y="20"/>
                          <a:pt x="46" y="20"/>
                          <a:pt x="46" y="20"/>
                        </a:cubicBezTo>
                        <a:cubicBezTo>
                          <a:pt x="46" y="21"/>
                          <a:pt x="46" y="20"/>
                          <a:pt x="46" y="20"/>
                        </a:cubicBezTo>
                        <a:cubicBezTo>
                          <a:pt x="46" y="20"/>
                          <a:pt x="46" y="20"/>
                          <a:pt x="46" y="20"/>
                        </a:cubicBezTo>
                        <a:cubicBezTo>
                          <a:pt x="46" y="20"/>
                          <a:pt x="46" y="20"/>
                          <a:pt x="45" y="20"/>
                        </a:cubicBezTo>
                        <a:cubicBezTo>
                          <a:pt x="45" y="20"/>
                          <a:pt x="45" y="20"/>
                          <a:pt x="45" y="20"/>
                        </a:cubicBezTo>
                        <a:close/>
                        <a:moveTo>
                          <a:pt x="45" y="20"/>
                        </a:moveTo>
                        <a:cubicBezTo>
                          <a:pt x="44" y="20"/>
                          <a:pt x="45" y="20"/>
                          <a:pt x="45" y="20"/>
                        </a:cubicBezTo>
                        <a:cubicBezTo>
                          <a:pt x="45" y="20"/>
                          <a:pt x="44" y="20"/>
                          <a:pt x="44" y="20"/>
                        </a:cubicBezTo>
                        <a:cubicBezTo>
                          <a:pt x="44" y="20"/>
                          <a:pt x="44" y="20"/>
                          <a:pt x="44" y="20"/>
                        </a:cubicBezTo>
                        <a:cubicBezTo>
                          <a:pt x="44" y="19"/>
                          <a:pt x="44" y="20"/>
                          <a:pt x="45" y="20"/>
                        </a:cubicBezTo>
                        <a:close/>
                        <a:moveTo>
                          <a:pt x="41" y="18"/>
                        </a:moveTo>
                        <a:cubicBezTo>
                          <a:pt x="41" y="18"/>
                          <a:pt x="40" y="18"/>
                          <a:pt x="40" y="18"/>
                        </a:cubicBezTo>
                        <a:cubicBezTo>
                          <a:pt x="40" y="18"/>
                          <a:pt x="40" y="18"/>
                          <a:pt x="40" y="18"/>
                        </a:cubicBezTo>
                        <a:cubicBezTo>
                          <a:pt x="39" y="18"/>
                          <a:pt x="39" y="17"/>
                          <a:pt x="38" y="17"/>
                        </a:cubicBezTo>
                        <a:cubicBezTo>
                          <a:pt x="38" y="17"/>
                          <a:pt x="38" y="17"/>
                          <a:pt x="38" y="17"/>
                        </a:cubicBezTo>
                        <a:cubicBezTo>
                          <a:pt x="37" y="17"/>
                          <a:pt x="37" y="17"/>
                          <a:pt x="37" y="17"/>
                        </a:cubicBezTo>
                        <a:cubicBezTo>
                          <a:pt x="37" y="17"/>
                          <a:pt x="37" y="17"/>
                          <a:pt x="37" y="17"/>
                        </a:cubicBezTo>
                        <a:cubicBezTo>
                          <a:pt x="37" y="17"/>
                          <a:pt x="37" y="17"/>
                          <a:pt x="37" y="17"/>
                        </a:cubicBezTo>
                        <a:cubicBezTo>
                          <a:pt x="37" y="17"/>
                          <a:pt x="37" y="17"/>
                          <a:pt x="37" y="17"/>
                        </a:cubicBezTo>
                        <a:cubicBezTo>
                          <a:pt x="36" y="17"/>
                          <a:pt x="36" y="17"/>
                          <a:pt x="36" y="17"/>
                        </a:cubicBezTo>
                        <a:cubicBezTo>
                          <a:pt x="36" y="17"/>
                          <a:pt x="36" y="16"/>
                          <a:pt x="36" y="16"/>
                        </a:cubicBezTo>
                        <a:cubicBezTo>
                          <a:pt x="36" y="16"/>
                          <a:pt x="36" y="16"/>
                          <a:pt x="37" y="16"/>
                        </a:cubicBezTo>
                        <a:cubicBezTo>
                          <a:pt x="37" y="16"/>
                          <a:pt x="37" y="17"/>
                          <a:pt x="37" y="17"/>
                        </a:cubicBezTo>
                        <a:cubicBezTo>
                          <a:pt x="37" y="17"/>
                          <a:pt x="38" y="17"/>
                          <a:pt x="38" y="17"/>
                        </a:cubicBezTo>
                        <a:cubicBezTo>
                          <a:pt x="38" y="17"/>
                          <a:pt x="38" y="17"/>
                          <a:pt x="38" y="17"/>
                        </a:cubicBezTo>
                        <a:cubicBezTo>
                          <a:pt x="38" y="17"/>
                          <a:pt x="38" y="17"/>
                          <a:pt x="39" y="17"/>
                        </a:cubicBezTo>
                        <a:cubicBezTo>
                          <a:pt x="39" y="17"/>
                          <a:pt x="38" y="17"/>
                          <a:pt x="38" y="17"/>
                        </a:cubicBezTo>
                        <a:cubicBezTo>
                          <a:pt x="39" y="17"/>
                          <a:pt x="39" y="17"/>
                          <a:pt x="39" y="17"/>
                        </a:cubicBezTo>
                        <a:cubicBezTo>
                          <a:pt x="40" y="18"/>
                          <a:pt x="41" y="18"/>
                          <a:pt x="42" y="18"/>
                        </a:cubicBezTo>
                        <a:cubicBezTo>
                          <a:pt x="42" y="18"/>
                          <a:pt x="42" y="18"/>
                          <a:pt x="42" y="18"/>
                        </a:cubicBezTo>
                        <a:cubicBezTo>
                          <a:pt x="42" y="18"/>
                          <a:pt x="42" y="18"/>
                          <a:pt x="43" y="18"/>
                        </a:cubicBezTo>
                        <a:cubicBezTo>
                          <a:pt x="43" y="19"/>
                          <a:pt x="44" y="19"/>
                          <a:pt x="45" y="19"/>
                        </a:cubicBezTo>
                        <a:cubicBezTo>
                          <a:pt x="44" y="19"/>
                          <a:pt x="42" y="19"/>
                          <a:pt x="41" y="18"/>
                        </a:cubicBezTo>
                        <a:cubicBezTo>
                          <a:pt x="41" y="18"/>
                          <a:pt x="41" y="18"/>
                          <a:pt x="41" y="18"/>
                        </a:cubicBezTo>
                        <a:close/>
                        <a:moveTo>
                          <a:pt x="45" y="19"/>
                        </a:move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lose/>
                        <a:moveTo>
                          <a:pt x="34" y="16"/>
                        </a:moveTo>
                        <a:cubicBezTo>
                          <a:pt x="36" y="17"/>
                          <a:pt x="37" y="18"/>
                          <a:pt x="38" y="18"/>
                        </a:cubicBezTo>
                        <a:cubicBezTo>
                          <a:pt x="37" y="18"/>
                          <a:pt x="35" y="17"/>
                          <a:pt x="34" y="16"/>
                        </a:cubicBezTo>
                        <a:close/>
                        <a:moveTo>
                          <a:pt x="30" y="14"/>
                        </a:moveTo>
                        <a:cubicBezTo>
                          <a:pt x="30" y="14"/>
                          <a:pt x="31" y="14"/>
                          <a:pt x="31" y="14"/>
                        </a:cubicBezTo>
                        <a:cubicBezTo>
                          <a:pt x="31" y="14"/>
                          <a:pt x="31" y="14"/>
                          <a:pt x="31" y="14"/>
                        </a:cubicBezTo>
                        <a:cubicBezTo>
                          <a:pt x="31" y="14"/>
                          <a:pt x="31" y="14"/>
                          <a:pt x="31" y="14"/>
                        </a:cubicBezTo>
                        <a:cubicBezTo>
                          <a:pt x="31" y="14"/>
                          <a:pt x="31" y="14"/>
                          <a:pt x="31" y="14"/>
                        </a:cubicBezTo>
                        <a:cubicBezTo>
                          <a:pt x="31" y="15"/>
                          <a:pt x="31" y="14"/>
                          <a:pt x="31" y="14"/>
                        </a:cubicBezTo>
                        <a:cubicBezTo>
                          <a:pt x="31" y="15"/>
                          <a:pt x="31" y="15"/>
                          <a:pt x="31" y="15"/>
                        </a:cubicBezTo>
                        <a:cubicBezTo>
                          <a:pt x="31" y="14"/>
                          <a:pt x="31" y="14"/>
                          <a:pt x="31" y="15"/>
                        </a:cubicBezTo>
                        <a:lnTo>
                          <a:pt x="30" y="14"/>
                        </a:lnTo>
                        <a:close/>
                        <a:moveTo>
                          <a:pt x="25" y="14"/>
                        </a:moveTo>
                        <a:cubicBezTo>
                          <a:pt x="25" y="14"/>
                          <a:pt x="24" y="14"/>
                          <a:pt x="24" y="14"/>
                        </a:cubicBezTo>
                        <a:cubicBezTo>
                          <a:pt x="24" y="14"/>
                          <a:pt x="24" y="14"/>
                          <a:pt x="24" y="14"/>
                        </a:cubicBezTo>
                        <a:cubicBezTo>
                          <a:pt x="24" y="14"/>
                          <a:pt x="25" y="14"/>
                          <a:pt x="25" y="14"/>
                        </a:cubicBezTo>
                        <a:cubicBezTo>
                          <a:pt x="25" y="14"/>
                          <a:pt x="25" y="14"/>
                          <a:pt x="25" y="14"/>
                        </a:cubicBezTo>
                        <a:cubicBezTo>
                          <a:pt x="25" y="14"/>
                          <a:pt x="25" y="14"/>
                          <a:pt x="25" y="14"/>
                        </a:cubicBezTo>
                        <a:cubicBezTo>
                          <a:pt x="25" y="14"/>
                          <a:pt x="25" y="14"/>
                          <a:pt x="25" y="14"/>
                        </a:cubicBezTo>
                        <a:cubicBezTo>
                          <a:pt x="25" y="14"/>
                          <a:pt x="26" y="14"/>
                          <a:pt x="26" y="14"/>
                        </a:cubicBezTo>
                        <a:cubicBezTo>
                          <a:pt x="25" y="14"/>
                          <a:pt x="25" y="14"/>
                          <a:pt x="25" y="14"/>
                        </a:cubicBezTo>
                        <a:cubicBezTo>
                          <a:pt x="25" y="14"/>
                          <a:pt x="25" y="14"/>
                          <a:pt x="25" y="14"/>
                        </a:cubicBezTo>
                        <a:close/>
                        <a:moveTo>
                          <a:pt x="15" y="11"/>
                        </a:moveTo>
                        <a:cubicBezTo>
                          <a:pt x="16" y="12"/>
                          <a:pt x="16" y="12"/>
                          <a:pt x="17" y="12"/>
                        </a:cubicBezTo>
                        <a:cubicBezTo>
                          <a:pt x="17" y="12"/>
                          <a:pt x="17" y="12"/>
                          <a:pt x="17" y="12"/>
                        </a:cubicBezTo>
                        <a:cubicBezTo>
                          <a:pt x="17" y="12"/>
                          <a:pt x="17" y="12"/>
                          <a:pt x="17" y="12"/>
                        </a:cubicBezTo>
                        <a:cubicBezTo>
                          <a:pt x="17" y="12"/>
                          <a:pt x="17" y="12"/>
                          <a:pt x="17" y="12"/>
                        </a:cubicBezTo>
                        <a:cubicBezTo>
                          <a:pt x="17" y="12"/>
                          <a:pt x="17" y="12"/>
                          <a:pt x="17" y="12"/>
                        </a:cubicBezTo>
                        <a:cubicBezTo>
                          <a:pt x="18" y="12"/>
                          <a:pt x="17" y="12"/>
                          <a:pt x="17" y="12"/>
                        </a:cubicBezTo>
                        <a:cubicBezTo>
                          <a:pt x="18" y="12"/>
                          <a:pt x="19" y="12"/>
                          <a:pt x="20" y="12"/>
                        </a:cubicBezTo>
                        <a:cubicBezTo>
                          <a:pt x="20" y="12"/>
                          <a:pt x="19" y="12"/>
                          <a:pt x="19" y="12"/>
                        </a:cubicBezTo>
                        <a:cubicBezTo>
                          <a:pt x="19" y="12"/>
                          <a:pt x="19" y="12"/>
                          <a:pt x="19" y="12"/>
                        </a:cubicBezTo>
                        <a:cubicBezTo>
                          <a:pt x="19" y="12"/>
                          <a:pt x="20" y="13"/>
                          <a:pt x="20" y="13"/>
                        </a:cubicBezTo>
                        <a:cubicBezTo>
                          <a:pt x="20" y="13"/>
                          <a:pt x="20" y="13"/>
                          <a:pt x="21" y="13"/>
                        </a:cubicBezTo>
                        <a:cubicBezTo>
                          <a:pt x="21" y="13"/>
                          <a:pt x="20" y="13"/>
                          <a:pt x="21" y="13"/>
                        </a:cubicBezTo>
                        <a:cubicBezTo>
                          <a:pt x="21" y="13"/>
                          <a:pt x="20" y="13"/>
                          <a:pt x="20" y="13"/>
                        </a:cubicBezTo>
                        <a:cubicBezTo>
                          <a:pt x="20" y="13"/>
                          <a:pt x="20" y="13"/>
                          <a:pt x="20" y="13"/>
                        </a:cubicBezTo>
                        <a:cubicBezTo>
                          <a:pt x="20" y="13"/>
                          <a:pt x="20" y="13"/>
                          <a:pt x="20" y="13"/>
                        </a:cubicBezTo>
                        <a:cubicBezTo>
                          <a:pt x="19" y="13"/>
                          <a:pt x="19" y="13"/>
                          <a:pt x="19" y="13"/>
                        </a:cubicBezTo>
                        <a:cubicBezTo>
                          <a:pt x="19" y="12"/>
                          <a:pt x="19" y="13"/>
                          <a:pt x="19" y="13"/>
                        </a:cubicBezTo>
                        <a:cubicBezTo>
                          <a:pt x="19" y="13"/>
                          <a:pt x="19" y="13"/>
                          <a:pt x="19" y="13"/>
                        </a:cubicBezTo>
                        <a:cubicBezTo>
                          <a:pt x="19" y="13"/>
                          <a:pt x="19" y="12"/>
                          <a:pt x="19" y="13"/>
                        </a:cubicBezTo>
                        <a:cubicBezTo>
                          <a:pt x="19" y="12"/>
                          <a:pt x="19" y="13"/>
                          <a:pt x="19" y="12"/>
                        </a:cubicBezTo>
                        <a:cubicBezTo>
                          <a:pt x="19" y="12"/>
                          <a:pt x="19" y="12"/>
                          <a:pt x="18" y="12"/>
                        </a:cubicBezTo>
                        <a:cubicBezTo>
                          <a:pt x="19" y="12"/>
                          <a:pt x="18" y="12"/>
                          <a:pt x="18" y="12"/>
                        </a:cubicBezTo>
                        <a:cubicBezTo>
                          <a:pt x="18" y="12"/>
                          <a:pt x="18" y="12"/>
                          <a:pt x="18" y="12"/>
                        </a:cubicBezTo>
                        <a:cubicBezTo>
                          <a:pt x="18" y="12"/>
                          <a:pt x="18" y="12"/>
                          <a:pt x="17" y="12"/>
                        </a:cubicBezTo>
                        <a:cubicBezTo>
                          <a:pt x="17" y="12"/>
                          <a:pt x="17" y="12"/>
                          <a:pt x="17" y="12"/>
                        </a:cubicBezTo>
                        <a:cubicBezTo>
                          <a:pt x="17" y="12"/>
                          <a:pt x="17" y="12"/>
                          <a:pt x="17" y="12"/>
                        </a:cubicBezTo>
                        <a:cubicBezTo>
                          <a:pt x="17" y="12"/>
                          <a:pt x="17" y="12"/>
                          <a:pt x="17" y="12"/>
                        </a:cubicBezTo>
                        <a:cubicBezTo>
                          <a:pt x="17" y="12"/>
                          <a:pt x="16" y="12"/>
                          <a:pt x="16" y="12"/>
                        </a:cubicBezTo>
                        <a:cubicBezTo>
                          <a:pt x="16" y="12"/>
                          <a:pt x="16" y="12"/>
                          <a:pt x="16" y="12"/>
                        </a:cubicBezTo>
                        <a:cubicBezTo>
                          <a:pt x="16" y="12"/>
                          <a:pt x="16" y="12"/>
                          <a:pt x="16" y="12"/>
                        </a:cubicBezTo>
                        <a:cubicBezTo>
                          <a:pt x="16" y="12"/>
                          <a:pt x="16" y="12"/>
                          <a:pt x="16" y="12"/>
                        </a:cubicBezTo>
                        <a:cubicBezTo>
                          <a:pt x="15" y="12"/>
                          <a:pt x="15" y="12"/>
                          <a:pt x="14" y="12"/>
                        </a:cubicBezTo>
                        <a:cubicBezTo>
                          <a:pt x="14" y="11"/>
                          <a:pt x="15" y="12"/>
                          <a:pt x="15" y="12"/>
                        </a:cubicBezTo>
                        <a:cubicBezTo>
                          <a:pt x="15" y="12"/>
                          <a:pt x="15" y="12"/>
                          <a:pt x="15" y="12"/>
                        </a:cubicBezTo>
                        <a:cubicBezTo>
                          <a:pt x="15" y="12"/>
                          <a:pt x="15" y="12"/>
                          <a:pt x="15" y="12"/>
                        </a:cubicBezTo>
                        <a:cubicBezTo>
                          <a:pt x="15" y="11"/>
                          <a:pt x="15" y="12"/>
                          <a:pt x="15" y="11"/>
                        </a:cubicBezTo>
                        <a:cubicBezTo>
                          <a:pt x="15" y="11"/>
                          <a:pt x="15" y="12"/>
                          <a:pt x="16" y="12"/>
                        </a:cubicBezTo>
                        <a:cubicBezTo>
                          <a:pt x="16" y="11"/>
                          <a:pt x="15" y="12"/>
                          <a:pt x="15" y="11"/>
                        </a:cubicBezTo>
                        <a:close/>
                        <a:moveTo>
                          <a:pt x="21" y="12"/>
                        </a:moveTo>
                        <a:cubicBezTo>
                          <a:pt x="20" y="12"/>
                          <a:pt x="20" y="12"/>
                          <a:pt x="20" y="12"/>
                        </a:cubicBezTo>
                        <a:cubicBezTo>
                          <a:pt x="20" y="12"/>
                          <a:pt x="20" y="12"/>
                          <a:pt x="21" y="12"/>
                        </a:cubicBezTo>
                        <a:close/>
                        <a:moveTo>
                          <a:pt x="19" y="12"/>
                        </a:moveTo>
                        <a:cubicBezTo>
                          <a:pt x="19" y="12"/>
                          <a:pt x="19" y="12"/>
                          <a:pt x="19" y="12"/>
                        </a:cubicBezTo>
                        <a:cubicBezTo>
                          <a:pt x="19" y="11"/>
                          <a:pt x="20" y="12"/>
                          <a:pt x="19" y="12"/>
                        </a:cubicBezTo>
                        <a:close/>
                        <a:moveTo>
                          <a:pt x="19" y="11"/>
                        </a:moveTo>
                        <a:cubicBezTo>
                          <a:pt x="19" y="11"/>
                          <a:pt x="19" y="11"/>
                          <a:pt x="18" y="11"/>
                        </a:cubicBezTo>
                        <a:cubicBezTo>
                          <a:pt x="19" y="11"/>
                          <a:pt x="19" y="11"/>
                          <a:pt x="19" y="11"/>
                        </a:cubicBezTo>
                        <a:close/>
                        <a:moveTo>
                          <a:pt x="12" y="11"/>
                        </a:moveTo>
                        <a:cubicBezTo>
                          <a:pt x="12" y="11"/>
                          <a:pt x="12" y="11"/>
                          <a:pt x="12" y="11"/>
                        </a:cubicBezTo>
                        <a:cubicBezTo>
                          <a:pt x="12" y="11"/>
                          <a:pt x="12" y="11"/>
                          <a:pt x="12" y="11"/>
                        </a:cubicBezTo>
                        <a:close/>
                        <a:moveTo>
                          <a:pt x="11" y="9"/>
                        </a:moveTo>
                        <a:cubicBezTo>
                          <a:pt x="11" y="9"/>
                          <a:pt x="11" y="8"/>
                          <a:pt x="11" y="8"/>
                        </a:cubicBezTo>
                        <a:cubicBezTo>
                          <a:pt x="11" y="8"/>
                          <a:pt x="11" y="9"/>
                          <a:pt x="11" y="9"/>
                        </a:cubicBezTo>
                        <a:cubicBezTo>
                          <a:pt x="11" y="9"/>
                          <a:pt x="12" y="9"/>
                          <a:pt x="12" y="9"/>
                        </a:cubicBezTo>
                        <a:cubicBezTo>
                          <a:pt x="11" y="9"/>
                          <a:pt x="11" y="9"/>
                          <a:pt x="11" y="9"/>
                        </a:cubicBezTo>
                        <a:close/>
                        <a:moveTo>
                          <a:pt x="10" y="9"/>
                        </a:moveTo>
                        <a:cubicBezTo>
                          <a:pt x="10" y="9"/>
                          <a:pt x="10" y="8"/>
                          <a:pt x="11" y="8"/>
                        </a:cubicBezTo>
                        <a:cubicBezTo>
                          <a:pt x="11" y="8"/>
                          <a:pt x="10" y="8"/>
                          <a:pt x="10" y="8"/>
                        </a:cubicBezTo>
                        <a:cubicBezTo>
                          <a:pt x="10" y="8"/>
                          <a:pt x="11" y="8"/>
                          <a:pt x="11" y="8"/>
                        </a:cubicBezTo>
                        <a:cubicBezTo>
                          <a:pt x="11" y="9"/>
                          <a:pt x="10" y="9"/>
                          <a:pt x="10" y="9"/>
                        </a:cubicBezTo>
                        <a:close/>
                        <a:moveTo>
                          <a:pt x="4" y="4"/>
                        </a:moveTo>
                        <a:cubicBezTo>
                          <a:pt x="4" y="4"/>
                          <a:pt x="4" y="4"/>
                          <a:pt x="4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close/>
                        <a:moveTo>
                          <a:pt x="2" y="7"/>
                        </a:moveTo>
                        <a:cubicBezTo>
                          <a:pt x="1" y="7"/>
                          <a:pt x="1" y="6"/>
                          <a:pt x="1" y="6"/>
                        </a:cubicBezTo>
                        <a:cubicBezTo>
                          <a:pt x="1" y="6"/>
                          <a:pt x="1" y="6"/>
                          <a:pt x="2" y="7"/>
                        </a:cubicBezTo>
                        <a:close/>
                        <a:moveTo>
                          <a:pt x="151" y="39"/>
                        </a:moveTo>
                        <a:cubicBezTo>
                          <a:pt x="151" y="39"/>
                          <a:pt x="151" y="39"/>
                          <a:pt x="151" y="40"/>
                        </a:cubicBezTo>
                        <a:cubicBezTo>
                          <a:pt x="151" y="40"/>
                          <a:pt x="151" y="40"/>
                          <a:pt x="151" y="39"/>
                        </a:cubicBezTo>
                        <a:cubicBezTo>
                          <a:pt x="151" y="39"/>
                          <a:pt x="150" y="39"/>
                          <a:pt x="151" y="39"/>
                        </a:cubicBezTo>
                        <a:close/>
                        <a:moveTo>
                          <a:pt x="129" y="36"/>
                        </a:moveTo>
                        <a:cubicBezTo>
                          <a:pt x="129" y="36"/>
                          <a:pt x="129" y="36"/>
                          <a:pt x="129" y="36"/>
                        </a:cubicBezTo>
                        <a:cubicBezTo>
                          <a:pt x="129" y="36"/>
                          <a:pt x="129" y="35"/>
                          <a:pt x="128" y="36"/>
                        </a:cubicBezTo>
                        <a:cubicBezTo>
                          <a:pt x="129" y="35"/>
                          <a:pt x="129" y="36"/>
                          <a:pt x="129" y="36"/>
                        </a:cubicBezTo>
                        <a:close/>
                        <a:moveTo>
                          <a:pt x="129" y="37"/>
                        </a:moveTo>
                        <a:cubicBezTo>
                          <a:pt x="129" y="37"/>
                          <a:pt x="128" y="37"/>
                          <a:pt x="128" y="37"/>
                        </a:cubicBezTo>
                        <a:cubicBezTo>
                          <a:pt x="128" y="37"/>
                          <a:pt x="128" y="37"/>
                          <a:pt x="128" y="37"/>
                        </a:cubicBezTo>
                        <a:cubicBezTo>
                          <a:pt x="128" y="37"/>
                          <a:pt x="128" y="37"/>
                          <a:pt x="129" y="37"/>
                        </a:cubicBezTo>
                        <a:close/>
                        <a:moveTo>
                          <a:pt x="127" y="37"/>
                        </a:moveTo>
                        <a:cubicBezTo>
                          <a:pt x="127" y="36"/>
                          <a:pt x="127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7" y="36"/>
                          <a:pt x="127" y="36"/>
                        </a:cubicBezTo>
                        <a:cubicBezTo>
                          <a:pt x="127" y="36"/>
                          <a:pt x="127" y="36"/>
                          <a:pt x="127" y="36"/>
                        </a:cubicBezTo>
                        <a:cubicBezTo>
                          <a:pt x="127" y="37"/>
                          <a:pt x="127" y="36"/>
                          <a:pt x="127" y="37"/>
                        </a:cubicBezTo>
                        <a:close/>
                        <a:moveTo>
                          <a:pt x="126" y="40"/>
                        </a:moveTo>
                        <a:cubicBezTo>
                          <a:pt x="126" y="40"/>
                          <a:pt x="126" y="40"/>
                          <a:pt x="126" y="40"/>
                        </a:cubicBezTo>
                        <a:cubicBezTo>
                          <a:pt x="125" y="40"/>
                          <a:pt x="125" y="40"/>
                          <a:pt x="125" y="40"/>
                        </a:cubicBezTo>
                        <a:cubicBezTo>
                          <a:pt x="125" y="39"/>
                          <a:pt x="125" y="39"/>
                          <a:pt x="125" y="39"/>
                        </a:cubicBezTo>
                        <a:cubicBezTo>
                          <a:pt x="125" y="39"/>
                          <a:pt x="125" y="39"/>
                          <a:pt x="125" y="39"/>
                        </a:cubicBezTo>
                        <a:cubicBezTo>
                          <a:pt x="125" y="39"/>
                          <a:pt x="125" y="39"/>
                          <a:pt x="126" y="39"/>
                        </a:cubicBezTo>
                        <a:cubicBezTo>
                          <a:pt x="125" y="39"/>
                          <a:pt x="125" y="39"/>
                          <a:pt x="125" y="39"/>
                        </a:cubicBezTo>
                        <a:cubicBezTo>
                          <a:pt x="125" y="40"/>
                          <a:pt x="126" y="39"/>
                          <a:pt x="126" y="40"/>
                        </a:cubicBezTo>
                        <a:close/>
                        <a:moveTo>
                          <a:pt x="118" y="41"/>
                        </a:moveTo>
                        <a:cubicBezTo>
                          <a:pt x="118" y="41"/>
                          <a:pt x="118" y="40"/>
                          <a:pt x="117" y="41"/>
                        </a:cubicBezTo>
                        <a:cubicBezTo>
                          <a:pt x="117" y="41"/>
                          <a:pt x="117" y="41"/>
                          <a:pt x="117" y="41"/>
                        </a:cubicBezTo>
                        <a:cubicBezTo>
                          <a:pt x="118" y="40"/>
                          <a:pt x="118" y="41"/>
                          <a:pt x="118" y="41"/>
                        </a:cubicBezTo>
                        <a:cubicBezTo>
                          <a:pt x="118" y="41"/>
                          <a:pt x="118" y="41"/>
                          <a:pt x="118" y="41"/>
                        </a:cubicBezTo>
                        <a:cubicBezTo>
                          <a:pt x="118" y="41"/>
                          <a:pt x="118" y="41"/>
                          <a:pt x="118" y="41"/>
                        </a:cubicBezTo>
                        <a:close/>
                        <a:moveTo>
                          <a:pt x="117" y="34"/>
                        </a:moveTo>
                        <a:cubicBezTo>
                          <a:pt x="117" y="34"/>
                          <a:pt x="117" y="34"/>
                          <a:pt x="116" y="34"/>
                        </a:cubicBezTo>
                        <a:cubicBezTo>
                          <a:pt x="117" y="33"/>
                          <a:pt x="117" y="34"/>
                          <a:pt x="117" y="34"/>
                        </a:cubicBezTo>
                        <a:cubicBezTo>
                          <a:pt x="117" y="34"/>
                          <a:pt x="117" y="34"/>
                          <a:pt x="117" y="34"/>
                        </a:cubicBezTo>
                        <a:close/>
                        <a:moveTo>
                          <a:pt x="106" y="38"/>
                        </a:moveTo>
                        <a:cubicBezTo>
                          <a:pt x="106" y="38"/>
                          <a:pt x="106" y="38"/>
                          <a:pt x="106" y="38"/>
                        </a:cubicBezTo>
                        <a:cubicBezTo>
                          <a:pt x="106" y="38"/>
                          <a:pt x="106" y="38"/>
                          <a:pt x="106" y="38"/>
                        </a:cubicBezTo>
                        <a:cubicBezTo>
                          <a:pt x="106" y="38"/>
                          <a:pt x="107" y="38"/>
                          <a:pt x="107" y="38"/>
                        </a:cubicBezTo>
                        <a:cubicBezTo>
                          <a:pt x="107" y="38"/>
                          <a:pt x="107" y="38"/>
                          <a:pt x="106" y="38"/>
                        </a:cubicBezTo>
                        <a:close/>
                        <a:moveTo>
                          <a:pt x="101" y="37"/>
                        </a:moveTo>
                        <a:cubicBezTo>
                          <a:pt x="101" y="37"/>
                          <a:pt x="101" y="37"/>
                          <a:pt x="101" y="37"/>
                        </a:cubicBezTo>
                        <a:cubicBezTo>
                          <a:pt x="101" y="37"/>
                          <a:pt x="101" y="37"/>
                          <a:pt x="100" y="37"/>
                        </a:cubicBezTo>
                        <a:cubicBezTo>
                          <a:pt x="100" y="37"/>
                          <a:pt x="100" y="37"/>
                          <a:pt x="100" y="37"/>
                        </a:cubicBezTo>
                        <a:cubicBezTo>
                          <a:pt x="100" y="37"/>
                          <a:pt x="101" y="37"/>
                          <a:pt x="101" y="37"/>
                        </a:cubicBezTo>
                        <a:close/>
                        <a:moveTo>
                          <a:pt x="102" y="31"/>
                        </a:moveTo>
                        <a:cubicBezTo>
                          <a:pt x="102" y="31"/>
                          <a:pt x="102" y="31"/>
                          <a:pt x="102" y="31"/>
                        </a:cubicBezTo>
                        <a:cubicBezTo>
                          <a:pt x="102" y="32"/>
                          <a:pt x="102" y="31"/>
                          <a:pt x="101" y="31"/>
                        </a:cubicBezTo>
                        <a:cubicBezTo>
                          <a:pt x="101" y="31"/>
                          <a:pt x="102" y="31"/>
                          <a:pt x="102" y="31"/>
                        </a:cubicBezTo>
                        <a:cubicBezTo>
                          <a:pt x="102" y="31"/>
                          <a:pt x="101" y="31"/>
                          <a:pt x="102" y="31"/>
                        </a:cubicBezTo>
                        <a:close/>
                        <a:moveTo>
                          <a:pt x="96" y="31"/>
                        </a:moveTo>
                        <a:cubicBezTo>
                          <a:pt x="96" y="31"/>
                          <a:pt x="97" y="31"/>
                          <a:pt x="97" y="31"/>
                        </a:cubicBezTo>
                        <a:cubicBezTo>
                          <a:pt x="97" y="31"/>
                          <a:pt x="97" y="31"/>
                          <a:pt x="97" y="31"/>
                        </a:cubicBezTo>
                        <a:cubicBezTo>
                          <a:pt x="97" y="32"/>
                          <a:pt x="96" y="31"/>
                          <a:pt x="96" y="31"/>
                        </a:cubicBezTo>
                        <a:close/>
                        <a:moveTo>
                          <a:pt x="94" y="25"/>
                        </a:moveTo>
                        <a:cubicBezTo>
                          <a:pt x="94" y="25"/>
                          <a:pt x="94" y="25"/>
                          <a:pt x="95" y="25"/>
                        </a:cubicBezTo>
                        <a:cubicBezTo>
                          <a:pt x="95" y="25"/>
                          <a:pt x="95" y="26"/>
                          <a:pt x="95" y="26"/>
                        </a:cubicBezTo>
                        <a:cubicBezTo>
                          <a:pt x="95" y="26"/>
                          <a:pt x="95" y="26"/>
                          <a:pt x="95" y="26"/>
                        </a:cubicBezTo>
                        <a:cubicBezTo>
                          <a:pt x="95" y="26"/>
                          <a:pt x="94" y="26"/>
                          <a:pt x="94" y="25"/>
                        </a:cubicBezTo>
                        <a:close/>
                        <a:moveTo>
                          <a:pt x="90" y="29"/>
                        </a:moveTo>
                        <a:cubicBezTo>
                          <a:pt x="90" y="29"/>
                          <a:pt x="91" y="29"/>
                          <a:pt x="91" y="29"/>
                        </a:cubicBezTo>
                        <a:cubicBezTo>
                          <a:pt x="91" y="29"/>
                          <a:pt x="92" y="29"/>
                          <a:pt x="92" y="29"/>
                        </a:cubicBezTo>
                        <a:cubicBezTo>
                          <a:pt x="92" y="29"/>
                          <a:pt x="91" y="29"/>
                          <a:pt x="91" y="29"/>
                        </a:cubicBezTo>
                        <a:cubicBezTo>
                          <a:pt x="91" y="29"/>
                          <a:pt x="92" y="29"/>
                          <a:pt x="92" y="29"/>
                        </a:cubicBezTo>
                        <a:cubicBezTo>
                          <a:pt x="92" y="29"/>
                          <a:pt x="92" y="29"/>
                          <a:pt x="92" y="29"/>
                        </a:cubicBezTo>
                        <a:cubicBezTo>
                          <a:pt x="92" y="29"/>
                          <a:pt x="92" y="29"/>
                          <a:pt x="92" y="29"/>
                        </a:cubicBezTo>
                        <a:cubicBezTo>
                          <a:pt x="92" y="29"/>
                          <a:pt x="92" y="29"/>
                          <a:pt x="92" y="29"/>
                        </a:cubicBezTo>
                        <a:cubicBezTo>
                          <a:pt x="92" y="29"/>
                          <a:pt x="92" y="29"/>
                          <a:pt x="92" y="29"/>
                        </a:cubicBezTo>
                        <a:cubicBezTo>
                          <a:pt x="92" y="29"/>
                          <a:pt x="93" y="29"/>
                          <a:pt x="93" y="29"/>
                        </a:cubicBezTo>
                        <a:cubicBezTo>
                          <a:pt x="93" y="29"/>
                          <a:pt x="93" y="29"/>
                          <a:pt x="93" y="30"/>
                        </a:cubicBezTo>
                        <a:cubicBezTo>
                          <a:pt x="92" y="29"/>
                          <a:pt x="92" y="30"/>
                          <a:pt x="92" y="29"/>
                        </a:cubicBezTo>
                        <a:cubicBezTo>
                          <a:pt x="92" y="29"/>
                          <a:pt x="92" y="29"/>
                          <a:pt x="92" y="29"/>
                        </a:cubicBezTo>
                        <a:cubicBezTo>
                          <a:pt x="92" y="30"/>
                          <a:pt x="92" y="30"/>
                          <a:pt x="92" y="30"/>
                        </a:cubicBezTo>
                        <a:cubicBezTo>
                          <a:pt x="92" y="30"/>
                          <a:pt x="92" y="30"/>
                          <a:pt x="92" y="30"/>
                        </a:cubicBezTo>
                        <a:cubicBezTo>
                          <a:pt x="91" y="30"/>
                          <a:pt x="91" y="30"/>
                          <a:pt x="91" y="30"/>
                        </a:cubicBezTo>
                        <a:cubicBezTo>
                          <a:pt x="90" y="30"/>
                          <a:pt x="90" y="29"/>
                          <a:pt x="90" y="29"/>
                        </a:cubicBezTo>
                        <a:cubicBezTo>
                          <a:pt x="90" y="29"/>
                          <a:pt x="90" y="29"/>
                          <a:pt x="90" y="29"/>
                        </a:cubicBezTo>
                        <a:cubicBezTo>
                          <a:pt x="90" y="29"/>
                          <a:pt x="90" y="29"/>
                          <a:pt x="90" y="29"/>
                        </a:cubicBezTo>
                        <a:close/>
                        <a:moveTo>
                          <a:pt x="89" y="28"/>
                        </a:moveTo>
                        <a:cubicBezTo>
                          <a:pt x="89" y="28"/>
                          <a:pt x="89" y="28"/>
                          <a:pt x="89" y="28"/>
                        </a:cubicBezTo>
                        <a:cubicBezTo>
                          <a:pt x="89" y="28"/>
                          <a:pt x="89" y="28"/>
                          <a:pt x="89" y="28"/>
                        </a:cubicBezTo>
                        <a:cubicBezTo>
                          <a:pt x="89" y="28"/>
                          <a:pt x="89" y="28"/>
                          <a:pt x="89" y="28"/>
                        </a:cubicBezTo>
                        <a:cubicBezTo>
                          <a:pt x="89" y="28"/>
                          <a:pt x="89" y="28"/>
                          <a:pt x="89" y="28"/>
                        </a:cubicBezTo>
                        <a:cubicBezTo>
                          <a:pt x="89" y="28"/>
                          <a:pt x="89" y="28"/>
                          <a:pt x="90" y="28"/>
                        </a:cubicBezTo>
                        <a:cubicBezTo>
                          <a:pt x="90" y="29"/>
                          <a:pt x="89" y="28"/>
                          <a:pt x="89" y="29"/>
                        </a:cubicBezTo>
                        <a:cubicBezTo>
                          <a:pt x="89" y="29"/>
                          <a:pt x="89" y="28"/>
                          <a:pt x="89" y="28"/>
                        </a:cubicBezTo>
                        <a:close/>
                        <a:moveTo>
                          <a:pt x="86" y="26"/>
                        </a:moveTo>
                        <a:cubicBezTo>
                          <a:pt x="86" y="26"/>
                          <a:pt x="86" y="26"/>
                          <a:pt x="87" y="26"/>
                        </a:cubicBezTo>
                        <a:cubicBezTo>
                          <a:pt x="87" y="26"/>
                          <a:pt x="87" y="26"/>
                          <a:pt x="87" y="26"/>
                        </a:cubicBezTo>
                        <a:cubicBezTo>
                          <a:pt x="87" y="26"/>
                          <a:pt x="87" y="26"/>
                          <a:pt x="87" y="26"/>
                        </a:cubicBezTo>
                        <a:cubicBezTo>
                          <a:pt x="87" y="26"/>
                          <a:pt x="87" y="26"/>
                          <a:pt x="87" y="26"/>
                        </a:cubicBezTo>
                        <a:cubicBezTo>
                          <a:pt x="87" y="27"/>
                          <a:pt x="88" y="26"/>
                          <a:pt x="87" y="27"/>
                        </a:cubicBezTo>
                        <a:cubicBezTo>
                          <a:pt x="88" y="27"/>
                          <a:pt x="88" y="27"/>
                          <a:pt x="88" y="27"/>
                        </a:cubicBezTo>
                        <a:cubicBezTo>
                          <a:pt x="88" y="27"/>
                          <a:pt x="88" y="27"/>
                          <a:pt x="88" y="26"/>
                        </a:cubicBezTo>
                        <a:cubicBezTo>
                          <a:pt x="88" y="27"/>
                          <a:pt x="88" y="27"/>
                          <a:pt x="88" y="27"/>
                        </a:cubicBezTo>
                        <a:cubicBezTo>
                          <a:pt x="88" y="27"/>
                          <a:pt x="88" y="27"/>
                          <a:pt x="87" y="27"/>
                        </a:cubicBezTo>
                        <a:cubicBezTo>
                          <a:pt x="88" y="27"/>
                          <a:pt x="86" y="27"/>
                          <a:pt x="86" y="26"/>
                        </a:cubicBezTo>
                        <a:cubicBezTo>
                          <a:pt x="86" y="26"/>
                          <a:pt x="86" y="26"/>
                          <a:pt x="86" y="26"/>
                        </a:cubicBezTo>
                        <a:close/>
                        <a:moveTo>
                          <a:pt x="86" y="23"/>
                        </a:moveTo>
                        <a:cubicBezTo>
                          <a:pt x="86" y="22"/>
                          <a:pt x="87" y="23"/>
                          <a:pt x="87" y="23"/>
                        </a:cubicBezTo>
                        <a:cubicBezTo>
                          <a:pt x="87" y="23"/>
                          <a:pt x="87" y="23"/>
                          <a:pt x="87" y="23"/>
                        </a:cubicBezTo>
                        <a:cubicBezTo>
                          <a:pt x="87" y="23"/>
                          <a:pt x="87" y="23"/>
                          <a:pt x="87" y="23"/>
                        </a:cubicBezTo>
                        <a:cubicBezTo>
                          <a:pt x="87" y="23"/>
                          <a:pt x="87" y="23"/>
                          <a:pt x="87" y="23"/>
                        </a:cubicBezTo>
                        <a:cubicBezTo>
                          <a:pt x="87" y="23"/>
                          <a:pt x="86" y="23"/>
                          <a:pt x="85" y="23"/>
                        </a:cubicBezTo>
                        <a:cubicBezTo>
                          <a:pt x="86" y="23"/>
                          <a:pt x="86" y="23"/>
                          <a:pt x="86" y="23"/>
                        </a:cubicBezTo>
                        <a:close/>
                        <a:moveTo>
                          <a:pt x="84" y="28"/>
                        </a:moveTo>
                        <a:cubicBezTo>
                          <a:pt x="84" y="27"/>
                          <a:pt x="84" y="27"/>
                          <a:pt x="83" y="27"/>
                        </a:cubicBezTo>
                        <a:cubicBezTo>
                          <a:pt x="83" y="27"/>
                          <a:pt x="83" y="27"/>
                          <a:pt x="83" y="27"/>
                        </a:cubicBezTo>
                        <a:cubicBezTo>
                          <a:pt x="84" y="27"/>
                          <a:pt x="84" y="27"/>
                          <a:pt x="84" y="27"/>
                        </a:cubicBezTo>
                        <a:cubicBezTo>
                          <a:pt x="84" y="28"/>
                          <a:pt x="84" y="28"/>
                          <a:pt x="84" y="28"/>
                        </a:cubicBezTo>
                        <a:close/>
                        <a:moveTo>
                          <a:pt x="63" y="22"/>
                        </a:moveTo>
                        <a:cubicBezTo>
                          <a:pt x="63" y="22"/>
                          <a:pt x="64" y="22"/>
                          <a:pt x="64" y="22"/>
                        </a:cubicBezTo>
                        <a:cubicBezTo>
                          <a:pt x="64" y="22"/>
                          <a:pt x="64" y="22"/>
                          <a:pt x="64" y="22"/>
                        </a:cubicBezTo>
                        <a:cubicBezTo>
                          <a:pt x="64" y="23"/>
                          <a:pt x="64" y="22"/>
                          <a:pt x="64" y="22"/>
                        </a:cubicBezTo>
                        <a:cubicBezTo>
                          <a:pt x="64" y="22"/>
                          <a:pt x="64" y="22"/>
                          <a:pt x="64" y="22"/>
                        </a:cubicBezTo>
                        <a:cubicBezTo>
                          <a:pt x="64" y="23"/>
                          <a:pt x="64" y="23"/>
                          <a:pt x="64" y="23"/>
                        </a:cubicBezTo>
                        <a:cubicBezTo>
                          <a:pt x="64" y="23"/>
                          <a:pt x="63" y="23"/>
                          <a:pt x="63" y="22"/>
                        </a:cubicBezTo>
                        <a:cubicBezTo>
                          <a:pt x="63" y="22"/>
                          <a:pt x="63" y="22"/>
                          <a:pt x="63" y="22"/>
                        </a:cubicBezTo>
                        <a:cubicBezTo>
                          <a:pt x="64" y="22"/>
                          <a:pt x="63" y="22"/>
                          <a:pt x="63" y="22"/>
                        </a:cubicBezTo>
                        <a:cubicBezTo>
                          <a:pt x="63" y="22"/>
                          <a:pt x="63" y="22"/>
                          <a:pt x="63" y="22"/>
                        </a:cubicBezTo>
                        <a:cubicBezTo>
                          <a:pt x="63" y="23"/>
                          <a:pt x="63" y="22"/>
                          <a:pt x="63" y="22"/>
                        </a:cubicBezTo>
                        <a:cubicBezTo>
                          <a:pt x="63" y="22"/>
                          <a:pt x="63" y="22"/>
                          <a:pt x="63" y="22"/>
                        </a:cubicBezTo>
                        <a:cubicBezTo>
                          <a:pt x="63" y="22"/>
                          <a:pt x="63" y="22"/>
                          <a:pt x="63" y="22"/>
                        </a:cubicBezTo>
                        <a:close/>
                        <a:moveTo>
                          <a:pt x="56" y="22"/>
                        </a:moveTo>
                        <a:cubicBezTo>
                          <a:pt x="56" y="22"/>
                          <a:pt x="56" y="22"/>
                          <a:pt x="56" y="22"/>
                        </a:cubicBezTo>
                        <a:cubicBezTo>
                          <a:pt x="56" y="22"/>
                          <a:pt x="56" y="22"/>
                          <a:pt x="56" y="22"/>
                        </a:cubicBezTo>
                        <a:cubicBezTo>
                          <a:pt x="56" y="22"/>
                          <a:pt x="56" y="22"/>
                          <a:pt x="56" y="22"/>
                        </a:cubicBezTo>
                        <a:cubicBezTo>
                          <a:pt x="56" y="22"/>
                          <a:pt x="56" y="22"/>
                          <a:pt x="56" y="22"/>
                        </a:cubicBezTo>
                        <a:cubicBezTo>
                          <a:pt x="56" y="22"/>
                          <a:pt x="56" y="22"/>
                          <a:pt x="56" y="22"/>
                        </a:cubicBezTo>
                        <a:cubicBezTo>
                          <a:pt x="56" y="22"/>
                          <a:pt x="56" y="22"/>
                          <a:pt x="56" y="22"/>
                        </a:cubicBezTo>
                        <a:cubicBezTo>
                          <a:pt x="56" y="22"/>
                          <a:pt x="56" y="22"/>
                          <a:pt x="55" y="22"/>
                        </a:cubicBezTo>
                        <a:cubicBezTo>
                          <a:pt x="55" y="21"/>
                          <a:pt x="55" y="22"/>
                          <a:pt x="56" y="22"/>
                        </a:cubicBezTo>
                        <a:cubicBezTo>
                          <a:pt x="56" y="22"/>
                          <a:pt x="56" y="22"/>
                          <a:pt x="56" y="22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84000">
                        <a:schemeClr val="accent2">
                          <a:lumMod val="40000"/>
                          <a:lumOff val="60000"/>
                        </a:schemeClr>
                      </a:gs>
                      <a:gs pos="0">
                        <a:schemeClr val="accent2"/>
                      </a:gs>
                      <a:gs pos="55000">
                        <a:schemeClr val="accent2"/>
                      </a:gs>
                    </a:gsLst>
                    <a:lin ang="135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/>
                  </a:p>
                </p:txBody>
              </p:sp>
              <p:grpSp>
                <p:nvGrpSpPr>
                  <p:cNvPr id="202" name="组合 201"/>
                  <p:cNvGrpSpPr/>
                  <p:nvPr/>
                </p:nvGrpSpPr>
                <p:grpSpPr>
                  <a:xfrm>
                    <a:off x="7198336" y="1616731"/>
                    <a:ext cx="1241952" cy="1403350"/>
                    <a:chOff x="1720035" y="8183563"/>
                    <a:chExt cx="1241952" cy="1403350"/>
                  </a:xfrm>
                </p:grpSpPr>
                <p:sp>
                  <p:nvSpPr>
                    <p:cNvPr id="204" name="任意多边形: 形状 203">
                      <a:extLst>
                        <a:ext uri="{FF2B5EF4-FFF2-40B4-BE49-F238E27FC236}">
                          <a16:creationId xmlns:a16="http://schemas.microsoft.com/office/drawing/2014/main" id="{DA82A811-B8D1-48FD-B4CE-FF60AAECA058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811174" y="9498013"/>
                      <a:ext cx="30163" cy="20638"/>
                    </a:xfrm>
                    <a:custGeom>
                      <a:avLst/>
                      <a:gdLst>
                        <a:gd name="T0" fmla="*/ 5 w 12"/>
                        <a:gd name="T1" fmla="*/ 8 h 8"/>
                        <a:gd name="T2" fmla="*/ 0 w 12"/>
                        <a:gd name="T3" fmla="*/ 8 h 8"/>
                        <a:gd name="T4" fmla="*/ 12 w 12"/>
                        <a:gd name="T5" fmla="*/ 1 h 8"/>
                        <a:gd name="T6" fmla="*/ 11 w 12"/>
                        <a:gd name="T7" fmla="*/ 4 h 8"/>
                        <a:gd name="T8" fmla="*/ 5 w 12"/>
                        <a:gd name="T9" fmla="*/ 8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" h="8">
                          <a:moveTo>
                            <a:pt x="5" y="8"/>
                          </a:moveTo>
                          <a:cubicBezTo>
                            <a:pt x="4" y="8"/>
                            <a:pt x="3" y="8"/>
                            <a:pt x="0" y="8"/>
                          </a:cubicBezTo>
                          <a:cubicBezTo>
                            <a:pt x="3" y="3"/>
                            <a:pt x="7" y="0"/>
                            <a:pt x="12" y="1"/>
                          </a:cubicBezTo>
                          <a:cubicBezTo>
                            <a:pt x="12" y="2"/>
                            <a:pt x="11" y="3"/>
                            <a:pt x="11" y="4"/>
                          </a:cubicBezTo>
                          <a:cubicBezTo>
                            <a:pt x="9" y="6"/>
                            <a:pt x="7" y="7"/>
                            <a:pt x="5" y="8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  <p:sp>
                  <p:nvSpPr>
                    <p:cNvPr id="205" name="任意多边形: 形状 204">
                      <a:extLst>
                        <a:ext uri="{FF2B5EF4-FFF2-40B4-BE49-F238E27FC236}">
                          <a16:creationId xmlns:a16="http://schemas.microsoft.com/office/drawing/2014/main" id="{6714A036-7E32-4524-BAF5-D9D812EBF147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854037" y="8551863"/>
                      <a:ext cx="77788" cy="76200"/>
                    </a:xfrm>
                    <a:custGeom>
                      <a:avLst/>
                      <a:gdLst>
                        <a:gd name="T0" fmla="*/ 0 w 32"/>
                        <a:gd name="T1" fmla="*/ 29 h 31"/>
                        <a:gd name="T2" fmla="*/ 11 w 32"/>
                        <a:gd name="T3" fmla="*/ 15 h 31"/>
                        <a:gd name="T4" fmla="*/ 15 w 32"/>
                        <a:gd name="T5" fmla="*/ 9 h 31"/>
                        <a:gd name="T6" fmla="*/ 32 w 32"/>
                        <a:gd name="T7" fmla="*/ 0 h 31"/>
                        <a:gd name="T8" fmla="*/ 2 w 32"/>
                        <a:gd name="T9" fmla="*/ 31 h 31"/>
                        <a:gd name="T10" fmla="*/ 0 w 32"/>
                        <a:gd name="T11" fmla="*/ 29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2" h="31">
                          <a:moveTo>
                            <a:pt x="0" y="29"/>
                          </a:moveTo>
                          <a:cubicBezTo>
                            <a:pt x="3" y="24"/>
                            <a:pt x="7" y="20"/>
                            <a:pt x="11" y="15"/>
                          </a:cubicBezTo>
                          <a:cubicBezTo>
                            <a:pt x="12" y="13"/>
                            <a:pt x="13" y="11"/>
                            <a:pt x="15" y="9"/>
                          </a:cubicBezTo>
                          <a:cubicBezTo>
                            <a:pt x="19" y="1"/>
                            <a:pt x="22" y="0"/>
                            <a:pt x="32" y="0"/>
                          </a:cubicBezTo>
                          <a:cubicBezTo>
                            <a:pt x="21" y="10"/>
                            <a:pt x="13" y="22"/>
                            <a:pt x="2" y="31"/>
                          </a:cubicBezTo>
                          <a:cubicBezTo>
                            <a:pt x="1" y="30"/>
                            <a:pt x="0" y="30"/>
                            <a:pt x="0" y="29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  <p:sp>
                  <p:nvSpPr>
                    <p:cNvPr id="206" name="任意多边形: 形状 205">
                      <a:extLst>
                        <a:ext uri="{FF2B5EF4-FFF2-40B4-BE49-F238E27FC236}">
                          <a16:creationId xmlns:a16="http://schemas.microsoft.com/office/drawing/2014/main" id="{57A49B57-1546-408F-8E56-59FCCBD13BC0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938174" y="8516938"/>
                      <a:ext cx="23813" cy="22225"/>
                    </a:xfrm>
                    <a:custGeom>
                      <a:avLst/>
                      <a:gdLst>
                        <a:gd name="T0" fmla="*/ 10 w 10"/>
                        <a:gd name="T1" fmla="*/ 2 h 9"/>
                        <a:gd name="T2" fmla="*/ 2 w 10"/>
                        <a:gd name="T3" fmla="*/ 9 h 9"/>
                        <a:gd name="T4" fmla="*/ 0 w 10"/>
                        <a:gd name="T5" fmla="*/ 7 h 9"/>
                        <a:gd name="T6" fmla="*/ 7 w 10"/>
                        <a:gd name="T7" fmla="*/ 0 h 9"/>
                        <a:gd name="T8" fmla="*/ 10 w 10"/>
                        <a:gd name="T9" fmla="*/ 2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" h="9">
                          <a:moveTo>
                            <a:pt x="10" y="2"/>
                          </a:moveTo>
                          <a:cubicBezTo>
                            <a:pt x="7" y="5"/>
                            <a:pt x="4" y="7"/>
                            <a:pt x="2" y="9"/>
                          </a:cubicBezTo>
                          <a:cubicBezTo>
                            <a:pt x="1" y="9"/>
                            <a:pt x="0" y="8"/>
                            <a:pt x="0" y="7"/>
                          </a:cubicBezTo>
                          <a:cubicBezTo>
                            <a:pt x="2" y="5"/>
                            <a:pt x="5" y="2"/>
                            <a:pt x="7" y="0"/>
                          </a:cubicBezTo>
                          <a:cubicBezTo>
                            <a:pt x="8" y="1"/>
                            <a:pt x="9" y="1"/>
                            <a:pt x="10" y="2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  <p:sp>
                  <p:nvSpPr>
                    <p:cNvPr id="207" name="任意多边形: 形状 206">
                      <a:extLst>
                        <a:ext uri="{FF2B5EF4-FFF2-40B4-BE49-F238E27FC236}">
                          <a16:creationId xmlns:a16="http://schemas.microsoft.com/office/drawing/2014/main" id="{02CCAE1B-BED1-41A0-8387-8FE481DDAAEA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796887" y="8693150"/>
                      <a:ext cx="11113" cy="14288"/>
                    </a:xfrm>
                    <a:custGeom>
                      <a:avLst/>
                      <a:gdLst>
                        <a:gd name="T0" fmla="*/ 5 w 5"/>
                        <a:gd name="T1" fmla="*/ 1 h 6"/>
                        <a:gd name="T2" fmla="*/ 1 w 5"/>
                        <a:gd name="T3" fmla="*/ 6 h 6"/>
                        <a:gd name="T4" fmla="*/ 0 w 5"/>
                        <a:gd name="T5" fmla="*/ 5 h 6"/>
                        <a:gd name="T6" fmla="*/ 3 w 5"/>
                        <a:gd name="T7" fmla="*/ 0 h 6"/>
                        <a:gd name="T8" fmla="*/ 5 w 5"/>
                        <a:gd name="T9" fmla="*/ 1 h 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" h="6">
                          <a:moveTo>
                            <a:pt x="5" y="1"/>
                          </a:moveTo>
                          <a:cubicBezTo>
                            <a:pt x="3" y="3"/>
                            <a:pt x="2" y="4"/>
                            <a:pt x="1" y="6"/>
                          </a:cubicBezTo>
                          <a:cubicBezTo>
                            <a:pt x="1" y="6"/>
                            <a:pt x="0" y="5"/>
                            <a:pt x="0" y="5"/>
                          </a:cubicBezTo>
                          <a:cubicBezTo>
                            <a:pt x="1" y="3"/>
                            <a:pt x="2" y="2"/>
                            <a:pt x="3" y="0"/>
                          </a:cubicBezTo>
                          <a:cubicBezTo>
                            <a:pt x="4" y="0"/>
                            <a:pt x="4" y="1"/>
                            <a:pt x="5" y="1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  <p:sp>
                  <p:nvSpPr>
                    <p:cNvPr id="208" name="任意多边形: 形状 207">
                      <a:extLst>
                        <a:ext uri="{FF2B5EF4-FFF2-40B4-BE49-F238E27FC236}">
                          <a16:creationId xmlns:a16="http://schemas.microsoft.com/office/drawing/2014/main" id="{CE59B7AD-8201-426A-B1B0-3DFE0A93E30B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700049" y="8836025"/>
                      <a:ext cx="12700" cy="17463"/>
                    </a:xfrm>
                    <a:custGeom>
                      <a:avLst/>
                      <a:gdLst>
                        <a:gd name="T0" fmla="*/ 5 w 5"/>
                        <a:gd name="T1" fmla="*/ 1 h 7"/>
                        <a:gd name="T2" fmla="*/ 1 w 5"/>
                        <a:gd name="T3" fmla="*/ 7 h 7"/>
                        <a:gd name="T4" fmla="*/ 0 w 5"/>
                        <a:gd name="T5" fmla="*/ 6 h 7"/>
                        <a:gd name="T6" fmla="*/ 3 w 5"/>
                        <a:gd name="T7" fmla="*/ 0 h 7"/>
                        <a:gd name="T8" fmla="*/ 5 w 5"/>
                        <a:gd name="T9" fmla="*/ 1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" h="7">
                          <a:moveTo>
                            <a:pt x="5" y="1"/>
                          </a:moveTo>
                          <a:cubicBezTo>
                            <a:pt x="3" y="3"/>
                            <a:pt x="2" y="5"/>
                            <a:pt x="1" y="7"/>
                          </a:cubicBezTo>
                          <a:cubicBezTo>
                            <a:pt x="1" y="7"/>
                            <a:pt x="0" y="7"/>
                            <a:pt x="0" y="6"/>
                          </a:cubicBezTo>
                          <a:cubicBezTo>
                            <a:pt x="1" y="4"/>
                            <a:pt x="2" y="2"/>
                            <a:pt x="3" y="0"/>
                          </a:cubicBezTo>
                          <a:cubicBezTo>
                            <a:pt x="3" y="0"/>
                            <a:pt x="4" y="0"/>
                            <a:pt x="5" y="1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  <p:sp>
                  <p:nvSpPr>
                    <p:cNvPr id="209" name="任意多边形: 形状 208">
                      <a:extLst>
                        <a:ext uri="{FF2B5EF4-FFF2-40B4-BE49-F238E27FC236}">
                          <a16:creationId xmlns:a16="http://schemas.microsoft.com/office/drawing/2014/main" id="{EC092391-4932-4659-B539-B891C7F8B0BD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722274" y="8799513"/>
                      <a:ext cx="12700" cy="17463"/>
                    </a:xfrm>
                    <a:custGeom>
                      <a:avLst/>
                      <a:gdLst>
                        <a:gd name="T0" fmla="*/ 0 w 5"/>
                        <a:gd name="T1" fmla="*/ 6 h 7"/>
                        <a:gd name="T2" fmla="*/ 3 w 5"/>
                        <a:gd name="T3" fmla="*/ 0 h 7"/>
                        <a:gd name="T4" fmla="*/ 5 w 5"/>
                        <a:gd name="T5" fmla="*/ 1 h 7"/>
                        <a:gd name="T6" fmla="*/ 2 w 5"/>
                        <a:gd name="T7" fmla="*/ 7 h 7"/>
                        <a:gd name="T8" fmla="*/ 0 w 5"/>
                        <a:gd name="T9" fmla="*/ 6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" h="7">
                          <a:moveTo>
                            <a:pt x="0" y="6"/>
                          </a:moveTo>
                          <a:cubicBezTo>
                            <a:pt x="1" y="4"/>
                            <a:pt x="2" y="2"/>
                            <a:pt x="3" y="0"/>
                          </a:cubicBezTo>
                          <a:cubicBezTo>
                            <a:pt x="4" y="0"/>
                            <a:pt x="5" y="0"/>
                            <a:pt x="5" y="1"/>
                          </a:cubicBezTo>
                          <a:cubicBezTo>
                            <a:pt x="4" y="3"/>
                            <a:pt x="3" y="5"/>
                            <a:pt x="2" y="7"/>
                          </a:cubicBezTo>
                          <a:cubicBezTo>
                            <a:pt x="1" y="7"/>
                            <a:pt x="0" y="6"/>
                            <a:pt x="0" y="6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  <p:sp>
                  <p:nvSpPr>
                    <p:cNvPr id="210" name="任意多边形: 形状 209">
                      <a:extLst>
                        <a:ext uri="{FF2B5EF4-FFF2-40B4-BE49-F238E27FC236}">
                          <a16:creationId xmlns:a16="http://schemas.microsoft.com/office/drawing/2014/main" id="{68A69963-FE93-4CAE-921D-5310373A1F89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836574" y="8639175"/>
                      <a:ext cx="14288" cy="17463"/>
                    </a:xfrm>
                    <a:custGeom>
                      <a:avLst/>
                      <a:gdLst>
                        <a:gd name="T0" fmla="*/ 6 w 6"/>
                        <a:gd name="T1" fmla="*/ 3 h 7"/>
                        <a:gd name="T2" fmla="*/ 2 w 6"/>
                        <a:gd name="T3" fmla="*/ 7 h 7"/>
                        <a:gd name="T4" fmla="*/ 0 w 6"/>
                        <a:gd name="T5" fmla="*/ 5 h 7"/>
                        <a:gd name="T6" fmla="*/ 3 w 6"/>
                        <a:gd name="T7" fmla="*/ 0 h 7"/>
                        <a:gd name="T8" fmla="*/ 6 w 6"/>
                        <a:gd name="T9" fmla="*/ 3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" h="7">
                          <a:moveTo>
                            <a:pt x="6" y="3"/>
                          </a:moveTo>
                          <a:cubicBezTo>
                            <a:pt x="5" y="4"/>
                            <a:pt x="3" y="5"/>
                            <a:pt x="2" y="7"/>
                          </a:cubicBezTo>
                          <a:cubicBezTo>
                            <a:pt x="1" y="6"/>
                            <a:pt x="1" y="5"/>
                            <a:pt x="0" y="5"/>
                          </a:cubicBezTo>
                          <a:cubicBezTo>
                            <a:pt x="1" y="3"/>
                            <a:pt x="2" y="2"/>
                            <a:pt x="3" y="0"/>
                          </a:cubicBezTo>
                          <a:cubicBezTo>
                            <a:pt x="4" y="1"/>
                            <a:pt x="5" y="2"/>
                            <a:pt x="6" y="3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  <p:sp>
                  <p:nvSpPr>
                    <p:cNvPr id="211" name="任意多边形: 形状 210">
                      <a:extLst>
                        <a:ext uri="{FF2B5EF4-FFF2-40B4-BE49-F238E27FC236}">
                          <a16:creationId xmlns:a16="http://schemas.microsoft.com/office/drawing/2014/main" id="{A2F6F2B8-FF0A-4533-BBE9-8D8A0BF5FA61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495262" y="8183563"/>
                      <a:ext cx="6350" cy="22225"/>
                    </a:xfrm>
                    <a:custGeom>
                      <a:avLst/>
                      <a:gdLst>
                        <a:gd name="T0" fmla="*/ 2 w 3"/>
                        <a:gd name="T1" fmla="*/ 0 h 9"/>
                        <a:gd name="T2" fmla="*/ 3 w 3"/>
                        <a:gd name="T3" fmla="*/ 9 h 9"/>
                        <a:gd name="T4" fmla="*/ 2 w 3"/>
                        <a:gd name="T5" fmla="*/ 0 h 9"/>
                        <a:gd name="T6" fmla="*/ 2 w 3"/>
                        <a:gd name="T7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" h="9">
                          <a:moveTo>
                            <a:pt x="2" y="0"/>
                          </a:moveTo>
                          <a:cubicBezTo>
                            <a:pt x="2" y="3"/>
                            <a:pt x="3" y="6"/>
                            <a:pt x="3" y="9"/>
                          </a:cubicBezTo>
                          <a:cubicBezTo>
                            <a:pt x="0" y="6"/>
                            <a:pt x="0" y="3"/>
                            <a:pt x="2" y="0"/>
                          </a:cubicBezTo>
                          <a:cubicBezTo>
                            <a:pt x="2" y="0"/>
                            <a:pt x="2" y="0"/>
                            <a:pt x="2" y="0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  <p:sp>
                  <p:nvSpPr>
                    <p:cNvPr id="212" name="任意多边形: 形状 211">
                      <a:extLst>
                        <a:ext uri="{FF2B5EF4-FFF2-40B4-BE49-F238E27FC236}">
                          <a16:creationId xmlns:a16="http://schemas.microsoft.com/office/drawing/2014/main" id="{6CE3DB34-5B98-44E4-89E7-FF129C543F6B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674649" y="9558338"/>
                      <a:ext cx="55563" cy="28575"/>
                    </a:xfrm>
                    <a:custGeom>
                      <a:avLst/>
                      <a:gdLst>
                        <a:gd name="T0" fmla="*/ 0 w 22"/>
                        <a:gd name="T1" fmla="*/ 12 h 12"/>
                        <a:gd name="T2" fmla="*/ 22 w 22"/>
                        <a:gd name="T3" fmla="*/ 0 h 12"/>
                        <a:gd name="T4" fmla="*/ 0 w 22"/>
                        <a:gd name="T5" fmla="*/ 12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2" h="12">
                          <a:moveTo>
                            <a:pt x="0" y="12"/>
                          </a:moveTo>
                          <a:cubicBezTo>
                            <a:pt x="6" y="7"/>
                            <a:pt x="11" y="0"/>
                            <a:pt x="22" y="0"/>
                          </a:cubicBezTo>
                          <a:cubicBezTo>
                            <a:pt x="15" y="7"/>
                            <a:pt x="8" y="10"/>
                            <a:pt x="0" y="12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  <p:sp>
                  <p:nvSpPr>
                    <p:cNvPr id="214" name="任意多边形: 形状 213">
                      <a:extLst>
                        <a:ext uri="{FF2B5EF4-FFF2-40B4-BE49-F238E27FC236}">
                          <a16:creationId xmlns:a16="http://schemas.microsoft.com/office/drawing/2014/main" id="{6DD3F673-9834-40B1-802D-E2860C115C8D}"/>
                        </a:ext>
                      </a:extLst>
                    </p:cNvPr>
                    <p:cNvSpPr/>
                    <p:nvPr/>
                  </p:nvSpPr>
                  <p:spPr bwMode="auto">
                    <a:xfrm rot="2356777">
                      <a:off x="1720035" y="9144817"/>
                      <a:ext cx="99329" cy="58758"/>
                    </a:xfrm>
                    <a:custGeom>
                      <a:avLst/>
                      <a:gdLst>
                        <a:gd name="T0" fmla="*/ 46 w 182"/>
                        <a:gd name="T1" fmla="*/ 85 h 108"/>
                        <a:gd name="T2" fmla="*/ 49 w 182"/>
                        <a:gd name="T3" fmla="*/ 80 h 108"/>
                        <a:gd name="T4" fmla="*/ 56 w 182"/>
                        <a:gd name="T5" fmla="*/ 78 h 108"/>
                        <a:gd name="T6" fmla="*/ 59 w 182"/>
                        <a:gd name="T7" fmla="*/ 77 h 108"/>
                        <a:gd name="T8" fmla="*/ 67 w 182"/>
                        <a:gd name="T9" fmla="*/ 73 h 108"/>
                        <a:gd name="T10" fmla="*/ 67 w 182"/>
                        <a:gd name="T11" fmla="*/ 63 h 108"/>
                        <a:gd name="T12" fmla="*/ 77 w 182"/>
                        <a:gd name="T13" fmla="*/ 58 h 108"/>
                        <a:gd name="T14" fmla="*/ 83 w 182"/>
                        <a:gd name="T15" fmla="*/ 64 h 108"/>
                        <a:gd name="T16" fmla="*/ 88 w 182"/>
                        <a:gd name="T17" fmla="*/ 63 h 108"/>
                        <a:gd name="T18" fmla="*/ 95 w 182"/>
                        <a:gd name="T19" fmla="*/ 59 h 108"/>
                        <a:gd name="T20" fmla="*/ 104 w 182"/>
                        <a:gd name="T21" fmla="*/ 51 h 108"/>
                        <a:gd name="T22" fmla="*/ 110 w 182"/>
                        <a:gd name="T23" fmla="*/ 50 h 108"/>
                        <a:gd name="T24" fmla="*/ 116 w 182"/>
                        <a:gd name="T25" fmla="*/ 40 h 108"/>
                        <a:gd name="T26" fmla="*/ 121 w 182"/>
                        <a:gd name="T27" fmla="*/ 39 h 108"/>
                        <a:gd name="T28" fmla="*/ 129 w 182"/>
                        <a:gd name="T29" fmla="*/ 31 h 108"/>
                        <a:gd name="T30" fmla="*/ 162 w 182"/>
                        <a:gd name="T31" fmla="*/ 11 h 108"/>
                        <a:gd name="T32" fmla="*/ 176 w 182"/>
                        <a:gd name="T33" fmla="*/ 2 h 108"/>
                        <a:gd name="T34" fmla="*/ 43 w 182"/>
                        <a:gd name="T35" fmla="*/ 77 h 108"/>
                        <a:gd name="T36" fmla="*/ 52 w 182"/>
                        <a:gd name="T37" fmla="*/ 73 h 108"/>
                        <a:gd name="T38" fmla="*/ 47 w 182"/>
                        <a:gd name="T39" fmla="*/ 77 h 108"/>
                        <a:gd name="T40" fmla="*/ 52 w 182"/>
                        <a:gd name="T41" fmla="*/ 75 h 108"/>
                        <a:gd name="T42" fmla="*/ 39 w 182"/>
                        <a:gd name="T43" fmla="*/ 85 h 108"/>
                        <a:gd name="T44" fmla="*/ 41 w 182"/>
                        <a:gd name="T45" fmla="*/ 88 h 108"/>
                        <a:gd name="T46" fmla="*/ 30 w 182"/>
                        <a:gd name="T47" fmla="*/ 98 h 108"/>
                        <a:gd name="T48" fmla="*/ 34 w 182"/>
                        <a:gd name="T49" fmla="*/ 94 h 108"/>
                        <a:gd name="T50" fmla="*/ 44 w 182"/>
                        <a:gd name="T51" fmla="*/ 84 h 108"/>
                        <a:gd name="T52" fmla="*/ 53 w 182"/>
                        <a:gd name="T53" fmla="*/ 74 h 108"/>
                        <a:gd name="T54" fmla="*/ 37 w 182"/>
                        <a:gd name="T55" fmla="*/ 82 h 108"/>
                        <a:gd name="T56" fmla="*/ 36 w 182"/>
                        <a:gd name="T57" fmla="*/ 81 h 108"/>
                        <a:gd name="T58" fmla="*/ 48 w 182"/>
                        <a:gd name="T59" fmla="*/ 84 h 108"/>
                        <a:gd name="T60" fmla="*/ 52 w 182"/>
                        <a:gd name="T61" fmla="*/ 79 h 108"/>
                        <a:gd name="T62" fmla="*/ 62 w 182"/>
                        <a:gd name="T63" fmla="*/ 66 h 108"/>
                        <a:gd name="T64" fmla="*/ 70 w 182"/>
                        <a:gd name="T65" fmla="*/ 62 h 108"/>
                        <a:gd name="T66" fmla="*/ 74 w 182"/>
                        <a:gd name="T67" fmla="*/ 61 h 108"/>
                        <a:gd name="T68" fmla="*/ 69 w 182"/>
                        <a:gd name="T69" fmla="*/ 66 h 108"/>
                        <a:gd name="T70" fmla="*/ 71 w 182"/>
                        <a:gd name="T71" fmla="*/ 63 h 108"/>
                        <a:gd name="T72" fmla="*/ 77 w 182"/>
                        <a:gd name="T73" fmla="*/ 68 h 108"/>
                        <a:gd name="T74" fmla="*/ 113 w 182"/>
                        <a:gd name="T75" fmla="*/ 42 h 108"/>
                        <a:gd name="T76" fmla="*/ 106 w 182"/>
                        <a:gd name="T77" fmla="*/ 46 h 108"/>
                        <a:gd name="T78" fmla="*/ 104 w 182"/>
                        <a:gd name="T79" fmla="*/ 49 h 108"/>
                        <a:gd name="T80" fmla="*/ 96 w 182"/>
                        <a:gd name="T81" fmla="*/ 52 h 108"/>
                        <a:gd name="T82" fmla="*/ 83 w 182"/>
                        <a:gd name="T83" fmla="*/ 57 h 108"/>
                        <a:gd name="T84" fmla="*/ 75 w 182"/>
                        <a:gd name="T85" fmla="*/ 57 h 108"/>
                        <a:gd name="T86" fmla="*/ 94 w 182"/>
                        <a:gd name="T87" fmla="*/ 49 h 108"/>
                        <a:gd name="T88" fmla="*/ 109 w 182"/>
                        <a:gd name="T89" fmla="*/ 40 h 108"/>
                        <a:gd name="T90" fmla="*/ 110 w 182"/>
                        <a:gd name="T91" fmla="*/ 43 h 108"/>
                        <a:gd name="T92" fmla="*/ 81 w 182"/>
                        <a:gd name="T93" fmla="*/ 57 h 108"/>
                        <a:gd name="T94" fmla="*/ 96 w 182"/>
                        <a:gd name="T95" fmla="*/ 52 h 108"/>
                        <a:gd name="T96" fmla="*/ 99 w 182"/>
                        <a:gd name="T97" fmla="*/ 48 h 108"/>
                        <a:gd name="T98" fmla="*/ 110 w 182"/>
                        <a:gd name="T99" fmla="*/ 40 h 108"/>
                        <a:gd name="T100" fmla="*/ 98 w 182"/>
                        <a:gd name="T101" fmla="*/ 48 h 108"/>
                        <a:gd name="T102" fmla="*/ 85 w 182"/>
                        <a:gd name="T103" fmla="*/ 56 h 108"/>
                        <a:gd name="T104" fmla="*/ 103 w 182"/>
                        <a:gd name="T105" fmla="*/ 47 h 108"/>
                        <a:gd name="T106" fmla="*/ 79 w 182"/>
                        <a:gd name="T107" fmla="*/ 60 h 108"/>
                        <a:gd name="T108" fmla="*/ 80 w 182"/>
                        <a:gd name="T109" fmla="*/ 58 h 108"/>
                        <a:gd name="T110" fmla="*/ 86 w 182"/>
                        <a:gd name="T111" fmla="*/ 63 h 108"/>
                        <a:gd name="T112" fmla="*/ 87 w 182"/>
                        <a:gd name="T113" fmla="*/ 53 h 108"/>
                        <a:gd name="T114" fmla="*/ 96 w 182"/>
                        <a:gd name="T115" fmla="*/ 57 h 108"/>
                        <a:gd name="T116" fmla="*/ 115 w 182"/>
                        <a:gd name="T117" fmla="*/ 39 h 108"/>
                        <a:gd name="T118" fmla="*/ 114 w 182"/>
                        <a:gd name="T119" fmla="*/ 38 h 108"/>
                        <a:gd name="T120" fmla="*/ 128 w 182"/>
                        <a:gd name="T121" fmla="*/ 29 h 108"/>
                        <a:gd name="T122" fmla="*/ 163 w 182"/>
                        <a:gd name="T123" fmla="*/ 9 h 108"/>
                        <a:gd name="T124" fmla="*/ 82 w 182"/>
                        <a:gd name="T125" fmla="*/ 66 h 1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182" h="108">
                          <a:moveTo>
                            <a:pt x="1" y="101"/>
                          </a:moveTo>
                          <a:cubicBezTo>
                            <a:pt x="0" y="101"/>
                            <a:pt x="1" y="101"/>
                            <a:pt x="1" y="101"/>
                          </a:cubicBezTo>
                          <a:cubicBezTo>
                            <a:pt x="1" y="101"/>
                            <a:pt x="1" y="101"/>
                            <a:pt x="1" y="100"/>
                          </a:cubicBezTo>
                          <a:cubicBezTo>
                            <a:pt x="1" y="101"/>
                            <a:pt x="1" y="101"/>
                            <a:pt x="1" y="101"/>
                          </a:cubicBezTo>
                          <a:close/>
                          <a:moveTo>
                            <a:pt x="21" y="104"/>
                          </a:moveTo>
                          <a:cubicBezTo>
                            <a:pt x="20" y="104"/>
                            <a:pt x="20" y="103"/>
                            <a:pt x="20" y="104"/>
                          </a:cubicBezTo>
                          <a:cubicBezTo>
                            <a:pt x="20" y="103"/>
                            <a:pt x="20" y="104"/>
                            <a:pt x="19" y="103"/>
                          </a:cubicBezTo>
                          <a:cubicBezTo>
                            <a:pt x="20" y="103"/>
                            <a:pt x="20" y="104"/>
                            <a:pt x="21" y="104"/>
                          </a:cubicBezTo>
                          <a:close/>
                          <a:moveTo>
                            <a:pt x="23" y="102"/>
                          </a:moveTo>
                          <a:cubicBezTo>
                            <a:pt x="23" y="102"/>
                            <a:pt x="23" y="102"/>
                            <a:pt x="23" y="102"/>
                          </a:cubicBezTo>
                          <a:cubicBezTo>
                            <a:pt x="23" y="102"/>
                            <a:pt x="23" y="102"/>
                            <a:pt x="23" y="102"/>
                          </a:cubicBezTo>
                          <a:cubicBezTo>
                            <a:pt x="23" y="102"/>
                            <a:pt x="23" y="102"/>
                            <a:pt x="23" y="102"/>
                          </a:cubicBezTo>
                          <a:close/>
                          <a:moveTo>
                            <a:pt x="25" y="101"/>
                          </a:moveTo>
                          <a:cubicBezTo>
                            <a:pt x="24" y="102"/>
                            <a:pt x="25" y="101"/>
                            <a:pt x="24" y="101"/>
                          </a:cubicBezTo>
                          <a:cubicBezTo>
                            <a:pt x="24" y="101"/>
                            <a:pt x="24" y="101"/>
                            <a:pt x="24" y="101"/>
                          </a:cubicBezTo>
                          <a:cubicBezTo>
                            <a:pt x="24" y="101"/>
                            <a:pt x="25" y="101"/>
                            <a:pt x="25" y="101"/>
                          </a:cubicBezTo>
                          <a:close/>
                          <a:moveTo>
                            <a:pt x="28" y="100"/>
                          </a:moveTo>
                          <a:cubicBezTo>
                            <a:pt x="28" y="100"/>
                            <a:pt x="28" y="100"/>
                            <a:pt x="28" y="100"/>
                          </a:cubicBezTo>
                          <a:cubicBezTo>
                            <a:pt x="28" y="99"/>
                            <a:pt x="28" y="99"/>
                            <a:pt x="28" y="99"/>
                          </a:cubicBezTo>
                          <a:cubicBezTo>
                            <a:pt x="28" y="100"/>
                            <a:pt x="28" y="100"/>
                            <a:pt x="28" y="100"/>
                          </a:cubicBezTo>
                          <a:close/>
                          <a:moveTo>
                            <a:pt x="33" y="97"/>
                          </a:moveTo>
                          <a:cubicBezTo>
                            <a:pt x="33" y="97"/>
                            <a:pt x="33" y="97"/>
                            <a:pt x="33" y="97"/>
                          </a:cubicBezTo>
                          <a:cubicBezTo>
                            <a:pt x="33" y="97"/>
                            <a:pt x="33" y="97"/>
                            <a:pt x="33" y="97"/>
                          </a:cubicBezTo>
                          <a:cubicBezTo>
                            <a:pt x="33" y="97"/>
                            <a:pt x="33" y="97"/>
                            <a:pt x="33" y="97"/>
                          </a:cubicBezTo>
                          <a:close/>
                          <a:moveTo>
                            <a:pt x="34" y="97"/>
                          </a:moveTo>
                          <a:cubicBezTo>
                            <a:pt x="33" y="97"/>
                            <a:pt x="33" y="97"/>
                            <a:pt x="33" y="97"/>
                          </a:cubicBezTo>
                          <a:cubicBezTo>
                            <a:pt x="33" y="97"/>
                            <a:pt x="34" y="97"/>
                            <a:pt x="34" y="97"/>
                          </a:cubicBezTo>
                          <a:close/>
                          <a:moveTo>
                            <a:pt x="34" y="95"/>
                          </a:moveTo>
                          <a:cubicBezTo>
                            <a:pt x="34" y="95"/>
                            <a:pt x="34" y="96"/>
                            <a:pt x="34" y="96"/>
                          </a:cubicBezTo>
                          <a:cubicBezTo>
                            <a:pt x="34" y="96"/>
                            <a:pt x="34" y="95"/>
                            <a:pt x="34" y="95"/>
                          </a:cubicBezTo>
                          <a:close/>
                          <a:moveTo>
                            <a:pt x="37" y="92"/>
                          </a:moveTo>
                          <a:cubicBezTo>
                            <a:pt x="37" y="92"/>
                            <a:pt x="37" y="92"/>
                            <a:pt x="36" y="92"/>
                          </a:cubicBezTo>
                          <a:cubicBezTo>
                            <a:pt x="36" y="93"/>
                            <a:pt x="36" y="92"/>
                            <a:pt x="37" y="92"/>
                          </a:cubicBezTo>
                          <a:cubicBezTo>
                            <a:pt x="36" y="93"/>
                            <a:pt x="36" y="93"/>
                            <a:pt x="36" y="93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ubicBezTo>
                            <a:pt x="37" y="92"/>
                            <a:pt x="37" y="92"/>
                            <a:pt x="37" y="92"/>
                          </a:cubicBezTo>
                          <a:close/>
                          <a:moveTo>
                            <a:pt x="38" y="93"/>
                          </a:moveTo>
                          <a:cubicBezTo>
                            <a:pt x="38" y="93"/>
                            <a:pt x="38" y="93"/>
                            <a:pt x="38" y="92"/>
                          </a:cubicBezTo>
                          <a:cubicBezTo>
                            <a:pt x="38" y="93"/>
                            <a:pt x="38" y="93"/>
                            <a:pt x="38" y="93"/>
                          </a:cubicBezTo>
                          <a:cubicBezTo>
                            <a:pt x="38" y="93"/>
                            <a:pt x="38" y="93"/>
                            <a:pt x="38" y="93"/>
                          </a:cubicBezTo>
                          <a:close/>
                          <a:moveTo>
                            <a:pt x="39" y="91"/>
                          </a:moveTo>
                          <a:cubicBezTo>
                            <a:pt x="39" y="91"/>
                            <a:pt x="40" y="91"/>
                            <a:pt x="40" y="91"/>
                          </a:cubicBezTo>
                          <a:cubicBezTo>
                            <a:pt x="40" y="91"/>
                            <a:pt x="39" y="91"/>
                            <a:pt x="39" y="91"/>
                          </a:cubicBezTo>
                          <a:cubicBezTo>
                            <a:pt x="39" y="91"/>
                            <a:pt x="39" y="92"/>
                            <a:pt x="39" y="91"/>
                          </a:cubicBezTo>
                          <a:close/>
                          <a:moveTo>
                            <a:pt x="41" y="90"/>
                          </a:moveTo>
                          <a:cubicBezTo>
                            <a:pt x="41" y="90"/>
                            <a:pt x="41" y="90"/>
                            <a:pt x="41" y="90"/>
                          </a:cubicBezTo>
                          <a:cubicBezTo>
                            <a:pt x="41" y="91"/>
                            <a:pt x="41" y="91"/>
                            <a:pt x="41" y="91"/>
                          </a:cubicBezTo>
                          <a:cubicBezTo>
                            <a:pt x="41" y="90"/>
                            <a:pt x="41" y="90"/>
                            <a:pt x="41" y="90"/>
                          </a:cubicBezTo>
                          <a:close/>
                          <a:moveTo>
                            <a:pt x="42" y="91"/>
                          </a:moveTo>
                          <a:cubicBezTo>
                            <a:pt x="42" y="91"/>
                            <a:pt x="41" y="91"/>
                            <a:pt x="41" y="91"/>
                          </a:cubicBezTo>
                          <a:cubicBezTo>
                            <a:pt x="41" y="91"/>
                            <a:pt x="42" y="91"/>
                            <a:pt x="42" y="91"/>
                          </a:cubicBezTo>
                          <a:close/>
                          <a:moveTo>
                            <a:pt x="43" y="90"/>
                          </a:moveTo>
                          <a:cubicBezTo>
                            <a:pt x="43" y="91"/>
                            <a:pt x="43" y="91"/>
                            <a:pt x="43" y="91"/>
                          </a:cubicBezTo>
                          <a:cubicBezTo>
                            <a:pt x="42" y="91"/>
                            <a:pt x="43" y="90"/>
                            <a:pt x="43" y="90"/>
                          </a:cubicBezTo>
                          <a:close/>
                          <a:moveTo>
                            <a:pt x="41" y="84"/>
                          </a:moveTo>
                          <a:cubicBezTo>
                            <a:pt x="41" y="84"/>
                            <a:pt x="41" y="85"/>
                            <a:pt x="41" y="85"/>
                          </a:cubicBezTo>
                          <a:cubicBezTo>
                            <a:pt x="40" y="85"/>
                            <a:pt x="40" y="85"/>
                            <a:pt x="41" y="84"/>
                          </a:cubicBezTo>
                          <a:close/>
                          <a:moveTo>
                            <a:pt x="43" y="88"/>
                          </a:moveTo>
                          <a:cubicBezTo>
                            <a:pt x="43" y="88"/>
                            <a:pt x="43" y="88"/>
                            <a:pt x="42" y="88"/>
                          </a:cubicBezTo>
                          <a:cubicBezTo>
                            <a:pt x="43" y="88"/>
                            <a:pt x="43" y="88"/>
                            <a:pt x="43" y="87"/>
                          </a:cubicBezTo>
                          <a:cubicBezTo>
                            <a:pt x="43" y="87"/>
                            <a:pt x="43" y="87"/>
                            <a:pt x="43" y="88"/>
                          </a:cubicBezTo>
                          <a:close/>
                          <a:moveTo>
                            <a:pt x="41" y="85"/>
                          </a:moveTo>
                          <a:cubicBezTo>
                            <a:pt x="41" y="85"/>
                            <a:pt x="41" y="85"/>
                            <a:pt x="41" y="85"/>
                          </a:cubicBezTo>
                          <a:cubicBezTo>
                            <a:pt x="41" y="85"/>
                            <a:pt x="41" y="85"/>
                            <a:pt x="41" y="85"/>
                          </a:cubicBezTo>
                          <a:cubicBezTo>
                            <a:pt x="41" y="85"/>
                            <a:pt x="41" y="85"/>
                            <a:pt x="41" y="85"/>
                          </a:cubicBezTo>
                          <a:close/>
                          <a:moveTo>
                            <a:pt x="39" y="80"/>
                          </a:moveTo>
                          <a:cubicBezTo>
                            <a:pt x="39" y="80"/>
                            <a:pt x="39" y="80"/>
                            <a:pt x="39" y="80"/>
                          </a:cubicBezTo>
                          <a:cubicBezTo>
                            <a:pt x="39" y="80"/>
                            <a:pt x="39" y="80"/>
                            <a:pt x="39" y="80"/>
                          </a:cubicBezTo>
                          <a:close/>
                          <a:moveTo>
                            <a:pt x="42" y="83"/>
                          </a:moveTo>
                          <a:cubicBezTo>
                            <a:pt x="43" y="83"/>
                            <a:pt x="43" y="83"/>
                            <a:pt x="43" y="83"/>
                          </a:cubicBezTo>
                          <a:cubicBezTo>
                            <a:pt x="42" y="83"/>
                            <a:pt x="42" y="83"/>
                            <a:pt x="42" y="83"/>
                          </a:cubicBezTo>
                          <a:cubicBezTo>
                            <a:pt x="42" y="83"/>
                            <a:pt x="42" y="83"/>
                            <a:pt x="42" y="83"/>
                          </a:cubicBezTo>
                          <a:close/>
                          <a:moveTo>
                            <a:pt x="45" y="86"/>
                          </a:moveTo>
                          <a:cubicBezTo>
                            <a:pt x="44" y="86"/>
                            <a:pt x="44" y="86"/>
                            <a:pt x="44" y="86"/>
                          </a:cubicBezTo>
                          <a:cubicBezTo>
                            <a:pt x="44" y="86"/>
                            <a:pt x="44" y="86"/>
                            <a:pt x="44" y="86"/>
                          </a:cubicBezTo>
                          <a:cubicBezTo>
                            <a:pt x="45" y="86"/>
                            <a:pt x="45" y="85"/>
                            <a:pt x="45" y="85"/>
                          </a:cubicBezTo>
                          <a:cubicBezTo>
                            <a:pt x="45" y="85"/>
                            <a:pt x="45" y="85"/>
                            <a:pt x="45" y="85"/>
                          </a:cubicBezTo>
                          <a:cubicBezTo>
                            <a:pt x="45" y="85"/>
                            <a:pt x="45" y="85"/>
                            <a:pt x="46" y="85"/>
                          </a:cubicBezTo>
                          <a:cubicBezTo>
                            <a:pt x="45" y="86"/>
                            <a:pt x="45" y="86"/>
                            <a:pt x="45" y="86"/>
                          </a:cubicBezTo>
                          <a:close/>
                          <a:moveTo>
                            <a:pt x="42" y="83"/>
                          </a:moveTo>
                          <a:cubicBezTo>
                            <a:pt x="42" y="82"/>
                            <a:pt x="43" y="82"/>
                            <a:pt x="43" y="82"/>
                          </a:cubicBezTo>
                          <a:cubicBezTo>
                            <a:pt x="43" y="82"/>
                            <a:pt x="43" y="83"/>
                            <a:pt x="43" y="83"/>
                          </a:cubicBezTo>
                          <a:cubicBezTo>
                            <a:pt x="42" y="83"/>
                            <a:pt x="43" y="82"/>
                            <a:pt x="42" y="83"/>
                          </a:cubicBezTo>
                          <a:close/>
                          <a:moveTo>
                            <a:pt x="45" y="87"/>
                          </a:moveTo>
                          <a:cubicBezTo>
                            <a:pt x="45" y="86"/>
                            <a:pt x="45" y="86"/>
                            <a:pt x="45" y="86"/>
                          </a:cubicBezTo>
                          <a:cubicBezTo>
                            <a:pt x="45" y="86"/>
                            <a:pt x="45" y="86"/>
                            <a:pt x="45" y="86"/>
                          </a:cubicBezTo>
                          <a:cubicBezTo>
                            <a:pt x="46" y="86"/>
                            <a:pt x="45" y="86"/>
                            <a:pt x="45" y="87"/>
                          </a:cubicBezTo>
                          <a:close/>
                          <a:moveTo>
                            <a:pt x="44" y="83"/>
                          </a:moveTo>
                          <a:cubicBezTo>
                            <a:pt x="43" y="83"/>
                            <a:pt x="43" y="83"/>
                            <a:pt x="43" y="83"/>
                          </a:cubicBezTo>
                          <a:cubicBezTo>
                            <a:pt x="43" y="83"/>
                            <a:pt x="43" y="83"/>
                            <a:pt x="44" y="83"/>
                          </a:cubicBezTo>
                          <a:cubicBezTo>
                            <a:pt x="44" y="83"/>
                            <a:pt x="44" y="83"/>
                            <a:pt x="44" y="83"/>
                          </a:cubicBezTo>
                          <a:close/>
                          <a:moveTo>
                            <a:pt x="46" y="85"/>
                          </a:moveTo>
                          <a:cubicBezTo>
                            <a:pt x="46" y="85"/>
                            <a:pt x="46" y="86"/>
                            <a:pt x="45" y="86"/>
                          </a:cubicBezTo>
                          <a:cubicBezTo>
                            <a:pt x="45" y="86"/>
                            <a:pt x="46" y="85"/>
                            <a:pt x="46" y="85"/>
                          </a:cubicBezTo>
                          <a:close/>
                          <a:moveTo>
                            <a:pt x="41" y="77"/>
                          </a:moveTo>
                          <a:cubicBezTo>
                            <a:pt x="41" y="77"/>
                            <a:pt x="41" y="77"/>
                            <a:pt x="41" y="77"/>
                          </a:cubicBezTo>
                          <a:cubicBezTo>
                            <a:pt x="41" y="77"/>
                            <a:pt x="41" y="77"/>
                            <a:pt x="41" y="77"/>
                          </a:cubicBezTo>
                          <a:cubicBezTo>
                            <a:pt x="41" y="77"/>
                            <a:pt x="41" y="77"/>
                            <a:pt x="41" y="77"/>
                          </a:cubicBezTo>
                          <a:cubicBezTo>
                            <a:pt x="42" y="77"/>
                            <a:pt x="42" y="77"/>
                            <a:pt x="42" y="77"/>
                          </a:cubicBezTo>
                          <a:cubicBezTo>
                            <a:pt x="42" y="77"/>
                            <a:pt x="41" y="77"/>
                            <a:pt x="41" y="77"/>
                          </a:cubicBezTo>
                          <a:close/>
                          <a:moveTo>
                            <a:pt x="44" y="82"/>
                          </a:moveTo>
                          <a:cubicBezTo>
                            <a:pt x="45" y="82"/>
                            <a:pt x="45" y="82"/>
                            <a:pt x="46" y="82"/>
                          </a:cubicBezTo>
                          <a:cubicBezTo>
                            <a:pt x="45" y="82"/>
                            <a:pt x="45" y="82"/>
                            <a:pt x="44" y="82"/>
                          </a:cubicBezTo>
                          <a:close/>
                          <a:moveTo>
                            <a:pt x="47" y="85"/>
                          </a:moveTo>
                          <a:cubicBezTo>
                            <a:pt x="47" y="85"/>
                            <a:pt x="47" y="86"/>
                            <a:pt x="46" y="86"/>
                          </a:cubicBezTo>
                          <a:cubicBezTo>
                            <a:pt x="46" y="86"/>
                            <a:pt x="46" y="86"/>
                            <a:pt x="46" y="86"/>
                          </a:cubicBezTo>
                          <a:lnTo>
                            <a:pt x="47" y="85"/>
                          </a:lnTo>
                          <a:close/>
                          <a:moveTo>
                            <a:pt x="48" y="88"/>
                          </a:moveTo>
                          <a:cubicBezTo>
                            <a:pt x="48" y="88"/>
                            <a:pt x="48" y="88"/>
                            <a:pt x="48" y="88"/>
                          </a:cubicBezTo>
                          <a:cubicBezTo>
                            <a:pt x="48" y="87"/>
                            <a:pt x="48" y="88"/>
                            <a:pt x="48" y="87"/>
                          </a:cubicBezTo>
                          <a:cubicBezTo>
                            <a:pt x="48" y="88"/>
                            <a:pt x="48" y="88"/>
                            <a:pt x="48" y="88"/>
                          </a:cubicBezTo>
                          <a:close/>
                          <a:moveTo>
                            <a:pt x="42" y="77"/>
                          </a:moveTo>
                          <a:cubicBezTo>
                            <a:pt x="42" y="76"/>
                            <a:pt x="43" y="77"/>
                            <a:pt x="42" y="77"/>
                          </a:cubicBezTo>
                          <a:cubicBezTo>
                            <a:pt x="42" y="77"/>
                            <a:pt x="42" y="77"/>
                            <a:pt x="42" y="77"/>
                          </a:cubicBezTo>
                          <a:cubicBezTo>
                            <a:pt x="42" y="77"/>
                            <a:pt x="42" y="77"/>
                            <a:pt x="42" y="77"/>
                          </a:cubicBezTo>
                          <a:close/>
                          <a:moveTo>
                            <a:pt x="44" y="81"/>
                          </a:moveTo>
                          <a:cubicBezTo>
                            <a:pt x="45" y="81"/>
                            <a:pt x="45" y="81"/>
                            <a:pt x="45" y="81"/>
                          </a:cubicBezTo>
                          <a:cubicBezTo>
                            <a:pt x="45" y="81"/>
                            <a:pt x="45" y="81"/>
                            <a:pt x="45" y="81"/>
                          </a:cubicBezTo>
                          <a:cubicBezTo>
                            <a:pt x="45" y="81"/>
                            <a:pt x="45" y="81"/>
                            <a:pt x="45" y="81"/>
                          </a:cubicBezTo>
                          <a:cubicBezTo>
                            <a:pt x="45" y="81"/>
                            <a:pt x="44" y="81"/>
                            <a:pt x="44" y="81"/>
                          </a:cubicBezTo>
                          <a:close/>
                          <a:moveTo>
                            <a:pt x="46" y="84"/>
                          </a:moveTo>
                          <a:cubicBezTo>
                            <a:pt x="46" y="84"/>
                            <a:pt x="47" y="84"/>
                            <a:pt x="47" y="84"/>
                          </a:cubicBezTo>
                          <a:cubicBezTo>
                            <a:pt x="46" y="84"/>
                            <a:pt x="46" y="84"/>
                            <a:pt x="46" y="84"/>
                          </a:cubicBezTo>
                          <a:cubicBezTo>
                            <a:pt x="46" y="84"/>
                            <a:pt x="46" y="84"/>
                            <a:pt x="46" y="84"/>
                          </a:cubicBezTo>
                          <a:close/>
                          <a:moveTo>
                            <a:pt x="46" y="81"/>
                          </a:moveTo>
                          <a:cubicBezTo>
                            <a:pt x="46" y="81"/>
                            <a:pt x="46" y="81"/>
                            <a:pt x="46" y="81"/>
                          </a:cubicBezTo>
                          <a:cubicBezTo>
                            <a:pt x="45" y="81"/>
                            <a:pt x="46" y="81"/>
                            <a:pt x="46" y="81"/>
                          </a:cubicBezTo>
                          <a:cubicBezTo>
                            <a:pt x="46" y="81"/>
                            <a:pt x="46" y="81"/>
                            <a:pt x="46" y="81"/>
                          </a:cubicBezTo>
                          <a:cubicBezTo>
                            <a:pt x="46" y="81"/>
                            <a:pt x="46" y="81"/>
                            <a:pt x="46" y="81"/>
                          </a:cubicBezTo>
                          <a:cubicBezTo>
                            <a:pt x="46" y="81"/>
                            <a:pt x="46" y="81"/>
                            <a:pt x="46" y="81"/>
                          </a:cubicBezTo>
                          <a:close/>
                          <a:moveTo>
                            <a:pt x="48" y="85"/>
                          </a:moveTo>
                          <a:cubicBezTo>
                            <a:pt x="48" y="85"/>
                            <a:pt x="48" y="85"/>
                            <a:pt x="48" y="85"/>
                          </a:cubicBezTo>
                          <a:cubicBezTo>
                            <a:pt x="48" y="85"/>
                            <a:pt x="48" y="85"/>
                            <a:pt x="48" y="85"/>
                          </a:cubicBezTo>
                          <a:close/>
                          <a:moveTo>
                            <a:pt x="47" y="83"/>
                          </a:moveTo>
                          <a:cubicBezTo>
                            <a:pt x="47" y="83"/>
                            <a:pt x="47" y="83"/>
                            <a:pt x="47" y="83"/>
                          </a:cubicBezTo>
                          <a:cubicBezTo>
                            <a:pt x="47" y="83"/>
                            <a:pt x="47" y="83"/>
                            <a:pt x="47" y="83"/>
                          </a:cubicBezTo>
                          <a:cubicBezTo>
                            <a:pt x="47" y="83"/>
                            <a:pt x="47" y="83"/>
                            <a:pt x="47" y="83"/>
                          </a:cubicBezTo>
                          <a:cubicBezTo>
                            <a:pt x="47" y="83"/>
                            <a:pt x="47" y="83"/>
                            <a:pt x="47" y="83"/>
                          </a:cubicBezTo>
                          <a:close/>
                          <a:moveTo>
                            <a:pt x="47" y="83"/>
                          </a:moveTo>
                          <a:cubicBezTo>
                            <a:pt x="47" y="83"/>
                            <a:pt x="48" y="83"/>
                            <a:pt x="48" y="82"/>
                          </a:cubicBezTo>
                          <a:cubicBezTo>
                            <a:pt x="48" y="83"/>
                            <a:pt x="48" y="83"/>
                            <a:pt x="48" y="83"/>
                          </a:cubicBezTo>
                          <a:cubicBezTo>
                            <a:pt x="48" y="83"/>
                            <a:pt x="48" y="83"/>
                            <a:pt x="47" y="83"/>
                          </a:cubicBezTo>
                          <a:close/>
                          <a:moveTo>
                            <a:pt x="47" y="80"/>
                          </a:moveTo>
                          <a:cubicBezTo>
                            <a:pt x="47" y="80"/>
                            <a:pt x="47" y="80"/>
                            <a:pt x="47" y="80"/>
                          </a:cubicBezTo>
                          <a:cubicBezTo>
                            <a:pt x="47" y="80"/>
                            <a:pt x="46" y="80"/>
                            <a:pt x="46" y="80"/>
                          </a:cubicBezTo>
                          <a:cubicBezTo>
                            <a:pt x="46" y="80"/>
                            <a:pt x="46" y="80"/>
                            <a:pt x="47" y="80"/>
                          </a:cubicBezTo>
                          <a:close/>
                          <a:moveTo>
                            <a:pt x="51" y="86"/>
                          </a:moveTo>
                          <a:cubicBezTo>
                            <a:pt x="51" y="86"/>
                            <a:pt x="51" y="86"/>
                            <a:pt x="51" y="86"/>
                          </a:cubicBezTo>
                          <a:cubicBezTo>
                            <a:pt x="51" y="86"/>
                            <a:pt x="51" y="86"/>
                            <a:pt x="51" y="86"/>
                          </a:cubicBezTo>
                          <a:cubicBezTo>
                            <a:pt x="51" y="86"/>
                            <a:pt x="51" y="86"/>
                            <a:pt x="51" y="86"/>
                          </a:cubicBezTo>
                          <a:cubicBezTo>
                            <a:pt x="51" y="86"/>
                            <a:pt x="51" y="86"/>
                            <a:pt x="51" y="86"/>
                          </a:cubicBezTo>
                          <a:cubicBezTo>
                            <a:pt x="51" y="86"/>
                            <a:pt x="51" y="86"/>
                            <a:pt x="51" y="86"/>
                          </a:cubicBezTo>
                          <a:cubicBezTo>
                            <a:pt x="51" y="86"/>
                            <a:pt x="51" y="86"/>
                            <a:pt x="51" y="86"/>
                          </a:cubicBezTo>
                          <a:cubicBezTo>
                            <a:pt x="51" y="86"/>
                            <a:pt x="51" y="86"/>
                            <a:pt x="51" y="86"/>
                          </a:cubicBezTo>
                          <a:close/>
                          <a:moveTo>
                            <a:pt x="48" y="79"/>
                          </a:moveTo>
                          <a:cubicBezTo>
                            <a:pt x="48" y="80"/>
                            <a:pt x="48" y="79"/>
                            <a:pt x="47" y="80"/>
                          </a:cubicBezTo>
                          <a:cubicBezTo>
                            <a:pt x="47" y="79"/>
                            <a:pt x="47" y="79"/>
                            <a:pt x="48" y="79"/>
                          </a:cubicBezTo>
                          <a:cubicBezTo>
                            <a:pt x="48" y="79"/>
                            <a:pt x="48" y="79"/>
                            <a:pt x="48" y="79"/>
                          </a:cubicBezTo>
                          <a:cubicBezTo>
                            <a:pt x="48" y="79"/>
                            <a:pt x="48" y="79"/>
                            <a:pt x="48" y="79"/>
                          </a:cubicBezTo>
                          <a:close/>
                          <a:moveTo>
                            <a:pt x="46" y="76"/>
                          </a:moveTo>
                          <a:cubicBezTo>
                            <a:pt x="46" y="76"/>
                            <a:pt x="47" y="76"/>
                            <a:pt x="47" y="76"/>
                          </a:cubicBezTo>
                          <a:cubicBezTo>
                            <a:pt x="47" y="76"/>
                            <a:pt x="46" y="76"/>
                            <a:pt x="46" y="76"/>
                          </a:cubicBezTo>
                          <a:close/>
                          <a:moveTo>
                            <a:pt x="48" y="79"/>
                          </a:moveTo>
                          <a:cubicBezTo>
                            <a:pt x="48" y="79"/>
                            <a:pt x="49" y="79"/>
                            <a:pt x="49" y="79"/>
                          </a:cubicBezTo>
                          <a:cubicBezTo>
                            <a:pt x="49" y="79"/>
                            <a:pt x="49" y="79"/>
                            <a:pt x="49" y="79"/>
                          </a:cubicBezTo>
                          <a:cubicBezTo>
                            <a:pt x="48" y="79"/>
                            <a:pt x="48" y="79"/>
                            <a:pt x="48" y="79"/>
                          </a:cubicBezTo>
                          <a:cubicBezTo>
                            <a:pt x="48" y="79"/>
                            <a:pt x="48" y="79"/>
                            <a:pt x="48" y="79"/>
                          </a:cubicBezTo>
                          <a:close/>
                          <a:moveTo>
                            <a:pt x="50" y="81"/>
                          </a:moveTo>
                          <a:cubicBezTo>
                            <a:pt x="50" y="81"/>
                            <a:pt x="50" y="81"/>
                            <a:pt x="50" y="81"/>
                          </a:cubicBezTo>
                          <a:cubicBezTo>
                            <a:pt x="50" y="81"/>
                            <a:pt x="50" y="81"/>
                            <a:pt x="50" y="81"/>
                          </a:cubicBezTo>
                          <a:cubicBezTo>
                            <a:pt x="50" y="81"/>
                            <a:pt x="50" y="81"/>
                            <a:pt x="50" y="81"/>
                          </a:cubicBezTo>
                          <a:close/>
                          <a:moveTo>
                            <a:pt x="51" y="83"/>
                          </a:moveTo>
                          <a:cubicBezTo>
                            <a:pt x="51" y="83"/>
                            <a:pt x="51" y="83"/>
                            <a:pt x="51" y="83"/>
                          </a:cubicBezTo>
                          <a:cubicBezTo>
                            <a:pt x="51" y="83"/>
                            <a:pt x="51" y="83"/>
                            <a:pt x="51" y="83"/>
                          </a:cubicBezTo>
                          <a:close/>
                          <a:moveTo>
                            <a:pt x="50" y="79"/>
                          </a:moveTo>
                          <a:cubicBezTo>
                            <a:pt x="50" y="79"/>
                            <a:pt x="49" y="80"/>
                            <a:pt x="49" y="80"/>
                          </a:cubicBezTo>
                          <a:cubicBezTo>
                            <a:pt x="49" y="79"/>
                            <a:pt x="49" y="79"/>
                            <a:pt x="50" y="79"/>
                          </a:cubicBezTo>
                          <a:close/>
                          <a:moveTo>
                            <a:pt x="49" y="78"/>
                          </a:moveTo>
                          <a:cubicBezTo>
                            <a:pt x="49" y="79"/>
                            <a:pt x="49" y="79"/>
                            <a:pt x="48" y="79"/>
                          </a:cubicBezTo>
                          <a:cubicBezTo>
                            <a:pt x="48" y="79"/>
                            <a:pt x="48" y="78"/>
                            <a:pt x="49" y="78"/>
                          </a:cubicBezTo>
                          <a:cubicBezTo>
                            <a:pt x="49" y="78"/>
                            <a:pt x="49" y="79"/>
                            <a:pt x="49" y="78"/>
                          </a:cubicBezTo>
                          <a:close/>
                          <a:moveTo>
                            <a:pt x="49" y="80"/>
                          </a:moveTo>
                          <a:cubicBezTo>
                            <a:pt x="49" y="80"/>
                            <a:pt x="49" y="80"/>
                            <a:pt x="49" y="80"/>
                          </a:cubicBezTo>
                          <a:cubicBezTo>
                            <a:pt x="49" y="80"/>
                            <a:pt x="49" y="80"/>
                            <a:pt x="49" y="80"/>
                          </a:cubicBezTo>
                          <a:cubicBezTo>
                            <a:pt x="49" y="80"/>
                            <a:pt x="49" y="80"/>
                            <a:pt x="49" y="80"/>
                          </a:cubicBezTo>
                          <a:cubicBezTo>
                            <a:pt x="50" y="79"/>
                            <a:pt x="50" y="80"/>
                            <a:pt x="50" y="79"/>
                          </a:cubicBezTo>
                          <a:cubicBezTo>
                            <a:pt x="50" y="80"/>
                            <a:pt x="50" y="80"/>
                            <a:pt x="49" y="80"/>
                          </a:cubicBezTo>
                          <a:close/>
                          <a:moveTo>
                            <a:pt x="48" y="77"/>
                          </a:moveTo>
                          <a:cubicBezTo>
                            <a:pt x="48" y="77"/>
                            <a:pt x="48" y="77"/>
                            <a:pt x="48" y="77"/>
                          </a:cubicBezTo>
                          <a:cubicBezTo>
                            <a:pt x="48" y="77"/>
                            <a:pt x="48" y="77"/>
                            <a:pt x="48" y="77"/>
                          </a:cubicBezTo>
                          <a:close/>
                          <a:moveTo>
                            <a:pt x="51" y="81"/>
                          </a:moveTo>
                          <a:cubicBezTo>
                            <a:pt x="51" y="81"/>
                            <a:pt x="51" y="81"/>
                            <a:pt x="51" y="81"/>
                          </a:cubicBezTo>
                          <a:cubicBezTo>
                            <a:pt x="51" y="81"/>
                            <a:pt x="51" y="81"/>
                            <a:pt x="51" y="81"/>
                          </a:cubicBezTo>
                          <a:cubicBezTo>
                            <a:pt x="51" y="81"/>
                            <a:pt x="51" y="81"/>
                            <a:pt x="51" y="81"/>
                          </a:cubicBezTo>
                          <a:close/>
                          <a:moveTo>
                            <a:pt x="51" y="78"/>
                          </a:moveTo>
                          <a:cubicBezTo>
                            <a:pt x="51" y="78"/>
                            <a:pt x="50" y="78"/>
                            <a:pt x="49" y="78"/>
                          </a:cubicBezTo>
                          <a:cubicBezTo>
                            <a:pt x="49" y="78"/>
                            <a:pt x="50" y="78"/>
                            <a:pt x="50" y="78"/>
                          </a:cubicBezTo>
                          <a:cubicBezTo>
                            <a:pt x="50" y="78"/>
                            <a:pt x="50" y="78"/>
                            <a:pt x="51" y="78"/>
                          </a:cubicBezTo>
                          <a:close/>
                          <a:moveTo>
                            <a:pt x="52" y="83"/>
                          </a:moveTo>
                          <a:cubicBezTo>
                            <a:pt x="52" y="83"/>
                            <a:pt x="52" y="83"/>
                            <a:pt x="52" y="83"/>
                          </a:cubicBezTo>
                          <a:cubicBezTo>
                            <a:pt x="52" y="83"/>
                            <a:pt x="52" y="83"/>
                            <a:pt x="52" y="83"/>
                          </a:cubicBezTo>
                          <a:cubicBezTo>
                            <a:pt x="52" y="83"/>
                            <a:pt x="52" y="83"/>
                            <a:pt x="52" y="82"/>
                          </a:cubicBezTo>
                          <a:cubicBezTo>
                            <a:pt x="53" y="82"/>
                            <a:pt x="52" y="83"/>
                            <a:pt x="53" y="82"/>
                          </a:cubicBezTo>
                          <a:cubicBezTo>
                            <a:pt x="53" y="83"/>
                            <a:pt x="52" y="83"/>
                            <a:pt x="52" y="83"/>
                          </a:cubicBezTo>
                          <a:close/>
                          <a:moveTo>
                            <a:pt x="51" y="79"/>
                          </a:moveTo>
                          <a:cubicBezTo>
                            <a:pt x="51" y="79"/>
                            <a:pt x="51" y="79"/>
                            <a:pt x="51" y="79"/>
                          </a:cubicBezTo>
                          <a:cubicBezTo>
                            <a:pt x="51" y="79"/>
                            <a:pt x="51" y="79"/>
                            <a:pt x="51" y="79"/>
                          </a:cubicBezTo>
                          <a:cubicBezTo>
                            <a:pt x="51" y="79"/>
                            <a:pt x="51" y="79"/>
                            <a:pt x="51" y="79"/>
                          </a:cubicBezTo>
                          <a:cubicBezTo>
                            <a:pt x="51" y="79"/>
                            <a:pt x="51" y="79"/>
                            <a:pt x="51" y="79"/>
                          </a:cubicBezTo>
                          <a:cubicBezTo>
                            <a:pt x="51" y="79"/>
                            <a:pt x="51" y="79"/>
                            <a:pt x="51" y="79"/>
                          </a:cubicBezTo>
                          <a:close/>
                          <a:moveTo>
                            <a:pt x="51" y="79"/>
                          </a:moveTo>
                          <a:cubicBezTo>
                            <a:pt x="51" y="78"/>
                            <a:pt x="52" y="78"/>
                            <a:pt x="52" y="78"/>
                          </a:cubicBezTo>
                          <a:cubicBezTo>
                            <a:pt x="52" y="78"/>
                            <a:pt x="51" y="78"/>
                            <a:pt x="51" y="79"/>
                          </a:cubicBezTo>
                          <a:close/>
                          <a:moveTo>
                            <a:pt x="54" y="83"/>
                          </a:moveTo>
                          <a:cubicBezTo>
                            <a:pt x="54" y="83"/>
                            <a:pt x="54" y="83"/>
                            <a:pt x="54" y="83"/>
                          </a:cubicBezTo>
                          <a:cubicBezTo>
                            <a:pt x="54" y="83"/>
                            <a:pt x="54" y="83"/>
                            <a:pt x="54" y="83"/>
                          </a:cubicBezTo>
                          <a:cubicBezTo>
                            <a:pt x="54" y="83"/>
                            <a:pt x="54" y="83"/>
                            <a:pt x="54" y="83"/>
                          </a:cubicBezTo>
                          <a:close/>
                          <a:moveTo>
                            <a:pt x="52" y="80"/>
                          </a:moveTo>
                          <a:cubicBezTo>
                            <a:pt x="52" y="80"/>
                            <a:pt x="52" y="80"/>
                            <a:pt x="52" y="80"/>
                          </a:cubicBezTo>
                          <a:cubicBezTo>
                            <a:pt x="52" y="80"/>
                            <a:pt x="52" y="80"/>
                            <a:pt x="52" y="80"/>
                          </a:cubicBezTo>
                          <a:cubicBezTo>
                            <a:pt x="52" y="80"/>
                            <a:pt x="52" y="80"/>
                            <a:pt x="52" y="80"/>
                          </a:cubicBezTo>
                          <a:close/>
                          <a:moveTo>
                            <a:pt x="51" y="77"/>
                          </a:moveTo>
                          <a:cubicBezTo>
                            <a:pt x="52" y="77"/>
                            <a:pt x="51" y="78"/>
                            <a:pt x="51" y="78"/>
                          </a:cubicBezTo>
                          <a:cubicBezTo>
                            <a:pt x="51" y="77"/>
                            <a:pt x="51" y="77"/>
                            <a:pt x="51" y="77"/>
                          </a:cubicBezTo>
                          <a:close/>
                          <a:moveTo>
                            <a:pt x="54" y="82"/>
                          </a:moveTo>
                          <a:cubicBezTo>
                            <a:pt x="53" y="82"/>
                            <a:pt x="54" y="82"/>
                            <a:pt x="54" y="82"/>
                          </a:cubicBezTo>
                          <a:cubicBezTo>
                            <a:pt x="54" y="82"/>
                            <a:pt x="54" y="82"/>
                            <a:pt x="54" y="82"/>
                          </a:cubicBezTo>
                          <a:cubicBezTo>
                            <a:pt x="54" y="82"/>
                            <a:pt x="54" y="82"/>
                            <a:pt x="54" y="82"/>
                          </a:cubicBezTo>
                          <a:close/>
                          <a:moveTo>
                            <a:pt x="54" y="80"/>
                          </a:moveTo>
                          <a:cubicBezTo>
                            <a:pt x="53" y="80"/>
                            <a:pt x="53" y="80"/>
                            <a:pt x="53" y="80"/>
                          </a:cubicBezTo>
                          <a:cubicBezTo>
                            <a:pt x="53" y="80"/>
                            <a:pt x="54" y="80"/>
                            <a:pt x="54" y="80"/>
                          </a:cubicBezTo>
                          <a:close/>
                          <a:moveTo>
                            <a:pt x="52" y="78"/>
                          </a:moveTo>
                          <a:cubicBezTo>
                            <a:pt x="53" y="78"/>
                            <a:pt x="53" y="78"/>
                            <a:pt x="53" y="78"/>
                          </a:cubicBezTo>
                          <a:cubicBezTo>
                            <a:pt x="53" y="78"/>
                            <a:pt x="53" y="78"/>
                            <a:pt x="53" y="78"/>
                          </a:cubicBezTo>
                          <a:cubicBezTo>
                            <a:pt x="54" y="78"/>
                            <a:pt x="53" y="78"/>
                            <a:pt x="53" y="78"/>
                          </a:cubicBezTo>
                          <a:cubicBezTo>
                            <a:pt x="53" y="78"/>
                            <a:pt x="53" y="78"/>
                            <a:pt x="53" y="78"/>
                          </a:cubicBezTo>
                          <a:cubicBezTo>
                            <a:pt x="53" y="78"/>
                            <a:pt x="53" y="78"/>
                            <a:pt x="52" y="78"/>
                          </a:cubicBezTo>
                          <a:close/>
                          <a:moveTo>
                            <a:pt x="51" y="75"/>
                          </a:moveTo>
                          <a:cubicBezTo>
                            <a:pt x="51" y="75"/>
                            <a:pt x="51" y="75"/>
                            <a:pt x="51" y="75"/>
                          </a:cubicBezTo>
                          <a:cubicBezTo>
                            <a:pt x="51" y="75"/>
                            <a:pt x="51" y="75"/>
                            <a:pt x="51" y="75"/>
                          </a:cubicBezTo>
                          <a:cubicBezTo>
                            <a:pt x="51" y="75"/>
                            <a:pt x="51" y="75"/>
                            <a:pt x="51" y="75"/>
                          </a:cubicBezTo>
                          <a:close/>
                          <a:moveTo>
                            <a:pt x="54" y="81"/>
                          </a:moveTo>
                          <a:cubicBezTo>
                            <a:pt x="54" y="81"/>
                            <a:pt x="54" y="81"/>
                            <a:pt x="54" y="81"/>
                          </a:cubicBezTo>
                          <a:cubicBezTo>
                            <a:pt x="54" y="81"/>
                            <a:pt x="55" y="80"/>
                            <a:pt x="55" y="80"/>
                          </a:cubicBezTo>
                          <a:cubicBezTo>
                            <a:pt x="55" y="80"/>
                            <a:pt x="55" y="81"/>
                            <a:pt x="54" y="81"/>
                          </a:cubicBezTo>
                          <a:close/>
                          <a:moveTo>
                            <a:pt x="50" y="73"/>
                          </a:moveTo>
                          <a:cubicBezTo>
                            <a:pt x="50" y="73"/>
                            <a:pt x="50" y="72"/>
                            <a:pt x="51" y="72"/>
                          </a:cubicBezTo>
                          <a:cubicBezTo>
                            <a:pt x="51" y="72"/>
                            <a:pt x="51" y="72"/>
                            <a:pt x="51" y="73"/>
                          </a:cubicBezTo>
                          <a:cubicBezTo>
                            <a:pt x="51" y="73"/>
                            <a:pt x="51" y="72"/>
                            <a:pt x="51" y="72"/>
                          </a:cubicBezTo>
                          <a:cubicBezTo>
                            <a:pt x="51" y="73"/>
                            <a:pt x="51" y="72"/>
                            <a:pt x="51" y="73"/>
                          </a:cubicBezTo>
                          <a:cubicBezTo>
                            <a:pt x="50" y="73"/>
                            <a:pt x="50" y="73"/>
                            <a:pt x="50" y="73"/>
                          </a:cubicBezTo>
                          <a:close/>
                          <a:moveTo>
                            <a:pt x="54" y="79"/>
                          </a:moveTo>
                          <a:cubicBezTo>
                            <a:pt x="54" y="79"/>
                            <a:pt x="54" y="79"/>
                            <a:pt x="55" y="79"/>
                          </a:cubicBezTo>
                          <a:cubicBezTo>
                            <a:pt x="55" y="79"/>
                            <a:pt x="54" y="79"/>
                            <a:pt x="54" y="79"/>
                          </a:cubicBezTo>
                          <a:cubicBezTo>
                            <a:pt x="54" y="79"/>
                            <a:pt x="55" y="79"/>
                            <a:pt x="54" y="79"/>
                          </a:cubicBezTo>
                          <a:close/>
                          <a:moveTo>
                            <a:pt x="54" y="79"/>
                          </a:moveTo>
                          <a:cubicBezTo>
                            <a:pt x="54" y="79"/>
                            <a:pt x="54" y="79"/>
                            <a:pt x="54" y="79"/>
                          </a:cubicBezTo>
                          <a:cubicBezTo>
                            <a:pt x="55" y="79"/>
                            <a:pt x="55" y="79"/>
                            <a:pt x="55" y="79"/>
                          </a:cubicBezTo>
                          <a:cubicBezTo>
                            <a:pt x="55" y="79"/>
                            <a:pt x="55" y="79"/>
                            <a:pt x="55" y="79"/>
                          </a:cubicBezTo>
                          <a:cubicBezTo>
                            <a:pt x="55" y="79"/>
                            <a:pt x="55" y="79"/>
                            <a:pt x="54" y="79"/>
                          </a:cubicBezTo>
                          <a:close/>
                          <a:moveTo>
                            <a:pt x="55" y="79"/>
                          </a:moveTo>
                          <a:cubicBezTo>
                            <a:pt x="55" y="79"/>
                            <a:pt x="55" y="79"/>
                            <a:pt x="55" y="79"/>
                          </a:cubicBezTo>
                          <a:cubicBezTo>
                            <a:pt x="55" y="79"/>
                            <a:pt x="55" y="79"/>
                            <a:pt x="55" y="79"/>
                          </a:cubicBezTo>
                          <a:cubicBezTo>
                            <a:pt x="55" y="79"/>
                            <a:pt x="55" y="79"/>
                            <a:pt x="55" y="79"/>
                          </a:cubicBezTo>
                          <a:cubicBezTo>
                            <a:pt x="55" y="79"/>
                            <a:pt x="55" y="79"/>
                            <a:pt x="55" y="79"/>
                          </a:cubicBezTo>
                          <a:close/>
                          <a:moveTo>
                            <a:pt x="54" y="77"/>
                          </a:moveTo>
                          <a:cubicBezTo>
                            <a:pt x="54" y="77"/>
                            <a:pt x="55" y="77"/>
                            <a:pt x="55" y="77"/>
                          </a:cubicBezTo>
                          <a:cubicBezTo>
                            <a:pt x="55" y="77"/>
                            <a:pt x="55" y="77"/>
                            <a:pt x="55" y="77"/>
                          </a:cubicBezTo>
                          <a:cubicBezTo>
                            <a:pt x="55" y="77"/>
                            <a:pt x="55" y="77"/>
                            <a:pt x="55" y="77"/>
                          </a:cubicBezTo>
                          <a:cubicBezTo>
                            <a:pt x="55" y="77"/>
                            <a:pt x="55" y="77"/>
                            <a:pt x="54" y="77"/>
                          </a:cubicBezTo>
                          <a:cubicBezTo>
                            <a:pt x="54" y="77"/>
                            <a:pt x="54" y="77"/>
                            <a:pt x="54" y="77"/>
                          </a:cubicBezTo>
                          <a:cubicBezTo>
                            <a:pt x="54" y="77"/>
                            <a:pt x="54" y="77"/>
                            <a:pt x="54" y="77"/>
                          </a:cubicBezTo>
                          <a:close/>
                          <a:moveTo>
                            <a:pt x="52" y="71"/>
                          </a:moveTo>
                          <a:cubicBezTo>
                            <a:pt x="51" y="71"/>
                            <a:pt x="51" y="72"/>
                            <a:pt x="51" y="72"/>
                          </a:cubicBezTo>
                          <a:cubicBezTo>
                            <a:pt x="51" y="72"/>
                            <a:pt x="52" y="71"/>
                            <a:pt x="52" y="71"/>
                          </a:cubicBezTo>
                          <a:close/>
                          <a:moveTo>
                            <a:pt x="56" y="78"/>
                          </a:moveTo>
                          <a:cubicBezTo>
                            <a:pt x="56" y="78"/>
                            <a:pt x="56" y="78"/>
                            <a:pt x="56" y="78"/>
                          </a:cubicBezTo>
                          <a:cubicBezTo>
                            <a:pt x="56" y="78"/>
                            <a:pt x="55" y="79"/>
                            <a:pt x="55" y="78"/>
                          </a:cubicBezTo>
                          <a:cubicBezTo>
                            <a:pt x="55" y="78"/>
                            <a:pt x="56" y="78"/>
                            <a:pt x="56" y="78"/>
                          </a:cubicBezTo>
                          <a:close/>
                          <a:moveTo>
                            <a:pt x="56" y="77"/>
                          </a:moveTo>
                          <a:cubicBezTo>
                            <a:pt x="56" y="77"/>
                            <a:pt x="55" y="77"/>
                            <a:pt x="55" y="78"/>
                          </a:cubicBezTo>
                          <a:cubicBezTo>
                            <a:pt x="55" y="77"/>
                            <a:pt x="56" y="77"/>
                            <a:pt x="56" y="77"/>
                          </a:cubicBezTo>
                          <a:close/>
                          <a:moveTo>
                            <a:pt x="54" y="75"/>
                          </a:moveTo>
                          <a:cubicBezTo>
                            <a:pt x="54" y="75"/>
                            <a:pt x="54" y="75"/>
                            <a:pt x="54" y="75"/>
                          </a:cubicBezTo>
                          <a:cubicBezTo>
                            <a:pt x="54" y="75"/>
                            <a:pt x="55" y="74"/>
                            <a:pt x="55" y="74"/>
                          </a:cubicBezTo>
                          <a:cubicBezTo>
                            <a:pt x="55" y="75"/>
                            <a:pt x="55" y="75"/>
                            <a:pt x="55" y="75"/>
                          </a:cubicBezTo>
                          <a:cubicBezTo>
                            <a:pt x="55" y="75"/>
                            <a:pt x="55" y="75"/>
                            <a:pt x="54" y="75"/>
                          </a:cubicBezTo>
                          <a:close/>
                          <a:moveTo>
                            <a:pt x="52" y="72"/>
                          </a:moveTo>
                          <a:cubicBezTo>
                            <a:pt x="52" y="72"/>
                            <a:pt x="52" y="72"/>
                            <a:pt x="52" y="72"/>
                          </a:cubicBezTo>
                          <a:cubicBezTo>
                            <a:pt x="53" y="71"/>
                            <a:pt x="53" y="71"/>
                            <a:pt x="53" y="71"/>
                          </a:cubicBezTo>
                          <a:cubicBezTo>
                            <a:pt x="53" y="71"/>
                            <a:pt x="53" y="71"/>
                            <a:pt x="53" y="71"/>
                          </a:cubicBezTo>
                          <a:cubicBezTo>
                            <a:pt x="53" y="71"/>
                            <a:pt x="53" y="72"/>
                            <a:pt x="52" y="72"/>
                          </a:cubicBezTo>
                          <a:close/>
                          <a:moveTo>
                            <a:pt x="56" y="78"/>
                          </a:moveTo>
                          <a:cubicBezTo>
                            <a:pt x="57" y="78"/>
                            <a:pt x="57" y="78"/>
                            <a:pt x="58" y="78"/>
                          </a:cubicBezTo>
                          <a:cubicBezTo>
                            <a:pt x="58" y="78"/>
                            <a:pt x="57" y="78"/>
                            <a:pt x="57" y="78"/>
                          </a:cubicBezTo>
                          <a:lnTo>
                            <a:pt x="56" y="78"/>
                          </a:lnTo>
                          <a:close/>
                          <a:moveTo>
                            <a:pt x="59" y="82"/>
                          </a:moveTo>
                          <a:cubicBezTo>
                            <a:pt x="59" y="82"/>
                            <a:pt x="59" y="82"/>
                            <a:pt x="59" y="82"/>
                          </a:cubicBezTo>
                          <a:cubicBezTo>
                            <a:pt x="59" y="82"/>
                            <a:pt x="59" y="81"/>
                            <a:pt x="59" y="82"/>
                          </a:cubicBezTo>
                          <a:close/>
                          <a:moveTo>
                            <a:pt x="55" y="75"/>
                          </a:moveTo>
                          <a:cubicBezTo>
                            <a:pt x="55" y="75"/>
                            <a:pt x="55" y="75"/>
                            <a:pt x="55" y="75"/>
                          </a:cubicBezTo>
                          <a:cubicBezTo>
                            <a:pt x="55" y="75"/>
                            <a:pt x="55" y="75"/>
                            <a:pt x="55" y="75"/>
                          </a:cubicBezTo>
                          <a:close/>
                          <a:moveTo>
                            <a:pt x="53" y="71"/>
                          </a:moveTo>
                          <a:cubicBezTo>
                            <a:pt x="53" y="71"/>
                            <a:pt x="53" y="71"/>
                            <a:pt x="53" y="71"/>
                          </a:cubicBezTo>
                          <a:cubicBezTo>
                            <a:pt x="53" y="71"/>
                            <a:pt x="53" y="71"/>
                            <a:pt x="53" y="71"/>
                          </a:cubicBezTo>
                          <a:cubicBezTo>
                            <a:pt x="53" y="71"/>
                            <a:pt x="53" y="71"/>
                            <a:pt x="53" y="71"/>
                          </a:cubicBezTo>
                          <a:cubicBezTo>
                            <a:pt x="53" y="71"/>
                            <a:pt x="53" y="71"/>
                            <a:pt x="53" y="71"/>
                          </a:cubicBezTo>
                          <a:close/>
                          <a:moveTo>
                            <a:pt x="54" y="71"/>
                          </a:moveTo>
                          <a:cubicBezTo>
                            <a:pt x="54" y="71"/>
                            <a:pt x="54" y="71"/>
                            <a:pt x="54" y="71"/>
                          </a:cubicBezTo>
                          <a:cubicBezTo>
                            <a:pt x="54" y="71"/>
                            <a:pt x="54" y="71"/>
                            <a:pt x="54" y="71"/>
                          </a:cubicBezTo>
                          <a:cubicBezTo>
                            <a:pt x="54" y="71"/>
                            <a:pt x="54" y="71"/>
                            <a:pt x="54" y="71"/>
                          </a:cubicBezTo>
                          <a:cubicBezTo>
                            <a:pt x="54" y="71"/>
                            <a:pt x="54" y="71"/>
                            <a:pt x="54" y="71"/>
                          </a:cubicBezTo>
                          <a:cubicBezTo>
                            <a:pt x="54" y="71"/>
                            <a:pt x="54" y="71"/>
                            <a:pt x="55" y="70"/>
                          </a:cubicBezTo>
                          <a:cubicBezTo>
                            <a:pt x="55" y="71"/>
                            <a:pt x="54" y="71"/>
                            <a:pt x="54" y="71"/>
                          </a:cubicBezTo>
                          <a:close/>
                          <a:moveTo>
                            <a:pt x="58" y="77"/>
                          </a:moveTo>
                          <a:cubicBezTo>
                            <a:pt x="58" y="77"/>
                            <a:pt x="58" y="77"/>
                            <a:pt x="57" y="78"/>
                          </a:cubicBezTo>
                          <a:cubicBezTo>
                            <a:pt x="57" y="77"/>
                            <a:pt x="58" y="77"/>
                            <a:pt x="58" y="77"/>
                          </a:cubicBezTo>
                          <a:close/>
                          <a:moveTo>
                            <a:pt x="53" y="71"/>
                          </a:moveTo>
                          <a:cubicBezTo>
                            <a:pt x="54" y="70"/>
                            <a:pt x="54" y="70"/>
                            <a:pt x="54" y="70"/>
                          </a:cubicBezTo>
                          <a:cubicBezTo>
                            <a:pt x="54" y="70"/>
                            <a:pt x="54" y="70"/>
                            <a:pt x="53" y="71"/>
                          </a:cubicBezTo>
                          <a:close/>
                          <a:moveTo>
                            <a:pt x="58" y="76"/>
                          </a:moveTo>
                          <a:cubicBezTo>
                            <a:pt x="58" y="76"/>
                            <a:pt x="58" y="77"/>
                            <a:pt x="58" y="77"/>
                          </a:cubicBezTo>
                          <a:cubicBezTo>
                            <a:pt x="58" y="77"/>
                            <a:pt x="58" y="77"/>
                            <a:pt x="58" y="76"/>
                          </a:cubicBezTo>
                          <a:cubicBezTo>
                            <a:pt x="58" y="76"/>
                            <a:pt x="58" y="76"/>
                            <a:pt x="58" y="76"/>
                          </a:cubicBezTo>
                          <a:close/>
                          <a:moveTo>
                            <a:pt x="58" y="75"/>
                          </a:moveTo>
                          <a:cubicBezTo>
                            <a:pt x="58" y="75"/>
                            <a:pt x="58" y="75"/>
                            <a:pt x="58" y="75"/>
                          </a:cubicBezTo>
                          <a:cubicBezTo>
                            <a:pt x="58" y="75"/>
                            <a:pt x="58" y="75"/>
                            <a:pt x="58" y="75"/>
                          </a:cubicBezTo>
                          <a:cubicBezTo>
                            <a:pt x="58" y="75"/>
                            <a:pt x="57" y="76"/>
                            <a:pt x="57" y="75"/>
                          </a:cubicBezTo>
                          <a:cubicBezTo>
                            <a:pt x="58" y="75"/>
                            <a:pt x="58" y="74"/>
                            <a:pt x="59" y="74"/>
                          </a:cubicBezTo>
                          <a:cubicBezTo>
                            <a:pt x="59" y="74"/>
                            <a:pt x="58" y="75"/>
                            <a:pt x="59" y="75"/>
                          </a:cubicBezTo>
                          <a:cubicBezTo>
                            <a:pt x="58" y="75"/>
                            <a:pt x="58" y="75"/>
                            <a:pt x="58" y="75"/>
                          </a:cubicBezTo>
                          <a:cubicBezTo>
                            <a:pt x="58" y="75"/>
                            <a:pt x="58" y="75"/>
                            <a:pt x="59" y="75"/>
                          </a:cubicBezTo>
                          <a:cubicBezTo>
                            <a:pt x="58" y="75"/>
                            <a:pt x="58" y="75"/>
                            <a:pt x="58" y="75"/>
                          </a:cubicBezTo>
                          <a:close/>
                          <a:moveTo>
                            <a:pt x="54" y="70"/>
                          </a:moveTo>
                          <a:cubicBezTo>
                            <a:pt x="54" y="70"/>
                            <a:pt x="55" y="70"/>
                            <a:pt x="54" y="70"/>
                          </a:cubicBezTo>
                          <a:cubicBezTo>
                            <a:pt x="55" y="69"/>
                            <a:pt x="55" y="70"/>
                            <a:pt x="54" y="70"/>
                          </a:cubicBezTo>
                          <a:close/>
                          <a:moveTo>
                            <a:pt x="56" y="71"/>
                          </a:moveTo>
                          <a:cubicBezTo>
                            <a:pt x="56" y="71"/>
                            <a:pt x="56" y="71"/>
                            <a:pt x="57" y="71"/>
                          </a:cubicBezTo>
                          <a:cubicBezTo>
                            <a:pt x="56" y="71"/>
                            <a:pt x="56" y="71"/>
                            <a:pt x="56" y="71"/>
                          </a:cubicBezTo>
                          <a:cubicBezTo>
                            <a:pt x="56" y="71"/>
                            <a:pt x="56" y="71"/>
                            <a:pt x="56" y="71"/>
                          </a:cubicBezTo>
                          <a:cubicBezTo>
                            <a:pt x="57" y="71"/>
                            <a:pt x="56" y="71"/>
                            <a:pt x="56" y="70"/>
                          </a:cubicBezTo>
                          <a:cubicBezTo>
                            <a:pt x="57" y="70"/>
                            <a:pt x="57" y="70"/>
                            <a:pt x="57" y="70"/>
                          </a:cubicBezTo>
                          <a:cubicBezTo>
                            <a:pt x="57" y="70"/>
                            <a:pt x="57" y="71"/>
                            <a:pt x="56" y="71"/>
                          </a:cubicBezTo>
                          <a:cubicBezTo>
                            <a:pt x="57" y="71"/>
                            <a:pt x="57" y="71"/>
                            <a:pt x="57" y="71"/>
                          </a:cubicBezTo>
                          <a:cubicBezTo>
                            <a:pt x="56" y="71"/>
                            <a:pt x="56" y="72"/>
                            <a:pt x="56" y="72"/>
                          </a:cubicBezTo>
                          <a:cubicBezTo>
                            <a:pt x="56" y="71"/>
                            <a:pt x="56" y="71"/>
                            <a:pt x="56" y="71"/>
                          </a:cubicBezTo>
                          <a:cubicBezTo>
                            <a:pt x="56" y="71"/>
                            <a:pt x="56" y="71"/>
                            <a:pt x="56" y="71"/>
                          </a:cubicBezTo>
                          <a:cubicBezTo>
                            <a:pt x="56" y="71"/>
                            <a:pt x="56" y="71"/>
                            <a:pt x="56" y="71"/>
                          </a:cubicBezTo>
                          <a:cubicBezTo>
                            <a:pt x="56" y="71"/>
                            <a:pt x="56" y="71"/>
                            <a:pt x="56" y="71"/>
                          </a:cubicBezTo>
                          <a:cubicBezTo>
                            <a:pt x="56" y="71"/>
                            <a:pt x="56" y="71"/>
                            <a:pt x="56" y="71"/>
                          </a:cubicBezTo>
                          <a:close/>
                          <a:moveTo>
                            <a:pt x="56" y="70"/>
                          </a:moveTo>
                          <a:cubicBezTo>
                            <a:pt x="56" y="70"/>
                            <a:pt x="56" y="70"/>
                            <a:pt x="56" y="70"/>
                          </a:cubicBezTo>
                          <a:cubicBezTo>
                            <a:pt x="55" y="70"/>
                            <a:pt x="55" y="70"/>
                            <a:pt x="55" y="70"/>
                          </a:cubicBezTo>
                          <a:cubicBezTo>
                            <a:pt x="55" y="70"/>
                            <a:pt x="55" y="70"/>
                            <a:pt x="55" y="70"/>
                          </a:cubicBezTo>
                          <a:cubicBezTo>
                            <a:pt x="55" y="70"/>
                            <a:pt x="55" y="70"/>
                            <a:pt x="55" y="70"/>
                          </a:cubicBezTo>
                          <a:cubicBezTo>
                            <a:pt x="55" y="70"/>
                            <a:pt x="55" y="70"/>
                            <a:pt x="55" y="70"/>
                          </a:cubicBezTo>
                          <a:cubicBezTo>
                            <a:pt x="55" y="70"/>
                            <a:pt x="55" y="70"/>
                            <a:pt x="55" y="70"/>
                          </a:cubicBezTo>
                          <a:cubicBezTo>
                            <a:pt x="55" y="70"/>
                            <a:pt x="56" y="70"/>
                            <a:pt x="56" y="69"/>
                          </a:cubicBezTo>
                          <a:cubicBezTo>
                            <a:pt x="56" y="69"/>
                            <a:pt x="56" y="69"/>
                            <a:pt x="56" y="70"/>
                          </a:cubicBezTo>
                          <a:cubicBezTo>
                            <a:pt x="56" y="70"/>
                            <a:pt x="56" y="70"/>
                            <a:pt x="56" y="70"/>
                          </a:cubicBezTo>
                          <a:cubicBezTo>
                            <a:pt x="56" y="70"/>
                            <a:pt x="56" y="70"/>
                            <a:pt x="56" y="70"/>
                          </a:cubicBezTo>
                          <a:cubicBezTo>
                            <a:pt x="56" y="70"/>
                            <a:pt x="56" y="70"/>
                            <a:pt x="56" y="70"/>
                          </a:cubicBezTo>
                          <a:close/>
                          <a:moveTo>
                            <a:pt x="55" y="70"/>
                          </a:moveTo>
                          <a:cubicBezTo>
                            <a:pt x="55" y="69"/>
                            <a:pt x="55" y="69"/>
                            <a:pt x="56" y="69"/>
                          </a:cubicBezTo>
                          <a:cubicBezTo>
                            <a:pt x="56" y="69"/>
                            <a:pt x="55" y="69"/>
                            <a:pt x="55" y="69"/>
                          </a:cubicBezTo>
                          <a:cubicBezTo>
                            <a:pt x="55" y="70"/>
                            <a:pt x="55" y="69"/>
                            <a:pt x="55" y="70"/>
                          </a:cubicBezTo>
                          <a:close/>
                          <a:moveTo>
                            <a:pt x="60" y="77"/>
                          </a:moveTo>
                          <a:cubicBezTo>
                            <a:pt x="59" y="77"/>
                            <a:pt x="59" y="77"/>
                            <a:pt x="59" y="77"/>
                          </a:cubicBezTo>
                          <a:cubicBezTo>
                            <a:pt x="59" y="77"/>
                            <a:pt x="59" y="77"/>
                            <a:pt x="60" y="77"/>
                          </a:cubicBezTo>
                          <a:cubicBezTo>
                            <a:pt x="60" y="77"/>
                            <a:pt x="60" y="77"/>
                            <a:pt x="60" y="77"/>
                          </a:cubicBezTo>
                          <a:close/>
                          <a:moveTo>
                            <a:pt x="62" y="80"/>
                          </a:moveTo>
                          <a:cubicBezTo>
                            <a:pt x="62" y="80"/>
                            <a:pt x="61" y="80"/>
                            <a:pt x="62" y="80"/>
                          </a:cubicBezTo>
                          <a:cubicBezTo>
                            <a:pt x="61" y="80"/>
                            <a:pt x="61" y="80"/>
                            <a:pt x="61" y="80"/>
                          </a:cubicBezTo>
                          <a:cubicBezTo>
                            <a:pt x="61" y="80"/>
                            <a:pt x="62" y="80"/>
                            <a:pt x="62" y="80"/>
                          </a:cubicBezTo>
                          <a:close/>
                          <a:moveTo>
                            <a:pt x="60" y="76"/>
                          </a:moveTo>
                          <a:cubicBezTo>
                            <a:pt x="60" y="76"/>
                            <a:pt x="60" y="76"/>
                            <a:pt x="60" y="76"/>
                          </a:cubicBezTo>
                          <a:cubicBezTo>
                            <a:pt x="60" y="76"/>
                            <a:pt x="60" y="76"/>
                            <a:pt x="60" y="76"/>
                          </a:cubicBezTo>
                          <a:cubicBezTo>
                            <a:pt x="60" y="76"/>
                            <a:pt x="60" y="76"/>
                            <a:pt x="60" y="76"/>
                          </a:cubicBezTo>
                          <a:cubicBezTo>
                            <a:pt x="60" y="76"/>
                            <a:pt x="60" y="76"/>
                            <a:pt x="60" y="76"/>
                          </a:cubicBezTo>
                          <a:close/>
                          <a:moveTo>
                            <a:pt x="57" y="71"/>
                          </a:moveTo>
                          <a:cubicBezTo>
                            <a:pt x="57" y="71"/>
                            <a:pt x="57" y="71"/>
                            <a:pt x="57" y="71"/>
                          </a:cubicBezTo>
                          <a:cubicBezTo>
                            <a:pt x="57" y="70"/>
                            <a:pt x="58" y="70"/>
                            <a:pt x="59" y="70"/>
                          </a:cubicBezTo>
                          <a:cubicBezTo>
                            <a:pt x="59" y="70"/>
                            <a:pt x="58" y="70"/>
                            <a:pt x="57" y="71"/>
                          </a:cubicBezTo>
                          <a:cubicBezTo>
                            <a:pt x="57" y="71"/>
                            <a:pt x="58" y="71"/>
                            <a:pt x="57" y="71"/>
                          </a:cubicBezTo>
                          <a:cubicBezTo>
                            <a:pt x="57" y="71"/>
                            <a:pt x="57" y="71"/>
                            <a:pt x="57" y="71"/>
                          </a:cubicBezTo>
                          <a:close/>
                          <a:moveTo>
                            <a:pt x="57" y="70"/>
                          </a:moveTo>
                          <a:cubicBezTo>
                            <a:pt x="57" y="70"/>
                            <a:pt x="57" y="70"/>
                            <a:pt x="57" y="70"/>
                          </a:cubicBezTo>
                          <a:cubicBezTo>
                            <a:pt x="57" y="70"/>
                            <a:pt x="57" y="70"/>
                            <a:pt x="57" y="70"/>
                          </a:cubicBezTo>
                          <a:cubicBezTo>
                            <a:pt x="57" y="70"/>
                            <a:pt x="57" y="70"/>
                            <a:pt x="57" y="70"/>
                          </a:cubicBezTo>
                          <a:cubicBezTo>
                            <a:pt x="57" y="70"/>
                            <a:pt x="57" y="70"/>
                            <a:pt x="57" y="70"/>
                          </a:cubicBezTo>
                          <a:cubicBezTo>
                            <a:pt x="57" y="70"/>
                            <a:pt x="57" y="70"/>
                            <a:pt x="57" y="70"/>
                          </a:cubicBezTo>
                          <a:close/>
                          <a:moveTo>
                            <a:pt x="60" y="75"/>
                          </a:moveTo>
                          <a:cubicBezTo>
                            <a:pt x="59" y="75"/>
                            <a:pt x="60" y="75"/>
                            <a:pt x="60" y="75"/>
                          </a:cubicBezTo>
                          <a:cubicBezTo>
                            <a:pt x="60" y="75"/>
                            <a:pt x="60" y="75"/>
                            <a:pt x="60" y="75"/>
                          </a:cubicBezTo>
                          <a:close/>
                          <a:moveTo>
                            <a:pt x="61" y="76"/>
                          </a:moveTo>
                          <a:cubicBezTo>
                            <a:pt x="61" y="76"/>
                            <a:pt x="61" y="76"/>
                            <a:pt x="61" y="76"/>
                          </a:cubicBezTo>
                          <a:cubicBezTo>
                            <a:pt x="61" y="76"/>
                            <a:pt x="61" y="76"/>
                            <a:pt x="61" y="76"/>
                          </a:cubicBezTo>
                          <a:cubicBezTo>
                            <a:pt x="61" y="76"/>
                            <a:pt x="61" y="76"/>
                            <a:pt x="61" y="76"/>
                          </a:cubicBezTo>
                          <a:close/>
                          <a:moveTo>
                            <a:pt x="58" y="70"/>
                          </a:moveTo>
                          <a:cubicBezTo>
                            <a:pt x="58" y="70"/>
                            <a:pt x="58" y="70"/>
                            <a:pt x="58" y="70"/>
                          </a:cubicBezTo>
                          <a:cubicBezTo>
                            <a:pt x="58" y="70"/>
                            <a:pt x="58" y="70"/>
                            <a:pt x="58" y="70"/>
                          </a:cubicBezTo>
                          <a:close/>
                          <a:moveTo>
                            <a:pt x="62" y="75"/>
                          </a:moveTo>
                          <a:cubicBezTo>
                            <a:pt x="62" y="75"/>
                            <a:pt x="60" y="76"/>
                            <a:pt x="61" y="75"/>
                          </a:cubicBezTo>
                          <a:cubicBezTo>
                            <a:pt x="61" y="75"/>
                            <a:pt x="61" y="75"/>
                            <a:pt x="62" y="75"/>
                          </a:cubicBezTo>
                          <a:cubicBezTo>
                            <a:pt x="62" y="75"/>
                            <a:pt x="62" y="75"/>
                            <a:pt x="62" y="75"/>
                          </a:cubicBezTo>
                          <a:close/>
                          <a:moveTo>
                            <a:pt x="62" y="75"/>
                          </a:moveTo>
                          <a:cubicBezTo>
                            <a:pt x="62" y="76"/>
                            <a:pt x="62" y="76"/>
                            <a:pt x="62" y="76"/>
                          </a:cubicBezTo>
                          <a:cubicBezTo>
                            <a:pt x="62" y="76"/>
                            <a:pt x="62" y="76"/>
                            <a:pt x="62" y="76"/>
                          </a:cubicBezTo>
                          <a:cubicBezTo>
                            <a:pt x="62" y="76"/>
                            <a:pt x="62" y="76"/>
                            <a:pt x="62" y="75"/>
                          </a:cubicBezTo>
                          <a:close/>
                          <a:moveTo>
                            <a:pt x="59" y="71"/>
                          </a:moveTo>
                          <a:cubicBezTo>
                            <a:pt x="59" y="71"/>
                            <a:pt x="59" y="71"/>
                            <a:pt x="59" y="71"/>
                          </a:cubicBezTo>
                          <a:cubicBezTo>
                            <a:pt x="60" y="71"/>
                            <a:pt x="59" y="71"/>
                            <a:pt x="59" y="71"/>
                          </a:cubicBezTo>
                          <a:close/>
                          <a:moveTo>
                            <a:pt x="61" y="75"/>
                          </a:moveTo>
                          <a:cubicBezTo>
                            <a:pt x="61" y="75"/>
                            <a:pt x="61" y="75"/>
                            <a:pt x="61" y="74"/>
                          </a:cubicBezTo>
                          <a:cubicBezTo>
                            <a:pt x="61" y="74"/>
                            <a:pt x="61" y="75"/>
                            <a:pt x="62" y="75"/>
                          </a:cubicBezTo>
                          <a:cubicBezTo>
                            <a:pt x="61" y="75"/>
                            <a:pt x="61" y="75"/>
                            <a:pt x="61" y="75"/>
                          </a:cubicBezTo>
                          <a:close/>
                          <a:moveTo>
                            <a:pt x="63" y="75"/>
                          </a:moveTo>
                          <a:cubicBezTo>
                            <a:pt x="63" y="75"/>
                            <a:pt x="63" y="75"/>
                            <a:pt x="63" y="75"/>
                          </a:cubicBezTo>
                          <a:cubicBezTo>
                            <a:pt x="64" y="75"/>
                            <a:pt x="64" y="75"/>
                            <a:pt x="64" y="74"/>
                          </a:cubicBezTo>
                          <a:cubicBezTo>
                            <a:pt x="64" y="74"/>
                            <a:pt x="64" y="74"/>
                            <a:pt x="64" y="74"/>
                          </a:cubicBezTo>
                          <a:cubicBezTo>
                            <a:pt x="64" y="74"/>
                            <a:pt x="65" y="74"/>
                            <a:pt x="65" y="74"/>
                          </a:cubicBezTo>
                          <a:cubicBezTo>
                            <a:pt x="66" y="74"/>
                            <a:pt x="65" y="74"/>
                            <a:pt x="65" y="74"/>
                          </a:cubicBezTo>
                          <a:cubicBezTo>
                            <a:pt x="65" y="74"/>
                            <a:pt x="64" y="75"/>
                            <a:pt x="64" y="75"/>
                          </a:cubicBezTo>
                          <a:cubicBezTo>
                            <a:pt x="64" y="75"/>
                            <a:pt x="63" y="75"/>
                            <a:pt x="63" y="75"/>
                          </a:cubicBezTo>
                          <a:cubicBezTo>
                            <a:pt x="63" y="75"/>
                            <a:pt x="63" y="75"/>
                            <a:pt x="63" y="75"/>
                          </a:cubicBezTo>
                          <a:cubicBezTo>
                            <a:pt x="63" y="75"/>
                            <a:pt x="63" y="75"/>
                            <a:pt x="62" y="76"/>
                          </a:cubicBezTo>
                          <a:cubicBezTo>
                            <a:pt x="62" y="75"/>
                            <a:pt x="63" y="75"/>
                            <a:pt x="63" y="75"/>
                          </a:cubicBezTo>
                          <a:close/>
                          <a:moveTo>
                            <a:pt x="59" y="68"/>
                          </a:moveTo>
                          <a:cubicBezTo>
                            <a:pt x="59" y="68"/>
                            <a:pt x="59" y="68"/>
                            <a:pt x="59" y="68"/>
                          </a:cubicBezTo>
                          <a:cubicBezTo>
                            <a:pt x="59" y="68"/>
                            <a:pt x="59" y="68"/>
                            <a:pt x="59" y="68"/>
                          </a:cubicBezTo>
                          <a:close/>
                          <a:moveTo>
                            <a:pt x="61" y="73"/>
                          </a:moveTo>
                          <a:cubicBezTo>
                            <a:pt x="62" y="73"/>
                            <a:pt x="62" y="72"/>
                            <a:pt x="62" y="72"/>
                          </a:cubicBezTo>
                          <a:cubicBezTo>
                            <a:pt x="62" y="73"/>
                            <a:pt x="62" y="73"/>
                            <a:pt x="61" y="73"/>
                          </a:cubicBezTo>
                          <a:close/>
                          <a:moveTo>
                            <a:pt x="59" y="67"/>
                          </a:moveTo>
                          <a:cubicBezTo>
                            <a:pt x="59" y="67"/>
                            <a:pt x="59" y="67"/>
                            <a:pt x="59" y="67"/>
                          </a:cubicBezTo>
                          <a:cubicBezTo>
                            <a:pt x="59" y="67"/>
                            <a:pt x="59" y="67"/>
                            <a:pt x="59" y="67"/>
                          </a:cubicBezTo>
                          <a:cubicBezTo>
                            <a:pt x="59" y="67"/>
                            <a:pt x="59" y="67"/>
                            <a:pt x="59" y="67"/>
                          </a:cubicBezTo>
                          <a:close/>
                          <a:moveTo>
                            <a:pt x="61" y="70"/>
                          </a:moveTo>
                          <a:cubicBezTo>
                            <a:pt x="61" y="70"/>
                            <a:pt x="61" y="70"/>
                            <a:pt x="61" y="70"/>
                          </a:cubicBezTo>
                          <a:cubicBezTo>
                            <a:pt x="61" y="70"/>
                            <a:pt x="61" y="70"/>
                            <a:pt x="62" y="70"/>
                          </a:cubicBezTo>
                          <a:cubicBezTo>
                            <a:pt x="62" y="70"/>
                            <a:pt x="61" y="70"/>
                            <a:pt x="61" y="70"/>
                          </a:cubicBezTo>
                          <a:close/>
                          <a:moveTo>
                            <a:pt x="59" y="67"/>
                          </a:moveTo>
                          <a:cubicBezTo>
                            <a:pt x="59" y="67"/>
                            <a:pt x="59" y="67"/>
                            <a:pt x="60" y="67"/>
                          </a:cubicBezTo>
                          <a:cubicBezTo>
                            <a:pt x="60" y="67"/>
                            <a:pt x="60" y="67"/>
                            <a:pt x="59" y="67"/>
                          </a:cubicBezTo>
                          <a:close/>
                          <a:moveTo>
                            <a:pt x="62" y="71"/>
                          </a:moveTo>
                          <a:cubicBezTo>
                            <a:pt x="62" y="71"/>
                            <a:pt x="62" y="71"/>
                            <a:pt x="62" y="71"/>
                          </a:cubicBezTo>
                          <a:cubicBezTo>
                            <a:pt x="62" y="71"/>
                            <a:pt x="62" y="71"/>
                            <a:pt x="62" y="71"/>
                          </a:cubicBezTo>
                          <a:close/>
                          <a:moveTo>
                            <a:pt x="61" y="66"/>
                          </a:moveTo>
                          <a:cubicBezTo>
                            <a:pt x="61" y="66"/>
                            <a:pt x="61" y="66"/>
                            <a:pt x="61" y="66"/>
                          </a:cubicBezTo>
                          <a:cubicBezTo>
                            <a:pt x="61" y="67"/>
                            <a:pt x="61" y="66"/>
                            <a:pt x="60" y="67"/>
                          </a:cubicBezTo>
                          <a:cubicBezTo>
                            <a:pt x="60" y="66"/>
                            <a:pt x="61" y="66"/>
                            <a:pt x="61" y="66"/>
                          </a:cubicBezTo>
                          <a:close/>
                          <a:moveTo>
                            <a:pt x="66" y="77"/>
                          </a:moveTo>
                          <a:cubicBezTo>
                            <a:pt x="66" y="77"/>
                            <a:pt x="67" y="76"/>
                            <a:pt x="67" y="76"/>
                          </a:cubicBezTo>
                          <a:cubicBezTo>
                            <a:pt x="67" y="77"/>
                            <a:pt x="67" y="77"/>
                            <a:pt x="66" y="77"/>
                          </a:cubicBezTo>
                          <a:close/>
                          <a:moveTo>
                            <a:pt x="66" y="73"/>
                          </a:moveTo>
                          <a:cubicBezTo>
                            <a:pt x="65" y="73"/>
                            <a:pt x="65" y="73"/>
                            <a:pt x="65" y="73"/>
                          </a:cubicBezTo>
                          <a:cubicBezTo>
                            <a:pt x="65" y="73"/>
                            <a:pt x="66" y="73"/>
                            <a:pt x="66" y="73"/>
                          </a:cubicBezTo>
                          <a:close/>
                          <a:moveTo>
                            <a:pt x="66" y="74"/>
                          </a:moveTo>
                          <a:cubicBezTo>
                            <a:pt x="66" y="74"/>
                            <a:pt x="66" y="74"/>
                            <a:pt x="66" y="74"/>
                          </a:cubicBezTo>
                          <a:cubicBezTo>
                            <a:pt x="66" y="73"/>
                            <a:pt x="67" y="73"/>
                            <a:pt x="67" y="73"/>
                          </a:cubicBezTo>
                          <a:cubicBezTo>
                            <a:pt x="67" y="73"/>
                            <a:pt x="67" y="73"/>
                            <a:pt x="67" y="73"/>
                          </a:cubicBezTo>
                          <a:cubicBezTo>
                            <a:pt x="67" y="73"/>
                            <a:pt x="67" y="73"/>
                            <a:pt x="67" y="73"/>
                          </a:cubicBezTo>
                          <a:cubicBezTo>
                            <a:pt x="67" y="73"/>
                            <a:pt x="68" y="73"/>
                            <a:pt x="68" y="73"/>
                          </a:cubicBezTo>
                          <a:cubicBezTo>
                            <a:pt x="67" y="73"/>
                            <a:pt x="67" y="73"/>
                            <a:pt x="66" y="74"/>
                          </a:cubicBezTo>
                          <a:close/>
                          <a:moveTo>
                            <a:pt x="63" y="69"/>
                          </a:moveTo>
                          <a:cubicBezTo>
                            <a:pt x="64" y="69"/>
                            <a:pt x="64" y="68"/>
                            <a:pt x="64" y="68"/>
                          </a:cubicBezTo>
                          <a:cubicBezTo>
                            <a:pt x="64" y="68"/>
                            <a:pt x="64" y="68"/>
                            <a:pt x="64" y="68"/>
                          </a:cubicBezTo>
                          <a:cubicBezTo>
                            <a:pt x="64" y="69"/>
                            <a:pt x="64" y="69"/>
                            <a:pt x="63" y="69"/>
                          </a:cubicBezTo>
                          <a:close/>
                          <a:moveTo>
                            <a:pt x="66" y="70"/>
                          </a:moveTo>
                          <a:cubicBezTo>
                            <a:pt x="65" y="70"/>
                            <a:pt x="65" y="70"/>
                            <a:pt x="65" y="70"/>
                          </a:cubicBezTo>
                          <a:cubicBezTo>
                            <a:pt x="65" y="70"/>
                            <a:pt x="65" y="70"/>
                            <a:pt x="65" y="70"/>
                          </a:cubicBezTo>
                          <a:cubicBezTo>
                            <a:pt x="65" y="70"/>
                            <a:pt x="65" y="70"/>
                            <a:pt x="65" y="70"/>
                          </a:cubicBezTo>
                          <a:cubicBezTo>
                            <a:pt x="66" y="70"/>
                            <a:pt x="66" y="70"/>
                            <a:pt x="66" y="70"/>
                          </a:cubicBezTo>
                          <a:close/>
                          <a:moveTo>
                            <a:pt x="67" y="72"/>
                          </a:moveTo>
                          <a:cubicBezTo>
                            <a:pt x="67" y="72"/>
                            <a:pt x="67" y="73"/>
                            <a:pt x="67" y="73"/>
                          </a:cubicBezTo>
                          <a:cubicBezTo>
                            <a:pt x="67" y="72"/>
                            <a:pt x="67" y="72"/>
                            <a:pt x="67" y="72"/>
                          </a:cubicBezTo>
                          <a:close/>
                          <a:moveTo>
                            <a:pt x="65" y="68"/>
                          </a:moveTo>
                          <a:cubicBezTo>
                            <a:pt x="65" y="68"/>
                            <a:pt x="65" y="68"/>
                            <a:pt x="64" y="68"/>
                          </a:cubicBezTo>
                          <a:cubicBezTo>
                            <a:pt x="64" y="68"/>
                            <a:pt x="65" y="68"/>
                            <a:pt x="65" y="68"/>
                          </a:cubicBezTo>
                          <a:close/>
                          <a:moveTo>
                            <a:pt x="68" y="73"/>
                          </a:moveTo>
                          <a:cubicBezTo>
                            <a:pt x="68" y="73"/>
                            <a:pt x="68" y="73"/>
                            <a:pt x="68" y="73"/>
                          </a:cubicBezTo>
                          <a:cubicBezTo>
                            <a:pt x="68" y="73"/>
                            <a:pt x="68" y="73"/>
                            <a:pt x="68" y="73"/>
                          </a:cubicBezTo>
                          <a:close/>
                          <a:moveTo>
                            <a:pt x="66" y="69"/>
                          </a:moveTo>
                          <a:cubicBezTo>
                            <a:pt x="66" y="69"/>
                            <a:pt x="66" y="69"/>
                            <a:pt x="66" y="68"/>
                          </a:cubicBezTo>
                          <a:cubicBezTo>
                            <a:pt x="66" y="69"/>
                            <a:pt x="66" y="69"/>
                            <a:pt x="66" y="69"/>
                          </a:cubicBezTo>
                          <a:cubicBezTo>
                            <a:pt x="66" y="69"/>
                            <a:pt x="66" y="69"/>
                            <a:pt x="66" y="69"/>
                          </a:cubicBezTo>
                          <a:close/>
                          <a:moveTo>
                            <a:pt x="67" y="71"/>
                          </a:moveTo>
                          <a:cubicBezTo>
                            <a:pt x="67" y="71"/>
                            <a:pt x="68" y="70"/>
                            <a:pt x="68" y="71"/>
                          </a:cubicBezTo>
                          <a:cubicBezTo>
                            <a:pt x="68" y="71"/>
                            <a:pt x="67" y="71"/>
                            <a:pt x="67" y="71"/>
                          </a:cubicBezTo>
                          <a:close/>
                          <a:moveTo>
                            <a:pt x="68" y="71"/>
                          </a:moveTo>
                          <a:cubicBezTo>
                            <a:pt x="68" y="71"/>
                            <a:pt x="68" y="71"/>
                            <a:pt x="68" y="72"/>
                          </a:cubicBezTo>
                          <a:cubicBezTo>
                            <a:pt x="68" y="71"/>
                            <a:pt x="68" y="71"/>
                            <a:pt x="68" y="71"/>
                          </a:cubicBezTo>
                          <a:close/>
                          <a:moveTo>
                            <a:pt x="70" y="73"/>
                          </a:moveTo>
                          <a:cubicBezTo>
                            <a:pt x="70" y="74"/>
                            <a:pt x="70" y="74"/>
                            <a:pt x="69" y="74"/>
                          </a:cubicBezTo>
                          <a:cubicBezTo>
                            <a:pt x="69" y="74"/>
                            <a:pt x="70" y="74"/>
                            <a:pt x="70" y="73"/>
                          </a:cubicBezTo>
                          <a:close/>
                          <a:moveTo>
                            <a:pt x="66" y="67"/>
                          </a:moveTo>
                          <a:cubicBezTo>
                            <a:pt x="66" y="67"/>
                            <a:pt x="66" y="67"/>
                            <a:pt x="65" y="67"/>
                          </a:cubicBezTo>
                          <a:cubicBezTo>
                            <a:pt x="66" y="67"/>
                            <a:pt x="66" y="67"/>
                            <a:pt x="66" y="67"/>
                          </a:cubicBezTo>
                          <a:close/>
                          <a:moveTo>
                            <a:pt x="65" y="64"/>
                          </a:moveTo>
                          <a:cubicBezTo>
                            <a:pt x="65" y="65"/>
                            <a:pt x="65" y="65"/>
                            <a:pt x="65" y="65"/>
                          </a:cubicBezTo>
                          <a:cubicBezTo>
                            <a:pt x="64" y="64"/>
                            <a:pt x="64" y="64"/>
                            <a:pt x="65" y="64"/>
                          </a:cubicBezTo>
                          <a:cubicBezTo>
                            <a:pt x="65" y="64"/>
                            <a:pt x="65" y="64"/>
                            <a:pt x="65" y="64"/>
                          </a:cubicBezTo>
                          <a:close/>
                          <a:moveTo>
                            <a:pt x="67" y="68"/>
                          </a:moveTo>
                          <a:cubicBezTo>
                            <a:pt x="67" y="68"/>
                            <a:pt x="68" y="68"/>
                            <a:pt x="68" y="68"/>
                          </a:cubicBezTo>
                          <a:cubicBezTo>
                            <a:pt x="68" y="68"/>
                            <a:pt x="68" y="68"/>
                            <a:pt x="68" y="68"/>
                          </a:cubicBezTo>
                          <a:cubicBezTo>
                            <a:pt x="68" y="68"/>
                            <a:pt x="68" y="68"/>
                            <a:pt x="68" y="68"/>
                          </a:cubicBezTo>
                          <a:cubicBezTo>
                            <a:pt x="68" y="68"/>
                            <a:pt x="69" y="67"/>
                            <a:pt x="69" y="68"/>
                          </a:cubicBezTo>
                          <a:cubicBezTo>
                            <a:pt x="69" y="68"/>
                            <a:pt x="69" y="67"/>
                            <a:pt x="69" y="68"/>
                          </a:cubicBezTo>
                          <a:cubicBezTo>
                            <a:pt x="69" y="67"/>
                            <a:pt x="69" y="68"/>
                            <a:pt x="69" y="67"/>
                          </a:cubicBezTo>
                          <a:cubicBezTo>
                            <a:pt x="69" y="68"/>
                            <a:pt x="68" y="68"/>
                            <a:pt x="68" y="68"/>
                          </a:cubicBezTo>
                          <a:cubicBezTo>
                            <a:pt x="68" y="68"/>
                            <a:pt x="68" y="68"/>
                            <a:pt x="68" y="68"/>
                          </a:cubicBezTo>
                          <a:cubicBezTo>
                            <a:pt x="68" y="68"/>
                            <a:pt x="68" y="68"/>
                            <a:pt x="67" y="68"/>
                          </a:cubicBezTo>
                          <a:cubicBezTo>
                            <a:pt x="67" y="68"/>
                            <a:pt x="67" y="68"/>
                            <a:pt x="67" y="68"/>
                          </a:cubicBezTo>
                          <a:close/>
                          <a:moveTo>
                            <a:pt x="66" y="67"/>
                          </a:moveTo>
                          <a:cubicBezTo>
                            <a:pt x="67" y="67"/>
                            <a:pt x="67" y="67"/>
                            <a:pt x="67" y="66"/>
                          </a:cubicBezTo>
                          <a:cubicBezTo>
                            <a:pt x="67" y="67"/>
                            <a:pt x="67" y="67"/>
                            <a:pt x="67" y="67"/>
                          </a:cubicBezTo>
                          <a:cubicBezTo>
                            <a:pt x="67" y="66"/>
                            <a:pt x="67" y="67"/>
                            <a:pt x="67" y="67"/>
                          </a:cubicBezTo>
                          <a:cubicBezTo>
                            <a:pt x="67" y="66"/>
                            <a:pt x="67" y="66"/>
                            <a:pt x="67" y="66"/>
                          </a:cubicBezTo>
                          <a:cubicBezTo>
                            <a:pt x="67" y="66"/>
                            <a:pt x="67" y="66"/>
                            <a:pt x="67" y="66"/>
                          </a:cubicBezTo>
                          <a:cubicBezTo>
                            <a:pt x="67" y="66"/>
                            <a:pt x="67" y="66"/>
                            <a:pt x="67" y="67"/>
                          </a:cubicBezTo>
                          <a:cubicBezTo>
                            <a:pt x="67" y="67"/>
                            <a:pt x="67" y="67"/>
                            <a:pt x="67" y="67"/>
                          </a:cubicBezTo>
                          <a:cubicBezTo>
                            <a:pt x="67" y="67"/>
                            <a:pt x="67" y="67"/>
                            <a:pt x="66" y="67"/>
                          </a:cubicBezTo>
                          <a:cubicBezTo>
                            <a:pt x="66" y="67"/>
                            <a:pt x="66" y="67"/>
                            <a:pt x="66" y="67"/>
                          </a:cubicBezTo>
                          <a:close/>
                          <a:moveTo>
                            <a:pt x="68" y="67"/>
                          </a:moveTo>
                          <a:cubicBezTo>
                            <a:pt x="68" y="67"/>
                            <a:pt x="68" y="68"/>
                            <a:pt x="67" y="67"/>
                          </a:cubicBezTo>
                          <a:cubicBezTo>
                            <a:pt x="68" y="67"/>
                            <a:pt x="68" y="67"/>
                            <a:pt x="68" y="67"/>
                          </a:cubicBezTo>
                          <a:cubicBezTo>
                            <a:pt x="68" y="67"/>
                            <a:pt x="68" y="67"/>
                            <a:pt x="68" y="67"/>
                          </a:cubicBezTo>
                          <a:cubicBezTo>
                            <a:pt x="68" y="67"/>
                            <a:pt x="68" y="67"/>
                            <a:pt x="68" y="67"/>
                          </a:cubicBezTo>
                          <a:close/>
                          <a:moveTo>
                            <a:pt x="67" y="65"/>
                          </a:moveTo>
                          <a:cubicBezTo>
                            <a:pt x="67" y="65"/>
                            <a:pt x="67" y="65"/>
                            <a:pt x="67" y="65"/>
                          </a:cubicBezTo>
                          <a:cubicBezTo>
                            <a:pt x="67" y="65"/>
                            <a:pt x="67" y="65"/>
                            <a:pt x="67" y="65"/>
                          </a:cubicBezTo>
                          <a:cubicBezTo>
                            <a:pt x="67" y="65"/>
                            <a:pt x="67" y="65"/>
                            <a:pt x="67" y="65"/>
                          </a:cubicBezTo>
                          <a:cubicBezTo>
                            <a:pt x="67" y="65"/>
                            <a:pt x="67" y="65"/>
                            <a:pt x="67" y="65"/>
                          </a:cubicBezTo>
                          <a:cubicBezTo>
                            <a:pt x="67" y="65"/>
                            <a:pt x="68" y="65"/>
                            <a:pt x="68" y="65"/>
                          </a:cubicBezTo>
                          <a:cubicBezTo>
                            <a:pt x="68" y="65"/>
                            <a:pt x="67" y="65"/>
                            <a:pt x="67" y="65"/>
                          </a:cubicBezTo>
                          <a:close/>
                          <a:moveTo>
                            <a:pt x="70" y="71"/>
                          </a:moveTo>
                          <a:cubicBezTo>
                            <a:pt x="70" y="71"/>
                            <a:pt x="70" y="71"/>
                            <a:pt x="71" y="70"/>
                          </a:cubicBezTo>
                          <a:cubicBezTo>
                            <a:pt x="71" y="71"/>
                            <a:pt x="70" y="71"/>
                            <a:pt x="70" y="71"/>
                          </a:cubicBezTo>
                          <a:close/>
                          <a:moveTo>
                            <a:pt x="69" y="68"/>
                          </a:moveTo>
                          <a:cubicBezTo>
                            <a:pt x="69" y="68"/>
                            <a:pt x="69" y="68"/>
                            <a:pt x="70" y="68"/>
                          </a:cubicBezTo>
                          <a:cubicBezTo>
                            <a:pt x="70" y="68"/>
                            <a:pt x="69" y="68"/>
                            <a:pt x="69" y="68"/>
                          </a:cubicBezTo>
                          <a:close/>
                          <a:moveTo>
                            <a:pt x="68" y="67"/>
                          </a:moveTo>
                          <a:cubicBezTo>
                            <a:pt x="68" y="67"/>
                            <a:pt x="69" y="66"/>
                            <a:pt x="69" y="67"/>
                          </a:cubicBezTo>
                          <a:cubicBezTo>
                            <a:pt x="69" y="67"/>
                            <a:pt x="69" y="67"/>
                            <a:pt x="68" y="67"/>
                          </a:cubicBezTo>
                          <a:close/>
                          <a:moveTo>
                            <a:pt x="70" y="68"/>
                          </a:moveTo>
                          <a:cubicBezTo>
                            <a:pt x="70" y="68"/>
                            <a:pt x="70" y="68"/>
                            <a:pt x="70" y="68"/>
                          </a:cubicBezTo>
                          <a:cubicBezTo>
                            <a:pt x="70" y="68"/>
                            <a:pt x="70" y="67"/>
                            <a:pt x="71" y="67"/>
                          </a:cubicBezTo>
                          <a:cubicBezTo>
                            <a:pt x="71" y="67"/>
                            <a:pt x="71" y="67"/>
                            <a:pt x="71" y="67"/>
                          </a:cubicBezTo>
                          <a:cubicBezTo>
                            <a:pt x="71" y="67"/>
                            <a:pt x="71" y="67"/>
                            <a:pt x="71" y="67"/>
                          </a:cubicBezTo>
                          <a:cubicBezTo>
                            <a:pt x="71" y="68"/>
                            <a:pt x="70" y="68"/>
                            <a:pt x="70" y="68"/>
                          </a:cubicBezTo>
                          <a:close/>
                          <a:moveTo>
                            <a:pt x="67" y="63"/>
                          </a:moveTo>
                          <a:cubicBezTo>
                            <a:pt x="67" y="63"/>
                            <a:pt x="67" y="63"/>
                            <a:pt x="67" y="63"/>
                          </a:cubicBezTo>
                          <a:cubicBezTo>
                            <a:pt x="67" y="63"/>
                            <a:pt x="68" y="63"/>
                            <a:pt x="68" y="63"/>
                          </a:cubicBezTo>
                          <a:cubicBezTo>
                            <a:pt x="67" y="63"/>
                            <a:pt x="67" y="63"/>
                            <a:pt x="67" y="63"/>
                          </a:cubicBezTo>
                          <a:close/>
                          <a:moveTo>
                            <a:pt x="68" y="64"/>
                          </a:moveTo>
                          <a:cubicBezTo>
                            <a:pt x="68" y="65"/>
                            <a:pt x="68" y="64"/>
                            <a:pt x="68" y="64"/>
                          </a:cubicBezTo>
                          <a:cubicBezTo>
                            <a:pt x="68" y="64"/>
                            <a:pt x="68" y="64"/>
                            <a:pt x="68" y="64"/>
                          </a:cubicBezTo>
                          <a:close/>
                          <a:moveTo>
                            <a:pt x="68" y="62"/>
                          </a:moveTo>
                          <a:cubicBezTo>
                            <a:pt x="69" y="61"/>
                            <a:pt x="70" y="61"/>
                            <a:pt x="70" y="61"/>
                          </a:cubicBezTo>
                          <a:cubicBezTo>
                            <a:pt x="69" y="61"/>
                            <a:pt x="68" y="62"/>
                            <a:pt x="67" y="62"/>
                          </a:cubicBezTo>
                          <a:cubicBezTo>
                            <a:pt x="68" y="62"/>
                            <a:pt x="68" y="62"/>
                            <a:pt x="68" y="62"/>
                          </a:cubicBezTo>
                          <a:close/>
                          <a:moveTo>
                            <a:pt x="73" y="69"/>
                          </a:moveTo>
                          <a:cubicBezTo>
                            <a:pt x="72" y="70"/>
                            <a:pt x="72" y="70"/>
                            <a:pt x="72" y="70"/>
                          </a:cubicBezTo>
                          <a:cubicBezTo>
                            <a:pt x="72" y="70"/>
                            <a:pt x="73" y="69"/>
                            <a:pt x="73" y="69"/>
                          </a:cubicBezTo>
                          <a:close/>
                          <a:moveTo>
                            <a:pt x="69" y="64"/>
                          </a:moveTo>
                          <a:cubicBezTo>
                            <a:pt x="70" y="64"/>
                            <a:pt x="70" y="64"/>
                            <a:pt x="70" y="64"/>
                          </a:cubicBezTo>
                          <a:cubicBezTo>
                            <a:pt x="70" y="64"/>
                            <a:pt x="70" y="64"/>
                            <a:pt x="69" y="65"/>
                          </a:cubicBezTo>
                          <a:cubicBezTo>
                            <a:pt x="69" y="64"/>
                            <a:pt x="70" y="64"/>
                            <a:pt x="69" y="64"/>
                          </a:cubicBezTo>
                          <a:close/>
                          <a:moveTo>
                            <a:pt x="72" y="68"/>
                          </a:moveTo>
                          <a:cubicBezTo>
                            <a:pt x="72" y="68"/>
                            <a:pt x="72" y="68"/>
                            <a:pt x="72" y="68"/>
                          </a:cubicBezTo>
                          <a:cubicBezTo>
                            <a:pt x="72" y="68"/>
                            <a:pt x="73" y="67"/>
                            <a:pt x="73" y="67"/>
                          </a:cubicBezTo>
                          <a:cubicBezTo>
                            <a:pt x="73" y="67"/>
                            <a:pt x="73" y="67"/>
                            <a:pt x="72" y="68"/>
                          </a:cubicBezTo>
                          <a:close/>
                          <a:moveTo>
                            <a:pt x="73" y="67"/>
                          </a:moveTo>
                          <a:cubicBezTo>
                            <a:pt x="73" y="67"/>
                            <a:pt x="73" y="67"/>
                            <a:pt x="73" y="67"/>
                          </a:cubicBezTo>
                          <a:cubicBezTo>
                            <a:pt x="73" y="67"/>
                            <a:pt x="73" y="67"/>
                            <a:pt x="73" y="67"/>
                          </a:cubicBezTo>
                          <a:cubicBezTo>
                            <a:pt x="73" y="67"/>
                            <a:pt x="73" y="67"/>
                            <a:pt x="73" y="67"/>
                          </a:cubicBezTo>
                          <a:cubicBezTo>
                            <a:pt x="73" y="67"/>
                            <a:pt x="73" y="67"/>
                            <a:pt x="73" y="67"/>
                          </a:cubicBezTo>
                          <a:close/>
                          <a:moveTo>
                            <a:pt x="72" y="59"/>
                          </a:moveTo>
                          <a:cubicBezTo>
                            <a:pt x="72" y="60"/>
                            <a:pt x="71" y="60"/>
                            <a:pt x="72" y="59"/>
                          </a:cubicBezTo>
                          <a:close/>
                          <a:moveTo>
                            <a:pt x="74" y="63"/>
                          </a:moveTo>
                          <a:cubicBezTo>
                            <a:pt x="74" y="63"/>
                            <a:pt x="74" y="63"/>
                            <a:pt x="74" y="63"/>
                          </a:cubicBezTo>
                          <a:cubicBezTo>
                            <a:pt x="74" y="63"/>
                            <a:pt x="74" y="63"/>
                            <a:pt x="74" y="63"/>
                          </a:cubicBezTo>
                          <a:cubicBezTo>
                            <a:pt x="74" y="63"/>
                            <a:pt x="74" y="63"/>
                            <a:pt x="74" y="63"/>
                          </a:cubicBezTo>
                          <a:close/>
                          <a:moveTo>
                            <a:pt x="76" y="65"/>
                          </a:moveTo>
                          <a:cubicBezTo>
                            <a:pt x="75" y="65"/>
                            <a:pt x="75" y="65"/>
                            <a:pt x="75" y="65"/>
                          </a:cubicBezTo>
                          <a:cubicBezTo>
                            <a:pt x="75" y="65"/>
                            <a:pt x="75" y="65"/>
                            <a:pt x="76" y="65"/>
                          </a:cubicBezTo>
                          <a:close/>
                          <a:moveTo>
                            <a:pt x="74" y="62"/>
                          </a:moveTo>
                          <a:cubicBezTo>
                            <a:pt x="73" y="62"/>
                            <a:pt x="74" y="61"/>
                            <a:pt x="74" y="62"/>
                          </a:cubicBezTo>
                          <a:cubicBezTo>
                            <a:pt x="74" y="62"/>
                            <a:pt x="74" y="62"/>
                            <a:pt x="74" y="62"/>
                          </a:cubicBezTo>
                          <a:close/>
                          <a:moveTo>
                            <a:pt x="77" y="66"/>
                          </a:moveTo>
                          <a:cubicBezTo>
                            <a:pt x="77" y="66"/>
                            <a:pt x="76" y="67"/>
                            <a:pt x="76" y="67"/>
                          </a:cubicBezTo>
                          <a:cubicBezTo>
                            <a:pt x="76" y="67"/>
                            <a:pt x="76" y="66"/>
                            <a:pt x="77" y="66"/>
                          </a:cubicBezTo>
                          <a:close/>
                          <a:moveTo>
                            <a:pt x="77" y="64"/>
                          </a:moveTo>
                          <a:cubicBezTo>
                            <a:pt x="77" y="64"/>
                            <a:pt x="77" y="64"/>
                            <a:pt x="77" y="64"/>
                          </a:cubicBezTo>
                          <a:cubicBezTo>
                            <a:pt x="77" y="64"/>
                            <a:pt x="76" y="64"/>
                            <a:pt x="76" y="64"/>
                          </a:cubicBezTo>
                          <a:cubicBezTo>
                            <a:pt x="76" y="64"/>
                            <a:pt x="76" y="65"/>
                            <a:pt x="75" y="65"/>
                          </a:cubicBezTo>
                          <a:cubicBezTo>
                            <a:pt x="75" y="64"/>
                            <a:pt x="76" y="64"/>
                            <a:pt x="77" y="64"/>
                          </a:cubicBezTo>
                          <a:close/>
                          <a:moveTo>
                            <a:pt x="77" y="65"/>
                          </a:moveTo>
                          <a:cubicBezTo>
                            <a:pt x="77" y="65"/>
                            <a:pt x="77" y="65"/>
                            <a:pt x="77" y="65"/>
                          </a:cubicBezTo>
                          <a:cubicBezTo>
                            <a:pt x="76" y="65"/>
                            <a:pt x="76" y="65"/>
                            <a:pt x="77" y="65"/>
                          </a:cubicBezTo>
                          <a:close/>
                          <a:moveTo>
                            <a:pt x="75" y="63"/>
                          </a:moveTo>
                          <a:cubicBezTo>
                            <a:pt x="75" y="62"/>
                            <a:pt x="75" y="62"/>
                            <a:pt x="75" y="63"/>
                          </a:cubicBezTo>
                          <a:cubicBezTo>
                            <a:pt x="75" y="63"/>
                            <a:pt x="75" y="63"/>
                            <a:pt x="75" y="63"/>
                          </a:cubicBezTo>
                          <a:cubicBezTo>
                            <a:pt x="75" y="63"/>
                            <a:pt x="75" y="63"/>
                            <a:pt x="75" y="63"/>
                          </a:cubicBezTo>
                          <a:cubicBezTo>
                            <a:pt x="75" y="63"/>
                            <a:pt x="75" y="63"/>
                            <a:pt x="75" y="63"/>
                          </a:cubicBezTo>
                          <a:close/>
                          <a:moveTo>
                            <a:pt x="75" y="62"/>
                          </a:moveTo>
                          <a:cubicBezTo>
                            <a:pt x="75" y="62"/>
                            <a:pt x="75" y="62"/>
                            <a:pt x="75" y="62"/>
                          </a:cubicBezTo>
                          <a:cubicBezTo>
                            <a:pt x="75" y="62"/>
                            <a:pt x="76" y="62"/>
                            <a:pt x="75" y="62"/>
                          </a:cubicBezTo>
                          <a:close/>
                          <a:moveTo>
                            <a:pt x="76" y="63"/>
                          </a:moveTo>
                          <a:cubicBezTo>
                            <a:pt x="76" y="64"/>
                            <a:pt x="76" y="64"/>
                            <a:pt x="76" y="64"/>
                          </a:cubicBezTo>
                          <a:cubicBezTo>
                            <a:pt x="76" y="64"/>
                            <a:pt x="76" y="63"/>
                            <a:pt x="76" y="63"/>
                          </a:cubicBezTo>
                          <a:close/>
                          <a:moveTo>
                            <a:pt x="74" y="58"/>
                          </a:moveTo>
                          <a:cubicBezTo>
                            <a:pt x="74" y="58"/>
                            <a:pt x="74" y="58"/>
                            <a:pt x="74" y="58"/>
                          </a:cubicBezTo>
                          <a:cubicBezTo>
                            <a:pt x="74" y="58"/>
                            <a:pt x="74" y="58"/>
                            <a:pt x="74" y="58"/>
                          </a:cubicBezTo>
                          <a:close/>
                          <a:moveTo>
                            <a:pt x="79" y="68"/>
                          </a:moveTo>
                          <a:cubicBezTo>
                            <a:pt x="79" y="68"/>
                            <a:pt x="80" y="68"/>
                            <a:pt x="80" y="68"/>
                          </a:cubicBezTo>
                          <a:cubicBezTo>
                            <a:pt x="80" y="68"/>
                            <a:pt x="80" y="68"/>
                            <a:pt x="79" y="68"/>
                          </a:cubicBezTo>
                          <a:cubicBezTo>
                            <a:pt x="79" y="68"/>
                            <a:pt x="79" y="68"/>
                            <a:pt x="79" y="68"/>
                          </a:cubicBezTo>
                          <a:close/>
                          <a:moveTo>
                            <a:pt x="76" y="62"/>
                          </a:moveTo>
                          <a:cubicBezTo>
                            <a:pt x="76" y="62"/>
                            <a:pt x="76" y="62"/>
                            <a:pt x="76" y="62"/>
                          </a:cubicBezTo>
                          <a:cubicBezTo>
                            <a:pt x="76" y="62"/>
                            <a:pt x="76" y="62"/>
                            <a:pt x="77" y="62"/>
                          </a:cubicBezTo>
                          <a:cubicBezTo>
                            <a:pt x="77" y="62"/>
                            <a:pt x="76" y="62"/>
                            <a:pt x="76" y="62"/>
                          </a:cubicBezTo>
                          <a:cubicBezTo>
                            <a:pt x="76" y="63"/>
                            <a:pt x="76" y="62"/>
                            <a:pt x="76" y="62"/>
                          </a:cubicBezTo>
                          <a:close/>
                          <a:moveTo>
                            <a:pt x="79" y="66"/>
                          </a:moveTo>
                          <a:cubicBezTo>
                            <a:pt x="79" y="66"/>
                            <a:pt x="79" y="66"/>
                            <a:pt x="79" y="66"/>
                          </a:cubicBezTo>
                          <a:cubicBezTo>
                            <a:pt x="79" y="66"/>
                            <a:pt x="79" y="66"/>
                            <a:pt x="78" y="66"/>
                          </a:cubicBezTo>
                          <a:cubicBezTo>
                            <a:pt x="79" y="66"/>
                            <a:pt x="78" y="66"/>
                            <a:pt x="79" y="66"/>
                          </a:cubicBezTo>
                          <a:close/>
                          <a:moveTo>
                            <a:pt x="78" y="65"/>
                          </a:moveTo>
                          <a:cubicBezTo>
                            <a:pt x="78" y="64"/>
                            <a:pt x="78" y="64"/>
                            <a:pt x="78" y="64"/>
                          </a:cubicBezTo>
                          <a:cubicBezTo>
                            <a:pt x="78" y="65"/>
                            <a:pt x="78" y="65"/>
                            <a:pt x="78" y="65"/>
                          </a:cubicBezTo>
                          <a:close/>
                          <a:moveTo>
                            <a:pt x="75" y="59"/>
                          </a:moveTo>
                          <a:cubicBezTo>
                            <a:pt x="75" y="59"/>
                            <a:pt x="76" y="59"/>
                            <a:pt x="76" y="59"/>
                          </a:cubicBezTo>
                          <a:cubicBezTo>
                            <a:pt x="76" y="59"/>
                            <a:pt x="76" y="59"/>
                            <a:pt x="75" y="59"/>
                          </a:cubicBezTo>
                          <a:close/>
                          <a:moveTo>
                            <a:pt x="78" y="63"/>
                          </a:moveTo>
                          <a:cubicBezTo>
                            <a:pt x="78" y="63"/>
                            <a:pt x="78" y="62"/>
                            <a:pt x="78" y="62"/>
                          </a:cubicBezTo>
                          <a:cubicBezTo>
                            <a:pt x="78" y="63"/>
                            <a:pt x="78" y="63"/>
                            <a:pt x="78" y="63"/>
                          </a:cubicBezTo>
                          <a:close/>
                          <a:moveTo>
                            <a:pt x="78" y="62"/>
                          </a:moveTo>
                          <a:cubicBezTo>
                            <a:pt x="78" y="62"/>
                            <a:pt x="78" y="62"/>
                            <a:pt x="78" y="62"/>
                          </a:cubicBezTo>
                          <a:cubicBezTo>
                            <a:pt x="78" y="62"/>
                            <a:pt x="78" y="62"/>
                            <a:pt x="78" y="62"/>
                          </a:cubicBezTo>
                          <a:close/>
                          <a:moveTo>
                            <a:pt x="81" y="66"/>
                          </a:moveTo>
                          <a:cubicBezTo>
                            <a:pt x="80" y="66"/>
                            <a:pt x="80" y="66"/>
                            <a:pt x="80" y="66"/>
                          </a:cubicBezTo>
                          <a:cubicBezTo>
                            <a:pt x="80" y="66"/>
                            <a:pt x="80" y="66"/>
                            <a:pt x="81" y="66"/>
                          </a:cubicBezTo>
                          <a:close/>
                          <a:moveTo>
                            <a:pt x="76" y="59"/>
                          </a:moveTo>
                          <a:cubicBezTo>
                            <a:pt x="77" y="58"/>
                            <a:pt x="77" y="58"/>
                            <a:pt x="77" y="58"/>
                          </a:cubicBezTo>
                          <a:cubicBezTo>
                            <a:pt x="77" y="59"/>
                            <a:pt x="76" y="59"/>
                            <a:pt x="76" y="59"/>
                          </a:cubicBezTo>
                          <a:cubicBezTo>
                            <a:pt x="76" y="59"/>
                            <a:pt x="76" y="59"/>
                            <a:pt x="76" y="59"/>
                          </a:cubicBezTo>
                          <a:cubicBezTo>
                            <a:pt x="76" y="59"/>
                            <a:pt x="76" y="59"/>
                            <a:pt x="76" y="58"/>
                          </a:cubicBezTo>
                          <a:cubicBezTo>
                            <a:pt x="76" y="58"/>
                            <a:pt x="76" y="58"/>
                            <a:pt x="76" y="58"/>
                          </a:cubicBezTo>
                          <a:cubicBezTo>
                            <a:pt x="77" y="58"/>
                            <a:pt x="76" y="58"/>
                            <a:pt x="76" y="59"/>
                          </a:cubicBezTo>
                          <a:close/>
                          <a:moveTo>
                            <a:pt x="80" y="65"/>
                          </a:moveTo>
                          <a:cubicBezTo>
                            <a:pt x="80" y="65"/>
                            <a:pt x="80" y="65"/>
                            <a:pt x="80" y="65"/>
                          </a:cubicBezTo>
                          <a:cubicBezTo>
                            <a:pt x="80" y="65"/>
                            <a:pt x="80" y="65"/>
                            <a:pt x="80" y="65"/>
                          </a:cubicBezTo>
                          <a:cubicBezTo>
                            <a:pt x="80" y="65"/>
                            <a:pt x="80" y="65"/>
                            <a:pt x="80" y="65"/>
                          </a:cubicBezTo>
                          <a:close/>
                          <a:moveTo>
                            <a:pt x="81" y="68"/>
                          </a:moveTo>
                          <a:cubicBezTo>
                            <a:pt x="82" y="68"/>
                            <a:pt x="82" y="68"/>
                            <a:pt x="82" y="67"/>
                          </a:cubicBezTo>
                          <a:cubicBezTo>
                            <a:pt x="82" y="68"/>
                            <a:pt x="82" y="68"/>
                            <a:pt x="81" y="68"/>
                          </a:cubicBezTo>
                          <a:cubicBezTo>
                            <a:pt x="82" y="68"/>
                            <a:pt x="81" y="68"/>
                            <a:pt x="81" y="68"/>
                          </a:cubicBezTo>
                          <a:close/>
                          <a:moveTo>
                            <a:pt x="83" y="66"/>
                          </a:moveTo>
                          <a:cubicBezTo>
                            <a:pt x="83" y="66"/>
                            <a:pt x="84" y="65"/>
                            <a:pt x="85" y="65"/>
                          </a:cubicBezTo>
                          <a:cubicBezTo>
                            <a:pt x="84" y="66"/>
                            <a:pt x="83" y="66"/>
                            <a:pt x="82" y="67"/>
                          </a:cubicBezTo>
                          <a:cubicBezTo>
                            <a:pt x="82" y="67"/>
                            <a:pt x="82" y="67"/>
                            <a:pt x="81" y="67"/>
                          </a:cubicBezTo>
                          <a:cubicBezTo>
                            <a:pt x="82" y="67"/>
                            <a:pt x="82" y="67"/>
                            <a:pt x="83" y="66"/>
                          </a:cubicBezTo>
                          <a:close/>
                          <a:moveTo>
                            <a:pt x="80" y="64"/>
                          </a:moveTo>
                          <a:cubicBezTo>
                            <a:pt x="80" y="64"/>
                            <a:pt x="80" y="64"/>
                            <a:pt x="80" y="64"/>
                          </a:cubicBezTo>
                          <a:cubicBezTo>
                            <a:pt x="80" y="64"/>
                            <a:pt x="80" y="64"/>
                            <a:pt x="80" y="64"/>
                          </a:cubicBezTo>
                          <a:close/>
                          <a:moveTo>
                            <a:pt x="80" y="64"/>
                          </a:moveTo>
                          <a:cubicBezTo>
                            <a:pt x="79" y="63"/>
                            <a:pt x="80" y="63"/>
                            <a:pt x="80" y="63"/>
                          </a:cubicBez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80" y="63"/>
                            <a:pt x="80" y="63"/>
                            <a:pt x="80" y="64"/>
                          </a:cubicBezTo>
                          <a:close/>
                          <a:moveTo>
                            <a:pt x="82" y="67"/>
                          </a:moveTo>
                          <a:cubicBezTo>
                            <a:pt x="82" y="67"/>
                            <a:pt x="82" y="67"/>
                            <a:pt x="82" y="67"/>
                          </a:cubicBezTo>
                          <a:cubicBezTo>
                            <a:pt x="83" y="67"/>
                            <a:pt x="82" y="68"/>
                            <a:pt x="82" y="67"/>
                          </a:cubicBezTo>
                          <a:close/>
                          <a:moveTo>
                            <a:pt x="81" y="65"/>
                          </a:moveTo>
                          <a:cubicBezTo>
                            <a:pt x="81" y="65"/>
                            <a:pt x="81" y="65"/>
                            <a:pt x="81" y="65"/>
                          </a:cubicBezTo>
                          <a:cubicBezTo>
                            <a:pt x="81" y="65"/>
                            <a:pt x="81" y="65"/>
                            <a:pt x="81" y="65"/>
                          </a:cubicBezTo>
                          <a:cubicBezTo>
                            <a:pt x="81" y="65"/>
                            <a:pt x="81" y="65"/>
                            <a:pt x="81" y="65"/>
                          </a:cubicBezTo>
                          <a:close/>
                          <a:moveTo>
                            <a:pt x="81" y="64"/>
                          </a:moveTo>
                          <a:cubicBezTo>
                            <a:pt x="81" y="64"/>
                            <a:pt x="81" y="65"/>
                            <a:pt x="81" y="65"/>
                          </a:cubicBezTo>
                          <a:cubicBezTo>
                            <a:pt x="81" y="65"/>
                            <a:pt x="81" y="64"/>
                            <a:pt x="81" y="65"/>
                          </a:cubicBezTo>
                          <a:cubicBezTo>
                            <a:pt x="81" y="65"/>
                            <a:pt x="81" y="65"/>
                            <a:pt x="81" y="65"/>
                          </a:cubicBezTo>
                          <a:cubicBezTo>
                            <a:pt x="80" y="65"/>
                            <a:pt x="80" y="65"/>
                            <a:pt x="80" y="65"/>
                          </a:cubicBezTo>
                          <a:lnTo>
                            <a:pt x="81" y="64"/>
                          </a:lnTo>
                          <a:close/>
                          <a:moveTo>
                            <a:pt x="83" y="66"/>
                          </a:moveTo>
                          <a:cubicBezTo>
                            <a:pt x="82" y="66"/>
                            <a:pt x="82" y="66"/>
                            <a:pt x="82" y="67"/>
                          </a:cubicBezTo>
                          <a:cubicBezTo>
                            <a:pt x="82" y="67"/>
                            <a:pt x="82" y="66"/>
                            <a:pt x="82" y="66"/>
                          </a:cubicBezTo>
                          <a:cubicBezTo>
                            <a:pt x="82" y="66"/>
                            <a:pt x="83" y="66"/>
                            <a:pt x="83" y="66"/>
                          </a:cubicBezTo>
                          <a:close/>
                          <a:moveTo>
                            <a:pt x="82" y="66"/>
                          </a:moveTo>
                          <a:cubicBezTo>
                            <a:pt x="82" y="66"/>
                            <a:pt x="82" y="66"/>
                            <a:pt x="82" y="66"/>
                          </a:cubicBezTo>
                          <a:cubicBezTo>
                            <a:pt x="82" y="66"/>
                            <a:pt x="82" y="66"/>
                            <a:pt x="82" y="66"/>
                          </a:cubicBezTo>
                          <a:cubicBezTo>
                            <a:pt x="82" y="66"/>
                            <a:pt x="82" y="66"/>
                            <a:pt x="82" y="66"/>
                          </a:cubicBezTo>
                          <a:close/>
                          <a:moveTo>
                            <a:pt x="80" y="62"/>
                          </a:moveTo>
                          <a:cubicBezTo>
                            <a:pt x="80" y="62"/>
                            <a:pt x="80" y="62"/>
                            <a:pt x="80" y="62"/>
                          </a:cubicBezTo>
                          <a:cubicBezTo>
                            <a:pt x="80" y="62"/>
                            <a:pt x="80" y="62"/>
                            <a:pt x="80" y="62"/>
                          </a:cubicBezTo>
                          <a:cubicBezTo>
                            <a:pt x="80" y="62"/>
                            <a:pt x="80" y="62"/>
                            <a:pt x="80" y="62"/>
                          </a:cubicBezTo>
                          <a:cubicBezTo>
                            <a:pt x="80" y="62"/>
                            <a:pt x="80" y="62"/>
                            <a:pt x="80" y="62"/>
                          </a:cubicBezTo>
                          <a:close/>
                          <a:moveTo>
                            <a:pt x="79" y="61"/>
                          </a:moveTo>
                          <a:cubicBezTo>
                            <a:pt x="79" y="61"/>
                            <a:pt x="79" y="61"/>
                            <a:pt x="79" y="60"/>
                          </a:cubicBezTo>
                          <a:cubicBezTo>
                            <a:pt x="80" y="61"/>
                            <a:pt x="79" y="61"/>
                            <a:pt x="79" y="61"/>
                          </a:cubicBezTo>
                          <a:close/>
                          <a:moveTo>
                            <a:pt x="80" y="61"/>
                          </a:moveTo>
                          <a:cubicBezTo>
                            <a:pt x="79" y="61"/>
                            <a:pt x="79" y="61"/>
                            <a:pt x="79" y="61"/>
                          </a:cubicBezTo>
                          <a:cubicBezTo>
                            <a:pt x="79" y="61"/>
                            <a:pt x="80" y="60"/>
                            <a:pt x="80" y="61"/>
                          </a:cubicBezTo>
                          <a:close/>
                          <a:moveTo>
                            <a:pt x="81" y="63"/>
                          </a:moveTo>
                          <a:cubicBezTo>
                            <a:pt x="81" y="63"/>
                            <a:pt x="81" y="63"/>
                            <a:pt x="81" y="63"/>
                          </a:cubicBezTo>
                          <a:cubicBezTo>
                            <a:pt x="81" y="63"/>
                            <a:pt x="81" y="63"/>
                            <a:pt x="81" y="63"/>
                          </a:cubicBezTo>
                          <a:cubicBezTo>
                            <a:pt x="82" y="63"/>
                            <a:pt x="81" y="63"/>
                            <a:pt x="81" y="63"/>
                          </a:cubicBezTo>
                          <a:cubicBezTo>
                            <a:pt x="81" y="63"/>
                            <a:pt x="81" y="63"/>
                            <a:pt x="81" y="63"/>
                          </a:cubicBezTo>
                          <a:close/>
                          <a:moveTo>
                            <a:pt x="81" y="62"/>
                          </a:moveTo>
                          <a:cubicBezTo>
                            <a:pt x="81" y="62"/>
                            <a:pt x="81" y="62"/>
                            <a:pt x="81" y="62"/>
                          </a:cubicBezTo>
                          <a:cubicBezTo>
                            <a:pt x="81" y="62"/>
                            <a:pt x="81" y="62"/>
                            <a:pt x="81" y="62"/>
                          </a:cubicBezTo>
                          <a:cubicBezTo>
                            <a:pt x="81" y="62"/>
                            <a:pt x="81" y="62"/>
                            <a:pt x="81" y="62"/>
                          </a:cubicBezTo>
                          <a:cubicBezTo>
                            <a:pt x="81" y="62"/>
                            <a:pt x="81" y="62"/>
                            <a:pt x="81" y="62"/>
                          </a:cubicBezTo>
                          <a:close/>
                          <a:moveTo>
                            <a:pt x="80" y="61"/>
                          </a:moveTo>
                          <a:cubicBezTo>
                            <a:pt x="80" y="61"/>
                            <a:pt x="81" y="61"/>
                            <a:pt x="81" y="61"/>
                          </a:cubicBezTo>
                          <a:cubicBezTo>
                            <a:pt x="81" y="61"/>
                            <a:pt x="80" y="61"/>
                            <a:pt x="80" y="61"/>
                          </a:cubicBezTo>
                          <a:close/>
                          <a:moveTo>
                            <a:pt x="80" y="61"/>
                          </a:moveTo>
                          <a:cubicBezTo>
                            <a:pt x="80" y="61"/>
                            <a:pt x="80" y="60"/>
                            <a:pt x="80" y="60"/>
                          </a:cubicBezTo>
                          <a:cubicBezTo>
                            <a:pt x="80" y="60"/>
                            <a:pt x="80" y="60"/>
                            <a:pt x="80" y="61"/>
                          </a:cubicBezTo>
                          <a:close/>
                          <a:moveTo>
                            <a:pt x="83" y="65"/>
                          </a:moveTo>
                          <a:cubicBezTo>
                            <a:pt x="83" y="66"/>
                            <a:pt x="83" y="66"/>
                            <a:pt x="83" y="66"/>
                          </a:cubicBezTo>
                          <a:cubicBezTo>
                            <a:pt x="83" y="66"/>
                            <a:pt x="83" y="65"/>
                            <a:pt x="83" y="65"/>
                          </a:cubicBezTo>
                          <a:close/>
                          <a:moveTo>
                            <a:pt x="83" y="65"/>
                          </a:moveTo>
                          <a:cubicBezTo>
                            <a:pt x="83" y="65"/>
                            <a:pt x="83" y="65"/>
                            <a:pt x="84" y="65"/>
                          </a:cubicBezTo>
                          <a:cubicBezTo>
                            <a:pt x="84" y="65"/>
                            <a:pt x="83" y="65"/>
                            <a:pt x="83" y="65"/>
                          </a:cubicBezTo>
                          <a:close/>
                          <a:moveTo>
                            <a:pt x="82" y="61"/>
                          </a:moveTo>
                          <a:cubicBezTo>
                            <a:pt x="82" y="61"/>
                            <a:pt x="82" y="61"/>
                            <a:pt x="82" y="61"/>
                          </a:cubicBezTo>
                          <a:cubicBezTo>
                            <a:pt x="82" y="61"/>
                            <a:pt x="82" y="61"/>
                            <a:pt x="82" y="61"/>
                          </a:cubicBezTo>
                          <a:cubicBezTo>
                            <a:pt x="82" y="61"/>
                            <a:pt x="82" y="61"/>
                            <a:pt x="82" y="61"/>
                          </a:cubicBezTo>
                          <a:cubicBezTo>
                            <a:pt x="82" y="61"/>
                            <a:pt x="82" y="61"/>
                            <a:pt x="82" y="61"/>
                          </a:cubicBezTo>
                          <a:cubicBezTo>
                            <a:pt x="82" y="62"/>
                            <a:pt x="82" y="62"/>
                            <a:pt x="82" y="62"/>
                          </a:cubicBezTo>
                          <a:cubicBezTo>
                            <a:pt x="82" y="62"/>
                            <a:pt x="82" y="61"/>
                            <a:pt x="82" y="61"/>
                          </a:cubicBezTo>
                          <a:close/>
                          <a:moveTo>
                            <a:pt x="84" y="63"/>
                          </a:moveTo>
                          <a:cubicBezTo>
                            <a:pt x="83" y="64"/>
                            <a:pt x="84" y="64"/>
                            <a:pt x="83" y="64"/>
                          </a:cubicBezTo>
                          <a:cubicBezTo>
                            <a:pt x="83" y="64"/>
                            <a:pt x="83" y="64"/>
                            <a:pt x="83" y="64"/>
                          </a:cubicBezTo>
                          <a:cubicBezTo>
                            <a:pt x="83" y="63"/>
                            <a:pt x="84" y="63"/>
                            <a:pt x="84" y="63"/>
                          </a:cubicBezTo>
                          <a:cubicBezTo>
                            <a:pt x="84" y="63"/>
                            <a:pt x="85" y="63"/>
                            <a:pt x="85" y="63"/>
                          </a:cubicBezTo>
                          <a:cubicBezTo>
                            <a:pt x="84" y="63"/>
                            <a:pt x="84" y="64"/>
                            <a:pt x="83" y="64"/>
                          </a:cubicBezTo>
                          <a:cubicBezTo>
                            <a:pt x="83" y="64"/>
                            <a:pt x="84" y="64"/>
                            <a:pt x="84" y="63"/>
                          </a:cubicBezTo>
                          <a:close/>
                          <a:moveTo>
                            <a:pt x="84" y="63"/>
                          </a:moveTo>
                          <a:cubicBezTo>
                            <a:pt x="84" y="63"/>
                            <a:pt x="84" y="63"/>
                            <a:pt x="84" y="63"/>
                          </a:cubicBezTo>
                          <a:cubicBezTo>
                            <a:pt x="84" y="63"/>
                            <a:pt x="84" y="63"/>
                            <a:pt x="84" y="63"/>
                          </a:cubicBezTo>
                          <a:close/>
                          <a:moveTo>
                            <a:pt x="82" y="61"/>
                          </a:moveTo>
                          <a:cubicBezTo>
                            <a:pt x="83" y="61"/>
                            <a:pt x="83" y="61"/>
                            <a:pt x="83" y="61"/>
                          </a:cubicBezTo>
                          <a:cubicBezTo>
                            <a:pt x="83" y="61"/>
                            <a:pt x="83" y="61"/>
                            <a:pt x="83" y="61"/>
                          </a:cubicBezTo>
                          <a:cubicBezTo>
                            <a:pt x="83" y="61"/>
                            <a:pt x="83" y="61"/>
                            <a:pt x="83" y="61"/>
                          </a:cubicBezTo>
                          <a:cubicBezTo>
                            <a:pt x="83" y="61"/>
                            <a:pt x="83" y="61"/>
                            <a:pt x="82" y="61"/>
                          </a:cubicBezTo>
                          <a:cubicBezTo>
                            <a:pt x="82" y="61"/>
                            <a:pt x="82" y="61"/>
                            <a:pt x="82" y="61"/>
                          </a:cubicBezTo>
                          <a:cubicBezTo>
                            <a:pt x="82" y="61"/>
                            <a:pt x="82" y="61"/>
                            <a:pt x="82" y="61"/>
                          </a:cubicBezTo>
                          <a:close/>
                          <a:moveTo>
                            <a:pt x="84" y="64"/>
                          </a:moveTo>
                          <a:cubicBezTo>
                            <a:pt x="84" y="64"/>
                            <a:pt x="85" y="64"/>
                            <a:pt x="84" y="64"/>
                          </a:cubicBezTo>
                          <a:cubicBezTo>
                            <a:pt x="84" y="64"/>
                            <a:pt x="84" y="64"/>
                            <a:pt x="84" y="64"/>
                          </a:cubicBezTo>
                          <a:close/>
                          <a:moveTo>
                            <a:pt x="82" y="59"/>
                          </a:moveTo>
                          <a:cubicBezTo>
                            <a:pt x="82" y="59"/>
                            <a:pt x="82" y="59"/>
                            <a:pt x="81" y="59"/>
                          </a:cubicBezTo>
                          <a:cubicBezTo>
                            <a:pt x="81" y="59"/>
                            <a:pt x="82" y="59"/>
                            <a:pt x="82" y="59"/>
                          </a:cubicBezTo>
                          <a:close/>
                          <a:moveTo>
                            <a:pt x="81" y="57"/>
                          </a:moveTo>
                          <a:cubicBezTo>
                            <a:pt x="81" y="57"/>
                            <a:pt x="81" y="57"/>
                            <a:pt x="81" y="58"/>
                          </a:cubicBezTo>
                          <a:cubicBezTo>
                            <a:pt x="81" y="58"/>
                            <a:pt x="82" y="57"/>
                            <a:pt x="82" y="57"/>
                          </a:cubicBezTo>
                          <a:cubicBezTo>
                            <a:pt x="82" y="57"/>
                            <a:pt x="82" y="57"/>
                            <a:pt x="82" y="57"/>
                          </a:cubicBezTo>
                          <a:cubicBezTo>
                            <a:pt x="82" y="57"/>
                            <a:pt x="82" y="57"/>
                            <a:pt x="82" y="57"/>
                          </a:cubicBezTo>
                          <a:cubicBezTo>
                            <a:pt x="82" y="57"/>
                            <a:pt x="82" y="57"/>
                            <a:pt x="82" y="57"/>
                          </a:cubicBezTo>
                          <a:cubicBezTo>
                            <a:pt x="82" y="58"/>
                            <a:pt x="81" y="58"/>
                            <a:pt x="81" y="58"/>
                          </a:cubicBezTo>
                          <a:cubicBezTo>
                            <a:pt x="81" y="58"/>
                            <a:pt x="81" y="58"/>
                            <a:pt x="80" y="58"/>
                          </a:cubicBezTo>
                          <a:cubicBezTo>
                            <a:pt x="80" y="58"/>
                            <a:pt x="81" y="58"/>
                            <a:pt x="81" y="58"/>
                          </a:cubicBezTo>
                          <a:cubicBezTo>
                            <a:pt x="80" y="58"/>
                            <a:pt x="80" y="58"/>
                            <a:pt x="79" y="59"/>
                          </a:cubicBezTo>
                          <a:cubicBezTo>
                            <a:pt x="80" y="58"/>
                            <a:pt x="79" y="59"/>
                            <a:pt x="78" y="59"/>
                          </a:cubicBezTo>
                          <a:cubicBezTo>
                            <a:pt x="78" y="59"/>
                            <a:pt x="78" y="59"/>
                            <a:pt x="78" y="59"/>
                          </a:cubicBezTo>
                          <a:cubicBezTo>
                            <a:pt x="79" y="59"/>
                            <a:pt x="80" y="58"/>
                            <a:pt x="81" y="58"/>
                          </a:cubicBezTo>
                          <a:cubicBezTo>
                            <a:pt x="81" y="58"/>
                            <a:pt x="81" y="58"/>
                            <a:pt x="81" y="58"/>
                          </a:cubicBezTo>
                          <a:cubicBezTo>
                            <a:pt x="81" y="58"/>
                            <a:pt x="81" y="57"/>
                            <a:pt x="81" y="57"/>
                          </a:cubicBezTo>
                          <a:cubicBezTo>
                            <a:pt x="81" y="57"/>
                            <a:pt x="81" y="58"/>
                            <a:pt x="81" y="57"/>
                          </a:cubicBezTo>
                          <a:close/>
                          <a:moveTo>
                            <a:pt x="86" y="64"/>
                          </a:moveTo>
                          <a:cubicBezTo>
                            <a:pt x="85" y="64"/>
                            <a:pt x="85" y="64"/>
                            <a:pt x="85" y="64"/>
                          </a:cubicBezTo>
                          <a:cubicBezTo>
                            <a:pt x="85" y="64"/>
                            <a:pt x="85" y="64"/>
                            <a:pt x="85" y="64"/>
                          </a:cubicBezTo>
                          <a:cubicBezTo>
                            <a:pt x="85" y="64"/>
                            <a:pt x="85" y="64"/>
                            <a:pt x="85" y="64"/>
                          </a:cubicBezTo>
                          <a:cubicBezTo>
                            <a:pt x="85" y="64"/>
                            <a:pt x="85" y="64"/>
                            <a:pt x="86" y="64"/>
                          </a:cubicBezTo>
                          <a:close/>
                          <a:moveTo>
                            <a:pt x="83" y="60"/>
                          </a:moveTo>
                          <a:cubicBezTo>
                            <a:pt x="83" y="60"/>
                            <a:pt x="82" y="60"/>
                            <a:pt x="82" y="60"/>
                          </a:cubicBezTo>
                          <a:cubicBezTo>
                            <a:pt x="83" y="60"/>
                            <a:pt x="83" y="60"/>
                            <a:pt x="83" y="60"/>
                          </a:cubicBezTo>
                          <a:close/>
                          <a:moveTo>
                            <a:pt x="86" y="65"/>
                          </a:moveTo>
                          <a:cubicBezTo>
                            <a:pt x="86" y="65"/>
                            <a:pt x="86" y="65"/>
                            <a:pt x="86" y="65"/>
                          </a:cubicBezTo>
                          <a:cubicBezTo>
                            <a:pt x="86" y="65"/>
                            <a:pt x="86" y="65"/>
                            <a:pt x="86" y="65"/>
                          </a:cubicBezTo>
                          <a:close/>
                          <a:moveTo>
                            <a:pt x="86" y="64"/>
                          </a:moveTo>
                          <a:cubicBezTo>
                            <a:pt x="86" y="65"/>
                            <a:pt x="86" y="64"/>
                            <a:pt x="86" y="64"/>
                          </a:cubicBezTo>
                          <a:cubicBezTo>
                            <a:pt x="86" y="64"/>
                            <a:pt x="86" y="64"/>
                            <a:pt x="85" y="65"/>
                          </a:cubicBezTo>
                          <a:cubicBezTo>
                            <a:pt x="85" y="65"/>
                            <a:pt x="85" y="64"/>
                            <a:pt x="86" y="64"/>
                          </a:cubicBezTo>
                          <a:close/>
                          <a:moveTo>
                            <a:pt x="83" y="60"/>
                          </a:moveTo>
                          <a:cubicBezTo>
                            <a:pt x="83" y="60"/>
                            <a:pt x="83" y="60"/>
                            <a:pt x="83" y="60"/>
                          </a:cubicBezTo>
                          <a:cubicBezTo>
                            <a:pt x="83" y="60"/>
                            <a:pt x="83" y="60"/>
                            <a:pt x="83" y="60"/>
                          </a:cubicBezTo>
                          <a:close/>
                          <a:moveTo>
                            <a:pt x="84" y="61"/>
                          </a:moveTo>
                          <a:cubicBezTo>
                            <a:pt x="85" y="61"/>
                            <a:pt x="84" y="61"/>
                            <a:pt x="84" y="61"/>
                          </a:cubicBezTo>
                          <a:cubicBezTo>
                            <a:pt x="85" y="61"/>
                            <a:pt x="85" y="61"/>
                            <a:pt x="85" y="61"/>
                          </a:cubicBezTo>
                          <a:cubicBezTo>
                            <a:pt x="85" y="61"/>
                            <a:pt x="85" y="61"/>
                            <a:pt x="84" y="62"/>
                          </a:cubicBezTo>
                          <a:cubicBezTo>
                            <a:pt x="84" y="61"/>
                            <a:pt x="84" y="61"/>
                            <a:pt x="84" y="61"/>
                          </a:cubicBezTo>
                          <a:cubicBezTo>
                            <a:pt x="84" y="61"/>
                            <a:pt x="84" y="61"/>
                            <a:pt x="84" y="61"/>
                          </a:cubicBezTo>
                          <a:close/>
                          <a:moveTo>
                            <a:pt x="83" y="58"/>
                          </a:moveTo>
                          <a:cubicBezTo>
                            <a:pt x="83" y="57"/>
                            <a:pt x="83" y="58"/>
                            <a:pt x="83" y="58"/>
                          </a:cubicBezTo>
                          <a:cubicBezTo>
                            <a:pt x="83" y="58"/>
                            <a:pt x="83" y="58"/>
                            <a:pt x="83" y="58"/>
                          </a:cubicBezTo>
                          <a:cubicBezTo>
                            <a:pt x="83" y="58"/>
                            <a:pt x="82" y="58"/>
                            <a:pt x="82" y="58"/>
                          </a:cubicBezTo>
                          <a:cubicBezTo>
                            <a:pt x="83" y="58"/>
                            <a:pt x="82" y="58"/>
                            <a:pt x="83" y="58"/>
                          </a:cubicBezTo>
                          <a:cubicBezTo>
                            <a:pt x="83" y="57"/>
                            <a:pt x="83" y="57"/>
                            <a:pt x="84" y="57"/>
                          </a:cubicBezTo>
                          <a:cubicBezTo>
                            <a:pt x="83" y="58"/>
                            <a:pt x="83" y="57"/>
                            <a:pt x="83" y="58"/>
                          </a:cubicBezTo>
                          <a:close/>
                          <a:moveTo>
                            <a:pt x="84" y="60"/>
                          </a:moveTo>
                          <a:cubicBezTo>
                            <a:pt x="84" y="60"/>
                            <a:pt x="84" y="60"/>
                            <a:pt x="84" y="60"/>
                          </a:cubicBezTo>
                          <a:cubicBezTo>
                            <a:pt x="84" y="60"/>
                            <a:pt x="84" y="60"/>
                            <a:pt x="84" y="60"/>
                          </a:cubicBezTo>
                          <a:cubicBezTo>
                            <a:pt x="84" y="60"/>
                            <a:pt x="84" y="60"/>
                            <a:pt x="84" y="60"/>
                          </a:cubicBezTo>
                          <a:cubicBezTo>
                            <a:pt x="84" y="59"/>
                            <a:pt x="84" y="60"/>
                            <a:pt x="84" y="60"/>
                          </a:cubicBezTo>
                          <a:close/>
                          <a:moveTo>
                            <a:pt x="86" y="62"/>
                          </a:moveTo>
                          <a:cubicBezTo>
                            <a:pt x="86" y="62"/>
                            <a:pt x="86" y="62"/>
                            <a:pt x="86" y="62"/>
                          </a:cubicBezTo>
                          <a:cubicBezTo>
                            <a:pt x="86" y="62"/>
                            <a:pt x="86" y="62"/>
                            <a:pt x="86" y="62"/>
                          </a:cubicBezTo>
                          <a:cubicBezTo>
                            <a:pt x="86" y="62"/>
                            <a:pt x="86" y="62"/>
                            <a:pt x="86" y="62"/>
                          </a:cubicBezTo>
                          <a:close/>
                          <a:moveTo>
                            <a:pt x="87" y="64"/>
                          </a:moveTo>
                          <a:cubicBezTo>
                            <a:pt x="87" y="64"/>
                            <a:pt x="87" y="64"/>
                            <a:pt x="87" y="64"/>
                          </a:cubicBezTo>
                          <a:cubicBezTo>
                            <a:pt x="86" y="64"/>
                            <a:pt x="87" y="63"/>
                            <a:pt x="87" y="64"/>
                          </a:cubicBezTo>
                          <a:close/>
                          <a:moveTo>
                            <a:pt x="86" y="62"/>
                          </a:moveTo>
                          <a:cubicBezTo>
                            <a:pt x="86" y="62"/>
                            <a:pt x="86" y="62"/>
                            <a:pt x="86" y="62"/>
                          </a:cubicBezTo>
                          <a:cubicBezTo>
                            <a:pt x="86" y="62"/>
                            <a:pt x="87" y="62"/>
                            <a:pt x="86" y="62"/>
                          </a:cubicBezTo>
                          <a:close/>
                          <a:moveTo>
                            <a:pt x="86" y="58"/>
                          </a:moveTo>
                          <a:cubicBezTo>
                            <a:pt x="86" y="59"/>
                            <a:pt x="86" y="59"/>
                            <a:pt x="85" y="59"/>
                          </a:cubicBezTo>
                          <a:cubicBezTo>
                            <a:pt x="85" y="59"/>
                            <a:pt x="85" y="59"/>
                            <a:pt x="85" y="59"/>
                          </a:cubicBezTo>
                          <a:cubicBezTo>
                            <a:pt x="85" y="59"/>
                            <a:pt x="85" y="59"/>
                            <a:pt x="85" y="59"/>
                          </a:cubicBezTo>
                          <a:cubicBezTo>
                            <a:pt x="85" y="58"/>
                            <a:pt x="85" y="59"/>
                            <a:pt x="85" y="58"/>
                          </a:cubicBezTo>
                          <a:cubicBezTo>
                            <a:pt x="85" y="59"/>
                            <a:pt x="86" y="58"/>
                            <a:pt x="86" y="58"/>
                          </a:cubicBezTo>
                          <a:close/>
                          <a:moveTo>
                            <a:pt x="85" y="58"/>
                          </a:moveTo>
                          <a:cubicBezTo>
                            <a:pt x="85" y="58"/>
                            <a:pt x="85" y="58"/>
                            <a:pt x="85" y="58"/>
                          </a:cubicBezTo>
                          <a:cubicBezTo>
                            <a:pt x="85" y="58"/>
                            <a:pt x="85" y="58"/>
                            <a:pt x="85" y="58"/>
                          </a:cubicBezTo>
                          <a:close/>
                          <a:moveTo>
                            <a:pt x="88" y="63"/>
                          </a:moveTo>
                          <a:cubicBezTo>
                            <a:pt x="88" y="63"/>
                            <a:pt x="88" y="63"/>
                            <a:pt x="88" y="63"/>
                          </a:cubicBezTo>
                          <a:cubicBezTo>
                            <a:pt x="88" y="63"/>
                            <a:pt x="88" y="63"/>
                            <a:pt x="88" y="63"/>
                          </a:cubicBezTo>
                          <a:cubicBezTo>
                            <a:pt x="88" y="63"/>
                            <a:pt x="88" y="63"/>
                            <a:pt x="88" y="63"/>
                          </a:cubicBezTo>
                          <a:close/>
                          <a:moveTo>
                            <a:pt x="85" y="57"/>
                          </a:moveTo>
                          <a:cubicBezTo>
                            <a:pt x="85" y="57"/>
                            <a:pt x="86" y="57"/>
                            <a:pt x="86" y="57"/>
                          </a:cubicBezTo>
                          <a:cubicBezTo>
                            <a:pt x="86" y="57"/>
                            <a:pt x="85" y="57"/>
                            <a:pt x="85" y="57"/>
                          </a:cubicBezTo>
                          <a:close/>
                          <a:moveTo>
                            <a:pt x="86" y="58"/>
                          </a:moveTo>
                          <a:cubicBezTo>
                            <a:pt x="86" y="58"/>
                            <a:pt x="86" y="58"/>
                            <a:pt x="86" y="58"/>
                          </a:cubicBezTo>
                          <a:cubicBezTo>
                            <a:pt x="86" y="58"/>
                            <a:pt x="87" y="58"/>
                            <a:pt x="88" y="58"/>
                          </a:cubicBezTo>
                          <a:cubicBezTo>
                            <a:pt x="87" y="58"/>
                            <a:pt x="86" y="58"/>
                            <a:pt x="86" y="58"/>
                          </a:cubicBezTo>
                          <a:close/>
                          <a:moveTo>
                            <a:pt x="88" y="60"/>
                          </a:moveTo>
                          <a:cubicBezTo>
                            <a:pt x="88" y="61"/>
                            <a:pt x="88" y="61"/>
                            <a:pt x="88" y="61"/>
                          </a:cubicBezTo>
                          <a:cubicBezTo>
                            <a:pt x="88" y="61"/>
                            <a:pt x="88" y="61"/>
                            <a:pt x="88" y="60"/>
                          </a:cubicBezTo>
                          <a:close/>
                          <a:moveTo>
                            <a:pt x="87" y="56"/>
                          </a:moveTo>
                          <a:cubicBezTo>
                            <a:pt x="86" y="56"/>
                            <a:pt x="86" y="57"/>
                            <a:pt x="85" y="57"/>
                          </a:cubicBezTo>
                          <a:cubicBezTo>
                            <a:pt x="85" y="56"/>
                            <a:pt x="86" y="56"/>
                            <a:pt x="87" y="56"/>
                          </a:cubicBezTo>
                          <a:close/>
                          <a:moveTo>
                            <a:pt x="86" y="56"/>
                          </a:moveTo>
                          <a:cubicBezTo>
                            <a:pt x="86" y="56"/>
                            <a:pt x="86" y="56"/>
                            <a:pt x="86" y="56"/>
                          </a:cubicBezTo>
                          <a:cubicBezTo>
                            <a:pt x="86" y="56"/>
                            <a:pt x="86" y="56"/>
                            <a:pt x="85" y="56"/>
                          </a:cubicBezTo>
                          <a:cubicBezTo>
                            <a:pt x="85" y="56"/>
                            <a:pt x="86" y="56"/>
                            <a:pt x="86" y="56"/>
                          </a:cubicBezTo>
                          <a:cubicBezTo>
                            <a:pt x="86" y="56"/>
                            <a:pt x="86" y="56"/>
                            <a:pt x="86" y="56"/>
                          </a:cubicBezTo>
                          <a:close/>
                          <a:moveTo>
                            <a:pt x="89" y="62"/>
                          </a:moveTo>
                          <a:cubicBezTo>
                            <a:pt x="89" y="62"/>
                            <a:pt x="89" y="62"/>
                            <a:pt x="89" y="62"/>
                          </a:cubicBezTo>
                          <a:cubicBezTo>
                            <a:pt x="89" y="62"/>
                            <a:pt x="89" y="62"/>
                            <a:pt x="89" y="62"/>
                          </a:cubicBezTo>
                          <a:cubicBezTo>
                            <a:pt x="89" y="62"/>
                            <a:pt x="89" y="62"/>
                            <a:pt x="89" y="62"/>
                          </a:cubicBezTo>
                          <a:cubicBezTo>
                            <a:pt x="89" y="62"/>
                            <a:pt x="89" y="62"/>
                            <a:pt x="89" y="62"/>
                          </a:cubicBezTo>
                          <a:close/>
                          <a:moveTo>
                            <a:pt x="88" y="57"/>
                          </a:moveTo>
                          <a:cubicBezTo>
                            <a:pt x="88" y="57"/>
                            <a:pt x="88" y="57"/>
                            <a:pt x="88" y="57"/>
                          </a:cubicBezTo>
                          <a:cubicBezTo>
                            <a:pt x="88" y="57"/>
                            <a:pt x="88" y="57"/>
                            <a:pt x="88" y="57"/>
                          </a:cubicBezTo>
                          <a:cubicBezTo>
                            <a:pt x="88" y="57"/>
                            <a:pt x="88" y="57"/>
                            <a:pt x="88" y="57"/>
                          </a:cubicBezTo>
                          <a:close/>
                          <a:moveTo>
                            <a:pt x="91" y="62"/>
                          </a:moveTo>
                          <a:cubicBezTo>
                            <a:pt x="90" y="62"/>
                            <a:pt x="91" y="61"/>
                            <a:pt x="91" y="61"/>
                          </a:cubicBezTo>
                          <a:cubicBezTo>
                            <a:pt x="91" y="61"/>
                            <a:pt x="91" y="62"/>
                            <a:pt x="91" y="62"/>
                          </a:cubicBezTo>
                          <a:close/>
                          <a:moveTo>
                            <a:pt x="90" y="60"/>
                          </a:moveTo>
                          <a:cubicBezTo>
                            <a:pt x="90" y="60"/>
                            <a:pt x="90" y="60"/>
                            <a:pt x="90" y="60"/>
                          </a:cubicBezTo>
                          <a:cubicBezTo>
                            <a:pt x="90" y="60"/>
                            <a:pt x="90" y="60"/>
                            <a:pt x="90" y="60"/>
                          </a:cubicBezTo>
                          <a:cubicBezTo>
                            <a:pt x="90" y="60"/>
                            <a:pt x="90" y="60"/>
                            <a:pt x="90" y="60"/>
                          </a:cubicBezTo>
                          <a:close/>
                          <a:moveTo>
                            <a:pt x="88" y="57"/>
                          </a:moveTo>
                          <a:cubicBezTo>
                            <a:pt x="88" y="57"/>
                            <a:pt x="89" y="56"/>
                            <a:pt x="89" y="56"/>
                          </a:cubicBezTo>
                          <a:cubicBezTo>
                            <a:pt x="89" y="57"/>
                            <a:pt x="89" y="57"/>
                            <a:pt x="88" y="57"/>
                          </a:cubicBezTo>
                          <a:close/>
                          <a:moveTo>
                            <a:pt x="90" y="59"/>
                          </a:moveTo>
                          <a:cubicBezTo>
                            <a:pt x="90" y="59"/>
                            <a:pt x="90" y="59"/>
                            <a:pt x="91" y="59"/>
                          </a:cubicBezTo>
                          <a:cubicBezTo>
                            <a:pt x="91" y="59"/>
                            <a:pt x="90" y="59"/>
                            <a:pt x="90" y="59"/>
                          </a:cubicBezTo>
                          <a:close/>
                          <a:moveTo>
                            <a:pt x="89" y="57"/>
                          </a:moveTo>
                          <a:cubicBezTo>
                            <a:pt x="89" y="57"/>
                            <a:pt x="90" y="57"/>
                            <a:pt x="90" y="57"/>
                          </a:cubicBezTo>
                          <a:cubicBezTo>
                            <a:pt x="90" y="57"/>
                            <a:pt x="90" y="57"/>
                            <a:pt x="89" y="57"/>
                          </a:cubicBezTo>
                          <a:close/>
                          <a:moveTo>
                            <a:pt x="91" y="59"/>
                          </a:moveTo>
                          <a:cubicBezTo>
                            <a:pt x="91" y="59"/>
                            <a:pt x="91" y="59"/>
                            <a:pt x="91" y="59"/>
                          </a:cubicBezTo>
                          <a:cubicBezTo>
                            <a:pt x="91" y="59"/>
                            <a:pt x="91" y="59"/>
                            <a:pt x="91" y="59"/>
                          </a:cubicBezTo>
                          <a:close/>
                          <a:moveTo>
                            <a:pt x="93" y="59"/>
                          </a:moveTo>
                          <a:cubicBezTo>
                            <a:pt x="93" y="60"/>
                            <a:pt x="93" y="60"/>
                            <a:pt x="92" y="60"/>
                          </a:cubicBezTo>
                          <a:cubicBezTo>
                            <a:pt x="92" y="60"/>
                            <a:pt x="93" y="60"/>
                            <a:pt x="93" y="59"/>
                          </a:cubicBezTo>
                          <a:close/>
                          <a:moveTo>
                            <a:pt x="92" y="58"/>
                          </a:moveTo>
                          <a:cubicBezTo>
                            <a:pt x="93" y="58"/>
                            <a:pt x="93" y="58"/>
                            <a:pt x="93" y="58"/>
                          </a:cubicBezTo>
                          <a:cubicBezTo>
                            <a:pt x="93" y="58"/>
                            <a:pt x="93" y="58"/>
                            <a:pt x="93" y="58"/>
                          </a:cubicBezTo>
                          <a:cubicBezTo>
                            <a:pt x="93" y="58"/>
                            <a:pt x="92" y="58"/>
                            <a:pt x="93" y="58"/>
                          </a:cubicBezTo>
                          <a:cubicBezTo>
                            <a:pt x="92" y="58"/>
                            <a:pt x="93" y="58"/>
                            <a:pt x="92" y="59"/>
                          </a:cubicBezTo>
                          <a:cubicBezTo>
                            <a:pt x="92" y="59"/>
                            <a:pt x="92" y="59"/>
                            <a:pt x="92" y="59"/>
                          </a:cubicBezTo>
                          <a:cubicBezTo>
                            <a:pt x="92" y="58"/>
                            <a:pt x="92" y="58"/>
                            <a:pt x="92" y="58"/>
                          </a:cubicBezTo>
                          <a:cubicBezTo>
                            <a:pt x="92" y="58"/>
                            <a:pt x="92" y="58"/>
                            <a:pt x="92" y="58"/>
                          </a:cubicBezTo>
                          <a:cubicBezTo>
                            <a:pt x="92" y="58"/>
                            <a:pt x="92" y="58"/>
                            <a:pt x="92" y="58"/>
                          </a:cubicBezTo>
                          <a:close/>
                          <a:moveTo>
                            <a:pt x="91" y="53"/>
                          </a:moveTo>
                          <a:cubicBezTo>
                            <a:pt x="91" y="54"/>
                            <a:pt x="90" y="54"/>
                            <a:pt x="90" y="54"/>
                          </a:cubicBezTo>
                          <a:cubicBezTo>
                            <a:pt x="90" y="53"/>
                            <a:pt x="90" y="54"/>
                            <a:pt x="91" y="53"/>
                          </a:cubicBezTo>
                          <a:close/>
                          <a:moveTo>
                            <a:pt x="93" y="57"/>
                          </a:moveTo>
                          <a:cubicBezTo>
                            <a:pt x="92" y="57"/>
                            <a:pt x="93" y="57"/>
                            <a:pt x="93" y="57"/>
                          </a:cubicBezTo>
                          <a:cubicBezTo>
                            <a:pt x="92" y="57"/>
                            <a:pt x="92" y="57"/>
                            <a:pt x="92" y="57"/>
                          </a:cubicBezTo>
                          <a:cubicBezTo>
                            <a:pt x="92" y="57"/>
                            <a:pt x="92" y="57"/>
                            <a:pt x="92" y="57"/>
                          </a:cubicBezTo>
                          <a:cubicBezTo>
                            <a:pt x="92" y="57"/>
                            <a:pt x="92" y="57"/>
                            <a:pt x="93" y="57"/>
                          </a:cubicBezTo>
                          <a:cubicBezTo>
                            <a:pt x="93" y="57"/>
                            <a:pt x="93" y="57"/>
                            <a:pt x="93" y="57"/>
                          </a:cubicBezTo>
                          <a:close/>
                          <a:moveTo>
                            <a:pt x="94" y="60"/>
                          </a:moveTo>
                          <a:cubicBezTo>
                            <a:pt x="94" y="60"/>
                            <a:pt x="94" y="60"/>
                            <a:pt x="94" y="60"/>
                          </a:cubicBezTo>
                          <a:cubicBezTo>
                            <a:pt x="94" y="60"/>
                            <a:pt x="94" y="60"/>
                            <a:pt x="94" y="60"/>
                          </a:cubicBezTo>
                          <a:close/>
                          <a:moveTo>
                            <a:pt x="93" y="58"/>
                          </a:moveTo>
                          <a:cubicBezTo>
                            <a:pt x="93" y="58"/>
                            <a:pt x="94" y="58"/>
                            <a:pt x="93" y="59"/>
                          </a:cubicBezTo>
                          <a:cubicBezTo>
                            <a:pt x="93" y="58"/>
                            <a:pt x="93" y="58"/>
                            <a:pt x="94" y="58"/>
                          </a:cubicBezTo>
                          <a:cubicBezTo>
                            <a:pt x="94" y="58"/>
                            <a:pt x="94" y="58"/>
                            <a:pt x="94" y="58"/>
                          </a:cubicBezTo>
                          <a:cubicBezTo>
                            <a:pt x="94" y="58"/>
                            <a:pt x="94" y="58"/>
                            <a:pt x="93" y="58"/>
                          </a:cubicBezTo>
                          <a:close/>
                          <a:moveTo>
                            <a:pt x="92" y="55"/>
                          </a:moveTo>
                          <a:cubicBezTo>
                            <a:pt x="92" y="55"/>
                            <a:pt x="91" y="55"/>
                            <a:pt x="91" y="55"/>
                          </a:cubicBezTo>
                          <a:cubicBezTo>
                            <a:pt x="91" y="55"/>
                            <a:pt x="92" y="55"/>
                            <a:pt x="92" y="55"/>
                          </a:cubicBezTo>
                          <a:close/>
                          <a:moveTo>
                            <a:pt x="93" y="58"/>
                          </a:moveTo>
                          <a:cubicBezTo>
                            <a:pt x="94" y="57"/>
                            <a:pt x="94" y="57"/>
                            <a:pt x="94" y="57"/>
                          </a:cubicBezTo>
                          <a:cubicBezTo>
                            <a:pt x="95" y="57"/>
                            <a:pt x="93" y="58"/>
                            <a:pt x="93" y="58"/>
                          </a:cubicBezTo>
                          <a:cubicBezTo>
                            <a:pt x="93" y="58"/>
                            <a:pt x="93" y="58"/>
                            <a:pt x="93" y="58"/>
                          </a:cubicBezTo>
                          <a:close/>
                          <a:moveTo>
                            <a:pt x="95" y="56"/>
                          </a:moveTo>
                          <a:cubicBezTo>
                            <a:pt x="94" y="56"/>
                            <a:pt x="94" y="56"/>
                            <a:pt x="93" y="57"/>
                          </a:cubicBezTo>
                          <a:cubicBezTo>
                            <a:pt x="93" y="57"/>
                            <a:pt x="94" y="56"/>
                            <a:pt x="95" y="56"/>
                          </a:cubicBezTo>
                          <a:close/>
                          <a:moveTo>
                            <a:pt x="92" y="54"/>
                          </a:moveTo>
                          <a:cubicBezTo>
                            <a:pt x="92" y="53"/>
                            <a:pt x="92" y="53"/>
                            <a:pt x="92" y="53"/>
                          </a:cubicBezTo>
                          <a:cubicBezTo>
                            <a:pt x="92" y="54"/>
                            <a:pt x="92" y="54"/>
                            <a:pt x="92" y="54"/>
                          </a:cubicBezTo>
                          <a:close/>
                          <a:moveTo>
                            <a:pt x="95" y="59"/>
                          </a:moveTo>
                          <a:cubicBezTo>
                            <a:pt x="95" y="59"/>
                            <a:pt x="95" y="59"/>
                            <a:pt x="95" y="59"/>
                          </a:cubicBezTo>
                          <a:cubicBezTo>
                            <a:pt x="95" y="59"/>
                            <a:pt x="95" y="59"/>
                            <a:pt x="95" y="59"/>
                          </a:cubicBezTo>
                          <a:cubicBezTo>
                            <a:pt x="95" y="59"/>
                            <a:pt x="95" y="59"/>
                            <a:pt x="95" y="59"/>
                          </a:cubicBezTo>
                          <a:close/>
                          <a:moveTo>
                            <a:pt x="94" y="57"/>
                          </a:moveTo>
                          <a:cubicBezTo>
                            <a:pt x="94" y="57"/>
                            <a:pt x="94" y="57"/>
                            <a:pt x="94" y="57"/>
                          </a:cubicBezTo>
                          <a:cubicBezTo>
                            <a:pt x="94" y="57"/>
                            <a:pt x="94" y="57"/>
                            <a:pt x="94" y="57"/>
                          </a:cubicBezTo>
                          <a:cubicBezTo>
                            <a:pt x="94" y="57"/>
                            <a:pt x="94" y="57"/>
                            <a:pt x="94" y="57"/>
                          </a:cubicBezTo>
                          <a:cubicBezTo>
                            <a:pt x="94" y="57"/>
                            <a:pt x="94" y="57"/>
                            <a:pt x="94" y="57"/>
                          </a:cubicBezTo>
                          <a:close/>
                          <a:moveTo>
                            <a:pt x="93" y="54"/>
                          </a:moveTo>
                          <a:cubicBezTo>
                            <a:pt x="94" y="54"/>
                            <a:pt x="94" y="54"/>
                            <a:pt x="94" y="54"/>
                          </a:cubicBezTo>
                          <a:cubicBezTo>
                            <a:pt x="94" y="54"/>
                            <a:pt x="94" y="54"/>
                            <a:pt x="94" y="54"/>
                          </a:cubicBezTo>
                          <a:cubicBezTo>
                            <a:pt x="94" y="54"/>
                            <a:pt x="93" y="54"/>
                            <a:pt x="93" y="54"/>
                          </a:cubicBezTo>
                          <a:close/>
                          <a:moveTo>
                            <a:pt x="96" y="57"/>
                          </a:moveTo>
                          <a:cubicBezTo>
                            <a:pt x="97" y="58"/>
                            <a:pt x="96" y="58"/>
                            <a:pt x="96" y="58"/>
                          </a:cubicBezTo>
                          <a:cubicBezTo>
                            <a:pt x="96" y="58"/>
                            <a:pt x="96" y="58"/>
                            <a:pt x="96" y="57"/>
                          </a:cubicBezTo>
                          <a:close/>
                          <a:moveTo>
                            <a:pt x="91" y="48"/>
                          </a:moveTo>
                          <a:cubicBezTo>
                            <a:pt x="91" y="49"/>
                            <a:pt x="91" y="49"/>
                            <a:pt x="91" y="49"/>
                          </a:cubicBezTo>
                          <a:cubicBezTo>
                            <a:pt x="91" y="49"/>
                            <a:pt x="91" y="49"/>
                            <a:pt x="91" y="49"/>
                          </a:cubicBezTo>
                          <a:cubicBezTo>
                            <a:pt x="91" y="49"/>
                            <a:pt x="91" y="48"/>
                            <a:pt x="91" y="48"/>
                          </a:cubicBezTo>
                          <a:close/>
                          <a:moveTo>
                            <a:pt x="93" y="52"/>
                          </a:moveTo>
                          <a:cubicBezTo>
                            <a:pt x="93" y="52"/>
                            <a:pt x="93" y="52"/>
                            <a:pt x="93" y="52"/>
                          </a:cubicBezTo>
                          <a:cubicBezTo>
                            <a:pt x="93" y="52"/>
                            <a:pt x="93" y="52"/>
                            <a:pt x="93" y="52"/>
                          </a:cubicBezTo>
                          <a:close/>
                          <a:moveTo>
                            <a:pt x="92" y="49"/>
                          </a:moveTo>
                          <a:cubicBezTo>
                            <a:pt x="92" y="49"/>
                            <a:pt x="92" y="49"/>
                            <a:pt x="92" y="50"/>
                          </a:cubicBezTo>
                          <a:cubicBezTo>
                            <a:pt x="92" y="49"/>
                            <a:pt x="92" y="49"/>
                            <a:pt x="92" y="49"/>
                          </a:cubicBezTo>
                          <a:cubicBezTo>
                            <a:pt x="92" y="49"/>
                            <a:pt x="92" y="49"/>
                            <a:pt x="92" y="49"/>
                          </a:cubicBezTo>
                          <a:close/>
                          <a:moveTo>
                            <a:pt x="95" y="53"/>
                          </a:moveTo>
                          <a:cubicBezTo>
                            <a:pt x="95" y="53"/>
                            <a:pt x="95" y="53"/>
                            <a:pt x="95" y="53"/>
                          </a:cubicBezTo>
                          <a:cubicBezTo>
                            <a:pt x="95" y="53"/>
                            <a:pt x="95" y="53"/>
                            <a:pt x="95" y="53"/>
                          </a:cubicBezTo>
                          <a:cubicBezTo>
                            <a:pt x="95" y="53"/>
                            <a:pt x="95" y="53"/>
                            <a:pt x="95" y="53"/>
                          </a:cubicBezTo>
                          <a:close/>
                          <a:moveTo>
                            <a:pt x="92" y="50"/>
                          </a:moveTo>
                          <a:cubicBezTo>
                            <a:pt x="93" y="49"/>
                            <a:pt x="93" y="49"/>
                            <a:pt x="93" y="49"/>
                          </a:cubicBezTo>
                          <a:cubicBezTo>
                            <a:pt x="93" y="49"/>
                            <a:pt x="93" y="49"/>
                            <a:pt x="92" y="50"/>
                          </a:cubicBezTo>
                          <a:close/>
                          <a:moveTo>
                            <a:pt x="96" y="54"/>
                          </a:moveTo>
                          <a:cubicBezTo>
                            <a:pt x="96" y="55"/>
                            <a:pt x="96" y="55"/>
                            <a:pt x="95" y="55"/>
                          </a:cubicBezTo>
                          <a:cubicBezTo>
                            <a:pt x="95" y="55"/>
                            <a:pt x="96" y="54"/>
                            <a:pt x="96" y="54"/>
                          </a:cubicBezTo>
                          <a:close/>
                          <a:moveTo>
                            <a:pt x="97" y="57"/>
                          </a:moveTo>
                          <a:cubicBezTo>
                            <a:pt x="97" y="57"/>
                            <a:pt x="97" y="57"/>
                            <a:pt x="97" y="57"/>
                          </a:cubicBezTo>
                          <a:cubicBezTo>
                            <a:pt x="97" y="57"/>
                            <a:pt x="97" y="57"/>
                            <a:pt x="97" y="57"/>
                          </a:cubicBezTo>
                          <a:cubicBezTo>
                            <a:pt x="97" y="56"/>
                            <a:pt x="97" y="57"/>
                            <a:pt x="97" y="57"/>
                          </a:cubicBezTo>
                          <a:close/>
                          <a:moveTo>
                            <a:pt x="94" y="48"/>
                          </a:moveTo>
                          <a:cubicBezTo>
                            <a:pt x="93" y="49"/>
                            <a:pt x="93" y="49"/>
                            <a:pt x="93" y="49"/>
                          </a:cubicBezTo>
                          <a:cubicBezTo>
                            <a:pt x="93" y="49"/>
                            <a:pt x="93" y="48"/>
                            <a:pt x="93" y="48"/>
                          </a:cubicBezTo>
                          <a:cubicBezTo>
                            <a:pt x="93" y="48"/>
                            <a:pt x="93" y="48"/>
                            <a:pt x="93" y="48"/>
                          </a:cubicBezTo>
                          <a:cubicBezTo>
                            <a:pt x="93" y="48"/>
                            <a:pt x="93" y="48"/>
                            <a:pt x="93" y="48"/>
                          </a:cubicBezTo>
                          <a:cubicBezTo>
                            <a:pt x="93" y="48"/>
                            <a:pt x="93" y="48"/>
                            <a:pt x="94" y="48"/>
                          </a:cubicBezTo>
                          <a:close/>
                          <a:moveTo>
                            <a:pt x="99" y="56"/>
                          </a:moveTo>
                          <a:cubicBezTo>
                            <a:pt x="99" y="56"/>
                            <a:pt x="98" y="56"/>
                            <a:pt x="98" y="57"/>
                          </a:cubicBezTo>
                          <a:cubicBezTo>
                            <a:pt x="98" y="56"/>
                            <a:pt x="99" y="56"/>
                            <a:pt x="99" y="56"/>
                          </a:cubicBezTo>
                          <a:close/>
                          <a:moveTo>
                            <a:pt x="99" y="55"/>
                          </a:moveTo>
                          <a:cubicBezTo>
                            <a:pt x="99" y="55"/>
                            <a:pt x="100" y="55"/>
                            <a:pt x="100" y="55"/>
                          </a:cubicBezTo>
                          <a:cubicBezTo>
                            <a:pt x="100" y="55"/>
                            <a:pt x="99" y="55"/>
                            <a:pt x="99" y="56"/>
                          </a:cubicBezTo>
                          <a:cubicBezTo>
                            <a:pt x="99" y="56"/>
                            <a:pt x="99" y="55"/>
                            <a:pt x="99" y="56"/>
                          </a:cubicBezTo>
                          <a:cubicBezTo>
                            <a:pt x="99" y="56"/>
                            <a:pt x="99" y="55"/>
                            <a:pt x="99" y="55"/>
                          </a:cubicBezTo>
                          <a:close/>
                          <a:moveTo>
                            <a:pt x="99" y="55"/>
                          </a:moveTo>
                          <a:cubicBezTo>
                            <a:pt x="99" y="55"/>
                            <a:pt x="99" y="55"/>
                            <a:pt x="99" y="55"/>
                          </a:cubicBezTo>
                          <a:cubicBezTo>
                            <a:pt x="99" y="55"/>
                            <a:pt x="99" y="55"/>
                            <a:pt x="99" y="55"/>
                          </a:cubicBezTo>
                          <a:cubicBezTo>
                            <a:pt x="99" y="55"/>
                            <a:pt x="99" y="55"/>
                            <a:pt x="99" y="55"/>
                          </a:cubicBezTo>
                          <a:close/>
                          <a:moveTo>
                            <a:pt x="100" y="55"/>
                          </a:moveTo>
                          <a:cubicBezTo>
                            <a:pt x="100" y="55"/>
                            <a:pt x="100" y="55"/>
                            <a:pt x="100" y="55"/>
                          </a:cubicBezTo>
                          <a:cubicBezTo>
                            <a:pt x="100" y="55"/>
                            <a:pt x="100" y="55"/>
                            <a:pt x="100" y="55"/>
                          </a:cubicBezTo>
                          <a:cubicBezTo>
                            <a:pt x="101" y="55"/>
                            <a:pt x="100" y="55"/>
                            <a:pt x="100" y="55"/>
                          </a:cubicBezTo>
                          <a:close/>
                          <a:moveTo>
                            <a:pt x="100" y="52"/>
                          </a:moveTo>
                          <a:cubicBezTo>
                            <a:pt x="100" y="52"/>
                            <a:pt x="99" y="53"/>
                            <a:pt x="99" y="53"/>
                          </a:cubicBezTo>
                          <a:cubicBezTo>
                            <a:pt x="99" y="52"/>
                            <a:pt x="100" y="52"/>
                            <a:pt x="100" y="52"/>
                          </a:cubicBezTo>
                          <a:cubicBezTo>
                            <a:pt x="100" y="52"/>
                            <a:pt x="100" y="52"/>
                            <a:pt x="100" y="52"/>
                          </a:cubicBezTo>
                          <a:close/>
                          <a:moveTo>
                            <a:pt x="101" y="54"/>
                          </a:moveTo>
                          <a:cubicBezTo>
                            <a:pt x="101" y="54"/>
                            <a:pt x="101" y="54"/>
                            <a:pt x="101" y="55"/>
                          </a:cubicBezTo>
                          <a:cubicBezTo>
                            <a:pt x="101" y="55"/>
                            <a:pt x="101" y="55"/>
                            <a:pt x="101" y="55"/>
                          </a:cubicBezTo>
                          <a:cubicBezTo>
                            <a:pt x="101" y="54"/>
                            <a:pt x="101" y="54"/>
                            <a:pt x="101" y="54"/>
                          </a:cubicBezTo>
                          <a:close/>
                          <a:moveTo>
                            <a:pt x="99" y="50"/>
                          </a:moveTo>
                          <a:cubicBezTo>
                            <a:pt x="99" y="50"/>
                            <a:pt x="99" y="50"/>
                            <a:pt x="99" y="50"/>
                          </a:cubicBezTo>
                          <a:cubicBezTo>
                            <a:pt x="99" y="50"/>
                            <a:pt x="99" y="50"/>
                            <a:pt x="100" y="50"/>
                          </a:cubicBezTo>
                          <a:cubicBezTo>
                            <a:pt x="99" y="50"/>
                            <a:pt x="99" y="50"/>
                            <a:pt x="99" y="50"/>
                          </a:cubicBezTo>
                          <a:close/>
                          <a:moveTo>
                            <a:pt x="100" y="44"/>
                          </a:moveTo>
                          <a:cubicBezTo>
                            <a:pt x="100" y="43"/>
                            <a:pt x="101" y="43"/>
                            <a:pt x="101" y="43"/>
                          </a:cubicBezTo>
                          <a:cubicBezTo>
                            <a:pt x="100" y="44"/>
                            <a:pt x="98" y="45"/>
                            <a:pt x="97" y="46"/>
                          </a:cubicBezTo>
                          <a:cubicBezTo>
                            <a:pt x="97" y="45"/>
                            <a:pt x="97" y="45"/>
                            <a:pt x="97" y="45"/>
                          </a:cubicBezTo>
                          <a:cubicBezTo>
                            <a:pt x="98" y="45"/>
                            <a:pt x="99" y="44"/>
                            <a:pt x="100" y="44"/>
                          </a:cubicBezTo>
                          <a:cubicBezTo>
                            <a:pt x="100" y="43"/>
                            <a:pt x="100" y="44"/>
                            <a:pt x="100" y="44"/>
                          </a:cubicBezTo>
                          <a:close/>
                          <a:moveTo>
                            <a:pt x="103" y="52"/>
                          </a:moveTo>
                          <a:cubicBezTo>
                            <a:pt x="102" y="52"/>
                            <a:pt x="102" y="52"/>
                            <a:pt x="102" y="52"/>
                          </a:cubicBezTo>
                          <a:cubicBezTo>
                            <a:pt x="102" y="52"/>
                            <a:pt x="103" y="52"/>
                            <a:pt x="103" y="52"/>
                          </a:cubicBezTo>
                          <a:cubicBezTo>
                            <a:pt x="103" y="52"/>
                            <a:pt x="103" y="52"/>
                            <a:pt x="103" y="52"/>
                          </a:cubicBezTo>
                          <a:cubicBezTo>
                            <a:pt x="103" y="52"/>
                            <a:pt x="103" y="52"/>
                            <a:pt x="103" y="52"/>
                          </a:cubicBezTo>
                          <a:cubicBezTo>
                            <a:pt x="103" y="52"/>
                            <a:pt x="102" y="52"/>
                            <a:pt x="102" y="53"/>
                          </a:cubicBezTo>
                          <a:cubicBezTo>
                            <a:pt x="102" y="53"/>
                            <a:pt x="102" y="53"/>
                            <a:pt x="101" y="53"/>
                          </a:cubicBezTo>
                          <a:cubicBezTo>
                            <a:pt x="102" y="53"/>
                            <a:pt x="102" y="52"/>
                            <a:pt x="102" y="52"/>
                          </a:cubicBezTo>
                          <a:cubicBezTo>
                            <a:pt x="101" y="52"/>
                            <a:pt x="102" y="53"/>
                            <a:pt x="101" y="53"/>
                          </a:cubicBezTo>
                          <a:cubicBezTo>
                            <a:pt x="101" y="52"/>
                            <a:pt x="102" y="52"/>
                            <a:pt x="103" y="52"/>
                          </a:cubicBezTo>
                          <a:close/>
                          <a:moveTo>
                            <a:pt x="103" y="52"/>
                          </a:moveTo>
                          <a:cubicBezTo>
                            <a:pt x="103" y="52"/>
                            <a:pt x="103" y="52"/>
                            <a:pt x="103" y="52"/>
                          </a:cubicBezTo>
                          <a:cubicBezTo>
                            <a:pt x="104" y="51"/>
                            <a:pt x="104" y="51"/>
                            <a:pt x="105" y="51"/>
                          </a:cubicBezTo>
                          <a:cubicBezTo>
                            <a:pt x="105" y="51"/>
                            <a:pt x="104" y="51"/>
                            <a:pt x="105" y="51"/>
                          </a:cubicBezTo>
                          <a:cubicBezTo>
                            <a:pt x="105" y="51"/>
                            <a:pt x="104" y="52"/>
                            <a:pt x="104" y="51"/>
                          </a:cubicBezTo>
                          <a:cubicBezTo>
                            <a:pt x="104" y="52"/>
                            <a:pt x="104" y="52"/>
                            <a:pt x="103" y="52"/>
                          </a:cubicBezTo>
                          <a:cubicBezTo>
                            <a:pt x="103" y="52"/>
                            <a:pt x="103" y="52"/>
                            <a:pt x="103" y="52"/>
                          </a:cubicBezTo>
                          <a:cubicBezTo>
                            <a:pt x="103" y="52"/>
                            <a:pt x="103" y="52"/>
                            <a:pt x="103" y="52"/>
                          </a:cubicBezTo>
                          <a:close/>
                          <a:moveTo>
                            <a:pt x="102" y="49"/>
                          </a:moveTo>
                          <a:cubicBezTo>
                            <a:pt x="102" y="49"/>
                            <a:pt x="102" y="49"/>
                            <a:pt x="102" y="49"/>
                          </a:cubicBezTo>
                          <a:cubicBezTo>
                            <a:pt x="102" y="49"/>
                            <a:pt x="102" y="49"/>
                            <a:pt x="103" y="49"/>
                          </a:cubicBezTo>
                          <a:cubicBezTo>
                            <a:pt x="103" y="49"/>
                            <a:pt x="102" y="49"/>
                            <a:pt x="102" y="49"/>
                          </a:cubicBezTo>
                          <a:close/>
                          <a:moveTo>
                            <a:pt x="103" y="51"/>
                          </a:moveTo>
                          <a:cubicBezTo>
                            <a:pt x="103" y="51"/>
                            <a:pt x="103" y="51"/>
                            <a:pt x="103" y="51"/>
                          </a:cubicBezTo>
                          <a:cubicBezTo>
                            <a:pt x="104" y="51"/>
                            <a:pt x="104" y="51"/>
                            <a:pt x="103" y="52"/>
                          </a:cubicBezTo>
                          <a:cubicBezTo>
                            <a:pt x="103" y="51"/>
                            <a:pt x="103" y="51"/>
                            <a:pt x="103" y="51"/>
                          </a:cubicBezTo>
                          <a:close/>
                          <a:moveTo>
                            <a:pt x="104" y="52"/>
                          </a:moveTo>
                          <a:cubicBezTo>
                            <a:pt x="105" y="52"/>
                            <a:pt x="104" y="52"/>
                            <a:pt x="104" y="52"/>
                          </a:cubicBezTo>
                          <a:cubicBezTo>
                            <a:pt x="104" y="52"/>
                            <a:pt x="104" y="52"/>
                            <a:pt x="104" y="52"/>
                          </a:cubicBezTo>
                          <a:close/>
                          <a:moveTo>
                            <a:pt x="105" y="52"/>
                          </a:moveTo>
                          <a:cubicBezTo>
                            <a:pt x="105" y="52"/>
                            <a:pt x="104" y="52"/>
                            <a:pt x="104" y="52"/>
                          </a:cubicBezTo>
                          <a:cubicBezTo>
                            <a:pt x="104" y="52"/>
                            <a:pt x="105" y="52"/>
                            <a:pt x="105" y="52"/>
                          </a:cubicBezTo>
                          <a:close/>
                          <a:moveTo>
                            <a:pt x="104" y="48"/>
                          </a:moveTo>
                          <a:cubicBezTo>
                            <a:pt x="104" y="48"/>
                            <a:pt x="104" y="48"/>
                            <a:pt x="104" y="48"/>
                          </a:cubicBezTo>
                          <a:cubicBezTo>
                            <a:pt x="104" y="48"/>
                            <a:pt x="104" y="49"/>
                            <a:pt x="104" y="48"/>
                          </a:cubicBezTo>
                          <a:cubicBezTo>
                            <a:pt x="104" y="48"/>
                            <a:pt x="104" y="48"/>
                            <a:pt x="104" y="48"/>
                          </a:cubicBezTo>
                          <a:close/>
                          <a:moveTo>
                            <a:pt x="106" y="51"/>
                          </a:moveTo>
                          <a:cubicBezTo>
                            <a:pt x="106" y="52"/>
                            <a:pt x="106" y="52"/>
                            <a:pt x="106" y="52"/>
                          </a:cubicBezTo>
                          <a:cubicBezTo>
                            <a:pt x="106" y="52"/>
                            <a:pt x="106" y="51"/>
                            <a:pt x="106" y="51"/>
                          </a:cubicBezTo>
                          <a:close/>
                          <a:moveTo>
                            <a:pt x="105" y="50"/>
                          </a:moveTo>
                          <a:cubicBezTo>
                            <a:pt x="105" y="50"/>
                            <a:pt x="105" y="50"/>
                            <a:pt x="105" y="50"/>
                          </a:cubicBezTo>
                          <a:cubicBezTo>
                            <a:pt x="105" y="50"/>
                            <a:pt x="105" y="50"/>
                            <a:pt x="105" y="50"/>
                          </a:cubicBezTo>
                          <a:cubicBezTo>
                            <a:pt x="105" y="50"/>
                            <a:pt x="105" y="50"/>
                            <a:pt x="105" y="50"/>
                          </a:cubicBezTo>
                          <a:close/>
                          <a:moveTo>
                            <a:pt x="106" y="51"/>
                          </a:moveTo>
                          <a:cubicBezTo>
                            <a:pt x="107" y="51"/>
                            <a:pt x="107" y="51"/>
                            <a:pt x="108" y="51"/>
                          </a:cubicBezTo>
                          <a:cubicBezTo>
                            <a:pt x="108" y="51"/>
                            <a:pt x="107" y="51"/>
                            <a:pt x="107" y="51"/>
                          </a:cubicBezTo>
                          <a:cubicBezTo>
                            <a:pt x="106" y="52"/>
                            <a:pt x="106" y="52"/>
                            <a:pt x="106" y="52"/>
                          </a:cubicBezTo>
                          <a:cubicBezTo>
                            <a:pt x="106" y="52"/>
                            <a:pt x="107" y="51"/>
                            <a:pt x="107" y="51"/>
                          </a:cubicBezTo>
                          <a:cubicBezTo>
                            <a:pt x="107" y="51"/>
                            <a:pt x="106" y="51"/>
                            <a:pt x="106" y="51"/>
                          </a:cubicBezTo>
                          <a:close/>
                          <a:moveTo>
                            <a:pt x="107" y="51"/>
                          </a:moveTo>
                          <a:cubicBezTo>
                            <a:pt x="106" y="51"/>
                            <a:pt x="106" y="51"/>
                            <a:pt x="106" y="51"/>
                          </a:cubicBezTo>
                          <a:cubicBezTo>
                            <a:pt x="106" y="51"/>
                            <a:pt x="106" y="51"/>
                            <a:pt x="107" y="51"/>
                          </a:cubicBezTo>
                          <a:close/>
                          <a:moveTo>
                            <a:pt x="105" y="47"/>
                          </a:moveTo>
                          <a:cubicBezTo>
                            <a:pt x="105" y="47"/>
                            <a:pt x="106" y="46"/>
                            <a:pt x="106" y="46"/>
                          </a:cubicBezTo>
                          <a:cubicBezTo>
                            <a:pt x="106" y="47"/>
                            <a:pt x="105" y="47"/>
                            <a:pt x="105" y="47"/>
                          </a:cubicBezTo>
                          <a:cubicBezTo>
                            <a:pt x="105" y="47"/>
                            <a:pt x="105" y="47"/>
                            <a:pt x="105" y="47"/>
                          </a:cubicBezTo>
                          <a:close/>
                          <a:moveTo>
                            <a:pt x="106" y="48"/>
                          </a:moveTo>
                          <a:cubicBezTo>
                            <a:pt x="106" y="48"/>
                            <a:pt x="106" y="48"/>
                            <a:pt x="106" y="48"/>
                          </a:cubicBezTo>
                          <a:cubicBezTo>
                            <a:pt x="106" y="49"/>
                            <a:pt x="106" y="48"/>
                            <a:pt x="106" y="48"/>
                          </a:cubicBezTo>
                          <a:cubicBezTo>
                            <a:pt x="106" y="48"/>
                            <a:pt x="106" y="48"/>
                            <a:pt x="106" y="48"/>
                          </a:cubicBezTo>
                          <a:cubicBezTo>
                            <a:pt x="106" y="48"/>
                            <a:pt x="106" y="48"/>
                            <a:pt x="106" y="48"/>
                          </a:cubicBezTo>
                          <a:close/>
                          <a:moveTo>
                            <a:pt x="107" y="48"/>
                          </a:moveTo>
                          <a:cubicBezTo>
                            <a:pt x="107" y="48"/>
                            <a:pt x="106" y="49"/>
                            <a:pt x="106" y="49"/>
                          </a:cubicBezTo>
                          <a:cubicBezTo>
                            <a:pt x="106" y="49"/>
                            <a:pt x="106" y="49"/>
                            <a:pt x="106" y="49"/>
                          </a:cubicBezTo>
                          <a:cubicBezTo>
                            <a:pt x="106" y="49"/>
                            <a:pt x="107" y="48"/>
                            <a:pt x="107" y="48"/>
                          </a:cubicBezTo>
                          <a:close/>
                          <a:moveTo>
                            <a:pt x="107" y="49"/>
                          </a:moveTo>
                          <a:cubicBezTo>
                            <a:pt x="107" y="49"/>
                            <a:pt x="107" y="49"/>
                            <a:pt x="107" y="48"/>
                          </a:cubicBezTo>
                          <a:cubicBezTo>
                            <a:pt x="107" y="49"/>
                            <a:pt x="107" y="49"/>
                            <a:pt x="107" y="49"/>
                          </a:cubicBezTo>
                          <a:close/>
                          <a:moveTo>
                            <a:pt x="108" y="48"/>
                          </a:moveTo>
                          <a:cubicBezTo>
                            <a:pt x="108" y="48"/>
                            <a:pt x="108" y="48"/>
                            <a:pt x="108" y="48"/>
                          </a:cubicBezTo>
                          <a:cubicBezTo>
                            <a:pt x="108" y="48"/>
                            <a:pt x="108" y="48"/>
                            <a:pt x="108" y="48"/>
                          </a:cubicBezTo>
                          <a:cubicBezTo>
                            <a:pt x="108" y="48"/>
                            <a:pt x="108" y="48"/>
                            <a:pt x="108" y="48"/>
                          </a:cubicBezTo>
                          <a:close/>
                          <a:moveTo>
                            <a:pt x="107" y="47"/>
                          </a:moveTo>
                          <a:cubicBezTo>
                            <a:pt x="108" y="47"/>
                            <a:pt x="107" y="47"/>
                            <a:pt x="107" y="47"/>
                          </a:cubicBezTo>
                          <a:cubicBezTo>
                            <a:pt x="107" y="47"/>
                            <a:pt x="107" y="47"/>
                            <a:pt x="107" y="47"/>
                          </a:cubicBezTo>
                          <a:cubicBezTo>
                            <a:pt x="108" y="47"/>
                            <a:pt x="107" y="47"/>
                            <a:pt x="108" y="47"/>
                          </a:cubicBezTo>
                          <a:cubicBezTo>
                            <a:pt x="108" y="47"/>
                            <a:pt x="109" y="46"/>
                            <a:pt x="109" y="46"/>
                          </a:cubicBezTo>
                          <a:cubicBezTo>
                            <a:pt x="110" y="46"/>
                            <a:pt x="110" y="45"/>
                            <a:pt x="111" y="45"/>
                          </a:cubicBezTo>
                          <a:cubicBezTo>
                            <a:pt x="110" y="46"/>
                            <a:pt x="108" y="47"/>
                            <a:pt x="107" y="47"/>
                          </a:cubicBezTo>
                          <a:cubicBezTo>
                            <a:pt x="107" y="47"/>
                            <a:pt x="107" y="47"/>
                            <a:pt x="107" y="47"/>
                          </a:cubicBezTo>
                          <a:close/>
                          <a:moveTo>
                            <a:pt x="109" y="50"/>
                          </a:moveTo>
                          <a:cubicBezTo>
                            <a:pt x="109" y="50"/>
                            <a:pt x="109" y="50"/>
                            <a:pt x="109" y="50"/>
                          </a:cubicBezTo>
                          <a:cubicBezTo>
                            <a:pt x="109" y="50"/>
                            <a:pt x="109" y="50"/>
                            <a:pt x="110" y="50"/>
                          </a:cubicBezTo>
                          <a:cubicBezTo>
                            <a:pt x="109" y="50"/>
                            <a:pt x="109" y="50"/>
                            <a:pt x="109" y="50"/>
                          </a:cubicBezTo>
                          <a:cubicBezTo>
                            <a:pt x="109" y="50"/>
                            <a:pt x="109" y="50"/>
                            <a:pt x="109" y="50"/>
                          </a:cubicBezTo>
                          <a:close/>
                          <a:moveTo>
                            <a:pt x="108" y="47"/>
                          </a:moveTo>
                          <a:cubicBezTo>
                            <a:pt x="108" y="48"/>
                            <a:pt x="108" y="48"/>
                            <a:pt x="107" y="48"/>
                          </a:cubicBezTo>
                          <a:cubicBezTo>
                            <a:pt x="107" y="48"/>
                            <a:pt x="108" y="47"/>
                            <a:pt x="108" y="47"/>
                          </a:cubicBezTo>
                          <a:close/>
                          <a:moveTo>
                            <a:pt x="109" y="49"/>
                          </a:moveTo>
                          <a:cubicBezTo>
                            <a:pt x="109" y="49"/>
                            <a:pt x="109" y="49"/>
                            <a:pt x="109" y="49"/>
                          </a:cubicBezTo>
                          <a:cubicBezTo>
                            <a:pt x="109" y="49"/>
                            <a:pt x="109" y="49"/>
                            <a:pt x="109" y="49"/>
                          </a:cubicBezTo>
                          <a:cubicBezTo>
                            <a:pt x="109" y="49"/>
                            <a:pt x="109" y="49"/>
                            <a:pt x="109" y="49"/>
                          </a:cubicBezTo>
                          <a:cubicBezTo>
                            <a:pt x="109" y="49"/>
                            <a:pt x="109" y="49"/>
                            <a:pt x="109" y="49"/>
                          </a:cubicBezTo>
                          <a:close/>
                          <a:moveTo>
                            <a:pt x="109" y="50"/>
                          </a:moveTo>
                          <a:cubicBezTo>
                            <a:pt x="109" y="50"/>
                            <a:pt x="109" y="50"/>
                            <a:pt x="109" y="50"/>
                          </a:cubicBezTo>
                          <a:cubicBezTo>
                            <a:pt x="109" y="50"/>
                            <a:pt x="109" y="49"/>
                            <a:pt x="109" y="50"/>
                          </a:cubicBezTo>
                          <a:close/>
                          <a:moveTo>
                            <a:pt x="106" y="45"/>
                          </a:moveTo>
                          <a:cubicBezTo>
                            <a:pt x="106" y="44"/>
                            <a:pt x="107" y="44"/>
                            <a:pt x="107" y="44"/>
                          </a:cubicBezTo>
                          <a:cubicBezTo>
                            <a:pt x="107" y="44"/>
                            <a:pt x="107" y="44"/>
                            <a:pt x="107" y="44"/>
                          </a:cubicBezTo>
                          <a:cubicBezTo>
                            <a:pt x="106" y="44"/>
                            <a:pt x="106" y="45"/>
                            <a:pt x="106" y="45"/>
                          </a:cubicBezTo>
                          <a:close/>
                          <a:moveTo>
                            <a:pt x="107" y="46"/>
                          </a:moveTo>
                          <a:cubicBezTo>
                            <a:pt x="107" y="46"/>
                            <a:pt x="107" y="46"/>
                            <a:pt x="107" y="46"/>
                          </a:cubicBezTo>
                          <a:cubicBezTo>
                            <a:pt x="107" y="46"/>
                            <a:pt x="107" y="46"/>
                            <a:pt x="107" y="46"/>
                          </a:cubicBezTo>
                          <a:cubicBezTo>
                            <a:pt x="107" y="46"/>
                            <a:pt x="107" y="46"/>
                            <a:pt x="107" y="46"/>
                          </a:cubicBezTo>
                          <a:close/>
                          <a:moveTo>
                            <a:pt x="110" y="50"/>
                          </a:moveTo>
                          <a:cubicBezTo>
                            <a:pt x="110" y="50"/>
                            <a:pt x="110" y="50"/>
                            <a:pt x="110" y="50"/>
                          </a:cubicBezTo>
                          <a:cubicBezTo>
                            <a:pt x="109" y="50"/>
                            <a:pt x="110" y="49"/>
                            <a:pt x="110" y="50"/>
                          </a:cubicBezTo>
                          <a:close/>
                          <a:moveTo>
                            <a:pt x="109" y="48"/>
                          </a:moveTo>
                          <a:cubicBezTo>
                            <a:pt x="108" y="47"/>
                            <a:pt x="109" y="47"/>
                            <a:pt x="109" y="47"/>
                          </a:cubicBezTo>
                          <a:cubicBezTo>
                            <a:pt x="109" y="47"/>
                            <a:pt x="109" y="47"/>
                            <a:pt x="109" y="47"/>
                          </a:cubicBezTo>
                          <a:cubicBezTo>
                            <a:pt x="109" y="47"/>
                            <a:pt x="109" y="47"/>
                            <a:pt x="109" y="48"/>
                          </a:cubicBezTo>
                          <a:close/>
                          <a:moveTo>
                            <a:pt x="111" y="48"/>
                          </a:moveTo>
                          <a:cubicBezTo>
                            <a:pt x="111" y="48"/>
                            <a:pt x="110" y="48"/>
                            <a:pt x="110" y="48"/>
                          </a:cubicBezTo>
                          <a:cubicBezTo>
                            <a:pt x="110" y="48"/>
                            <a:pt x="110" y="48"/>
                            <a:pt x="111" y="48"/>
                          </a:cubicBezTo>
                          <a:close/>
                          <a:moveTo>
                            <a:pt x="108" y="45"/>
                          </a:moveTo>
                          <a:cubicBezTo>
                            <a:pt x="108" y="45"/>
                            <a:pt x="108" y="45"/>
                            <a:pt x="108" y="45"/>
                          </a:cubicBezTo>
                          <a:cubicBezTo>
                            <a:pt x="108" y="45"/>
                            <a:pt x="109" y="45"/>
                            <a:pt x="109" y="45"/>
                          </a:cubicBezTo>
                          <a:cubicBezTo>
                            <a:pt x="109" y="45"/>
                            <a:pt x="108" y="45"/>
                            <a:pt x="108" y="45"/>
                          </a:cubicBezTo>
                          <a:close/>
                          <a:moveTo>
                            <a:pt x="108" y="44"/>
                          </a:moveTo>
                          <a:cubicBezTo>
                            <a:pt x="108" y="44"/>
                            <a:pt x="108" y="44"/>
                            <a:pt x="108" y="44"/>
                          </a:cubicBezTo>
                          <a:cubicBezTo>
                            <a:pt x="108" y="44"/>
                            <a:pt x="108" y="44"/>
                            <a:pt x="108" y="44"/>
                          </a:cubicBezTo>
                          <a:close/>
                          <a:moveTo>
                            <a:pt x="112" y="46"/>
                          </a:moveTo>
                          <a:cubicBezTo>
                            <a:pt x="112" y="46"/>
                            <a:pt x="112" y="46"/>
                            <a:pt x="112" y="47"/>
                          </a:cubicBezTo>
                          <a:cubicBezTo>
                            <a:pt x="112" y="46"/>
                            <a:pt x="112" y="46"/>
                            <a:pt x="112" y="46"/>
                          </a:cubicBezTo>
                          <a:close/>
                          <a:moveTo>
                            <a:pt x="110" y="42"/>
                          </a:moveTo>
                          <a:cubicBezTo>
                            <a:pt x="110" y="42"/>
                            <a:pt x="109" y="42"/>
                            <a:pt x="109" y="42"/>
                          </a:cubicBezTo>
                          <a:cubicBezTo>
                            <a:pt x="110" y="42"/>
                            <a:pt x="110" y="42"/>
                            <a:pt x="110" y="42"/>
                          </a:cubicBezTo>
                          <a:close/>
                          <a:moveTo>
                            <a:pt x="110" y="42"/>
                          </a:moveTo>
                          <a:cubicBezTo>
                            <a:pt x="110" y="42"/>
                            <a:pt x="110" y="42"/>
                            <a:pt x="110" y="42"/>
                          </a:cubicBezTo>
                          <a:cubicBezTo>
                            <a:pt x="111" y="42"/>
                            <a:pt x="111" y="42"/>
                            <a:pt x="110" y="42"/>
                          </a:cubicBezTo>
                          <a:close/>
                          <a:moveTo>
                            <a:pt x="112" y="42"/>
                          </a:moveTo>
                          <a:cubicBezTo>
                            <a:pt x="112" y="42"/>
                            <a:pt x="112" y="42"/>
                            <a:pt x="112" y="42"/>
                          </a:cubicBezTo>
                          <a:cubicBezTo>
                            <a:pt x="112" y="42"/>
                            <a:pt x="112" y="42"/>
                            <a:pt x="112" y="42"/>
                          </a:cubicBezTo>
                          <a:close/>
                          <a:moveTo>
                            <a:pt x="114" y="45"/>
                          </a:moveTo>
                          <a:cubicBezTo>
                            <a:pt x="114" y="45"/>
                            <a:pt x="114" y="45"/>
                            <a:pt x="114" y="45"/>
                          </a:cubicBezTo>
                          <a:cubicBezTo>
                            <a:pt x="114" y="45"/>
                            <a:pt x="114" y="45"/>
                            <a:pt x="114" y="45"/>
                          </a:cubicBezTo>
                          <a:close/>
                          <a:moveTo>
                            <a:pt x="113" y="39"/>
                          </a:moveTo>
                          <a:cubicBezTo>
                            <a:pt x="113" y="39"/>
                            <a:pt x="112" y="40"/>
                            <a:pt x="112" y="40"/>
                          </a:cubicBezTo>
                          <a:cubicBezTo>
                            <a:pt x="112" y="40"/>
                            <a:pt x="112" y="40"/>
                            <a:pt x="113" y="40"/>
                          </a:cubicBezTo>
                          <a:cubicBezTo>
                            <a:pt x="113" y="39"/>
                            <a:pt x="112" y="40"/>
                            <a:pt x="112" y="40"/>
                          </a:cubicBezTo>
                          <a:cubicBezTo>
                            <a:pt x="111" y="40"/>
                            <a:pt x="111" y="40"/>
                            <a:pt x="111" y="40"/>
                          </a:cubicBezTo>
                          <a:cubicBezTo>
                            <a:pt x="111" y="40"/>
                            <a:pt x="112" y="40"/>
                            <a:pt x="112" y="40"/>
                          </a:cubicBezTo>
                          <a:cubicBezTo>
                            <a:pt x="112" y="40"/>
                            <a:pt x="112" y="40"/>
                            <a:pt x="112" y="40"/>
                          </a:cubicBezTo>
                          <a:cubicBezTo>
                            <a:pt x="112" y="40"/>
                            <a:pt x="112" y="39"/>
                            <a:pt x="112" y="39"/>
                          </a:cubicBezTo>
                          <a:cubicBezTo>
                            <a:pt x="112" y="40"/>
                            <a:pt x="113" y="39"/>
                            <a:pt x="113" y="39"/>
                          </a:cubicBezTo>
                          <a:cubicBezTo>
                            <a:pt x="113" y="39"/>
                            <a:pt x="114" y="39"/>
                            <a:pt x="114" y="39"/>
                          </a:cubicBezTo>
                          <a:cubicBezTo>
                            <a:pt x="114" y="39"/>
                            <a:pt x="114" y="39"/>
                            <a:pt x="114" y="39"/>
                          </a:cubicBezTo>
                          <a:cubicBezTo>
                            <a:pt x="114" y="39"/>
                            <a:pt x="114" y="39"/>
                            <a:pt x="114" y="39"/>
                          </a:cubicBezTo>
                          <a:cubicBezTo>
                            <a:pt x="114" y="39"/>
                            <a:pt x="114" y="39"/>
                            <a:pt x="114" y="39"/>
                          </a:cubicBezTo>
                          <a:cubicBezTo>
                            <a:pt x="114" y="39"/>
                            <a:pt x="114" y="39"/>
                            <a:pt x="113" y="39"/>
                          </a:cubicBezTo>
                          <a:cubicBezTo>
                            <a:pt x="113" y="39"/>
                            <a:pt x="113" y="39"/>
                            <a:pt x="113" y="39"/>
                          </a:cubicBezTo>
                          <a:close/>
                          <a:moveTo>
                            <a:pt x="112" y="42"/>
                          </a:moveTo>
                          <a:cubicBezTo>
                            <a:pt x="112" y="42"/>
                            <a:pt x="113" y="42"/>
                            <a:pt x="113" y="42"/>
                          </a:cubicBezTo>
                          <a:lnTo>
                            <a:pt x="112" y="42"/>
                          </a:lnTo>
                          <a:close/>
                          <a:moveTo>
                            <a:pt x="113" y="41"/>
                          </a:moveTo>
                          <a:cubicBezTo>
                            <a:pt x="113" y="41"/>
                            <a:pt x="113" y="41"/>
                            <a:pt x="113" y="41"/>
                          </a:cubicBezTo>
                          <a:cubicBezTo>
                            <a:pt x="113" y="41"/>
                            <a:pt x="112" y="41"/>
                            <a:pt x="112" y="41"/>
                          </a:cubicBezTo>
                          <a:cubicBezTo>
                            <a:pt x="112" y="41"/>
                            <a:pt x="113" y="41"/>
                            <a:pt x="112" y="41"/>
                          </a:cubicBezTo>
                          <a:cubicBezTo>
                            <a:pt x="113" y="41"/>
                            <a:pt x="113" y="41"/>
                            <a:pt x="113" y="41"/>
                          </a:cubicBezTo>
                          <a:close/>
                          <a:moveTo>
                            <a:pt x="112" y="40"/>
                          </a:moveTo>
                          <a:cubicBezTo>
                            <a:pt x="112" y="40"/>
                            <a:pt x="112" y="40"/>
                            <a:pt x="113" y="40"/>
                          </a:cubicBezTo>
                          <a:cubicBezTo>
                            <a:pt x="112" y="40"/>
                            <a:pt x="112" y="40"/>
                            <a:pt x="112" y="40"/>
                          </a:cubicBezTo>
                          <a:close/>
                          <a:moveTo>
                            <a:pt x="112" y="40"/>
                          </a:moveTo>
                          <a:cubicBezTo>
                            <a:pt x="112" y="40"/>
                            <a:pt x="112" y="40"/>
                            <a:pt x="112" y="40"/>
                          </a:cubicBezTo>
                          <a:cubicBezTo>
                            <a:pt x="112" y="40"/>
                            <a:pt x="112" y="40"/>
                            <a:pt x="112" y="40"/>
                          </a:cubicBezTo>
                          <a:close/>
                          <a:moveTo>
                            <a:pt x="111" y="39"/>
                          </a:moveTo>
                          <a:cubicBezTo>
                            <a:pt x="111" y="39"/>
                            <a:pt x="111" y="39"/>
                            <a:pt x="111" y="39"/>
                          </a:cubicBezTo>
                          <a:cubicBezTo>
                            <a:pt x="111" y="39"/>
                            <a:pt x="111" y="39"/>
                            <a:pt x="111" y="39"/>
                          </a:cubicBezTo>
                          <a:cubicBezTo>
                            <a:pt x="111" y="39"/>
                            <a:pt x="111" y="39"/>
                            <a:pt x="111" y="39"/>
                          </a:cubicBezTo>
                          <a:close/>
                          <a:moveTo>
                            <a:pt x="111" y="38"/>
                          </a:moveTo>
                          <a:cubicBezTo>
                            <a:pt x="111" y="38"/>
                            <a:pt x="111" y="38"/>
                            <a:pt x="111" y="38"/>
                          </a:cubicBezTo>
                          <a:cubicBezTo>
                            <a:pt x="111" y="38"/>
                            <a:pt x="111" y="38"/>
                            <a:pt x="111" y="38"/>
                          </a:cubicBezTo>
                          <a:cubicBezTo>
                            <a:pt x="111" y="38"/>
                            <a:pt x="111" y="38"/>
                            <a:pt x="111" y="38"/>
                          </a:cubicBezTo>
                          <a:cubicBezTo>
                            <a:pt x="111" y="38"/>
                            <a:pt x="111" y="38"/>
                            <a:pt x="111" y="38"/>
                          </a:cubicBezTo>
                          <a:close/>
                          <a:moveTo>
                            <a:pt x="115" y="43"/>
                          </a:moveTo>
                          <a:cubicBezTo>
                            <a:pt x="115" y="43"/>
                            <a:pt x="114" y="44"/>
                            <a:pt x="114" y="44"/>
                          </a:cubicBezTo>
                          <a:cubicBezTo>
                            <a:pt x="114" y="44"/>
                            <a:pt x="115" y="44"/>
                            <a:pt x="115" y="43"/>
                          </a:cubicBezTo>
                          <a:close/>
                          <a:moveTo>
                            <a:pt x="112" y="40"/>
                          </a:moveTo>
                          <a:cubicBezTo>
                            <a:pt x="113" y="40"/>
                            <a:pt x="113" y="40"/>
                            <a:pt x="113" y="40"/>
                          </a:cubicBezTo>
                          <a:cubicBezTo>
                            <a:pt x="113" y="40"/>
                            <a:pt x="113" y="40"/>
                            <a:pt x="112" y="40"/>
                          </a:cubicBezTo>
                          <a:close/>
                          <a:moveTo>
                            <a:pt x="113" y="41"/>
                          </a:moveTo>
                          <a:cubicBezTo>
                            <a:pt x="113" y="41"/>
                            <a:pt x="114" y="41"/>
                            <a:pt x="114" y="40"/>
                          </a:cubicBezTo>
                          <a:cubicBezTo>
                            <a:pt x="114" y="41"/>
                            <a:pt x="113" y="41"/>
                            <a:pt x="113" y="41"/>
                          </a:cubicBezTo>
                          <a:close/>
                          <a:moveTo>
                            <a:pt x="117" y="46"/>
                          </a:moveTo>
                          <a:cubicBezTo>
                            <a:pt x="117" y="46"/>
                            <a:pt x="117" y="46"/>
                            <a:pt x="117" y="46"/>
                          </a:cubicBezTo>
                          <a:cubicBezTo>
                            <a:pt x="117" y="46"/>
                            <a:pt x="117" y="46"/>
                            <a:pt x="117" y="46"/>
                          </a:cubicBezTo>
                          <a:close/>
                          <a:moveTo>
                            <a:pt x="116" y="43"/>
                          </a:moveTo>
                          <a:cubicBezTo>
                            <a:pt x="115" y="43"/>
                            <a:pt x="115" y="43"/>
                            <a:pt x="115" y="43"/>
                          </a:cubicBezTo>
                          <a:cubicBezTo>
                            <a:pt x="115" y="42"/>
                            <a:pt x="115" y="42"/>
                            <a:pt x="115" y="42"/>
                          </a:cubicBezTo>
                          <a:cubicBezTo>
                            <a:pt x="115" y="43"/>
                            <a:pt x="116" y="43"/>
                            <a:pt x="116" y="43"/>
                          </a:cubicBezTo>
                          <a:close/>
                          <a:moveTo>
                            <a:pt x="118" y="45"/>
                          </a:moveTo>
                          <a:cubicBezTo>
                            <a:pt x="118" y="46"/>
                            <a:pt x="118" y="46"/>
                            <a:pt x="118" y="46"/>
                          </a:cubicBezTo>
                          <a:cubicBezTo>
                            <a:pt x="117" y="46"/>
                            <a:pt x="118" y="46"/>
                            <a:pt x="118" y="45"/>
                          </a:cubicBezTo>
                          <a:close/>
                          <a:moveTo>
                            <a:pt x="116" y="40"/>
                          </a:moveTo>
                          <a:cubicBezTo>
                            <a:pt x="115" y="40"/>
                            <a:pt x="115" y="41"/>
                            <a:pt x="115" y="41"/>
                          </a:cubicBezTo>
                          <a:cubicBezTo>
                            <a:pt x="115" y="40"/>
                            <a:pt x="115" y="40"/>
                            <a:pt x="115" y="41"/>
                          </a:cubicBezTo>
                          <a:cubicBezTo>
                            <a:pt x="115" y="41"/>
                            <a:pt x="115" y="40"/>
                            <a:pt x="115" y="40"/>
                          </a:cubicBezTo>
                          <a:cubicBezTo>
                            <a:pt x="115" y="40"/>
                            <a:pt x="115" y="40"/>
                            <a:pt x="116" y="40"/>
                          </a:cubicBezTo>
                          <a:cubicBezTo>
                            <a:pt x="116" y="40"/>
                            <a:pt x="116" y="40"/>
                            <a:pt x="116" y="40"/>
                          </a:cubicBezTo>
                          <a:close/>
                          <a:moveTo>
                            <a:pt x="114" y="38"/>
                          </a:moveTo>
                          <a:cubicBezTo>
                            <a:pt x="114" y="37"/>
                            <a:pt x="114" y="37"/>
                            <a:pt x="114" y="37"/>
                          </a:cubicBezTo>
                          <a:cubicBezTo>
                            <a:pt x="114" y="37"/>
                            <a:pt x="114" y="37"/>
                            <a:pt x="114" y="37"/>
                          </a:cubicBezTo>
                          <a:cubicBezTo>
                            <a:pt x="114" y="37"/>
                            <a:pt x="114" y="38"/>
                            <a:pt x="114" y="38"/>
                          </a:cubicBezTo>
                          <a:cubicBezTo>
                            <a:pt x="114" y="37"/>
                            <a:pt x="114" y="38"/>
                            <a:pt x="114" y="38"/>
                          </a:cubicBezTo>
                          <a:close/>
                          <a:moveTo>
                            <a:pt x="116" y="41"/>
                          </a:moveTo>
                          <a:cubicBezTo>
                            <a:pt x="116" y="41"/>
                            <a:pt x="116" y="41"/>
                            <a:pt x="116" y="41"/>
                          </a:cubicBezTo>
                          <a:cubicBezTo>
                            <a:pt x="116" y="40"/>
                            <a:pt x="116" y="41"/>
                            <a:pt x="116" y="41"/>
                          </a:cubicBezTo>
                          <a:cubicBezTo>
                            <a:pt x="116" y="41"/>
                            <a:pt x="116" y="41"/>
                            <a:pt x="116" y="41"/>
                          </a:cubicBezTo>
                          <a:cubicBezTo>
                            <a:pt x="116" y="41"/>
                            <a:pt x="116" y="41"/>
                            <a:pt x="116" y="41"/>
                          </a:cubicBezTo>
                          <a:close/>
                          <a:moveTo>
                            <a:pt x="115" y="37"/>
                          </a:moveTo>
                          <a:cubicBezTo>
                            <a:pt x="115" y="37"/>
                            <a:pt x="115" y="37"/>
                            <a:pt x="115" y="37"/>
                          </a:cubicBezTo>
                          <a:cubicBezTo>
                            <a:pt x="115" y="37"/>
                            <a:pt x="115" y="37"/>
                            <a:pt x="115" y="37"/>
                          </a:cubicBezTo>
                          <a:cubicBezTo>
                            <a:pt x="115" y="37"/>
                            <a:pt x="115" y="37"/>
                            <a:pt x="115" y="37"/>
                          </a:cubicBezTo>
                          <a:cubicBezTo>
                            <a:pt x="115" y="37"/>
                            <a:pt x="115" y="38"/>
                            <a:pt x="115" y="38"/>
                          </a:cubicBezTo>
                          <a:cubicBezTo>
                            <a:pt x="114" y="38"/>
                            <a:pt x="114" y="38"/>
                            <a:pt x="114" y="38"/>
                          </a:cubicBezTo>
                          <a:cubicBezTo>
                            <a:pt x="114" y="38"/>
                            <a:pt x="114" y="37"/>
                            <a:pt x="115" y="37"/>
                          </a:cubicBezTo>
                          <a:cubicBezTo>
                            <a:pt x="115" y="38"/>
                            <a:pt x="115" y="37"/>
                            <a:pt x="115" y="37"/>
                          </a:cubicBezTo>
                          <a:close/>
                          <a:moveTo>
                            <a:pt x="114" y="37"/>
                          </a:moveTo>
                          <a:cubicBezTo>
                            <a:pt x="114" y="37"/>
                            <a:pt x="114" y="37"/>
                            <a:pt x="114" y="37"/>
                          </a:cubicBezTo>
                          <a:cubicBezTo>
                            <a:pt x="114" y="37"/>
                            <a:pt x="114" y="37"/>
                            <a:pt x="114" y="37"/>
                          </a:cubicBezTo>
                          <a:cubicBezTo>
                            <a:pt x="114" y="37"/>
                            <a:pt x="114" y="37"/>
                            <a:pt x="114" y="37"/>
                          </a:cubicBezTo>
                          <a:close/>
                          <a:moveTo>
                            <a:pt x="115" y="38"/>
                          </a:moveTo>
                          <a:cubicBezTo>
                            <a:pt x="115" y="38"/>
                            <a:pt x="115" y="38"/>
                            <a:pt x="115" y="38"/>
                          </a:cubicBezTo>
                          <a:cubicBezTo>
                            <a:pt x="114" y="38"/>
                            <a:pt x="115" y="38"/>
                            <a:pt x="115" y="38"/>
                          </a:cubicBezTo>
                          <a:cubicBezTo>
                            <a:pt x="115" y="38"/>
                            <a:pt x="115" y="38"/>
                            <a:pt x="115" y="38"/>
                          </a:cubicBezTo>
                          <a:cubicBezTo>
                            <a:pt x="115" y="38"/>
                            <a:pt x="115" y="38"/>
                            <a:pt x="115" y="38"/>
                          </a:cubicBezTo>
                          <a:close/>
                          <a:moveTo>
                            <a:pt x="118" y="41"/>
                          </a:moveTo>
                          <a:cubicBezTo>
                            <a:pt x="118" y="41"/>
                            <a:pt x="118" y="41"/>
                            <a:pt x="118" y="41"/>
                          </a:cubicBezTo>
                          <a:cubicBezTo>
                            <a:pt x="117" y="42"/>
                            <a:pt x="117" y="42"/>
                            <a:pt x="117" y="42"/>
                          </a:cubicBezTo>
                          <a:cubicBezTo>
                            <a:pt x="117" y="42"/>
                            <a:pt x="117" y="42"/>
                            <a:pt x="117" y="42"/>
                          </a:cubicBezTo>
                          <a:cubicBezTo>
                            <a:pt x="117" y="42"/>
                            <a:pt x="117" y="41"/>
                            <a:pt x="118" y="41"/>
                          </a:cubicBezTo>
                          <a:close/>
                          <a:moveTo>
                            <a:pt x="115" y="39"/>
                          </a:moveTo>
                          <a:cubicBezTo>
                            <a:pt x="115" y="38"/>
                            <a:pt x="116" y="38"/>
                            <a:pt x="116" y="38"/>
                          </a:cubicBezTo>
                          <a:cubicBezTo>
                            <a:pt x="116" y="38"/>
                            <a:pt x="115" y="39"/>
                            <a:pt x="115" y="39"/>
                          </a:cubicBezTo>
                          <a:close/>
                          <a:moveTo>
                            <a:pt x="115" y="38"/>
                          </a:moveTo>
                          <a:cubicBezTo>
                            <a:pt x="116" y="38"/>
                            <a:pt x="116" y="38"/>
                            <a:pt x="116" y="38"/>
                          </a:cubicBezTo>
                          <a:cubicBezTo>
                            <a:pt x="116" y="38"/>
                            <a:pt x="115" y="38"/>
                            <a:pt x="115" y="38"/>
                          </a:cubicBezTo>
                          <a:close/>
                          <a:moveTo>
                            <a:pt x="117" y="40"/>
                          </a:moveTo>
                          <a:cubicBezTo>
                            <a:pt x="118" y="40"/>
                            <a:pt x="118" y="40"/>
                            <a:pt x="118" y="40"/>
                          </a:cubicBezTo>
                          <a:cubicBezTo>
                            <a:pt x="118" y="40"/>
                            <a:pt x="118" y="39"/>
                            <a:pt x="118" y="39"/>
                          </a:cubicBezTo>
                          <a:cubicBezTo>
                            <a:pt x="118" y="39"/>
                            <a:pt x="118" y="39"/>
                            <a:pt x="118" y="40"/>
                          </a:cubicBezTo>
                          <a:cubicBezTo>
                            <a:pt x="118" y="40"/>
                            <a:pt x="118" y="40"/>
                            <a:pt x="118" y="39"/>
                          </a:cubicBezTo>
                          <a:cubicBezTo>
                            <a:pt x="118" y="40"/>
                            <a:pt x="118" y="40"/>
                            <a:pt x="118" y="40"/>
                          </a:cubicBezTo>
                          <a:cubicBezTo>
                            <a:pt x="118" y="40"/>
                            <a:pt x="119" y="39"/>
                            <a:pt x="119" y="39"/>
                          </a:cubicBezTo>
                          <a:cubicBezTo>
                            <a:pt x="119" y="39"/>
                            <a:pt x="119" y="39"/>
                            <a:pt x="119" y="40"/>
                          </a:cubicBezTo>
                          <a:cubicBezTo>
                            <a:pt x="118" y="39"/>
                            <a:pt x="118" y="40"/>
                            <a:pt x="118" y="40"/>
                          </a:cubicBezTo>
                          <a:cubicBezTo>
                            <a:pt x="118" y="40"/>
                            <a:pt x="118" y="40"/>
                            <a:pt x="118" y="40"/>
                          </a:cubicBezTo>
                          <a:cubicBezTo>
                            <a:pt x="118" y="40"/>
                            <a:pt x="118" y="40"/>
                            <a:pt x="118" y="40"/>
                          </a:cubicBezTo>
                          <a:cubicBezTo>
                            <a:pt x="118" y="40"/>
                            <a:pt x="118" y="40"/>
                            <a:pt x="118" y="40"/>
                          </a:cubicBezTo>
                          <a:cubicBezTo>
                            <a:pt x="117" y="40"/>
                            <a:pt x="118" y="40"/>
                            <a:pt x="118" y="40"/>
                          </a:cubicBezTo>
                          <a:cubicBezTo>
                            <a:pt x="118" y="40"/>
                            <a:pt x="118" y="40"/>
                            <a:pt x="117" y="40"/>
                          </a:cubicBezTo>
                          <a:cubicBezTo>
                            <a:pt x="117" y="40"/>
                            <a:pt x="117" y="40"/>
                            <a:pt x="117" y="40"/>
                          </a:cubicBezTo>
                          <a:cubicBezTo>
                            <a:pt x="117" y="40"/>
                            <a:pt x="117" y="40"/>
                            <a:pt x="117" y="40"/>
                          </a:cubicBezTo>
                          <a:close/>
                          <a:moveTo>
                            <a:pt x="118" y="37"/>
                          </a:moveTo>
                          <a:cubicBezTo>
                            <a:pt x="117" y="37"/>
                            <a:pt x="116" y="37"/>
                            <a:pt x="116" y="38"/>
                          </a:cubicBezTo>
                          <a:cubicBezTo>
                            <a:pt x="116" y="37"/>
                            <a:pt x="117" y="37"/>
                            <a:pt x="118" y="37"/>
                          </a:cubicBezTo>
                          <a:close/>
                          <a:moveTo>
                            <a:pt x="117" y="39"/>
                          </a:moveTo>
                          <a:cubicBezTo>
                            <a:pt x="117" y="39"/>
                            <a:pt x="117" y="39"/>
                            <a:pt x="117" y="39"/>
                          </a:cubicBezTo>
                          <a:cubicBezTo>
                            <a:pt x="117" y="39"/>
                            <a:pt x="117" y="39"/>
                            <a:pt x="117" y="39"/>
                          </a:cubicBezTo>
                          <a:close/>
                          <a:moveTo>
                            <a:pt x="116" y="35"/>
                          </a:moveTo>
                          <a:cubicBezTo>
                            <a:pt x="116" y="36"/>
                            <a:pt x="116" y="36"/>
                            <a:pt x="115" y="36"/>
                          </a:cubicBezTo>
                          <a:cubicBezTo>
                            <a:pt x="116" y="36"/>
                            <a:pt x="116" y="36"/>
                            <a:pt x="116" y="35"/>
                          </a:cubicBezTo>
                          <a:close/>
                          <a:moveTo>
                            <a:pt x="119" y="39"/>
                          </a:moveTo>
                          <a:cubicBezTo>
                            <a:pt x="119" y="39"/>
                            <a:pt x="118" y="39"/>
                            <a:pt x="118" y="39"/>
                          </a:cubicBezTo>
                          <a:cubicBezTo>
                            <a:pt x="118" y="39"/>
                            <a:pt x="119" y="39"/>
                            <a:pt x="119" y="39"/>
                          </a:cubicBezTo>
                          <a:close/>
                          <a:moveTo>
                            <a:pt x="118" y="38"/>
                          </a:moveTo>
                          <a:cubicBezTo>
                            <a:pt x="118" y="38"/>
                            <a:pt x="118" y="38"/>
                            <a:pt x="118" y="38"/>
                          </a:cubicBezTo>
                          <a:cubicBezTo>
                            <a:pt x="118" y="38"/>
                            <a:pt x="118" y="38"/>
                            <a:pt x="118" y="38"/>
                          </a:cubicBezTo>
                          <a:cubicBezTo>
                            <a:pt x="118" y="38"/>
                            <a:pt x="118" y="38"/>
                            <a:pt x="118" y="38"/>
                          </a:cubicBezTo>
                          <a:cubicBezTo>
                            <a:pt x="118" y="38"/>
                            <a:pt x="118" y="38"/>
                            <a:pt x="118" y="38"/>
                          </a:cubicBezTo>
                          <a:close/>
                          <a:moveTo>
                            <a:pt x="117" y="37"/>
                          </a:moveTo>
                          <a:cubicBezTo>
                            <a:pt x="118" y="37"/>
                            <a:pt x="118" y="37"/>
                            <a:pt x="118" y="37"/>
                          </a:cubicBezTo>
                          <a:cubicBezTo>
                            <a:pt x="118" y="37"/>
                            <a:pt x="118" y="37"/>
                            <a:pt x="118" y="37"/>
                          </a:cubicBezTo>
                          <a:cubicBezTo>
                            <a:pt x="118" y="37"/>
                            <a:pt x="118" y="37"/>
                            <a:pt x="118" y="37"/>
                          </a:cubicBezTo>
                          <a:cubicBezTo>
                            <a:pt x="118" y="37"/>
                            <a:pt x="117" y="37"/>
                            <a:pt x="117" y="37"/>
                          </a:cubicBezTo>
                          <a:close/>
                          <a:moveTo>
                            <a:pt x="117" y="35"/>
                          </a:moveTo>
                          <a:cubicBezTo>
                            <a:pt x="116" y="35"/>
                            <a:pt x="116" y="35"/>
                            <a:pt x="116" y="35"/>
                          </a:cubicBezTo>
                          <a:cubicBezTo>
                            <a:pt x="116" y="35"/>
                            <a:pt x="117" y="35"/>
                            <a:pt x="117" y="35"/>
                          </a:cubicBezTo>
                          <a:cubicBezTo>
                            <a:pt x="117" y="35"/>
                            <a:pt x="117" y="35"/>
                            <a:pt x="117" y="35"/>
                          </a:cubicBezTo>
                          <a:close/>
                          <a:moveTo>
                            <a:pt x="117" y="35"/>
                          </a:moveTo>
                          <a:cubicBezTo>
                            <a:pt x="117" y="35"/>
                            <a:pt x="117" y="35"/>
                            <a:pt x="117" y="35"/>
                          </a:cubicBezTo>
                          <a:cubicBezTo>
                            <a:pt x="117" y="35"/>
                            <a:pt x="117" y="35"/>
                            <a:pt x="117" y="35"/>
                          </a:cubicBezTo>
                          <a:close/>
                          <a:moveTo>
                            <a:pt x="117" y="35"/>
                          </a:moveTo>
                          <a:cubicBezTo>
                            <a:pt x="117" y="35"/>
                            <a:pt x="117" y="34"/>
                            <a:pt x="117" y="34"/>
                          </a:cubicBezTo>
                          <a:cubicBezTo>
                            <a:pt x="117" y="35"/>
                            <a:pt x="117" y="35"/>
                            <a:pt x="117" y="35"/>
                          </a:cubicBezTo>
                          <a:cubicBezTo>
                            <a:pt x="117" y="35"/>
                            <a:pt x="117" y="35"/>
                            <a:pt x="117" y="35"/>
                          </a:cubicBezTo>
                          <a:close/>
                          <a:moveTo>
                            <a:pt x="121" y="40"/>
                          </a:moveTo>
                          <a:cubicBezTo>
                            <a:pt x="121" y="40"/>
                            <a:pt x="120" y="40"/>
                            <a:pt x="120" y="40"/>
                          </a:cubicBezTo>
                          <a:cubicBezTo>
                            <a:pt x="120" y="40"/>
                            <a:pt x="121" y="40"/>
                            <a:pt x="121" y="40"/>
                          </a:cubicBezTo>
                          <a:close/>
                          <a:moveTo>
                            <a:pt x="121" y="39"/>
                          </a:moveTo>
                          <a:cubicBezTo>
                            <a:pt x="121" y="39"/>
                            <a:pt x="121" y="39"/>
                            <a:pt x="121" y="39"/>
                          </a:cubicBezTo>
                          <a:cubicBezTo>
                            <a:pt x="120" y="40"/>
                            <a:pt x="120" y="39"/>
                            <a:pt x="120" y="40"/>
                          </a:cubicBezTo>
                          <a:cubicBezTo>
                            <a:pt x="120" y="40"/>
                            <a:pt x="120" y="39"/>
                            <a:pt x="120" y="39"/>
                          </a:cubicBezTo>
                          <a:cubicBezTo>
                            <a:pt x="120" y="39"/>
                            <a:pt x="120" y="39"/>
                            <a:pt x="120" y="40"/>
                          </a:cubicBezTo>
                          <a:cubicBezTo>
                            <a:pt x="120" y="39"/>
                            <a:pt x="120" y="39"/>
                            <a:pt x="121" y="39"/>
                          </a:cubicBezTo>
                          <a:close/>
                          <a:moveTo>
                            <a:pt x="121" y="39"/>
                          </a:moveTo>
                          <a:cubicBezTo>
                            <a:pt x="121" y="39"/>
                            <a:pt x="120" y="40"/>
                            <a:pt x="121" y="39"/>
                          </a:cubicBezTo>
                          <a:cubicBezTo>
                            <a:pt x="121" y="39"/>
                            <a:pt x="121" y="39"/>
                            <a:pt x="121" y="39"/>
                          </a:cubicBezTo>
                          <a:cubicBezTo>
                            <a:pt x="121" y="39"/>
                            <a:pt x="121" y="39"/>
                            <a:pt x="121" y="39"/>
                          </a:cubicBezTo>
                          <a:close/>
                          <a:moveTo>
                            <a:pt x="121" y="39"/>
                          </a:moveTo>
                          <a:cubicBezTo>
                            <a:pt x="121" y="39"/>
                            <a:pt x="121" y="39"/>
                            <a:pt x="120" y="39"/>
                          </a:cubicBezTo>
                          <a:cubicBezTo>
                            <a:pt x="121" y="39"/>
                            <a:pt x="121" y="39"/>
                            <a:pt x="121" y="39"/>
                          </a:cubicBezTo>
                          <a:cubicBezTo>
                            <a:pt x="120" y="39"/>
                            <a:pt x="120" y="39"/>
                            <a:pt x="120" y="39"/>
                          </a:cubicBezTo>
                          <a:cubicBezTo>
                            <a:pt x="120" y="39"/>
                            <a:pt x="120" y="39"/>
                            <a:pt x="121" y="39"/>
                          </a:cubicBezTo>
                          <a:close/>
                          <a:moveTo>
                            <a:pt x="122" y="41"/>
                          </a:moveTo>
                          <a:cubicBezTo>
                            <a:pt x="122" y="41"/>
                            <a:pt x="122" y="42"/>
                            <a:pt x="122" y="42"/>
                          </a:cubicBezTo>
                          <a:cubicBezTo>
                            <a:pt x="122" y="42"/>
                            <a:pt x="122" y="41"/>
                            <a:pt x="122" y="41"/>
                          </a:cubicBezTo>
                          <a:close/>
                          <a:moveTo>
                            <a:pt x="119" y="36"/>
                          </a:moveTo>
                          <a:cubicBezTo>
                            <a:pt x="119" y="36"/>
                            <a:pt x="119" y="35"/>
                            <a:pt x="119" y="36"/>
                          </a:cubicBezTo>
                          <a:cubicBezTo>
                            <a:pt x="119" y="35"/>
                            <a:pt x="119" y="35"/>
                            <a:pt x="119" y="35"/>
                          </a:cubicBezTo>
                          <a:cubicBezTo>
                            <a:pt x="119" y="35"/>
                            <a:pt x="119" y="35"/>
                            <a:pt x="119" y="36"/>
                          </a:cubicBezTo>
                          <a:cubicBezTo>
                            <a:pt x="119" y="36"/>
                            <a:pt x="119" y="36"/>
                            <a:pt x="119" y="36"/>
                          </a:cubicBezTo>
                          <a:close/>
                          <a:moveTo>
                            <a:pt x="118" y="34"/>
                          </a:moveTo>
                          <a:cubicBezTo>
                            <a:pt x="118" y="34"/>
                            <a:pt x="118" y="34"/>
                            <a:pt x="119" y="34"/>
                          </a:cubicBezTo>
                          <a:cubicBezTo>
                            <a:pt x="119" y="34"/>
                            <a:pt x="118" y="34"/>
                            <a:pt x="118" y="34"/>
                          </a:cubicBezTo>
                          <a:close/>
                          <a:moveTo>
                            <a:pt x="118" y="34"/>
                          </a:moveTo>
                          <a:cubicBezTo>
                            <a:pt x="118" y="34"/>
                            <a:pt x="119" y="34"/>
                            <a:pt x="119" y="34"/>
                          </a:cubicBezTo>
                          <a:cubicBezTo>
                            <a:pt x="119" y="34"/>
                            <a:pt x="118" y="34"/>
                            <a:pt x="118" y="34"/>
                          </a:cubicBezTo>
                          <a:close/>
                          <a:moveTo>
                            <a:pt x="119" y="35"/>
                          </a:moveTo>
                          <a:cubicBezTo>
                            <a:pt x="119" y="35"/>
                            <a:pt x="120" y="35"/>
                            <a:pt x="120" y="35"/>
                          </a:cubicBezTo>
                          <a:cubicBezTo>
                            <a:pt x="120" y="35"/>
                            <a:pt x="119" y="35"/>
                            <a:pt x="119" y="35"/>
                          </a:cubicBezTo>
                          <a:close/>
                          <a:moveTo>
                            <a:pt x="119" y="34"/>
                          </a:moveTo>
                          <a:cubicBezTo>
                            <a:pt x="119" y="34"/>
                            <a:pt x="119" y="34"/>
                            <a:pt x="119" y="35"/>
                          </a:cubicBezTo>
                          <a:cubicBezTo>
                            <a:pt x="119" y="34"/>
                            <a:pt x="119" y="34"/>
                            <a:pt x="119" y="34"/>
                          </a:cubicBezTo>
                          <a:cubicBezTo>
                            <a:pt x="119" y="35"/>
                            <a:pt x="119" y="35"/>
                            <a:pt x="119" y="35"/>
                          </a:cubicBezTo>
                          <a:cubicBezTo>
                            <a:pt x="119" y="35"/>
                            <a:pt x="118" y="35"/>
                            <a:pt x="119" y="34"/>
                          </a:cubicBezTo>
                          <a:close/>
                          <a:moveTo>
                            <a:pt x="123" y="38"/>
                          </a:moveTo>
                          <a:cubicBezTo>
                            <a:pt x="123" y="38"/>
                            <a:pt x="123" y="38"/>
                            <a:pt x="123" y="38"/>
                          </a:cubicBezTo>
                          <a:cubicBezTo>
                            <a:pt x="123" y="38"/>
                            <a:pt x="123" y="38"/>
                            <a:pt x="122" y="38"/>
                          </a:cubicBezTo>
                          <a:cubicBezTo>
                            <a:pt x="122" y="38"/>
                            <a:pt x="123" y="38"/>
                            <a:pt x="122" y="38"/>
                          </a:cubicBezTo>
                          <a:cubicBezTo>
                            <a:pt x="122" y="38"/>
                            <a:pt x="123" y="38"/>
                            <a:pt x="123" y="38"/>
                          </a:cubicBezTo>
                          <a:close/>
                          <a:moveTo>
                            <a:pt x="123" y="38"/>
                          </a:moveTo>
                          <a:cubicBezTo>
                            <a:pt x="123" y="38"/>
                            <a:pt x="123" y="38"/>
                            <a:pt x="124" y="37"/>
                          </a:cubicBezTo>
                          <a:cubicBezTo>
                            <a:pt x="124" y="38"/>
                            <a:pt x="124" y="38"/>
                            <a:pt x="124" y="38"/>
                          </a:cubicBezTo>
                          <a:cubicBezTo>
                            <a:pt x="123" y="38"/>
                            <a:pt x="123" y="38"/>
                            <a:pt x="123" y="38"/>
                          </a:cubicBezTo>
                          <a:cubicBezTo>
                            <a:pt x="123" y="38"/>
                            <a:pt x="123" y="38"/>
                            <a:pt x="123" y="38"/>
                          </a:cubicBezTo>
                          <a:close/>
                          <a:moveTo>
                            <a:pt x="123" y="35"/>
                          </a:moveTo>
                          <a:cubicBezTo>
                            <a:pt x="123" y="35"/>
                            <a:pt x="123" y="35"/>
                            <a:pt x="123" y="35"/>
                          </a:cubicBezTo>
                          <a:cubicBezTo>
                            <a:pt x="123" y="35"/>
                            <a:pt x="123" y="35"/>
                            <a:pt x="123" y="35"/>
                          </a:cubicBezTo>
                          <a:close/>
                          <a:moveTo>
                            <a:pt x="126" y="40"/>
                          </a:moveTo>
                          <a:cubicBezTo>
                            <a:pt x="126" y="40"/>
                            <a:pt x="126" y="40"/>
                            <a:pt x="126" y="40"/>
                          </a:cubicBezTo>
                          <a:cubicBezTo>
                            <a:pt x="125" y="40"/>
                            <a:pt x="126" y="40"/>
                            <a:pt x="126" y="40"/>
                          </a:cubicBezTo>
                          <a:close/>
                          <a:moveTo>
                            <a:pt x="125" y="37"/>
                          </a:moveTo>
                          <a:cubicBezTo>
                            <a:pt x="124" y="37"/>
                            <a:pt x="124" y="37"/>
                            <a:pt x="124" y="37"/>
                          </a:cubicBezTo>
                          <a:cubicBezTo>
                            <a:pt x="125" y="37"/>
                            <a:pt x="125" y="37"/>
                            <a:pt x="125" y="37"/>
                          </a:cubicBezTo>
                          <a:close/>
                          <a:moveTo>
                            <a:pt x="126" y="36"/>
                          </a:moveTo>
                          <a:cubicBezTo>
                            <a:pt x="126" y="36"/>
                            <a:pt x="125" y="37"/>
                            <a:pt x="125" y="37"/>
                          </a:cubicBezTo>
                          <a:cubicBezTo>
                            <a:pt x="125" y="37"/>
                            <a:pt x="126" y="37"/>
                            <a:pt x="125" y="36"/>
                          </a:cubicBezTo>
                          <a:cubicBezTo>
                            <a:pt x="126" y="36"/>
                            <a:pt x="126" y="36"/>
                            <a:pt x="126" y="36"/>
                          </a:cubicBezTo>
                          <a:close/>
                          <a:moveTo>
                            <a:pt x="128" y="39"/>
                          </a:moveTo>
                          <a:cubicBezTo>
                            <a:pt x="128" y="39"/>
                            <a:pt x="128" y="39"/>
                            <a:pt x="128" y="39"/>
                          </a:cubicBezTo>
                          <a:cubicBezTo>
                            <a:pt x="128" y="39"/>
                            <a:pt x="128" y="39"/>
                            <a:pt x="128" y="39"/>
                          </a:cubicBezTo>
                          <a:cubicBezTo>
                            <a:pt x="127" y="39"/>
                            <a:pt x="128" y="39"/>
                            <a:pt x="128" y="39"/>
                          </a:cubicBezTo>
                          <a:close/>
                          <a:moveTo>
                            <a:pt x="126" y="36"/>
                          </a:moveTo>
                          <a:cubicBezTo>
                            <a:pt x="126" y="36"/>
                            <a:pt x="126" y="35"/>
                            <a:pt x="126" y="35"/>
                          </a:cubicBezTo>
                          <a:cubicBezTo>
                            <a:pt x="126" y="36"/>
                            <a:pt x="126" y="36"/>
                            <a:pt x="126" y="36"/>
                          </a:cubicBezTo>
                          <a:close/>
                          <a:moveTo>
                            <a:pt x="126" y="37"/>
                          </a:moveTo>
                          <a:cubicBezTo>
                            <a:pt x="126" y="36"/>
                            <a:pt x="126" y="36"/>
                            <a:pt x="127" y="36"/>
                          </a:cubicBezTo>
                          <a:cubicBezTo>
                            <a:pt x="127" y="36"/>
                            <a:pt x="126" y="36"/>
                            <a:pt x="126" y="37"/>
                          </a:cubicBezTo>
                          <a:close/>
                          <a:moveTo>
                            <a:pt x="126" y="36"/>
                          </a:moveTo>
                          <a:cubicBezTo>
                            <a:pt x="126" y="36"/>
                            <a:pt x="127" y="36"/>
                            <a:pt x="126" y="36"/>
                          </a:cubicBezTo>
                          <a:close/>
                          <a:moveTo>
                            <a:pt x="129" y="39"/>
                          </a:moveTo>
                          <a:cubicBezTo>
                            <a:pt x="129" y="39"/>
                            <a:pt x="129" y="39"/>
                            <a:pt x="129" y="39"/>
                          </a:cubicBezTo>
                          <a:cubicBezTo>
                            <a:pt x="129" y="39"/>
                            <a:pt x="130" y="39"/>
                            <a:pt x="129" y="39"/>
                          </a:cubicBezTo>
                          <a:close/>
                          <a:moveTo>
                            <a:pt x="127" y="33"/>
                          </a:moveTo>
                          <a:cubicBezTo>
                            <a:pt x="127" y="34"/>
                            <a:pt x="126" y="34"/>
                            <a:pt x="126" y="34"/>
                          </a:cubicBezTo>
                          <a:cubicBezTo>
                            <a:pt x="126" y="34"/>
                            <a:pt x="126" y="33"/>
                            <a:pt x="127" y="33"/>
                          </a:cubicBezTo>
                          <a:close/>
                          <a:moveTo>
                            <a:pt x="128" y="32"/>
                          </a:moveTo>
                          <a:cubicBezTo>
                            <a:pt x="128" y="32"/>
                            <a:pt x="128" y="32"/>
                            <a:pt x="128" y="32"/>
                          </a:cubicBezTo>
                          <a:cubicBezTo>
                            <a:pt x="127" y="32"/>
                            <a:pt x="128" y="31"/>
                            <a:pt x="128" y="32"/>
                          </a:cubicBezTo>
                          <a:close/>
                          <a:moveTo>
                            <a:pt x="131" y="35"/>
                          </a:moveTo>
                          <a:cubicBezTo>
                            <a:pt x="130" y="36"/>
                            <a:pt x="130" y="36"/>
                            <a:pt x="130" y="36"/>
                          </a:cubicBezTo>
                          <a:cubicBezTo>
                            <a:pt x="130" y="35"/>
                            <a:pt x="131" y="35"/>
                            <a:pt x="131" y="35"/>
                          </a:cubicBezTo>
                          <a:close/>
                          <a:moveTo>
                            <a:pt x="131" y="34"/>
                          </a:moveTo>
                          <a:cubicBezTo>
                            <a:pt x="131" y="34"/>
                            <a:pt x="130" y="34"/>
                            <a:pt x="130" y="34"/>
                          </a:cubicBezTo>
                          <a:cubicBezTo>
                            <a:pt x="130" y="34"/>
                            <a:pt x="130" y="34"/>
                            <a:pt x="131" y="34"/>
                          </a:cubicBezTo>
                          <a:close/>
                          <a:moveTo>
                            <a:pt x="128" y="30"/>
                          </a:moveTo>
                          <a:cubicBezTo>
                            <a:pt x="128" y="30"/>
                            <a:pt x="128" y="30"/>
                            <a:pt x="128" y="30"/>
                          </a:cubicBezTo>
                          <a:cubicBezTo>
                            <a:pt x="128" y="30"/>
                            <a:pt x="128" y="30"/>
                            <a:pt x="128" y="30"/>
                          </a:cubicBezTo>
                          <a:cubicBezTo>
                            <a:pt x="128" y="30"/>
                            <a:pt x="128" y="30"/>
                            <a:pt x="128" y="30"/>
                          </a:cubicBezTo>
                          <a:close/>
                          <a:moveTo>
                            <a:pt x="129" y="31"/>
                          </a:moveTo>
                          <a:cubicBezTo>
                            <a:pt x="129" y="31"/>
                            <a:pt x="129" y="31"/>
                            <a:pt x="129" y="31"/>
                          </a:cubicBezTo>
                          <a:cubicBezTo>
                            <a:pt x="130" y="31"/>
                            <a:pt x="129" y="31"/>
                            <a:pt x="129" y="31"/>
                          </a:cubicBezTo>
                          <a:close/>
                          <a:moveTo>
                            <a:pt x="129" y="29"/>
                          </a:moveTo>
                          <a:cubicBezTo>
                            <a:pt x="128" y="29"/>
                            <a:pt x="128" y="29"/>
                            <a:pt x="128" y="29"/>
                          </a:cubicBezTo>
                          <a:cubicBezTo>
                            <a:pt x="129" y="29"/>
                            <a:pt x="129" y="29"/>
                            <a:pt x="129" y="29"/>
                          </a:cubicBezTo>
                          <a:cubicBezTo>
                            <a:pt x="129" y="29"/>
                            <a:pt x="128" y="29"/>
                            <a:pt x="129" y="29"/>
                          </a:cubicBezTo>
                          <a:close/>
                          <a:moveTo>
                            <a:pt x="133" y="34"/>
                          </a:moveTo>
                          <a:cubicBezTo>
                            <a:pt x="132" y="35"/>
                            <a:pt x="132" y="35"/>
                            <a:pt x="132" y="35"/>
                          </a:cubicBezTo>
                          <a:cubicBezTo>
                            <a:pt x="132" y="34"/>
                            <a:pt x="133" y="34"/>
                            <a:pt x="133" y="34"/>
                          </a:cubicBezTo>
                          <a:close/>
                          <a:moveTo>
                            <a:pt x="129" y="28"/>
                          </a:moveTo>
                          <a:cubicBezTo>
                            <a:pt x="129" y="27"/>
                            <a:pt x="129" y="28"/>
                            <a:pt x="129" y="28"/>
                          </a:cubicBezTo>
                          <a:cubicBezTo>
                            <a:pt x="129" y="28"/>
                            <a:pt x="129" y="27"/>
                            <a:pt x="129" y="28"/>
                          </a:cubicBezTo>
                          <a:close/>
                          <a:moveTo>
                            <a:pt x="130" y="30"/>
                          </a:moveTo>
                          <a:cubicBezTo>
                            <a:pt x="130" y="30"/>
                            <a:pt x="130" y="30"/>
                            <a:pt x="131" y="30"/>
                          </a:cubicBezTo>
                          <a:cubicBezTo>
                            <a:pt x="131" y="30"/>
                            <a:pt x="130" y="30"/>
                            <a:pt x="130" y="30"/>
                          </a:cubicBezTo>
                          <a:close/>
                          <a:moveTo>
                            <a:pt x="137" y="31"/>
                          </a:moveTo>
                          <a:cubicBezTo>
                            <a:pt x="137" y="31"/>
                            <a:pt x="137" y="31"/>
                            <a:pt x="137" y="31"/>
                          </a:cubicBezTo>
                          <a:cubicBezTo>
                            <a:pt x="138" y="31"/>
                            <a:pt x="137" y="31"/>
                            <a:pt x="137" y="31"/>
                          </a:cubicBezTo>
                          <a:close/>
                          <a:moveTo>
                            <a:pt x="141" y="24"/>
                          </a:moveTo>
                          <a:cubicBezTo>
                            <a:pt x="141" y="24"/>
                            <a:pt x="141" y="24"/>
                            <a:pt x="141" y="23"/>
                          </a:cubicBezTo>
                          <a:cubicBezTo>
                            <a:pt x="141" y="24"/>
                            <a:pt x="141" y="24"/>
                            <a:pt x="141" y="24"/>
                          </a:cubicBezTo>
                          <a:close/>
                          <a:moveTo>
                            <a:pt x="143" y="27"/>
                          </a:moveTo>
                          <a:cubicBezTo>
                            <a:pt x="143" y="26"/>
                            <a:pt x="144" y="26"/>
                            <a:pt x="144" y="26"/>
                          </a:cubicBezTo>
                          <a:cubicBezTo>
                            <a:pt x="144" y="26"/>
                            <a:pt x="144" y="26"/>
                            <a:pt x="143" y="27"/>
                          </a:cubicBezTo>
                          <a:close/>
                          <a:moveTo>
                            <a:pt x="142" y="22"/>
                          </a:moveTo>
                          <a:cubicBezTo>
                            <a:pt x="142" y="22"/>
                            <a:pt x="143" y="22"/>
                            <a:pt x="143" y="22"/>
                          </a:cubicBezTo>
                          <a:cubicBezTo>
                            <a:pt x="143" y="22"/>
                            <a:pt x="143" y="22"/>
                            <a:pt x="143" y="22"/>
                          </a:cubicBezTo>
                          <a:cubicBezTo>
                            <a:pt x="143" y="23"/>
                            <a:pt x="143" y="22"/>
                            <a:pt x="142" y="23"/>
                          </a:cubicBezTo>
                          <a:cubicBezTo>
                            <a:pt x="142" y="22"/>
                            <a:pt x="142" y="22"/>
                            <a:pt x="142" y="22"/>
                          </a:cubicBezTo>
                          <a:close/>
                          <a:moveTo>
                            <a:pt x="147" y="20"/>
                          </a:moveTo>
                          <a:cubicBezTo>
                            <a:pt x="147" y="20"/>
                            <a:pt x="147" y="20"/>
                            <a:pt x="148" y="20"/>
                          </a:cubicBezTo>
                          <a:cubicBezTo>
                            <a:pt x="147" y="20"/>
                            <a:pt x="147" y="20"/>
                            <a:pt x="147" y="20"/>
                          </a:cubicBezTo>
                          <a:close/>
                          <a:moveTo>
                            <a:pt x="148" y="18"/>
                          </a:moveTo>
                          <a:cubicBezTo>
                            <a:pt x="148" y="18"/>
                            <a:pt x="148" y="18"/>
                            <a:pt x="149" y="17"/>
                          </a:cubicBezTo>
                          <a:cubicBezTo>
                            <a:pt x="149" y="18"/>
                            <a:pt x="148" y="18"/>
                            <a:pt x="148" y="18"/>
                          </a:cubicBezTo>
                          <a:close/>
                          <a:moveTo>
                            <a:pt x="150" y="17"/>
                          </a:moveTo>
                          <a:cubicBezTo>
                            <a:pt x="150" y="17"/>
                            <a:pt x="150" y="17"/>
                            <a:pt x="150" y="17"/>
                          </a:cubicBezTo>
                          <a:cubicBezTo>
                            <a:pt x="150" y="16"/>
                            <a:pt x="151" y="17"/>
                            <a:pt x="150" y="17"/>
                          </a:cubicBezTo>
                          <a:close/>
                          <a:moveTo>
                            <a:pt x="151" y="17"/>
                          </a:moveTo>
                          <a:cubicBezTo>
                            <a:pt x="151" y="17"/>
                            <a:pt x="151" y="16"/>
                            <a:pt x="151" y="16"/>
                          </a:cubicBezTo>
                          <a:cubicBezTo>
                            <a:pt x="151" y="16"/>
                            <a:pt x="151" y="16"/>
                            <a:pt x="151" y="16"/>
                          </a:cubicBezTo>
                          <a:cubicBezTo>
                            <a:pt x="151" y="16"/>
                            <a:pt x="151" y="17"/>
                            <a:pt x="151" y="17"/>
                          </a:cubicBezTo>
                          <a:close/>
                          <a:moveTo>
                            <a:pt x="152" y="17"/>
                          </a:moveTo>
                          <a:cubicBezTo>
                            <a:pt x="152" y="17"/>
                            <a:pt x="152" y="17"/>
                            <a:pt x="152" y="17"/>
                          </a:cubicBezTo>
                          <a:cubicBezTo>
                            <a:pt x="152" y="17"/>
                            <a:pt x="152" y="17"/>
                            <a:pt x="151" y="17"/>
                          </a:cubicBezTo>
                          <a:cubicBezTo>
                            <a:pt x="151" y="17"/>
                            <a:pt x="152" y="17"/>
                            <a:pt x="152" y="17"/>
                          </a:cubicBezTo>
                          <a:close/>
                          <a:moveTo>
                            <a:pt x="154" y="18"/>
                          </a:moveTo>
                          <a:cubicBezTo>
                            <a:pt x="154" y="18"/>
                            <a:pt x="154" y="18"/>
                            <a:pt x="154" y="18"/>
                          </a:cubicBezTo>
                          <a:cubicBezTo>
                            <a:pt x="153" y="18"/>
                            <a:pt x="154" y="18"/>
                            <a:pt x="154" y="18"/>
                          </a:cubicBezTo>
                          <a:close/>
                          <a:moveTo>
                            <a:pt x="155" y="14"/>
                          </a:moveTo>
                          <a:cubicBezTo>
                            <a:pt x="156" y="14"/>
                            <a:pt x="156" y="14"/>
                            <a:pt x="155" y="14"/>
                          </a:cubicBezTo>
                          <a:cubicBezTo>
                            <a:pt x="154" y="15"/>
                            <a:pt x="154" y="15"/>
                            <a:pt x="153" y="15"/>
                          </a:cubicBezTo>
                          <a:cubicBezTo>
                            <a:pt x="154" y="15"/>
                            <a:pt x="154" y="14"/>
                            <a:pt x="155" y="14"/>
                          </a:cubicBezTo>
                          <a:close/>
                          <a:moveTo>
                            <a:pt x="156" y="17"/>
                          </a:moveTo>
                          <a:cubicBezTo>
                            <a:pt x="156" y="17"/>
                            <a:pt x="156" y="17"/>
                            <a:pt x="155" y="17"/>
                          </a:cubicBezTo>
                          <a:cubicBezTo>
                            <a:pt x="155" y="17"/>
                            <a:pt x="156" y="17"/>
                            <a:pt x="156" y="17"/>
                          </a:cubicBezTo>
                          <a:close/>
                          <a:moveTo>
                            <a:pt x="156" y="14"/>
                          </a:moveTo>
                          <a:cubicBezTo>
                            <a:pt x="156" y="13"/>
                            <a:pt x="157" y="13"/>
                            <a:pt x="158" y="13"/>
                          </a:cubicBezTo>
                          <a:cubicBezTo>
                            <a:pt x="157" y="13"/>
                            <a:pt x="156" y="13"/>
                            <a:pt x="156" y="14"/>
                          </a:cubicBezTo>
                          <a:close/>
                          <a:moveTo>
                            <a:pt x="159" y="11"/>
                          </a:moveTo>
                          <a:cubicBezTo>
                            <a:pt x="159" y="11"/>
                            <a:pt x="159" y="11"/>
                            <a:pt x="159" y="11"/>
                          </a:cubicBezTo>
                          <a:cubicBezTo>
                            <a:pt x="159" y="11"/>
                            <a:pt x="159" y="11"/>
                            <a:pt x="159" y="11"/>
                          </a:cubicBezTo>
                          <a:cubicBezTo>
                            <a:pt x="159" y="11"/>
                            <a:pt x="159" y="11"/>
                            <a:pt x="159" y="11"/>
                          </a:cubicBezTo>
                          <a:close/>
                          <a:moveTo>
                            <a:pt x="159" y="11"/>
                          </a:moveTo>
                          <a:cubicBezTo>
                            <a:pt x="159" y="11"/>
                            <a:pt x="160" y="11"/>
                            <a:pt x="160" y="11"/>
                          </a:cubicBezTo>
                          <a:cubicBezTo>
                            <a:pt x="160" y="11"/>
                            <a:pt x="160" y="11"/>
                            <a:pt x="159" y="11"/>
                          </a:cubicBezTo>
                          <a:close/>
                          <a:moveTo>
                            <a:pt x="161" y="12"/>
                          </a:moveTo>
                          <a:cubicBezTo>
                            <a:pt x="161" y="12"/>
                            <a:pt x="161" y="12"/>
                            <a:pt x="161" y="12"/>
                          </a:cubicBezTo>
                          <a:cubicBezTo>
                            <a:pt x="160" y="12"/>
                            <a:pt x="161" y="12"/>
                            <a:pt x="160" y="12"/>
                          </a:cubicBezTo>
                          <a:cubicBezTo>
                            <a:pt x="160" y="12"/>
                            <a:pt x="160" y="12"/>
                            <a:pt x="160" y="12"/>
                          </a:cubicBezTo>
                          <a:cubicBezTo>
                            <a:pt x="160" y="12"/>
                            <a:pt x="160" y="12"/>
                            <a:pt x="160" y="12"/>
                          </a:cubicBezTo>
                          <a:cubicBezTo>
                            <a:pt x="160" y="12"/>
                            <a:pt x="161" y="12"/>
                            <a:pt x="160" y="12"/>
                          </a:cubicBezTo>
                          <a:lnTo>
                            <a:pt x="161" y="12"/>
                          </a:lnTo>
                          <a:close/>
                          <a:moveTo>
                            <a:pt x="163" y="16"/>
                          </a:moveTo>
                          <a:cubicBezTo>
                            <a:pt x="163" y="16"/>
                            <a:pt x="163" y="16"/>
                            <a:pt x="162" y="16"/>
                          </a:cubicBezTo>
                          <a:cubicBezTo>
                            <a:pt x="162" y="16"/>
                            <a:pt x="163" y="16"/>
                            <a:pt x="163" y="16"/>
                          </a:cubicBezTo>
                          <a:close/>
                          <a:moveTo>
                            <a:pt x="162" y="12"/>
                          </a:moveTo>
                          <a:cubicBezTo>
                            <a:pt x="162" y="12"/>
                            <a:pt x="161" y="12"/>
                            <a:pt x="161" y="12"/>
                          </a:cubicBezTo>
                          <a:cubicBezTo>
                            <a:pt x="161" y="12"/>
                            <a:pt x="162" y="12"/>
                            <a:pt x="162" y="12"/>
                          </a:cubicBezTo>
                          <a:close/>
                          <a:moveTo>
                            <a:pt x="161" y="11"/>
                          </a:moveTo>
                          <a:cubicBezTo>
                            <a:pt x="161" y="11"/>
                            <a:pt x="161" y="11"/>
                            <a:pt x="161" y="11"/>
                          </a:cubicBezTo>
                          <a:cubicBezTo>
                            <a:pt x="161" y="11"/>
                            <a:pt x="161" y="11"/>
                            <a:pt x="161" y="11"/>
                          </a:cubicBezTo>
                          <a:close/>
                          <a:moveTo>
                            <a:pt x="161" y="11"/>
                          </a:moveTo>
                          <a:cubicBezTo>
                            <a:pt x="161" y="11"/>
                            <a:pt x="161" y="11"/>
                            <a:pt x="161" y="11"/>
                          </a:cubicBezTo>
                          <a:cubicBezTo>
                            <a:pt x="161" y="11"/>
                            <a:pt x="162" y="11"/>
                            <a:pt x="162" y="11"/>
                          </a:cubicBezTo>
                          <a:cubicBezTo>
                            <a:pt x="162" y="11"/>
                            <a:pt x="161" y="11"/>
                            <a:pt x="161" y="11"/>
                          </a:cubicBezTo>
                          <a:close/>
                          <a:moveTo>
                            <a:pt x="163" y="11"/>
                          </a:moveTo>
                          <a:cubicBezTo>
                            <a:pt x="163" y="11"/>
                            <a:pt x="163" y="12"/>
                            <a:pt x="162" y="12"/>
                          </a:cubicBezTo>
                          <a:cubicBezTo>
                            <a:pt x="163" y="11"/>
                            <a:pt x="163" y="11"/>
                            <a:pt x="163" y="11"/>
                          </a:cubicBezTo>
                          <a:close/>
                          <a:moveTo>
                            <a:pt x="162" y="11"/>
                          </a:moveTo>
                          <a:cubicBezTo>
                            <a:pt x="162" y="11"/>
                            <a:pt x="163" y="11"/>
                            <a:pt x="163" y="11"/>
                          </a:cubicBezTo>
                          <a:cubicBezTo>
                            <a:pt x="163" y="11"/>
                            <a:pt x="163" y="11"/>
                            <a:pt x="162" y="11"/>
                          </a:cubicBezTo>
                          <a:close/>
                          <a:moveTo>
                            <a:pt x="163" y="10"/>
                          </a:moveTo>
                          <a:cubicBezTo>
                            <a:pt x="163" y="10"/>
                            <a:pt x="162" y="11"/>
                            <a:pt x="162" y="11"/>
                          </a:cubicBezTo>
                          <a:cubicBezTo>
                            <a:pt x="162" y="10"/>
                            <a:pt x="162" y="11"/>
                            <a:pt x="162" y="10"/>
                          </a:cubicBezTo>
                          <a:cubicBezTo>
                            <a:pt x="162" y="10"/>
                            <a:pt x="163" y="10"/>
                            <a:pt x="162" y="10"/>
                          </a:cubicBezTo>
                          <a:cubicBezTo>
                            <a:pt x="163" y="10"/>
                            <a:pt x="162" y="11"/>
                            <a:pt x="163" y="10"/>
                          </a:cubicBezTo>
                          <a:close/>
                          <a:moveTo>
                            <a:pt x="163" y="9"/>
                          </a:moveTo>
                          <a:cubicBezTo>
                            <a:pt x="163" y="9"/>
                            <a:pt x="163" y="9"/>
                            <a:pt x="163" y="9"/>
                          </a:cubicBezTo>
                          <a:cubicBezTo>
                            <a:pt x="163" y="9"/>
                            <a:pt x="163" y="9"/>
                            <a:pt x="163" y="9"/>
                          </a:cubicBezTo>
                          <a:close/>
                          <a:moveTo>
                            <a:pt x="167" y="14"/>
                          </a:moveTo>
                          <a:cubicBezTo>
                            <a:pt x="167" y="14"/>
                            <a:pt x="166" y="14"/>
                            <a:pt x="166" y="14"/>
                          </a:cubicBezTo>
                          <a:cubicBezTo>
                            <a:pt x="166" y="14"/>
                            <a:pt x="166" y="14"/>
                            <a:pt x="167" y="14"/>
                          </a:cubicBezTo>
                          <a:close/>
                          <a:moveTo>
                            <a:pt x="168" y="13"/>
                          </a:moveTo>
                          <a:cubicBezTo>
                            <a:pt x="168" y="13"/>
                            <a:pt x="168" y="13"/>
                            <a:pt x="168" y="13"/>
                          </a:cubicBezTo>
                          <a:cubicBezTo>
                            <a:pt x="168" y="13"/>
                            <a:pt x="168" y="13"/>
                            <a:pt x="168" y="13"/>
                          </a:cubicBezTo>
                          <a:close/>
                          <a:moveTo>
                            <a:pt x="166" y="8"/>
                          </a:moveTo>
                          <a:cubicBezTo>
                            <a:pt x="167" y="8"/>
                            <a:pt x="168" y="7"/>
                            <a:pt x="169" y="7"/>
                          </a:cubicBezTo>
                          <a:cubicBezTo>
                            <a:pt x="170" y="6"/>
                            <a:pt x="171" y="5"/>
                            <a:pt x="172" y="5"/>
                          </a:cubicBezTo>
                          <a:cubicBezTo>
                            <a:pt x="170" y="6"/>
                            <a:pt x="168" y="7"/>
                            <a:pt x="166" y="8"/>
                          </a:cubicBezTo>
                          <a:close/>
                          <a:moveTo>
                            <a:pt x="166" y="7"/>
                          </a:moveTo>
                          <a:cubicBezTo>
                            <a:pt x="167" y="6"/>
                            <a:pt x="167" y="6"/>
                            <a:pt x="167" y="6"/>
                          </a:cubicBezTo>
                          <a:cubicBezTo>
                            <a:pt x="167" y="7"/>
                            <a:pt x="166" y="7"/>
                            <a:pt x="166" y="7"/>
                          </a:cubicBezTo>
                          <a:close/>
                          <a:moveTo>
                            <a:pt x="168" y="9"/>
                          </a:moveTo>
                          <a:cubicBezTo>
                            <a:pt x="168" y="9"/>
                            <a:pt x="169" y="8"/>
                            <a:pt x="168" y="9"/>
                          </a:cubicBezTo>
                          <a:cubicBezTo>
                            <a:pt x="169" y="8"/>
                            <a:pt x="168" y="8"/>
                            <a:pt x="169" y="8"/>
                          </a:cubicBezTo>
                          <a:cubicBezTo>
                            <a:pt x="169" y="8"/>
                            <a:pt x="169" y="9"/>
                            <a:pt x="168" y="9"/>
                          </a:cubicBezTo>
                          <a:close/>
                          <a:moveTo>
                            <a:pt x="167" y="6"/>
                          </a:moveTo>
                          <a:cubicBezTo>
                            <a:pt x="167" y="6"/>
                            <a:pt x="167" y="6"/>
                            <a:pt x="167" y="6"/>
                          </a:cubicBezTo>
                          <a:cubicBezTo>
                            <a:pt x="167" y="6"/>
                            <a:pt x="167" y="6"/>
                            <a:pt x="167" y="6"/>
                          </a:cubicBezTo>
                          <a:close/>
                          <a:moveTo>
                            <a:pt x="168" y="6"/>
                          </a:moveTo>
                          <a:cubicBezTo>
                            <a:pt x="168" y="6"/>
                            <a:pt x="168" y="7"/>
                            <a:pt x="167" y="7"/>
                          </a:cubicBezTo>
                          <a:cubicBezTo>
                            <a:pt x="168" y="6"/>
                            <a:pt x="168" y="6"/>
                            <a:pt x="168" y="6"/>
                          </a:cubicBezTo>
                          <a:close/>
                          <a:moveTo>
                            <a:pt x="168" y="6"/>
                          </a:moveTo>
                          <a:cubicBezTo>
                            <a:pt x="168" y="6"/>
                            <a:pt x="168" y="6"/>
                            <a:pt x="169" y="5"/>
                          </a:cubicBezTo>
                          <a:cubicBezTo>
                            <a:pt x="169" y="5"/>
                            <a:pt x="169" y="5"/>
                            <a:pt x="168" y="6"/>
                          </a:cubicBezTo>
                          <a:cubicBezTo>
                            <a:pt x="169" y="6"/>
                            <a:pt x="168" y="6"/>
                            <a:pt x="168" y="6"/>
                          </a:cubicBezTo>
                          <a:close/>
                          <a:moveTo>
                            <a:pt x="170" y="8"/>
                          </a:moveTo>
                          <a:cubicBezTo>
                            <a:pt x="170" y="8"/>
                            <a:pt x="169" y="8"/>
                            <a:pt x="169" y="8"/>
                          </a:cubicBezTo>
                          <a:cubicBezTo>
                            <a:pt x="169" y="8"/>
                            <a:pt x="170" y="8"/>
                            <a:pt x="170" y="8"/>
                          </a:cubicBezTo>
                          <a:close/>
                          <a:moveTo>
                            <a:pt x="173" y="11"/>
                          </a:moveTo>
                          <a:cubicBezTo>
                            <a:pt x="173" y="11"/>
                            <a:pt x="173" y="11"/>
                            <a:pt x="174" y="11"/>
                          </a:cubicBezTo>
                          <a:cubicBezTo>
                            <a:pt x="174" y="11"/>
                            <a:pt x="173" y="11"/>
                            <a:pt x="173" y="11"/>
                          </a:cubicBezTo>
                          <a:close/>
                          <a:moveTo>
                            <a:pt x="172" y="7"/>
                          </a:moveTo>
                          <a:cubicBezTo>
                            <a:pt x="172" y="7"/>
                            <a:pt x="172" y="7"/>
                            <a:pt x="172" y="7"/>
                          </a:cubicBezTo>
                          <a:cubicBezTo>
                            <a:pt x="172" y="7"/>
                            <a:pt x="172" y="7"/>
                            <a:pt x="172" y="7"/>
                          </a:cubicBezTo>
                          <a:cubicBezTo>
                            <a:pt x="172" y="7"/>
                            <a:pt x="172" y="7"/>
                            <a:pt x="172" y="7"/>
                          </a:cubicBezTo>
                          <a:close/>
                          <a:moveTo>
                            <a:pt x="172" y="7"/>
                          </a:moveTo>
                          <a:cubicBezTo>
                            <a:pt x="172" y="7"/>
                            <a:pt x="172" y="7"/>
                            <a:pt x="172" y="7"/>
                          </a:cubicBezTo>
                          <a:cubicBezTo>
                            <a:pt x="172" y="6"/>
                            <a:pt x="172" y="6"/>
                            <a:pt x="172" y="6"/>
                          </a:cubicBezTo>
                          <a:cubicBezTo>
                            <a:pt x="172" y="6"/>
                            <a:pt x="173" y="6"/>
                            <a:pt x="173" y="6"/>
                          </a:cubicBezTo>
                          <a:cubicBezTo>
                            <a:pt x="173" y="6"/>
                            <a:pt x="172" y="6"/>
                            <a:pt x="172" y="7"/>
                          </a:cubicBezTo>
                          <a:close/>
                          <a:moveTo>
                            <a:pt x="173" y="6"/>
                          </a:moveTo>
                          <a:cubicBezTo>
                            <a:pt x="173" y="6"/>
                            <a:pt x="173" y="6"/>
                            <a:pt x="173" y="6"/>
                          </a:cubicBezTo>
                          <a:cubicBezTo>
                            <a:pt x="173" y="6"/>
                            <a:pt x="173" y="6"/>
                            <a:pt x="174" y="6"/>
                          </a:cubicBezTo>
                          <a:cubicBezTo>
                            <a:pt x="173" y="6"/>
                            <a:pt x="173" y="6"/>
                            <a:pt x="173" y="6"/>
                          </a:cubicBezTo>
                          <a:close/>
                          <a:moveTo>
                            <a:pt x="172" y="3"/>
                          </a:moveTo>
                          <a:cubicBezTo>
                            <a:pt x="172" y="3"/>
                            <a:pt x="172" y="4"/>
                            <a:pt x="172" y="4"/>
                          </a:cubicBezTo>
                          <a:cubicBezTo>
                            <a:pt x="172" y="4"/>
                            <a:pt x="172" y="3"/>
                            <a:pt x="172" y="3"/>
                          </a:cubicBezTo>
                          <a:close/>
                          <a:moveTo>
                            <a:pt x="177" y="9"/>
                          </a:moveTo>
                          <a:cubicBezTo>
                            <a:pt x="177" y="10"/>
                            <a:pt x="176" y="10"/>
                            <a:pt x="176" y="10"/>
                          </a:cubicBezTo>
                          <a:cubicBezTo>
                            <a:pt x="176" y="10"/>
                            <a:pt x="176" y="10"/>
                            <a:pt x="177" y="9"/>
                          </a:cubicBezTo>
                          <a:close/>
                          <a:moveTo>
                            <a:pt x="173" y="5"/>
                          </a:moveTo>
                          <a:cubicBezTo>
                            <a:pt x="174" y="5"/>
                            <a:pt x="174" y="5"/>
                            <a:pt x="174" y="5"/>
                          </a:cubicBezTo>
                          <a:cubicBezTo>
                            <a:pt x="174" y="5"/>
                            <a:pt x="174" y="5"/>
                            <a:pt x="174" y="5"/>
                          </a:cubicBezTo>
                          <a:cubicBezTo>
                            <a:pt x="174" y="5"/>
                            <a:pt x="174" y="5"/>
                            <a:pt x="174" y="5"/>
                          </a:cubicBezTo>
                          <a:cubicBezTo>
                            <a:pt x="174" y="5"/>
                            <a:pt x="174" y="5"/>
                            <a:pt x="174" y="6"/>
                          </a:cubicBezTo>
                          <a:cubicBezTo>
                            <a:pt x="173" y="5"/>
                            <a:pt x="174" y="5"/>
                            <a:pt x="173" y="5"/>
                          </a:cubicBezTo>
                          <a:close/>
                          <a:moveTo>
                            <a:pt x="173" y="3"/>
                          </a:moveTo>
                          <a:cubicBezTo>
                            <a:pt x="173" y="3"/>
                            <a:pt x="173" y="3"/>
                            <a:pt x="174" y="2"/>
                          </a:cubicBezTo>
                          <a:cubicBezTo>
                            <a:pt x="173" y="3"/>
                            <a:pt x="173" y="3"/>
                            <a:pt x="173" y="3"/>
                          </a:cubicBezTo>
                          <a:close/>
                          <a:moveTo>
                            <a:pt x="173" y="4"/>
                          </a:moveTo>
                          <a:cubicBezTo>
                            <a:pt x="173" y="4"/>
                            <a:pt x="174" y="4"/>
                            <a:pt x="174" y="4"/>
                          </a:cubicBezTo>
                          <a:cubicBezTo>
                            <a:pt x="174" y="4"/>
                            <a:pt x="174" y="4"/>
                            <a:pt x="173" y="4"/>
                          </a:cubicBezTo>
                          <a:close/>
                          <a:moveTo>
                            <a:pt x="176" y="9"/>
                          </a:moveTo>
                          <a:cubicBezTo>
                            <a:pt x="177" y="9"/>
                            <a:pt x="177" y="9"/>
                            <a:pt x="178" y="9"/>
                          </a:cubicBezTo>
                          <a:cubicBezTo>
                            <a:pt x="177" y="9"/>
                            <a:pt x="177" y="9"/>
                            <a:pt x="176" y="9"/>
                          </a:cubicBezTo>
                          <a:close/>
                          <a:moveTo>
                            <a:pt x="176" y="6"/>
                          </a:moveTo>
                          <a:cubicBezTo>
                            <a:pt x="176" y="7"/>
                            <a:pt x="176" y="7"/>
                            <a:pt x="175" y="7"/>
                          </a:cubicBezTo>
                          <a:cubicBezTo>
                            <a:pt x="175" y="7"/>
                            <a:pt x="176" y="7"/>
                            <a:pt x="176" y="6"/>
                          </a:cubicBezTo>
                          <a:close/>
                          <a:moveTo>
                            <a:pt x="175" y="5"/>
                          </a:moveTo>
                          <a:cubicBezTo>
                            <a:pt x="175" y="5"/>
                            <a:pt x="175" y="5"/>
                            <a:pt x="176" y="4"/>
                          </a:cubicBezTo>
                          <a:cubicBezTo>
                            <a:pt x="176" y="5"/>
                            <a:pt x="175" y="5"/>
                            <a:pt x="175" y="5"/>
                          </a:cubicBezTo>
                          <a:close/>
                          <a:moveTo>
                            <a:pt x="175" y="2"/>
                          </a:moveTo>
                          <a:cubicBezTo>
                            <a:pt x="175" y="2"/>
                            <a:pt x="174" y="2"/>
                            <a:pt x="174" y="2"/>
                          </a:cubicBezTo>
                          <a:cubicBezTo>
                            <a:pt x="174" y="2"/>
                            <a:pt x="174" y="2"/>
                            <a:pt x="175" y="2"/>
                          </a:cubicBezTo>
                          <a:close/>
                          <a:moveTo>
                            <a:pt x="177" y="6"/>
                          </a:moveTo>
                          <a:cubicBezTo>
                            <a:pt x="177" y="6"/>
                            <a:pt x="177" y="6"/>
                            <a:pt x="176" y="6"/>
                          </a:cubicBezTo>
                          <a:cubicBezTo>
                            <a:pt x="177" y="6"/>
                            <a:pt x="177" y="6"/>
                            <a:pt x="177" y="6"/>
                          </a:cubicBezTo>
                          <a:close/>
                          <a:moveTo>
                            <a:pt x="178" y="9"/>
                          </a:moveTo>
                          <a:cubicBezTo>
                            <a:pt x="178" y="9"/>
                            <a:pt x="178" y="9"/>
                            <a:pt x="178" y="9"/>
                          </a:cubicBezTo>
                          <a:cubicBezTo>
                            <a:pt x="178" y="9"/>
                            <a:pt x="178" y="9"/>
                            <a:pt x="178" y="9"/>
                          </a:cubicBezTo>
                          <a:close/>
                          <a:moveTo>
                            <a:pt x="176" y="1"/>
                          </a:moveTo>
                          <a:cubicBezTo>
                            <a:pt x="176" y="1"/>
                            <a:pt x="176" y="1"/>
                            <a:pt x="176" y="2"/>
                          </a:cubicBezTo>
                          <a:cubicBezTo>
                            <a:pt x="176" y="2"/>
                            <a:pt x="176" y="2"/>
                            <a:pt x="176" y="2"/>
                          </a:cubicBezTo>
                          <a:cubicBezTo>
                            <a:pt x="176" y="2"/>
                            <a:pt x="176" y="2"/>
                            <a:pt x="176" y="2"/>
                          </a:cubicBezTo>
                          <a:cubicBezTo>
                            <a:pt x="175" y="2"/>
                            <a:pt x="175" y="2"/>
                            <a:pt x="175" y="2"/>
                          </a:cubicBezTo>
                          <a:cubicBezTo>
                            <a:pt x="175" y="2"/>
                            <a:pt x="176" y="1"/>
                            <a:pt x="176" y="1"/>
                          </a:cubicBezTo>
                          <a:close/>
                          <a:moveTo>
                            <a:pt x="180" y="8"/>
                          </a:moveTo>
                          <a:cubicBezTo>
                            <a:pt x="180" y="8"/>
                            <a:pt x="180" y="8"/>
                            <a:pt x="180" y="9"/>
                          </a:cubicBezTo>
                          <a:cubicBezTo>
                            <a:pt x="180" y="9"/>
                            <a:pt x="179" y="9"/>
                            <a:pt x="179" y="9"/>
                          </a:cubicBezTo>
                          <a:cubicBezTo>
                            <a:pt x="179" y="9"/>
                            <a:pt x="180" y="8"/>
                            <a:pt x="180" y="8"/>
                          </a:cubicBezTo>
                          <a:cubicBezTo>
                            <a:pt x="180" y="8"/>
                            <a:pt x="180" y="8"/>
                            <a:pt x="180" y="8"/>
                          </a:cubicBezTo>
                          <a:close/>
                          <a:moveTo>
                            <a:pt x="177" y="4"/>
                          </a:moveTo>
                          <a:cubicBezTo>
                            <a:pt x="177" y="4"/>
                            <a:pt x="177" y="4"/>
                            <a:pt x="177" y="4"/>
                          </a:cubicBezTo>
                          <a:cubicBezTo>
                            <a:pt x="177" y="4"/>
                            <a:pt x="177" y="4"/>
                            <a:pt x="177" y="4"/>
                          </a:cubicBezTo>
                          <a:close/>
                          <a:moveTo>
                            <a:pt x="177" y="4"/>
                          </a:moveTo>
                          <a:cubicBezTo>
                            <a:pt x="177" y="4"/>
                            <a:pt x="177" y="4"/>
                            <a:pt x="177" y="4"/>
                          </a:cubicBezTo>
                          <a:cubicBezTo>
                            <a:pt x="177" y="4"/>
                            <a:pt x="177" y="4"/>
                            <a:pt x="177" y="4"/>
                          </a:cubicBezTo>
                          <a:close/>
                          <a:moveTo>
                            <a:pt x="180" y="8"/>
                          </a:moveTo>
                          <a:cubicBezTo>
                            <a:pt x="180" y="8"/>
                            <a:pt x="180" y="8"/>
                            <a:pt x="180" y="8"/>
                          </a:cubicBezTo>
                          <a:cubicBezTo>
                            <a:pt x="180" y="8"/>
                            <a:pt x="180" y="8"/>
                            <a:pt x="180" y="8"/>
                          </a:cubicBezTo>
                          <a:close/>
                          <a:moveTo>
                            <a:pt x="181" y="8"/>
                          </a:moveTo>
                          <a:cubicBezTo>
                            <a:pt x="181" y="8"/>
                            <a:pt x="181" y="8"/>
                            <a:pt x="181" y="8"/>
                          </a:cubicBezTo>
                          <a:cubicBezTo>
                            <a:pt x="181" y="8"/>
                            <a:pt x="180" y="8"/>
                            <a:pt x="180" y="8"/>
                          </a:cubicBezTo>
                          <a:cubicBezTo>
                            <a:pt x="180" y="8"/>
                            <a:pt x="181" y="8"/>
                            <a:pt x="181" y="8"/>
                          </a:cubicBezTo>
                          <a:close/>
                          <a:moveTo>
                            <a:pt x="180" y="4"/>
                          </a:moveTo>
                          <a:cubicBezTo>
                            <a:pt x="180" y="4"/>
                            <a:pt x="180" y="4"/>
                            <a:pt x="180" y="5"/>
                          </a:cubicBezTo>
                          <a:cubicBezTo>
                            <a:pt x="180" y="5"/>
                            <a:pt x="180" y="4"/>
                            <a:pt x="180" y="4"/>
                          </a:cubicBezTo>
                          <a:cubicBezTo>
                            <a:pt x="180" y="4"/>
                            <a:pt x="180" y="4"/>
                            <a:pt x="180" y="4"/>
                          </a:cubicBezTo>
                          <a:close/>
                          <a:moveTo>
                            <a:pt x="182" y="7"/>
                          </a:moveTo>
                          <a:cubicBezTo>
                            <a:pt x="182" y="7"/>
                            <a:pt x="182" y="7"/>
                            <a:pt x="182" y="7"/>
                          </a:cubicBezTo>
                          <a:cubicBezTo>
                            <a:pt x="182" y="7"/>
                            <a:pt x="182" y="7"/>
                            <a:pt x="182" y="7"/>
                          </a:cubicBezTo>
                          <a:close/>
                          <a:moveTo>
                            <a:pt x="179" y="1"/>
                          </a:moveTo>
                          <a:cubicBezTo>
                            <a:pt x="178" y="1"/>
                            <a:pt x="178" y="1"/>
                            <a:pt x="178" y="1"/>
                          </a:cubicBezTo>
                          <a:cubicBezTo>
                            <a:pt x="178" y="1"/>
                            <a:pt x="179" y="1"/>
                            <a:pt x="178" y="1"/>
                          </a:cubicBezTo>
                          <a:cubicBezTo>
                            <a:pt x="178" y="0"/>
                            <a:pt x="179" y="0"/>
                            <a:pt x="179" y="1"/>
                          </a:cubicBezTo>
                          <a:close/>
                          <a:moveTo>
                            <a:pt x="181" y="0"/>
                          </a:moveTo>
                          <a:cubicBezTo>
                            <a:pt x="181" y="1"/>
                            <a:pt x="180" y="1"/>
                            <a:pt x="180" y="1"/>
                          </a:cubicBezTo>
                          <a:cubicBezTo>
                            <a:pt x="180" y="1"/>
                            <a:pt x="181" y="0"/>
                            <a:pt x="181" y="0"/>
                          </a:cubicBezTo>
                          <a:close/>
                          <a:moveTo>
                            <a:pt x="52" y="75"/>
                          </a:moveTo>
                          <a:cubicBezTo>
                            <a:pt x="52" y="75"/>
                            <a:pt x="52" y="75"/>
                            <a:pt x="52" y="75"/>
                          </a:cubicBezTo>
                          <a:cubicBezTo>
                            <a:pt x="52" y="75"/>
                            <a:pt x="52" y="75"/>
                            <a:pt x="52" y="75"/>
                          </a:cubicBezTo>
                          <a:close/>
                          <a:moveTo>
                            <a:pt x="16" y="88"/>
                          </a:moveTo>
                          <a:cubicBezTo>
                            <a:pt x="17" y="88"/>
                            <a:pt x="17" y="87"/>
                            <a:pt x="18" y="87"/>
                          </a:cubicBezTo>
                          <a:cubicBezTo>
                            <a:pt x="18" y="87"/>
                            <a:pt x="18" y="87"/>
                            <a:pt x="18" y="87"/>
                          </a:cubicBezTo>
                          <a:cubicBezTo>
                            <a:pt x="18" y="87"/>
                            <a:pt x="19" y="87"/>
                            <a:pt x="19" y="87"/>
                          </a:cubicBezTo>
                          <a:cubicBezTo>
                            <a:pt x="20" y="86"/>
                            <a:pt x="21" y="86"/>
                            <a:pt x="22" y="85"/>
                          </a:cubicBezTo>
                          <a:cubicBezTo>
                            <a:pt x="21" y="85"/>
                            <a:pt x="21" y="85"/>
                            <a:pt x="21" y="85"/>
                          </a:cubicBezTo>
                          <a:cubicBezTo>
                            <a:pt x="22" y="85"/>
                            <a:pt x="23" y="84"/>
                            <a:pt x="24" y="84"/>
                          </a:cubicBezTo>
                          <a:cubicBezTo>
                            <a:pt x="24" y="84"/>
                            <a:pt x="24" y="84"/>
                            <a:pt x="24" y="84"/>
                          </a:cubicBezTo>
                          <a:cubicBezTo>
                            <a:pt x="24" y="84"/>
                            <a:pt x="24" y="84"/>
                            <a:pt x="24" y="84"/>
                          </a:cubicBezTo>
                          <a:cubicBezTo>
                            <a:pt x="24" y="84"/>
                            <a:pt x="24" y="84"/>
                            <a:pt x="24" y="85"/>
                          </a:cubicBezTo>
                          <a:cubicBezTo>
                            <a:pt x="24" y="84"/>
                            <a:pt x="25" y="84"/>
                            <a:pt x="25" y="83"/>
                          </a:cubicBezTo>
                          <a:cubicBezTo>
                            <a:pt x="26" y="83"/>
                            <a:pt x="26" y="83"/>
                            <a:pt x="26" y="83"/>
                          </a:cubicBezTo>
                          <a:cubicBezTo>
                            <a:pt x="26" y="83"/>
                            <a:pt x="26" y="83"/>
                            <a:pt x="26" y="83"/>
                          </a:cubicBezTo>
                          <a:cubicBezTo>
                            <a:pt x="26" y="84"/>
                            <a:pt x="26" y="83"/>
                            <a:pt x="26" y="84"/>
                          </a:cubicBezTo>
                          <a:cubicBezTo>
                            <a:pt x="26" y="84"/>
                            <a:pt x="26" y="83"/>
                            <a:pt x="27" y="83"/>
                          </a:cubicBezTo>
                          <a:cubicBezTo>
                            <a:pt x="27" y="83"/>
                            <a:pt x="27" y="83"/>
                            <a:pt x="27" y="83"/>
                          </a:cubicBezTo>
                          <a:cubicBezTo>
                            <a:pt x="28" y="83"/>
                            <a:pt x="27" y="83"/>
                            <a:pt x="27" y="83"/>
                          </a:cubicBezTo>
                          <a:cubicBezTo>
                            <a:pt x="28" y="83"/>
                            <a:pt x="28" y="83"/>
                            <a:pt x="28" y="83"/>
                          </a:cubicBezTo>
                          <a:cubicBezTo>
                            <a:pt x="28" y="82"/>
                            <a:pt x="28" y="83"/>
                            <a:pt x="28" y="83"/>
                          </a:cubicBezTo>
                          <a:cubicBezTo>
                            <a:pt x="28" y="83"/>
                            <a:pt x="28" y="83"/>
                            <a:pt x="28" y="83"/>
                          </a:cubicBezTo>
                          <a:cubicBezTo>
                            <a:pt x="28" y="83"/>
                            <a:pt x="28" y="83"/>
                            <a:pt x="28" y="83"/>
                          </a:cubicBezTo>
                          <a:cubicBezTo>
                            <a:pt x="29" y="83"/>
                            <a:pt x="30" y="82"/>
                            <a:pt x="30" y="82"/>
                          </a:cubicBezTo>
                          <a:cubicBezTo>
                            <a:pt x="30" y="82"/>
                            <a:pt x="30" y="82"/>
                            <a:pt x="30" y="82"/>
                          </a:cubicBezTo>
                          <a:cubicBezTo>
                            <a:pt x="31" y="82"/>
                            <a:pt x="31" y="82"/>
                            <a:pt x="31" y="82"/>
                          </a:cubicBezTo>
                          <a:cubicBezTo>
                            <a:pt x="32" y="82"/>
                            <a:pt x="32" y="81"/>
                            <a:pt x="33" y="81"/>
                          </a:cubicBezTo>
                          <a:cubicBezTo>
                            <a:pt x="33" y="81"/>
                            <a:pt x="33" y="81"/>
                            <a:pt x="33" y="81"/>
                          </a:cubicBezTo>
                          <a:cubicBezTo>
                            <a:pt x="33" y="81"/>
                            <a:pt x="33" y="81"/>
                            <a:pt x="33" y="80"/>
                          </a:cubicBezTo>
                          <a:cubicBezTo>
                            <a:pt x="33" y="81"/>
                            <a:pt x="33" y="80"/>
                            <a:pt x="33" y="81"/>
                          </a:cubicBezTo>
                          <a:cubicBezTo>
                            <a:pt x="34" y="80"/>
                            <a:pt x="34" y="80"/>
                            <a:pt x="35" y="80"/>
                          </a:cubicBezTo>
                          <a:cubicBezTo>
                            <a:pt x="35" y="80"/>
                            <a:pt x="35" y="80"/>
                            <a:pt x="35" y="80"/>
                          </a:cubicBezTo>
                          <a:cubicBezTo>
                            <a:pt x="35" y="80"/>
                            <a:pt x="35" y="80"/>
                            <a:pt x="35" y="80"/>
                          </a:cubicBezTo>
                          <a:cubicBezTo>
                            <a:pt x="35" y="80"/>
                            <a:pt x="35" y="80"/>
                            <a:pt x="35" y="80"/>
                          </a:cubicBezTo>
                          <a:cubicBezTo>
                            <a:pt x="35" y="80"/>
                            <a:pt x="35" y="80"/>
                            <a:pt x="35" y="80"/>
                          </a:cubicBezTo>
                          <a:cubicBezTo>
                            <a:pt x="35" y="80"/>
                            <a:pt x="35" y="80"/>
                            <a:pt x="35" y="80"/>
                          </a:cubicBezTo>
                          <a:cubicBezTo>
                            <a:pt x="35" y="80"/>
                            <a:pt x="36" y="80"/>
                            <a:pt x="36" y="80"/>
                          </a:cubicBezTo>
                          <a:cubicBezTo>
                            <a:pt x="36" y="79"/>
                            <a:pt x="36" y="80"/>
                            <a:pt x="36" y="80"/>
                          </a:cubicBezTo>
                          <a:cubicBezTo>
                            <a:pt x="36" y="80"/>
                            <a:pt x="36" y="80"/>
                            <a:pt x="36" y="80"/>
                          </a:cubicBezTo>
                          <a:cubicBezTo>
                            <a:pt x="36" y="80"/>
                            <a:pt x="36" y="80"/>
                            <a:pt x="36" y="80"/>
                          </a:cubicBezTo>
                          <a:cubicBezTo>
                            <a:pt x="37" y="79"/>
                            <a:pt x="38" y="78"/>
                            <a:pt x="39" y="78"/>
                          </a:cubicBezTo>
                          <a:cubicBezTo>
                            <a:pt x="38" y="79"/>
                            <a:pt x="38" y="79"/>
                            <a:pt x="38" y="79"/>
                          </a:cubicBezTo>
                          <a:cubicBezTo>
                            <a:pt x="38" y="79"/>
                            <a:pt x="38" y="79"/>
                            <a:pt x="38" y="79"/>
                          </a:cubicBezTo>
                          <a:cubicBezTo>
                            <a:pt x="39" y="78"/>
                            <a:pt x="38" y="79"/>
                            <a:pt x="38" y="79"/>
                          </a:cubicBezTo>
                          <a:cubicBezTo>
                            <a:pt x="39" y="78"/>
                            <a:pt x="39" y="79"/>
                            <a:pt x="39" y="78"/>
                          </a:cubicBezTo>
                          <a:cubicBezTo>
                            <a:pt x="39" y="78"/>
                            <a:pt x="40" y="78"/>
                            <a:pt x="40" y="78"/>
                          </a:cubicBezTo>
                          <a:cubicBezTo>
                            <a:pt x="40" y="78"/>
                            <a:pt x="40" y="78"/>
                            <a:pt x="40" y="78"/>
                          </a:cubicBezTo>
                          <a:cubicBezTo>
                            <a:pt x="40" y="78"/>
                            <a:pt x="40" y="78"/>
                            <a:pt x="40" y="78"/>
                          </a:cubicBezTo>
                          <a:cubicBezTo>
                            <a:pt x="40" y="78"/>
                            <a:pt x="40" y="78"/>
                            <a:pt x="40" y="78"/>
                          </a:cubicBezTo>
                          <a:cubicBezTo>
                            <a:pt x="40" y="78"/>
                            <a:pt x="40" y="77"/>
                            <a:pt x="40" y="77"/>
                          </a:cubicBezTo>
                          <a:cubicBezTo>
                            <a:pt x="40" y="77"/>
                            <a:pt x="40" y="77"/>
                            <a:pt x="40" y="77"/>
                          </a:cubicBezTo>
                          <a:cubicBezTo>
                            <a:pt x="41" y="77"/>
                            <a:pt x="41" y="77"/>
                            <a:pt x="41" y="77"/>
                          </a:cubicBezTo>
                          <a:cubicBezTo>
                            <a:pt x="41" y="78"/>
                            <a:pt x="40" y="78"/>
                            <a:pt x="40" y="78"/>
                          </a:cubicBezTo>
                          <a:cubicBezTo>
                            <a:pt x="41" y="78"/>
                            <a:pt x="41" y="78"/>
                            <a:pt x="41" y="78"/>
                          </a:cubicBezTo>
                          <a:cubicBezTo>
                            <a:pt x="41" y="77"/>
                            <a:pt x="41" y="77"/>
                            <a:pt x="42" y="77"/>
                          </a:cubicBezTo>
                          <a:cubicBezTo>
                            <a:pt x="42" y="77"/>
                            <a:pt x="42" y="77"/>
                            <a:pt x="42" y="77"/>
                          </a:cubicBezTo>
                          <a:cubicBezTo>
                            <a:pt x="42" y="77"/>
                            <a:pt x="42" y="77"/>
                            <a:pt x="43" y="77"/>
                          </a:cubicBezTo>
                          <a:cubicBezTo>
                            <a:pt x="42" y="77"/>
                            <a:pt x="43" y="76"/>
                            <a:pt x="43" y="76"/>
                          </a:cubicBezTo>
                          <a:cubicBezTo>
                            <a:pt x="43" y="76"/>
                            <a:pt x="44" y="76"/>
                            <a:pt x="44" y="76"/>
                          </a:cubicBezTo>
                          <a:cubicBezTo>
                            <a:pt x="44" y="76"/>
                            <a:pt x="44" y="76"/>
                            <a:pt x="44" y="76"/>
                          </a:cubicBezTo>
                          <a:cubicBezTo>
                            <a:pt x="44" y="76"/>
                            <a:pt x="44" y="76"/>
                            <a:pt x="44" y="76"/>
                          </a:cubicBezTo>
                          <a:cubicBezTo>
                            <a:pt x="43" y="76"/>
                            <a:pt x="42" y="77"/>
                            <a:pt x="41" y="78"/>
                          </a:cubicBezTo>
                          <a:cubicBezTo>
                            <a:pt x="41" y="78"/>
                            <a:pt x="41" y="78"/>
                            <a:pt x="41" y="78"/>
                          </a:cubicBezTo>
                          <a:cubicBezTo>
                            <a:pt x="41" y="78"/>
                            <a:pt x="41" y="78"/>
                            <a:pt x="41" y="78"/>
                          </a:cubicBezTo>
                          <a:cubicBezTo>
                            <a:pt x="41" y="78"/>
                            <a:pt x="41" y="78"/>
                            <a:pt x="41" y="78"/>
                          </a:cubicBezTo>
                          <a:cubicBezTo>
                            <a:pt x="41" y="78"/>
                            <a:pt x="41" y="78"/>
                            <a:pt x="42" y="78"/>
                          </a:cubicBezTo>
                          <a:cubicBezTo>
                            <a:pt x="42" y="78"/>
                            <a:pt x="42" y="78"/>
                            <a:pt x="42" y="78"/>
                          </a:cubicBezTo>
                          <a:cubicBezTo>
                            <a:pt x="42" y="78"/>
                            <a:pt x="42" y="77"/>
                            <a:pt x="42" y="77"/>
                          </a:cubicBezTo>
                          <a:cubicBezTo>
                            <a:pt x="42" y="77"/>
                            <a:pt x="42" y="77"/>
                            <a:pt x="42" y="77"/>
                          </a:cubicBezTo>
                          <a:cubicBezTo>
                            <a:pt x="42" y="77"/>
                            <a:pt x="42" y="77"/>
                            <a:pt x="43" y="77"/>
                          </a:cubicBezTo>
                          <a:cubicBezTo>
                            <a:pt x="43" y="77"/>
                            <a:pt x="43" y="77"/>
                            <a:pt x="43" y="77"/>
                          </a:cubicBezTo>
                          <a:cubicBezTo>
                            <a:pt x="43" y="77"/>
                            <a:pt x="43" y="77"/>
                            <a:pt x="44" y="77"/>
                          </a:cubicBezTo>
                          <a:cubicBezTo>
                            <a:pt x="44" y="77"/>
                            <a:pt x="44" y="77"/>
                            <a:pt x="44" y="77"/>
                          </a:cubicBezTo>
                          <a:cubicBezTo>
                            <a:pt x="44" y="77"/>
                            <a:pt x="44" y="77"/>
                            <a:pt x="44" y="76"/>
                          </a:cubicBezTo>
                          <a:cubicBezTo>
                            <a:pt x="45" y="76"/>
                            <a:pt x="45" y="76"/>
                            <a:pt x="45" y="76"/>
                          </a:cubicBezTo>
                          <a:cubicBezTo>
                            <a:pt x="45" y="76"/>
                            <a:pt x="45" y="76"/>
                            <a:pt x="45" y="76"/>
                          </a:cubicBezTo>
                          <a:cubicBezTo>
                            <a:pt x="45" y="76"/>
                            <a:pt x="45" y="76"/>
                            <a:pt x="45" y="76"/>
                          </a:cubicBezTo>
                          <a:cubicBezTo>
                            <a:pt x="45" y="76"/>
                            <a:pt x="45" y="76"/>
                            <a:pt x="45" y="76"/>
                          </a:cubicBezTo>
                          <a:cubicBezTo>
                            <a:pt x="44" y="76"/>
                            <a:pt x="45" y="76"/>
                            <a:pt x="45" y="76"/>
                          </a:cubicBezTo>
                          <a:cubicBezTo>
                            <a:pt x="45" y="76"/>
                            <a:pt x="46" y="76"/>
                            <a:pt x="45" y="76"/>
                          </a:cubicBezTo>
                          <a:cubicBezTo>
                            <a:pt x="46" y="76"/>
                            <a:pt x="46" y="76"/>
                            <a:pt x="46" y="75"/>
                          </a:cubicBezTo>
                          <a:cubicBezTo>
                            <a:pt x="46" y="76"/>
                            <a:pt x="46" y="76"/>
                            <a:pt x="46" y="76"/>
                          </a:cubicBezTo>
                          <a:cubicBezTo>
                            <a:pt x="46" y="76"/>
                            <a:pt x="46" y="76"/>
                            <a:pt x="46" y="76"/>
                          </a:cubicBezTo>
                          <a:cubicBezTo>
                            <a:pt x="46" y="76"/>
                            <a:pt x="46" y="75"/>
                            <a:pt x="46" y="75"/>
                          </a:cubicBezTo>
                          <a:cubicBezTo>
                            <a:pt x="46" y="75"/>
                            <a:pt x="46" y="75"/>
                            <a:pt x="46" y="75"/>
                          </a:cubicBezTo>
                          <a:cubicBezTo>
                            <a:pt x="46" y="75"/>
                            <a:pt x="45" y="76"/>
                            <a:pt x="45" y="76"/>
                          </a:cubicBezTo>
                          <a:cubicBezTo>
                            <a:pt x="46" y="75"/>
                            <a:pt x="46" y="75"/>
                            <a:pt x="47" y="74"/>
                          </a:cubicBezTo>
                          <a:cubicBezTo>
                            <a:pt x="47" y="74"/>
                            <a:pt x="47" y="74"/>
                            <a:pt x="47" y="74"/>
                          </a:cubicBezTo>
                          <a:cubicBezTo>
                            <a:pt x="47" y="74"/>
                            <a:pt x="47" y="74"/>
                            <a:pt x="48" y="74"/>
                          </a:cubicBezTo>
                          <a:cubicBezTo>
                            <a:pt x="48" y="74"/>
                            <a:pt x="48" y="74"/>
                            <a:pt x="48" y="74"/>
                          </a:cubicBezTo>
                          <a:cubicBezTo>
                            <a:pt x="48" y="74"/>
                            <a:pt x="48" y="74"/>
                            <a:pt x="48" y="74"/>
                          </a:cubicBezTo>
                          <a:cubicBezTo>
                            <a:pt x="48" y="74"/>
                            <a:pt x="48" y="74"/>
                            <a:pt x="48" y="74"/>
                          </a:cubicBezTo>
                          <a:cubicBezTo>
                            <a:pt x="48" y="74"/>
                            <a:pt x="48" y="74"/>
                            <a:pt x="48" y="74"/>
                          </a:cubicBezTo>
                          <a:cubicBezTo>
                            <a:pt x="48" y="74"/>
                            <a:pt x="48" y="74"/>
                            <a:pt x="49" y="74"/>
                          </a:cubicBezTo>
                          <a:cubicBezTo>
                            <a:pt x="49" y="74"/>
                            <a:pt x="49" y="73"/>
                            <a:pt x="49" y="73"/>
                          </a:cubicBezTo>
                          <a:cubicBezTo>
                            <a:pt x="49" y="73"/>
                            <a:pt x="49" y="73"/>
                            <a:pt x="49" y="73"/>
                          </a:cubicBezTo>
                          <a:cubicBezTo>
                            <a:pt x="49" y="73"/>
                            <a:pt x="49" y="73"/>
                            <a:pt x="49" y="73"/>
                          </a:cubicBezTo>
                          <a:cubicBezTo>
                            <a:pt x="49" y="73"/>
                            <a:pt x="49" y="73"/>
                            <a:pt x="49" y="73"/>
                          </a:cubicBezTo>
                          <a:cubicBezTo>
                            <a:pt x="49" y="73"/>
                            <a:pt x="49" y="73"/>
                            <a:pt x="50" y="73"/>
                          </a:cubicBezTo>
                          <a:cubicBezTo>
                            <a:pt x="50" y="73"/>
                            <a:pt x="50" y="73"/>
                            <a:pt x="50" y="73"/>
                          </a:cubicBezTo>
                          <a:cubicBezTo>
                            <a:pt x="50" y="73"/>
                            <a:pt x="50" y="73"/>
                            <a:pt x="50" y="73"/>
                          </a:cubicBezTo>
                          <a:cubicBezTo>
                            <a:pt x="50" y="73"/>
                            <a:pt x="50" y="73"/>
                            <a:pt x="50" y="73"/>
                          </a:cubicBezTo>
                          <a:cubicBezTo>
                            <a:pt x="50" y="73"/>
                            <a:pt x="50" y="73"/>
                            <a:pt x="50" y="73"/>
                          </a:cubicBezTo>
                          <a:cubicBezTo>
                            <a:pt x="50" y="73"/>
                            <a:pt x="50" y="74"/>
                            <a:pt x="49" y="73"/>
                          </a:cubicBezTo>
                          <a:cubicBezTo>
                            <a:pt x="49" y="74"/>
                            <a:pt x="49" y="74"/>
                            <a:pt x="49" y="74"/>
                          </a:cubicBezTo>
                          <a:cubicBezTo>
                            <a:pt x="50" y="74"/>
                            <a:pt x="50" y="73"/>
                            <a:pt x="50" y="73"/>
                          </a:cubicBezTo>
                          <a:cubicBezTo>
                            <a:pt x="50" y="73"/>
                            <a:pt x="50" y="73"/>
                            <a:pt x="50" y="73"/>
                          </a:cubicBezTo>
                          <a:cubicBezTo>
                            <a:pt x="50" y="73"/>
                            <a:pt x="51" y="73"/>
                            <a:pt x="51" y="73"/>
                          </a:cubicBezTo>
                          <a:cubicBezTo>
                            <a:pt x="51" y="73"/>
                            <a:pt x="52" y="73"/>
                            <a:pt x="52" y="72"/>
                          </a:cubicBezTo>
                          <a:cubicBezTo>
                            <a:pt x="52" y="72"/>
                            <a:pt x="52" y="72"/>
                            <a:pt x="52" y="72"/>
                          </a:cubicBezTo>
                          <a:cubicBezTo>
                            <a:pt x="52" y="72"/>
                            <a:pt x="52" y="72"/>
                            <a:pt x="52" y="72"/>
                          </a:cubicBezTo>
                          <a:cubicBezTo>
                            <a:pt x="52" y="72"/>
                            <a:pt x="52" y="72"/>
                            <a:pt x="52" y="72"/>
                          </a:cubicBezTo>
                          <a:cubicBezTo>
                            <a:pt x="52" y="72"/>
                            <a:pt x="53" y="72"/>
                            <a:pt x="54" y="71"/>
                          </a:cubicBezTo>
                          <a:cubicBezTo>
                            <a:pt x="54" y="71"/>
                            <a:pt x="54" y="71"/>
                            <a:pt x="54" y="71"/>
                          </a:cubicBezTo>
                          <a:cubicBezTo>
                            <a:pt x="54" y="71"/>
                            <a:pt x="54" y="71"/>
                            <a:pt x="54" y="71"/>
                          </a:cubicBezTo>
                          <a:cubicBezTo>
                            <a:pt x="54" y="71"/>
                            <a:pt x="55" y="71"/>
                            <a:pt x="55" y="71"/>
                          </a:cubicBezTo>
                          <a:cubicBezTo>
                            <a:pt x="56" y="70"/>
                            <a:pt x="56" y="70"/>
                            <a:pt x="57" y="70"/>
                          </a:cubicBezTo>
                          <a:cubicBezTo>
                            <a:pt x="57" y="70"/>
                            <a:pt x="57" y="70"/>
                            <a:pt x="57" y="70"/>
                          </a:cubicBezTo>
                          <a:cubicBezTo>
                            <a:pt x="57" y="69"/>
                            <a:pt x="57" y="69"/>
                            <a:pt x="57" y="69"/>
                          </a:cubicBezTo>
                          <a:cubicBezTo>
                            <a:pt x="57" y="69"/>
                            <a:pt x="57" y="69"/>
                            <a:pt x="57" y="69"/>
                          </a:cubicBezTo>
                          <a:cubicBezTo>
                            <a:pt x="58" y="69"/>
                            <a:pt x="59" y="68"/>
                            <a:pt x="60" y="68"/>
                          </a:cubicBezTo>
                          <a:cubicBezTo>
                            <a:pt x="60" y="68"/>
                            <a:pt x="60" y="68"/>
                            <a:pt x="60" y="68"/>
                          </a:cubicBezTo>
                          <a:cubicBezTo>
                            <a:pt x="61" y="68"/>
                            <a:pt x="60" y="68"/>
                            <a:pt x="61" y="67"/>
                          </a:cubicBezTo>
                          <a:cubicBezTo>
                            <a:pt x="61" y="68"/>
                            <a:pt x="60" y="68"/>
                            <a:pt x="60" y="69"/>
                          </a:cubicBezTo>
                          <a:cubicBezTo>
                            <a:pt x="59" y="69"/>
                            <a:pt x="59" y="69"/>
                            <a:pt x="59" y="69"/>
                          </a:cubicBezTo>
                          <a:cubicBezTo>
                            <a:pt x="59" y="69"/>
                            <a:pt x="59" y="69"/>
                            <a:pt x="59" y="69"/>
                          </a:cubicBezTo>
                          <a:cubicBezTo>
                            <a:pt x="57" y="70"/>
                            <a:pt x="56" y="70"/>
                            <a:pt x="54" y="71"/>
                          </a:cubicBezTo>
                          <a:cubicBezTo>
                            <a:pt x="54" y="71"/>
                            <a:pt x="54" y="71"/>
                            <a:pt x="54" y="71"/>
                          </a:cubicBezTo>
                          <a:cubicBezTo>
                            <a:pt x="54" y="71"/>
                            <a:pt x="54" y="71"/>
                            <a:pt x="54" y="72"/>
                          </a:cubicBezTo>
                          <a:cubicBezTo>
                            <a:pt x="54" y="72"/>
                            <a:pt x="54" y="71"/>
                            <a:pt x="54" y="71"/>
                          </a:cubicBezTo>
                          <a:cubicBezTo>
                            <a:pt x="54" y="72"/>
                            <a:pt x="53" y="72"/>
                            <a:pt x="53" y="72"/>
                          </a:cubicBezTo>
                          <a:cubicBezTo>
                            <a:pt x="53" y="72"/>
                            <a:pt x="53" y="72"/>
                            <a:pt x="53" y="72"/>
                          </a:cubicBezTo>
                          <a:cubicBezTo>
                            <a:pt x="53" y="72"/>
                            <a:pt x="53" y="72"/>
                            <a:pt x="53" y="72"/>
                          </a:cubicBezTo>
                          <a:cubicBezTo>
                            <a:pt x="53" y="72"/>
                            <a:pt x="53" y="72"/>
                            <a:pt x="53" y="72"/>
                          </a:cubicBezTo>
                          <a:cubicBezTo>
                            <a:pt x="52" y="72"/>
                            <a:pt x="52" y="72"/>
                            <a:pt x="52" y="72"/>
                          </a:cubicBezTo>
                          <a:cubicBezTo>
                            <a:pt x="52" y="72"/>
                            <a:pt x="52" y="72"/>
                            <a:pt x="52" y="73"/>
                          </a:cubicBezTo>
                          <a:cubicBezTo>
                            <a:pt x="52" y="73"/>
                            <a:pt x="52" y="72"/>
                            <a:pt x="52" y="72"/>
                          </a:cubicBezTo>
                          <a:cubicBezTo>
                            <a:pt x="52" y="73"/>
                            <a:pt x="52" y="73"/>
                            <a:pt x="52" y="73"/>
                          </a:cubicBezTo>
                          <a:cubicBezTo>
                            <a:pt x="52" y="73"/>
                            <a:pt x="52" y="73"/>
                            <a:pt x="52" y="73"/>
                          </a:cubicBezTo>
                          <a:cubicBezTo>
                            <a:pt x="51" y="73"/>
                            <a:pt x="51" y="73"/>
                            <a:pt x="51" y="73"/>
                          </a:cubicBezTo>
                          <a:cubicBezTo>
                            <a:pt x="51" y="73"/>
                            <a:pt x="51" y="73"/>
                            <a:pt x="51" y="73"/>
                          </a:cubicBezTo>
                          <a:cubicBezTo>
                            <a:pt x="51" y="73"/>
                            <a:pt x="51" y="73"/>
                            <a:pt x="51" y="73"/>
                          </a:cubicBezTo>
                          <a:cubicBezTo>
                            <a:pt x="51" y="74"/>
                            <a:pt x="51" y="73"/>
                            <a:pt x="51" y="73"/>
                          </a:cubicBezTo>
                          <a:cubicBezTo>
                            <a:pt x="51" y="73"/>
                            <a:pt x="51" y="73"/>
                            <a:pt x="51" y="73"/>
                          </a:cubicBezTo>
                          <a:cubicBezTo>
                            <a:pt x="51" y="74"/>
                            <a:pt x="51" y="74"/>
                            <a:pt x="51" y="74"/>
                          </a:cubicBezTo>
                          <a:cubicBezTo>
                            <a:pt x="51" y="74"/>
                            <a:pt x="51" y="74"/>
                            <a:pt x="51" y="74"/>
                          </a:cubicBezTo>
                          <a:cubicBezTo>
                            <a:pt x="51" y="73"/>
                            <a:pt x="52" y="73"/>
                            <a:pt x="52" y="73"/>
                          </a:cubicBezTo>
                          <a:cubicBezTo>
                            <a:pt x="52" y="73"/>
                            <a:pt x="52" y="73"/>
                            <a:pt x="52" y="73"/>
                          </a:cubicBezTo>
                          <a:cubicBezTo>
                            <a:pt x="52" y="73"/>
                            <a:pt x="52" y="73"/>
                            <a:pt x="52" y="73"/>
                          </a:cubicBezTo>
                          <a:cubicBezTo>
                            <a:pt x="52" y="73"/>
                            <a:pt x="52" y="73"/>
                            <a:pt x="52" y="73"/>
                          </a:cubicBezTo>
                          <a:cubicBezTo>
                            <a:pt x="52" y="73"/>
                            <a:pt x="52" y="73"/>
                            <a:pt x="53" y="73"/>
                          </a:cubicBezTo>
                          <a:cubicBezTo>
                            <a:pt x="53" y="73"/>
                            <a:pt x="53" y="73"/>
                            <a:pt x="53" y="73"/>
                          </a:cubicBezTo>
                          <a:cubicBezTo>
                            <a:pt x="53" y="73"/>
                            <a:pt x="53" y="72"/>
                            <a:pt x="53" y="72"/>
                          </a:cubicBezTo>
                          <a:cubicBezTo>
                            <a:pt x="53" y="72"/>
                            <a:pt x="53" y="73"/>
                            <a:pt x="53" y="73"/>
                          </a:cubicBezTo>
                          <a:cubicBezTo>
                            <a:pt x="53" y="72"/>
                            <a:pt x="53" y="72"/>
                            <a:pt x="53" y="72"/>
                          </a:cubicBezTo>
                          <a:cubicBezTo>
                            <a:pt x="53" y="72"/>
                            <a:pt x="54" y="72"/>
                            <a:pt x="54" y="72"/>
                          </a:cubicBezTo>
                          <a:cubicBezTo>
                            <a:pt x="54" y="72"/>
                            <a:pt x="54" y="72"/>
                            <a:pt x="53" y="72"/>
                          </a:cubicBezTo>
                          <a:cubicBezTo>
                            <a:pt x="53" y="72"/>
                            <a:pt x="53" y="72"/>
                            <a:pt x="53" y="72"/>
                          </a:cubicBezTo>
                          <a:cubicBezTo>
                            <a:pt x="53" y="72"/>
                            <a:pt x="54" y="72"/>
                            <a:pt x="54" y="72"/>
                          </a:cubicBezTo>
                          <a:cubicBezTo>
                            <a:pt x="54" y="72"/>
                            <a:pt x="54" y="72"/>
                            <a:pt x="54" y="72"/>
                          </a:cubicBezTo>
                          <a:cubicBezTo>
                            <a:pt x="54" y="72"/>
                            <a:pt x="54" y="72"/>
                            <a:pt x="54" y="72"/>
                          </a:cubicBezTo>
                          <a:cubicBezTo>
                            <a:pt x="54" y="72"/>
                            <a:pt x="55" y="72"/>
                            <a:pt x="56" y="72"/>
                          </a:cubicBezTo>
                          <a:cubicBezTo>
                            <a:pt x="56" y="72"/>
                            <a:pt x="56" y="72"/>
                            <a:pt x="55" y="72"/>
                          </a:cubicBezTo>
                          <a:cubicBezTo>
                            <a:pt x="55" y="72"/>
                            <a:pt x="55" y="72"/>
                            <a:pt x="55" y="72"/>
                          </a:cubicBezTo>
                          <a:cubicBezTo>
                            <a:pt x="55" y="72"/>
                            <a:pt x="55" y="72"/>
                            <a:pt x="55" y="72"/>
                          </a:cubicBezTo>
                          <a:cubicBezTo>
                            <a:pt x="54" y="73"/>
                            <a:pt x="54" y="73"/>
                            <a:pt x="53" y="73"/>
                          </a:cubicBezTo>
                          <a:cubicBezTo>
                            <a:pt x="53" y="73"/>
                            <a:pt x="53" y="73"/>
                            <a:pt x="53" y="73"/>
                          </a:cubicBezTo>
                          <a:cubicBezTo>
                            <a:pt x="53" y="73"/>
                            <a:pt x="53" y="73"/>
                            <a:pt x="53" y="73"/>
                          </a:cubicBezTo>
                          <a:cubicBezTo>
                            <a:pt x="53" y="74"/>
                            <a:pt x="52" y="74"/>
                            <a:pt x="51" y="74"/>
                          </a:cubicBezTo>
                          <a:cubicBezTo>
                            <a:pt x="51" y="74"/>
                            <a:pt x="51" y="74"/>
                            <a:pt x="52" y="74"/>
                          </a:cubicBezTo>
                          <a:cubicBezTo>
                            <a:pt x="51" y="74"/>
                            <a:pt x="51" y="74"/>
                            <a:pt x="51" y="74"/>
                          </a:cubicBezTo>
                          <a:cubicBezTo>
                            <a:pt x="51" y="74"/>
                            <a:pt x="51" y="74"/>
                            <a:pt x="51" y="74"/>
                          </a:cubicBezTo>
                          <a:cubicBezTo>
                            <a:pt x="50" y="75"/>
                            <a:pt x="50" y="75"/>
                            <a:pt x="49" y="75"/>
                          </a:cubicBezTo>
                          <a:cubicBezTo>
                            <a:pt x="49" y="75"/>
                            <a:pt x="50" y="74"/>
                            <a:pt x="51" y="74"/>
                          </a:cubicBezTo>
                          <a:cubicBezTo>
                            <a:pt x="51" y="74"/>
                            <a:pt x="52" y="74"/>
                            <a:pt x="52" y="73"/>
                          </a:cubicBezTo>
                          <a:cubicBezTo>
                            <a:pt x="51" y="74"/>
                            <a:pt x="51" y="74"/>
                            <a:pt x="50" y="74"/>
                          </a:cubicBezTo>
                          <a:cubicBezTo>
                            <a:pt x="50" y="74"/>
                            <a:pt x="50" y="74"/>
                            <a:pt x="50" y="74"/>
                          </a:cubicBezTo>
                          <a:cubicBezTo>
                            <a:pt x="50" y="74"/>
                            <a:pt x="50" y="74"/>
                            <a:pt x="50" y="74"/>
                          </a:cubicBezTo>
                          <a:cubicBezTo>
                            <a:pt x="50" y="74"/>
                            <a:pt x="50" y="74"/>
                            <a:pt x="50" y="74"/>
                          </a:cubicBezTo>
                          <a:cubicBezTo>
                            <a:pt x="50" y="74"/>
                            <a:pt x="50" y="74"/>
                            <a:pt x="50" y="74"/>
                          </a:cubicBezTo>
                          <a:cubicBezTo>
                            <a:pt x="50" y="74"/>
                            <a:pt x="49" y="74"/>
                            <a:pt x="49" y="75"/>
                          </a:cubicBezTo>
                          <a:cubicBezTo>
                            <a:pt x="49" y="74"/>
                            <a:pt x="49" y="74"/>
                            <a:pt x="49" y="74"/>
                          </a:cubicBezTo>
                          <a:cubicBezTo>
                            <a:pt x="49" y="74"/>
                            <a:pt x="49" y="74"/>
                            <a:pt x="49" y="74"/>
                          </a:cubicBezTo>
                          <a:cubicBezTo>
                            <a:pt x="49" y="74"/>
                            <a:pt x="49" y="74"/>
                            <a:pt x="49" y="74"/>
                          </a:cubicBezTo>
                          <a:cubicBezTo>
                            <a:pt x="49" y="75"/>
                            <a:pt x="49" y="75"/>
                            <a:pt x="49" y="75"/>
                          </a:cubicBezTo>
                          <a:cubicBezTo>
                            <a:pt x="49" y="75"/>
                            <a:pt x="48" y="75"/>
                            <a:pt x="48" y="75"/>
                          </a:cubicBezTo>
                          <a:cubicBezTo>
                            <a:pt x="48" y="75"/>
                            <a:pt x="48" y="75"/>
                            <a:pt x="48" y="75"/>
                          </a:cubicBezTo>
                          <a:cubicBezTo>
                            <a:pt x="48" y="75"/>
                            <a:pt x="48" y="75"/>
                            <a:pt x="48" y="75"/>
                          </a:cubicBezTo>
                          <a:cubicBezTo>
                            <a:pt x="48" y="76"/>
                            <a:pt x="48" y="76"/>
                            <a:pt x="48" y="75"/>
                          </a:cubicBezTo>
                          <a:cubicBezTo>
                            <a:pt x="46" y="76"/>
                            <a:pt x="46" y="77"/>
                            <a:pt x="45" y="77"/>
                          </a:cubicBezTo>
                          <a:cubicBezTo>
                            <a:pt x="45" y="77"/>
                            <a:pt x="45" y="77"/>
                            <a:pt x="45" y="77"/>
                          </a:cubicBezTo>
                          <a:cubicBezTo>
                            <a:pt x="45" y="76"/>
                            <a:pt x="44" y="77"/>
                            <a:pt x="44" y="77"/>
                          </a:cubicBezTo>
                          <a:cubicBezTo>
                            <a:pt x="44" y="77"/>
                            <a:pt x="44" y="77"/>
                            <a:pt x="44" y="77"/>
                          </a:cubicBezTo>
                          <a:cubicBezTo>
                            <a:pt x="44" y="77"/>
                            <a:pt x="44" y="77"/>
                            <a:pt x="44" y="78"/>
                          </a:cubicBezTo>
                          <a:cubicBezTo>
                            <a:pt x="43" y="77"/>
                            <a:pt x="44" y="77"/>
                            <a:pt x="44" y="77"/>
                          </a:cubicBezTo>
                          <a:cubicBezTo>
                            <a:pt x="44" y="77"/>
                            <a:pt x="43" y="78"/>
                            <a:pt x="43" y="77"/>
                          </a:cubicBezTo>
                          <a:cubicBezTo>
                            <a:pt x="43" y="78"/>
                            <a:pt x="42" y="78"/>
                            <a:pt x="42" y="78"/>
                          </a:cubicBezTo>
                          <a:cubicBezTo>
                            <a:pt x="42" y="78"/>
                            <a:pt x="42" y="78"/>
                            <a:pt x="42" y="78"/>
                          </a:cubicBezTo>
                          <a:cubicBezTo>
                            <a:pt x="42" y="78"/>
                            <a:pt x="42" y="78"/>
                            <a:pt x="41" y="78"/>
                          </a:cubicBezTo>
                          <a:cubicBezTo>
                            <a:pt x="41" y="79"/>
                            <a:pt x="42" y="78"/>
                            <a:pt x="42" y="79"/>
                          </a:cubicBezTo>
                          <a:cubicBezTo>
                            <a:pt x="42" y="79"/>
                            <a:pt x="42" y="78"/>
                            <a:pt x="42" y="78"/>
                          </a:cubicBezTo>
                          <a:cubicBezTo>
                            <a:pt x="42" y="78"/>
                            <a:pt x="41" y="79"/>
                            <a:pt x="42" y="79"/>
                          </a:cubicBezTo>
                          <a:cubicBezTo>
                            <a:pt x="42" y="79"/>
                            <a:pt x="41" y="79"/>
                            <a:pt x="41" y="79"/>
                          </a:cubicBezTo>
                          <a:cubicBezTo>
                            <a:pt x="41" y="79"/>
                            <a:pt x="40" y="79"/>
                            <a:pt x="41" y="79"/>
                          </a:cubicBezTo>
                          <a:cubicBezTo>
                            <a:pt x="41" y="79"/>
                            <a:pt x="41" y="79"/>
                            <a:pt x="41" y="79"/>
                          </a:cubicBezTo>
                          <a:cubicBezTo>
                            <a:pt x="41" y="79"/>
                            <a:pt x="41" y="79"/>
                            <a:pt x="40" y="79"/>
                          </a:cubicBezTo>
                          <a:cubicBezTo>
                            <a:pt x="40" y="79"/>
                            <a:pt x="40" y="79"/>
                            <a:pt x="40" y="79"/>
                          </a:cubicBezTo>
                          <a:cubicBezTo>
                            <a:pt x="40" y="79"/>
                            <a:pt x="39" y="79"/>
                            <a:pt x="39" y="80"/>
                          </a:cubicBezTo>
                          <a:cubicBezTo>
                            <a:pt x="39" y="79"/>
                            <a:pt x="38" y="80"/>
                            <a:pt x="38" y="80"/>
                          </a:cubicBezTo>
                          <a:cubicBezTo>
                            <a:pt x="38" y="81"/>
                            <a:pt x="37" y="81"/>
                            <a:pt x="36" y="81"/>
                          </a:cubicBezTo>
                          <a:cubicBezTo>
                            <a:pt x="36" y="81"/>
                            <a:pt x="36" y="81"/>
                            <a:pt x="36" y="82"/>
                          </a:cubicBezTo>
                          <a:cubicBezTo>
                            <a:pt x="36" y="82"/>
                            <a:pt x="36" y="81"/>
                            <a:pt x="36" y="82"/>
                          </a:cubicBezTo>
                          <a:cubicBezTo>
                            <a:pt x="36" y="82"/>
                            <a:pt x="36" y="82"/>
                            <a:pt x="36" y="82"/>
                          </a:cubicBezTo>
                          <a:cubicBezTo>
                            <a:pt x="36" y="82"/>
                            <a:pt x="36" y="81"/>
                            <a:pt x="37" y="81"/>
                          </a:cubicBezTo>
                          <a:cubicBezTo>
                            <a:pt x="37" y="81"/>
                            <a:pt x="37" y="81"/>
                            <a:pt x="37" y="81"/>
                          </a:cubicBezTo>
                          <a:cubicBezTo>
                            <a:pt x="37" y="81"/>
                            <a:pt x="37" y="81"/>
                            <a:pt x="37" y="81"/>
                          </a:cubicBezTo>
                          <a:cubicBezTo>
                            <a:pt x="37" y="81"/>
                            <a:pt x="37" y="81"/>
                            <a:pt x="37" y="81"/>
                          </a:cubicBezTo>
                          <a:cubicBezTo>
                            <a:pt x="37" y="81"/>
                            <a:pt x="37" y="81"/>
                            <a:pt x="37" y="81"/>
                          </a:cubicBezTo>
                          <a:cubicBezTo>
                            <a:pt x="37" y="81"/>
                            <a:pt x="38" y="81"/>
                            <a:pt x="37" y="81"/>
                          </a:cubicBezTo>
                          <a:cubicBezTo>
                            <a:pt x="38" y="81"/>
                            <a:pt x="39" y="80"/>
                            <a:pt x="39" y="80"/>
                          </a:cubicBezTo>
                          <a:cubicBezTo>
                            <a:pt x="39" y="80"/>
                            <a:pt x="40" y="80"/>
                            <a:pt x="40" y="79"/>
                          </a:cubicBezTo>
                          <a:cubicBezTo>
                            <a:pt x="40" y="79"/>
                            <a:pt x="40" y="79"/>
                            <a:pt x="41" y="79"/>
                          </a:cubicBezTo>
                          <a:cubicBezTo>
                            <a:pt x="41" y="79"/>
                            <a:pt x="41" y="79"/>
                            <a:pt x="40" y="80"/>
                          </a:cubicBezTo>
                          <a:cubicBezTo>
                            <a:pt x="40" y="80"/>
                            <a:pt x="41" y="79"/>
                            <a:pt x="41" y="80"/>
                          </a:cubicBezTo>
                          <a:cubicBezTo>
                            <a:pt x="41" y="79"/>
                            <a:pt x="41" y="79"/>
                            <a:pt x="41" y="79"/>
                          </a:cubicBezTo>
                          <a:cubicBezTo>
                            <a:pt x="41" y="79"/>
                            <a:pt x="41" y="79"/>
                            <a:pt x="41" y="79"/>
                          </a:cubicBezTo>
                          <a:cubicBezTo>
                            <a:pt x="41" y="79"/>
                            <a:pt x="41" y="79"/>
                            <a:pt x="42" y="79"/>
                          </a:cubicBezTo>
                          <a:cubicBezTo>
                            <a:pt x="42" y="79"/>
                            <a:pt x="42" y="79"/>
                            <a:pt x="42" y="79"/>
                          </a:cubicBezTo>
                          <a:cubicBezTo>
                            <a:pt x="42" y="79"/>
                            <a:pt x="42" y="79"/>
                            <a:pt x="42" y="79"/>
                          </a:cubicBezTo>
                          <a:cubicBezTo>
                            <a:pt x="42" y="79"/>
                            <a:pt x="43" y="79"/>
                            <a:pt x="43" y="79"/>
                          </a:cubicBezTo>
                          <a:cubicBezTo>
                            <a:pt x="43" y="78"/>
                            <a:pt x="43" y="79"/>
                            <a:pt x="43" y="78"/>
                          </a:cubicBezTo>
                          <a:cubicBezTo>
                            <a:pt x="43" y="78"/>
                            <a:pt x="43" y="78"/>
                            <a:pt x="43" y="78"/>
                          </a:cubicBezTo>
                          <a:cubicBezTo>
                            <a:pt x="43" y="78"/>
                            <a:pt x="44" y="78"/>
                            <a:pt x="44" y="78"/>
                          </a:cubicBezTo>
                          <a:cubicBezTo>
                            <a:pt x="44" y="78"/>
                            <a:pt x="44" y="78"/>
                            <a:pt x="44" y="78"/>
                          </a:cubicBezTo>
                          <a:cubicBezTo>
                            <a:pt x="44" y="78"/>
                            <a:pt x="44" y="78"/>
                            <a:pt x="45" y="78"/>
                          </a:cubicBezTo>
                          <a:cubicBezTo>
                            <a:pt x="45" y="78"/>
                            <a:pt x="45" y="78"/>
                            <a:pt x="45" y="78"/>
                          </a:cubicBezTo>
                          <a:cubicBezTo>
                            <a:pt x="45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5" y="78"/>
                          </a:cubicBezTo>
                          <a:cubicBezTo>
                            <a:pt x="45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7" y="77"/>
                          </a:cubicBezTo>
                          <a:cubicBezTo>
                            <a:pt x="46" y="78"/>
                            <a:pt x="46" y="78"/>
                            <a:pt x="47" y="78"/>
                          </a:cubicBezTo>
                          <a:cubicBezTo>
                            <a:pt x="46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5" y="78"/>
                            <a:pt x="45" y="78"/>
                          </a:cubicBezTo>
                          <a:cubicBezTo>
                            <a:pt x="45" y="78"/>
                            <a:pt x="45" y="78"/>
                            <a:pt x="45" y="78"/>
                          </a:cubicBezTo>
                          <a:cubicBezTo>
                            <a:pt x="44" y="79"/>
                            <a:pt x="44" y="79"/>
                            <a:pt x="44" y="79"/>
                          </a:cubicBezTo>
                          <a:cubicBezTo>
                            <a:pt x="44" y="79"/>
                            <a:pt x="44" y="79"/>
                            <a:pt x="44" y="79"/>
                          </a:cubicBezTo>
                          <a:cubicBezTo>
                            <a:pt x="44" y="79"/>
                            <a:pt x="45" y="79"/>
                            <a:pt x="45" y="78"/>
                          </a:cubicBezTo>
                          <a:cubicBezTo>
                            <a:pt x="46" y="78"/>
                            <a:pt x="45" y="78"/>
                            <a:pt x="45" y="78"/>
                          </a:cubicBezTo>
                          <a:cubicBezTo>
                            <a:pt x="45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7" y="78"/>
                          </a:cubicBezTo>
                          <a:cubicBezTo>
                            <a:pt x="47" y="78"/>
                            <a:pt x="47" y="78"/>
                            <a:pt x="47" y="78"/>
                          </a:cubicBezTo>
                          <a:cubicBezTo>
                            <a:pt x="47" y="78"/>
                            <a:pt x="47" y="77"/>
                            <a:pt x="48" y="77"/>
                          </a:cubicBezTo>
                          <a:cubicBezTo>
                            <a:pt x="48" y="78"/>
                            <a:pt x="49" y="78"/>
                            <a:pt x="49" y="77"/>
                          </a:cubicBezTo>
                          <a:cubicBezTo>
                            <a:pt x="49" y="77"/>
                            <a:pt x="49" y="77"/>
                            <a:pt x="49" y="77"/>
                          </a:cubicBezTo>
                          <a:cubicBezTo>
                            <a:pt x="49" y="77"/>
                            <a:pt x="49" y="77"/>
                            <a:pt x="49" y="78"/>
                          </a:cubicBezTo>
                          <a:cubicBezTo>
                            <a:pt x="49" y="77"/>
                            <a:pt x="48" y="78"/>
                            <a:pt x="48" y="77"/>
                          </a:cubicBezTo>
                          <a:cubicBezTo>
                            <a:pt x="49" y="77"/>
                            <a:pt x="49" y="77"/>
                            <a:pt x="49" y="77"/>
                          </a:cubicBezTo>
                          <a:cubicBezTo>
                            <a:pt x="49" y="77"/>
                            <a:pt x="49" y="77"/>
                            <a:pt x="49" y="77"/>
                          </a:cubicBezTo>
                          <a:cubicBezTo>
                            <a:pt x="49" y="77"/>
                            <a:pt x="49" y="77"/>
                            <a:pt x="49" y="77"/>
                          </a:cubicBezTo>
                          <a:cubicBezTo>
                            <a:pt x="49" y="77"/>
                            <a:pt x="50" y="77"/>
                            <a:pt x="50" y="76"/>
                          </a:cubicBezTo>
                          <a:cubicBezTo>
                            <a:pt x="50" y="76"/>
                            <a:pt x="50" y="77"/>
                            <a:pt x="50" y="77"/>
                          </a:cubicBezTo>
                          <a:cubicBezTo>
                            <a:pt x="50" y="77"/>
                            <a:pt x="50" y="77"/>
                            <a:pt x="50" y="77"/>
                          </a:cubicBezTo>
                          <a:cubicBezTo>
                            <a:pt x="50" y="77"/>
                            <a:pt x="50" y="77"/>
                            <a:pt x="49" y="77"/>
                          </a:cubicBezTo>
                          <a:cubicBezTo>
                            <a:pt x="50" y="78"/>
                            <a:pt x="50" y="77"/>
                            <a:pt x="50" y="77"/>
                          </a:cubicBezTo>
                          <a:cubicBezTo>
                            <a:pt x="51" y="77"/>
                            <a:pt x="50" y="77"/>
                            <a:pt x="51" y="77"/>
                          </a:cubicBezTo>
                          <a:cubicBezTo>
                            <a:pt x="51" y="76"/>
                            <a:pt x="50" y="77"/>
                            <a:pt x="50" y="77"/>
                          </a:cubicBezTo>
                          <a:cubicBezTo>
                            <a:pt x="50" y="77"/>
                            <a:pt x="51" y="76"/>
                            <a:pt x="51" y="76"/>
                          </a:cubicBezTo>
                          <a:cubicBezTo>
                            <a:pt x="51" y="76"/>
                            <a:pt x="51" y="76"/>
                            <a:pt x="51" y="76"/>
                          </a:cubicBezTo>
                          <a:cubicBezTo>
                            <a:pt x="51" y="76"/>
                            <a:pt x="51" y="76"/>
                            <a:pt x="51" y="76"/>
                          </a:cubicBezTo>
                          <a:cubicBezTo>
                            <a:pt x="51" y="76"/>
                            <a:pt x="51" y="76"/>
                            <a:pt x="51" y="76"/>
                          </a:cubicBezTo>
                          <a:cubicBezTo>
                            <a:pt x="51" y="76"/>
                            <a:pt x="51" y="76"/>
                            <a:pt x="51" y="76"/>
                          </a:cubicBezTo>
                          <a:cubicBezTo>
                            <a:pt x="52" y="76"/>
                            <a:pt x="52" y="76"/>
                            <a:pt x="52" y="76"/>
                          </a:cubicBezTo>
                          <a:cubicBezTo>
                            <a:pt x="52" y="76"/>
                            <a:pt x="52" y="76"/>
                            <a:pt x="52" y="76"/>
                          </a:cubicBezTo>
                          <a:cubicBezTo>
                            <a:pt x="52" y="76"/>
                            <a:pt x="51" y="76"/>
                            <a:pt x="51" y="76"/>
                          </a:cubicBezTo>
                          <a:cubicBezTo>
                            <a:pt x="51" y="76"/>
                            <a:pt x="51" y="76"/>
                            <a:pt x="51" y="76"/>
                          </a:cubicBezTo>
                          <a:cubicBezTo>
                            <a:pt x="51" y="76"/>
                            <a:pt x="50" y="76"/>
                            <a:pt x="50" y="76"/>
                          </a:cubicBezTo>
                          <a:cubicBezTo>
                            <a:pt x="50" y="76"/>
                            <a:pt x="50" y="76"/>
                            <a:pt x="50" y="76"/>
                          </a:cubicBezTo>
                          <a:cubicBezTo>
                            <a:pt x="50" y="76"/>
                            <a:pt x="50" y="76"/>
                            <a:pt x="50" y="76"/>
                          </a:cubicBezTo>
                          <a:cubicBezTo>
                            <a:pt x="50" y="76"/>
                            <a:pt x="50" y="75"/>
                            <a:pt x="51" y="75"/>
                          </a:cubicBezTo>
                          <a:cubicBezTo>
                            <a:pt x="51" y="75"/>
                            <a:pt x="50" y="75"/>
                            <a:pt x="50" y="75"/>
                          </a:cubicBezTo>
                          <a:cubicBezTo>
                            <a:pt x="50" y="76"/>
                            <a:pt x="50" y="75"/>
                            <a:pt x="51" y="75"/>
                          </a:cubicBezTo>
                          <a:cubicBezTo>
                            <a:pt x="51" y="75"/>
                            <a:pt x="51" y="75"/>
                            <a:pt x="51" y="75"/>
                          </a:cubicBezTo>
                          <a:cubicBezTo>
                            <a:pt x="51" y="75"/>
                            <a:pt x="51" y="75"/>
                            <a:pt x="51" y="76"/>
                          </a:cubicBezTo>
                          <a:cubicBezTo>
                            <a:pt x="51" y="76"/>
                            <a:pt x="51" y="75"/>
                            <a:pt x="51" y="76"/>
                          </a:cubicBezTo>
                          <a:cubicBezTo>
                            <a:pt x="51" y="75"/>
                            <a:pt x="52" y="75"/>
                            <a:pt x="52" y="75"/>
                          </a:cubicBezTo>
                          <a:cubicBezTo>
                            <a:pt x="52" y="75"/>
                            <a:pt x="51" y="75"/>
                            <a:pt x="51" y="75"/>
                          </a:cubicBezTo>
                          <a:cubicBezTo>
                            <a:pt x="52" y="75"/>
                            <a:pt x="52" y="75"/>
                            <a:pt x="52" y="75"/>
                          </a:cubicBezTo>
                          <a:cubicBezTo>
                            <a:pt x="52" y="75"/>
                            <a:pt x="52" y="75"/>
                            <a:pt x="52" y="75"/>
                          </a:cubicBezTo>
                          <a:cubicBezTo>
                            <a:pt x="53" y="75"/>
                            <a:pt x="53" y="74"/>
                            <a:pt x="53" y="74"/>
                          </a:cubicBezTo>
                          <a:cubicBezTo>
                            <a:pt x="54" y="74"/>
                            <a:pt x="54" y="74"/>
                            <a:pt x="54" y="74"/>
                          </a:cubicBezTo>
                          <a:cubicBezTo>
                            <a:pt x="54" y="73"/>
                            <a:pt x="55" y="73"/>
                            <a:pt x="55" y="73"/>
                          </a:cubicBezTo>
                          <a:cubicBezTo>
                            <a:pt x="55" y="73"/>
                            <a:pt x="55" y="73"/>
                            <a:pt x="55" y="73"/>
                          </a:cubicBezTo>
                          <a:cubicBezTo>
                            <a:pt x="56" y="73"/>
                            <a:pt x="56" y="73"/>
                            <a:pt x="56" y="73"/>
                          </a:cubicBezTo>
                          <a:cubicBezTo>
                            <a:pt x="56" y="73"/>
                            <a:pt x="56" y="73"/>
                            <a:pt x="55" y="73"/>
                          </a:cubicBezTo>
                          <a:cubicBezTo>
                            <a:pt x="56" y="73"/>
                            <a:pt x="56" y="73"/>
                            <a:pt x="56" y="72"/>
                          </a:cubicBezTo>
                          <a:cubicBezTo>
                            <a:pt x="56" y="72"/>
                            <a:pt x="56" y="73"/>
                            <a:pt x="56" y="73"/>
                          </a:cubicBezTo>
                          <a:cubicBezTo>
                            <a:pt x="56" y="73"/>
                            <a:pt x="56" y="73"/>
                            <a:pt x="57" y="72"/>
                          </a:cubicBezTo>
                          <a:cubicBezTo>
                            <a:pt x="57" y="72"/>
                            <a:pt x="57" y="72"/>
                            <a:pt x="57" y="73"/>
                          </a:cubicBezTo>
                          <a:cubicBezTo>
                            <a:pt x="57" y="72"/>
                            <a:pt x="57" y="72"/>
                            <a:pt x="57" y="72"/>
                          </a:cubicBezTo>
                          <a:cubicBezTo>
                            <a:pt x="57" y="72"/>
                            <a:pt x="58" y="72"/>
                            <a:pt x="57" y="72"/>
                          </a:cubicBezTo>
                          <a:cubicBezTo>
                            <a:pt x="58" y="72"/>
                            <a:pt x="58" y="72"/>
                            <a:pt x="58" y="72"/>
                          </a:cubicBezTo>
                          <a:cubicBezTo>
                            <a:pt x="58" y="72"/>
                            <a:pt x="58" y="72"/>
                            <a:pt x="58" y="72"/>
                          </a:cubicBezTo>
                          <a:cubicBezTo>
                            <a:pt x="58" y="72"/>
                            <a:pt x="58" y="72"/>
                            <a:pt x="58" y="72"/>
                          </a:cubicBezTo>
                          <a:cubicBezTo>
                            <a:pt x="58" y="72"/>
                            <a:pt x="58" y="72"/>
                            <a:pt x="58" y="72"/>
                          </a:cubicBezTo>
                          <a:cubicBezTo>
                            <a:pt x="57" y="72"/>
                            <a:pt x="57" y="72"/>
                            <a:pt x="57" y="73"/>
                          </a:cubicBezTo>
                          <a:cubicBezTo>
                            <a:pt x="57" y="73"/>
                            <a:pt x="57" y="73"/>
                            <a:pt x="57" y="73"/>
                          </a:cubicBezTo>
                          <a:cubicBezTo>
                            <a:pt x="56" y="73"/>
                            <a:pt x="57" y="73"/>
                            <a:pt x="57" y="73"/>
                          </a:cubicBezTo>
                          <a:cubicBezTo>
                            <a:pt x="56" y="73"/>
                            <a:pt x="57" y="73"/>
                            <a:pt x="56" y="73"/>
                          </a:cubicBezTo>
                          <a:cubicBezTo>
                            <a:pt x="56" y="73"/>
                            <a:pt x="56" y="74"/>
                            <a:pt x="56" y="73"/>
                          </a:cubicBezTo>
                          <a:cubicBezTo>
                            <a:pt x="55" y="74"/>
                            <a:pt x="55" y="74"/>
                            <a:pt x="55" y="74"/>
                          </a:cubicBezTo>
                          <a:cubicBezTo>
                            <a:pt x="55" y="74"/>
                            <a:pt x="55" y="74"/>
                            <a:pt x="55" y="74"/>
                          </a:cubicBezTo>
                          <a:cubicBezTo>
                            <a:pt x="55" y="74"/>
                            <a:pt x="55" y="74"/>
                            <a:pt x="55" y="73"/>
                          </a:cubicBezTo>
                          <a:cubicBezTo>
                            <a:pt x="55" y="73"/>
                            <a:pt x="55" y="74"/>
                            <a:pt x="55" y="74"/>
                          </a:cubicBezTo>
                          <a:cubicBezTo>
                            <a:pt x="55" y="74"/>
                            <a:pt x="55" y="74"/>
                            <a:pt x="55" y="74"/>
                          </a:cubicBezTo>
                          <a:cubicBezTo>
                            <a:pt x="55" y="74"/>
                            <a:pt x="55" y="74"/>
                            <a:pt x="55" y="74"/>
                          </a:cubicBezTo>
                          <a:cubicBezTo>
                            <a:pt x="55" y="75"/>
                            <a:pt x="54" y="74"/>
                            <a:pt x="54" y="74"/>
                          </a:cubicBezTo>
                          <a:cubicBezTo>
                            <a:pt x="54" y="74"/>
                            <a:pt x="53" y="75"/>
                            <a:pt x="53" y="75"/>
                          </a:cubicBezTo>
                          <a:cubicBezTo>
                            <a:pt x="54" y="75"/>
                            <a:pt x="54" y="74"/>
                            <a:pt x="54" y="74"/>
                          </a:cubicBezTo>
                          <a:cubicBezTo>
                            <a:pt x="54" y="74"/>
                            <a:pt x="54" y="74"/>
                            <a:pt x="54" y="74"/>
                          </a:cubicBezTo>
                          <a:cubicBezTo>
                            <a:pt x="54" y="75"/>
                            <a:pt x="54" y="75"/>
                            <a:pt x="53" y="75"/>
                          </a:cubicBezTo>
                          <a:cubicBezTo>
                            <a:pt x="53" y="75"/>
                            <a:pt x="53" y="75"/>
                            <a:pt x="53" y="75"/>
                          </a:cubicBezTo>
                          <a:cubicBezTo>
                            <a:pt x="53" y="75"/>
                            <a:pt x="53" y="75"/>
                            <a:pt x="52" y="75"/>
                          </a:cubicBezTo>
                          <a:cubicBezTo>
                            <a:pt x="52" y="75"/>
                            <a:pt x="52" y="75"/>
                            <a:pt x="52" y="75"/>
                          </a:cubicBezTo>
                          <a:cubicBezTo>
                            <a:pt x="52" y="76"/>
                            <a:pt x="52" y="75"/>
                            <a:pt x="52" y="76"/>
                          </a:cubicBezTo>
                          <a:cubicBezTo>
                            <a:pt x="52" y="75"/>
                            <a:pt x="52" y="75"/>
                            <a:pt x="52" y="75"/>
                          </a:cubicBezTo>
                          <a:cubicBezTo>
                            <a:pt x="52" y="75"/>
                            <a:pt x="53" y="76"/>
                            <a:pt x="53" y="75"/>
                          </a:cubicBezTo>
                          <a:cubicBezTo>
                            <a:pt x="53" y="75"/>
                            <a:pt x="52" y="76"/>
                            <a:pt x="52" y="76"/>
                          </a:cubicBezTo>
                          <a:cubicBezTo>
                            <a:pt x="52" y="76"/>
                            <a:pt x="53" y="76"/>
                            <a:pt x="53" y="76"/>
                          </a:cubicBezTo>
                          <a:cubicBezTo>
                            <a:pt x="53" y="76"/>
                            <a:pt x="53" y="76"/>
                            <a:pt x="53" y="75"/>
                          </a:cubicBezTo>
                          <a:cubicBezTo>
                            <a:pt x="53" y="75"/>
                            <a:pt x="53" y="75"/>
                            <a:pt x="53" y="76"/>
                          </a:cubicBezTo>
                          <a:cubicBezTo>
                            <a:pt x="53" y="76"/>
                            <a:pt x="54" y="75"/>
                            <a:pt x="53" y="75"/>
                          </a:cubicBezTo>
                          <a:cubicBezTo>
                            <a:pt x="54" y="75"/>
                            <a:pt x="54" y="75"/>
                            <a:pt x="54" y="75"/>
                          </a:cubicBezTo>
                          <a:cubicBezTo>
                            <a:pt x="53" y="76"/>
                            <a:pt x="53" y="76"/>
                            <a:pt x="53" y="76"/>
                          </a:cubicBezTo>
                          <a:cubicBezTo>
                            <a:pt x="53" y="76"/>
                            <a:pt x="53" y="76"/>
                            <a:pt x="53" y="76"/>
                          </a:cubicBezTo>
                          <a:cubicBezTo>
                            <a:pt x="52" y="77"/>
                            <a:pt x="52" y="77"/>
                            <a:pt x="52" y="77"/>
                          </a:cubicBezTo>
                          <a:cubicBezTo>
                            <a:pt x="52" y="77"/>
                            <a:pt x="52" y="77"/>
                            <a:pt x="52" y="77"/>
                          </a:cubicBezTo>
                          <a:cubicBezTo>
                            <a:pt x="51" y="77"/>
                            <a:pt x="51" y="77"/>
                            <a:pt x="51" y="77"/>
                          </a:cubicBezTo>
                          <a:cubicBezTo>
                            <a:pt x="51" y="78"/>
                            <a:pt x="50" y="78"/>
                            <a:pt x="50" y="78"/>
                          </a:cubicBezTo>
                          <a:cubicBezTo>
                            <a:pt x="50" y="78"/>
                            <a:pt x="50" y="78"/>
                            <a:pt x="50" y="78"/>
                          </a:cubicBezTo>
                          <a:cubicBezTo>
                            <a:pt x="50" y="78"/>
                            <a:pt x="50" y="78"/>
                            <a:pt x="50" y="78"/>
                          </a:cubicBezTo>
                          <a:cubicBezTo>
                            <a:pt x="50" y="78"/>
                            <a:pt x="49" y="78"/>
                            <a:pt x="50" y="78"/>
                          </a:cubicBezTo>
                          <a:cubicBezTo>
                            <a:pt x="50" y="78"/>
                            <a:pt x="49" y="78"/>
                            <a:pt x="49" y="78"/>
                          </a:cubicBezTo>
                          <a:cubicBezTo>
                            <a:pt x="49" y="78"/>
                            <a:pt x="49" y="78"/>
                            <a:pt x="50" y="78"/>
                          </a:cubicBezTo>
                          <a:cubicBezTo>
                            <a:pt x="50" y="78"/>
                            <a:pt x="49" y="78"/>
                            <a:pt x="49" y="78"/>
                          </a:cubicBezTo>
                          <a:cubicBezTo>
                            <a:pt x="49" y="78"/>
                            <a:pt x="49" y="78"/>
                            <a:pt x="49" y="78"/>
                          </a:cubicBezTo>
                          <a:cubicBezTo>
                            <a:pt x="49" y="78"/>
                            <a:pt x="49" y="78"/>
                            <a:pt x="49" y="78"/>
                          </a:cubicBezTo>
                          <a:cubicBezTo>
                            <a:pt x="49" y="78"/>
                            <a:pt x="49" y="78"/>
                            <a:pt x="49" y="78"/>
                          </a:cubicBezTo>
                          <a:cubicBezTo>
                            <a:pt x="48" y="78"/>
                            <a:pt x="48" y="78"/>
                            <a:pt x="48" y="78"/>
                          </a:cubicBezTo>
                          <a:cubicBezTo>
                            <a:pt x="48" y="78"/>
                            <a:pt x="48" y="78"/>
                            <a:pt x="48" y="78"/>
                          </a:cubicBezTo>
                          <a:cubicBezTo>
                            <a:pt x="48" y="78"/>
                            <a:pt x="48" y="79"/>
                            <a:pt x="49" y="78"/>
                          </a:cubicBezTo>
                          <a:cubicBezTo>
                            <a:pt x="49" y="78"/>
                            <a:pt x="48" y="78"/>
                            <a:pt x="48" y="79"/>
                          </a:cubicBezTo>
                          <a:cubicBezTo>
                            <a:pt x="48" y="78"/>
                            <a:pt x="48" y="78"/>
                            <a:pt x="48" y="79"/>
                          </a:cubicBezTo>
                          <a:cubicBezTo>
                            <a:pt x="48" y="79"/>
                            <a:pt x="48" y="79"/>
                            <a:pt x="47" y="79"/>
                          </a:cubicBezTo>
                          <a:cubicBezTo>
                            <a:pt x="47" y="79"/>
                            <a:pt x="47" y="79"/>
                            <a:pt x="48" y="79"/>
                          </a:cubicBezTo>
                          <a:cubicBezTo>
                            <a:pt x="48" y="79"/>
                            <a:pt x="48" y="79"/>
                            <a:pt x="48" y="79"/>
                          </a:cubicBezTo>
                          <a:cubicBezTo>
                            <a:pt x="48" y="79"/>
                            <a:pt x="47" y="80"/>
                            <a:pt x="46" y="80"/>
                          </a:cubicBezTo>
                          <a:cubicBezTo>
                            <a:pt x="46" y="80"/>
                            <a:pt x="46" y="80"/>
                            <a:pt x="46" y="80"/>
                          </a:cubicBezTo>
                          <a:cubicBezTo>
                            <a:pt x="46" y="80"/>
                            <a:pt x="46" y="80"/>
                            <a:pt x="46" y="80"/>
                          </a:cubicBezTo>
                          <a:cubicBezTo>
                            <a:pt x="46" y="80"/>
                            <a:pt x="45" y="80"/>
                            <a:pt x="45" y="81"/>
                          </a:cubicBezTo>
                          <a:cubicBezTo>
                            <a:pt x="45" y="80"/>
                            <a:pt x="45" y="80"/>
                            <a:pt x="45" y="80"/>
                          </a:cubicBezTo>
                          <a:cubicBezTo>
                            <a:pt x="45" y="81"/>
                            <a:pt x="45" y="81"/>
                            <a:pt x="44" y="81"/>
                          </a:cubicBezTo>
                          <a:cubicBezTo>
                            <a:pt x="45" y="81"/>
                            <a:pt x="44" y="81"/>
                            <a:pt x="44" y="81"/>
                          </a:cubicBezTo>
                          <a:cubicBezTo>
                            <a:pt x="44" y="81"/>
                            <a:pt x="44" y="81"/>
                            <a:pt x="44" y="81"/>
                          </a:cubicBezTo>
                          <a:cubicBezTo>
                            <a:pt x="44" y="81"/>
                            <a:pt x="45" y="81"/>
                            <a:pt x="44" y="80"/>
                          </a:cubicBezTo>
                          <a:cubicBezTo>
                            <a:pt x="44" y="80"/>
                            <a:pt x="44" y="81"/>
                            <a:pt x="43" y="81"/>
                          </a:cubicBezTo>
                          <a:cubicBezTo>
                            <a:pt x="43" y="81"/>
                            <a:pt x="43" y="81"/>
                            <a:pt x="43" y="81"/>
                          </a:cubicBezTo>
                          <a:cubicBezTo>
                            <a:pt x="43" y="81"/>
                            <a:pt x="44" y="81"/>
                            <a:pt x="44" y="81"/>
                          </a:cubicBezTo>
                          <a:cubicBezTo>
                            <a:pt x="44" y="81"/>
                            <a:pt x="44" y="81"/>
                            <a:pt x="43" y="81"/>
                          </a:cubicBezTo>
                          <a:cubicBezTo>
                            <a:pt x="43" y="81"/>
                            <a:pt x="43" y="81"/>
                            <a:pt x="42" y="82"/>
                          </a:cubicBezTo>
                          <a:cubicBezTo>
                            <a:pt x="42" y="82"/>
                            <a:pt x="42" y="82"/>
                            <a:pt x="42" y="82"/>
                          </a:cubicBezTo>
                          <a:cubicBezTo>
                            <a:pt x="42" y="82"/>
                            <a:pt x="42" y="82"/>
                            <a:pt x="43" y="82"/>
                          </a:cubicBezTo>
                          <a:cubicBezTo>
                            <a:pt x="43" y="82"/>
                            <a:pt x="43" y="81"/>
                            <a:pt x="43" y="81"/>
                          </a:cubicBezTo>
                          <a:cubicBezTo>
                            <a:pt x="43" y="82"/>
                            <a:pt x="43" y="82"/>
                            <a:pt x="43" y="82"/>
                          </a:cubicBezTo>
                          <a:cubicBezTo>
                            <a:pt x="43" y="81"/>
                            <a:pt x="43" y="81"/>
                            <a:pt x="43" y="81"/>
                          </a:cubicBezTo>
                          <a:cubicBezTo>
                            <a:pt x="43" y="81"/>
                            <a:pt x="43" y="82"/>
                            <a:pt x="42" y="82"/>
                          </a:cubicBezTo>
                          <a:cubicBezTo>
                            <a:pt x="43" y="82"/>
                            <a:pt x="43" y="82"/>
                            <a:pt x="42" y="82"/>
                          </a:cubicBezTo>
                          <a:cubicBezTo>
                            <a:pt x="42" y="82"/>
                            <a:pt x="42" y="82"/>
                            <a:pt x="42" y="82"/>
                          </a:cubicBezTo>
                          <a:cubicBezTo>
                            <a:pt x="42" y="82"/>
                            <a:pt x="42" y="82"/>
                            <a:pt x="42" y="82"/>
                          </a:cubicBezTo>
                          <a:cubicBezTo>
                            <a:pt x="42" y="82"/>
                            <a:pt x="42" y="82"/>
                            <a:pt x="42" y="82"/>
                          </a:cubicBezTo>
                          <a:cubicBezTo>
                            <a:pt x="42" y="82"/>
                            <a:pt x="43" y="82"/>
                            <a:pt x="43" y="82"/>
                          </a:cubicBezTo>
                          <a:cubicBezTo>
                            <a:pt x="42" y="82"/>
                            <a:pt x="42" y="82"/>
                            <a:pt x="42" y="83"/>
                          </a:cubicBezTo>
                          <a:cubicBezTo>
                            <a:pt x="42" y="83"/>
                            <a:pt x="42" y="83"/>
                            <a:pt x="42" y="83"/>
                          </a:cubicBezTo>
                          <a:cubicBezTo>
                            <a:pt x="42" y="83"/>
                            <a:pt x="42" y="83"/>
                            <a:pt x="42" y="83"/>
                          </a:cubicBezTo>
                          <a:cubicBezTo>
                            <a:pt x="41" y="83"/>
                            <a:pt x="42" y="83"/>
                            <a:pt x="42" y="83"/>
                          </a:cubicBezTo>
                          <a:cubicBezTo>
                            <a:pt x="42" y="83"/>
                            <a:pt x="42" y="83"/>
                            <a:pt x="42" y="83"/>
                          </a:cubicBezTo>
                          <a:cubicBezTo>
                            <a:pt x="42" y="83"/>
                            <a:pt x="42" y="83"/>
                            <a:pt x="42" y="83"/>
                          </a:cubicBezTo>
                          <a:cubicBezTo>
                            <a:pt x="42" y="83"/>
                            <a:pt x="42" y="83"/>
                            <a:pt x="42" y="83"/>
                          </a:cubicBezTo>
                          <a:cubicBezTo>
                            <a:pt x="42" y="83"/>
                            <a:pt x="42" y="84"/>
                            <a:pt x="42" y="84"/>
                          </a:cubicBezTo>
                          <a:cubicBezTo>
                            <a:pt x="42" y="84"/>
                            <a:pt x="41" y="83"/>
                            <a:pt x="42" y="83"/>
                          </a:cubicBezTo>
                          <a:cubicBezTo>
                            <a:pt x="42" y="83"/>
                            <a:pt x="41" y="83"/>
                            <a:pt x="41" y="83"/>
                          </a:cubicBezTo>
                          <a:cubicBezTo>
                            <a:pt x="41" y="83"/>
                            <a:pt x="41" y="84"/>
                            <a:pt x="41" y="84"/>
                          </a:cubicBezTo>
                          <a:cubicBezTo>
                            <a:pt x="41" y="84"/>
                            <a:pt x="42" y="84"/>
                            <a:pt x="43" y="83"/>
                          </a:cubicBezTo>
                          <a:cubicBezTo>
                            <a:pt x="43" y="84"/>
                            <a:pt x="42" y="84"/>
                            <a:pt x="42" y="84"/>
                          </a:cubicBezTo>
                          <a:cubicBezTo>
                            <a:pt x="42" y="84"/>
                            <a:pt x="42" y="84"/>
                            <a:pt x="42" y="84"/>
                          </a:cubicBezTo>
                          <a:cubicBezTo>
                            <a:pt x="42" y="84"/>
                            <a:pt x="42" y="84"/>
                            <a:pt x="41" y="84"/>
                          </a:cubicBezTo>
                          <a:cubicBezTo>
                            <a:pt x="41" y="84"/>
                            <a:pt x="41" y="84"/>
                            <a:pt x="42" y="84"/>
                          </a:cubicBezTo>
                          <a:cubicBezTo>
                            <a:pt x="42" y="84"/>
                            <a:pt x="41" y="84"/>
                            <a:pt x="41" y="85"/>
                          </a:cubicBezTo>
                          <a:cubicBezTo>
                            <a:pt x="41" y="85"/>
                            <a:pt x="41" y="84"/>
                            <a:pt x="41" y="84"/>
                          </a:cubicBezTo>
                          <a:cubicBezTo>
                            <a:pt x="41" y="84"/>
                            <a:pt x="41" y="84"/>
                            <a:pt x="41" y="84"/>
                          </a:cubicBezTo>
                          <a:cubicBezTo>
                            <a:pt x="41" y="84"/>
                            <a:pt x="41" y="84"/>
                            <a:pt x="41" y="84"/>
                          </a:cubicBezTo>
                          <a:cubicBezTo>
                            <a:pt x="41" y="84"/>
                            <a:pt x="41" y="84"/>
                            <a:pt x="41" y="84"/>
                          </a:cubicBezTo>
                          <a:cubicBezTo>
                            <a:pt x="41" y="83"/>
                            <a:pt x="41" y="83"/>
                            <a:pt x="41" y="83"/>
                          </a:cubicBezTo>
                          <a:cubicBezTo>
                            <a:pt x="41" y="83"/>
                            <a:pt x="41" y="83"/>
                            <a:pt x="41" y="84"/>
                          </a:cubicBezTo>
                          <a:cubicBezTo>
                            <a:pt x="41" y="84"/>
                            <a:pt x="41" y="83"/>
                            <a:pt x="41" y="83"/>
                          </a:cubicBezTo>
                          <a:cubicBezTo>
                            <a:pt x="40" y="84"/>
                            <a:pt x="40" y="84"/>
                            <a:pt x="40" y="84"/>
                          </a:cubicBezTo>
                          <a:cubicBezTo>
                            <a:pt x="40" y="84"/>
                            <a:pt x="41" y="84"/>
                            <a:pt x="41" y="84"/>
                          </a:cubicBezTo>
                          <a:cubicBezTo>
                            <a:pt x="40" y="84"/>
                            <a:pt x="41" y="84"/>
                            <a:pt x="40" y="84"/>
                          </a:cubicBezTo>
                          <a:cubicBezTo>
                            <a:pt x="40" y="84"/>
                            <a:pt x="40" y="84"/>
                            <a:pt x="40" y="84"/>
                          </a:cubicBezTo>
                          <a:cubicBezTo>
                            <a:pt x="40" y="84"/>
                            <a:pt x="40" y="84"/>
                            <a:pt x="40" y="84"/>
                          </a:cubicBezTo>
                          <a:cubicBezTo>
                            <a:pt x="40" y="84"/>
                            <a:pt x="40" y="84"/>
                            <a:pt x="39" y="85"/>
                          </a:cubicBezTo>
                          <a:cubicBezTo>
                            <a:pt x="39" y="85"/>
                            <a:pt x="40" y="85"/>
                            <a:pt x="39" y="85"/>
                          </a:cubicBezTo>
                          <a:cubicBezTo>
                            <a:pt x="39" y="85"/>
                            <a:pt x="39" y="85"/>
                            <a:pt x="39" y="85"/>
                          </a:cubicBezTo>
                          <a:cubicBezTo>
                            <a:pt x="39" y="85"/>
                            <a:pt x="39" y="84"/>
                            <a:pt x="39" y="84"/>
                          </a:cubicBezTo>
                          <a:cubicBezTo>
                            <a:pt x="40" y="84"/>
                            <a:pt x="40" y="84"/>
                            <a:pt x="40" y="84"/>
                          </a:cubicBezTo>
                          <a:cubicBezTo>
                            <a:pt x="39" y="84"/>
                            <a:pt x="39" y="85"/>
                            <a:pt x="39" y="85"/>
                          </a:cubicBezTo>
                          <a:cubicBezTo>
                            <a:pt x="39" y="85"/>
                            <a:pt x="39" y="85"/>
                            <a:pt x="39" y="85"/>
                          </a:cubicBezTo>
                          <a:cubicBezTo>
                            <a:pt x="39" y="85"/>
                            <a:pt x="39" y="85"/>
                            <a:pt x="39" y="85"/>
                          </a:cubicBezTo>
                          <a:cubicBezTo>
                            <a:pt x="39" y="85"/>
                            <a:pt x="39" y="85"/>
                            <a:pt x="40" y="85"/>
                          </a:cubicBezTo>
                          <a:cubicBezTo>
                            <a:pt x="40" y="85"/>
                            <a:pt x="39" y="85"/>
                            <a:pt x="40" y="85"/>
                          </a:cubicBezTo>
                          <a:cubicBezTo>
                            <a:pt x="40" y="85"/>
                            <a:pt x="40" y="84"/>
                            <a:pt x="40" y="84"/>
                          </a:cubicBezTo>
                          <a:cubicBezTo>
                            <a:pt x="40" y="85"/>
                            <a:pt x="40" y="85"/>
                            <a:pt x="40" y="85"/>
                          </a:cubicBezTo>
                          <a:cubicBezTo>
                            <a:pt x="40" y="85"/>
                            <a:pt x="40" y="85"/>
                            <a:pt x="40" y="85"/>
                          </a:cubicBezTo>
                          <a:cubicBezTo>
                            <a:pt x="40" y="85"/>
                            <a:pt x="40" y="85"/>
                            <a:pt x="41" y="85"/>
                          </a:cubicBezTo>
                          <a:cubicBezTo>
                            <a:pt x="40" y="85"/>
                            <a:pt x="40" y="85"/>
                            <a:pt x="40" y="85"/>
                          </a:cubicBezTo>
                          <a:cubicBezTo>
                            <a:pt x="40" y="85"/>
                            <a:pt x="40" y="85"/>
                            <a:pt x="40" y="85"/>
                          </a:cubicBezTo>
                          <a:cubicBezTo>
                            <a:pt x="40" y="85"/>
                            <a:pt x="40" y="85"/>
                            <a:pt x="40" y="85"/>
                          </a:cubicBezTo>
                          <a:cubicBezTo>
                            <a:pt x="40" y="85"/>
                            <a:pt x="41" y="85"/>
                            <a:pt x="41" y="85"/>
                          </a:cubicBezTo>
                          <a:cubicBezTo>
                            <a:pt x="41" y="85"/>
                            <a:pt x="41" y="85"/>
                            <a:pt x="41" y="85"/>
                          </a:cubicBezTo>
                          <a:cubicBezTo>
                            <a:pt x="41" y="85"/>
                            <a:pt x="41" y="85"/>
                            <a:pt x="41" y="85"/>
                          </a:cubicBezTo>
                          <a:cubicBezTo>
                            <a:pt x="41" y="85"/>
                            <a:pt x="41" y="85"/>
                            <a:pt x="41" y="85"/>
                          </a:cubicBezTo>
                          <a:cubicBezTo>
                            <a:pt x="41" y="85"/>
                            <a:pt x="41" y="85"/>
                            <a:pt x="41" y="85"/>
                          </a:cubicBezTo>
                          <a:cubicBezTo>
                            <a:pt x="41" y="86"/>
                            <a:pt x="41" y="85"/>
                            <a:pt x="41" y="85"/>
                          </a:cubicBezTo>
                          <a:cubicBezTo>
                            <a:pt x="41" y="85"/>
                            <a:pt x="41" y="85"/>
                            <a:pt x="41" y="85"/>
                          </a:cubicBezTo>
                          <a:cubicBezTo>
                            <a:pt x="41" y="85"/>
                            <a:pt x="41" y="85"/>
                            <a:pt x="41" y="85"/>
                          </a:cubicBezTo>
                          <a:cubicBezTo>
                            <a:pt x="42" y="85"/>
                            <a:pt x="41" y="85"/>
                            <a:pt x="41" y="85"/>
                          </a:cubicBezTo>
                          <a:cubicBezTo>
                            <a:pt x="42" y="85"/>
                            <a:pt x="42" y="85"/>
                            <a:pt x="42" y="84"/>
                          </a:cubicBezTo>
                          <a:cubicBezTo>
                            <a:pt x="42" y="84"/>
                            <a:pt x="42" y="85"/>
                            <a:pt x="41" y="85"/>
                          </a:cubicBezTo>
                          <a:cubicBezTo>
                            <a:pt x="41" y="85"/>
                            <a:pt x="41" y="84"/>
                            <a:pt x="42" y="84"/>
                          </a:cubicBezTo>
                          <a:cubicBezTo>
                            <a:pt x="42" y="84"/>
                            <a:pt x="42" y="84"/>
                            <a:pt x="42" y="84"/>
                          </a:cubicBezTo>
                          <a:cubicBezTo>
                            <a:pt x="43" y="84"/>
                            <a:pt x="42" y="84"/>
                            <a:pt x="42" y="84"/>
                          </a:cubicBezTo>
                          <a:cubicBezTo>
                            <a:pt x="43" y="84"/>
                            <a:pt x="43" y="83"/>
                            <a:pt x="43" y="84"/>
                          </a:cubicBezTo>
                          <a:cubicBezTo>
                            <a:pt x="43" y="83"/>
                            <a:pt x="43" y="83"/>
                            <a:pt x="43" y="83"/>
                          </a:cubicBezTo>
                          <a:cubicBezTo>
                            <a:pt x="43" y="83"/>
                            <a:pt x="43" y="83"/>
                            <a:pt x="43" y="83"/>
                          </a:cubicBezTo>
                          <a:cubicBezTo>
                            <a:pt x="43" y="83"/>
                            <a:pt x="43" y="83"/>
                            <a:pt x="43" y="83"/>
                          </a:cubicBezTo>
                          <a:cubicBezTo>
                            <a:pt x="43" y="83"/>
                            <a:pt x="43" y="83"/>
                            <a:pt x="44" y="83"/>
                          </a:cubicBezTo>
                          <a:cubicBezTo>
                            <a:pt x="44" y="83"/>
                            <a:pt x="44" y="83"/>
                            <a:pt x="44" y="83"/>
                          </a:cubicBezTo>
                          <a:cubicBezTo>
                            <a:pt x="44" y="83"/>
                            <a:pt x="44" y="83"/>
                            <a:pt x="44" y="83"/>
                          </a:cubicBezTo>
                          <a:cubicBezTo>
                            <a:pt x="44" y="83"/>
                            <a:pt x="45" y="83"/>
                            <a:pt x="45" y="83"/>
                          </a:cubicBezTo>
                          <a:cubicBezTo>
                            <a:pt x="45" y="83"/>
                            <a:pt x="44" y="83"/>
                            <a:pt x="44" y="83"/>
                          </a:cubicBezTo>
                          <a:cubicBezTo>
                            <a:pt x="44" y="83"/>
                            <a:pt x="44" y="83"/>
                            <a:pt x="44" y="83"/>
                          </a:cubicBezTo>
                          <a:cubicBezTo>
                            <a:pt x="45" y="83"/>
                            <a:pt x="45" y="83"/>
                            <a:pt x="45" y="83"/>
                          </a:cubicBezTo>
                          <a:cubicBezTo>
                            <a:pt x="45" y="82"/>
                            <a:pt x="45" y="82"/>
                            <a:pt x="46" y="82"/>
                          </a:cubicBezTo>
                          <a:cubicBezTo>
                            <a:pt x="46" y="82"/>
                            <a:pt x="46" y="82"/>
                            <a:pt x="46" y="82"/>
                          </a:cubicBezTo>
                          <a:cubicBezTo>
                            <a:pt x="46" y="82"/>
                            <a:pt x="46" y="82"/>
                            <a:pt x="47" y="81"/>
                          </a:cubicBezTo>
                          <a:cubicBezTo>
                            <a:pt x="47" y="81"/>
                            <a:pt x="47" y="81"/>
                            <a:pt x="47" y="82"/>
                          </a:cubicBezTo>
                          <a:cubicBezTo>
                            <a:pt x="47" y="81"/>
                            <a:pt x="47" y="81"/>
                            <a:pt x="47" y="81"/>
                          </a:cubicBezTo>
                          <a:cubicBezTo>
                            <a:pt x="47" y="81"/>
                            <a:pt x="47" y="81"/>
                            <a:pt x="47" y="81"/>
                          </a:cubicBezTo>
                          <a:cubicBezTo>
                            <a:pt x="47" y="81"/>
                            <a:pt x="47" y="81"/>
                            <a:pt x="47" y="81"/>
                          </a:cubicBezTo>
                          <a:cubicBezTo>
                            <a:pt x="47" y="81"/>
                            <a:pt x="47" y="81"/>
                            <a:pt x="47" y="81"/>
                          </a:cubicBezTo>
                          <a:cubicBezTo>
                            <a:pt x="47" y="81"/>
                            <a:pt x="47" y="81"/>
                            <a:pt x="47" y="81"/>
                          </a:cubicBezTo>
                          <a:cubicBezTo>
                            <a:pt x="48" y="81"/>
                            <a:pt x="47" y="81"/>
                            <a:pt x="48" y="81"/>
                          </a:cubicBezTo>
                          <a:cubicBezTo>
                            <a:pt x="48" y="81"/>
                            <a:pt x="47" y="81"/>
                            <a:pt x="47" y="81"/>
                          </a:cubicBezTo>
                          <a:cubicBezTo>
                            <a:pt x="48" y="81"/>
                            <a:pt x="48" y="81"/>
                            <a:pt x="48" y="80"/>
                          </a:cubicBezTo>
                          <a:cubicBezTo>
                            <a:pt x="48" y="81"/>
                            <a:pt x="48" y="81"/>
                            <a:pt x="48" y="81"/>
                          </a:cubicBezTo>
                          <a:cubicBezTo>
                            <a:pt x="48" y="81"/>
                            <a:pt x="49" y="81"/>
                            <a:pt x="49" y="81"/>
                          </a:cubicBezTo>
                          <a:cubicBezTo>
                            <a:pt x="49" y="80"/>
                            <a:pt x="49" y="81"/>
                            <a:pt x="49" y="81"/>
                          </a:cubicBezTo>
                          <a:cubicBezTo>
                            <a:pt x="49" y="81"/>
                            <a:pt x="49" y="81"/>
                            <a:pt x="49" y="81"/>
                          </a:cubicBezTo>
                          <a:cubicBezTo>
                            <a:pt x="50" y="81"/>
                            <a:pt x="50" y="80"/>
                            <a:pt x="50" y="80"/>
                          </a:cubicBezTo>
                          <a:cubicBezTo>
                            <a:pt x="50" y="80"/>
                            <a:pt x="51" y="80"/>
                            <a:pt x="50" y="80"/>
                          </a:cubicBezTo>
                          <a:cubicBezTo>
                            <a:pt x="51" y="80"/>
                            <a:pt x="51" y="80"/>
                            <a:pt x="51" y="80"/>
                          </a:cubicBezTo>
                          <a:cubicBezTo>
                            <a:pt x="51" y="80"/>
                            <a:pt x="51" y="79"/>
                            <a:pt x="52" y="80"/>
                          </a:cubicBezTo>
                          <a:cubicBezTo>
                            <a:pt x="52" y="80"/>
                            <a:pt x="51" y="80"/>
                            <a:pt x="52" y="80"/>
                          </a:cubicBezTo>
                          <a:cubicBezTo>
                            <a:pt x="50" y="80"/>
                            <a:pt x="48" y="82"/>
                            <a:pt x="47" y="82"/>
                          </a:cubicBezTo>
                          <a:cubicBezTo>
                            <a:pt x="47" y="82"/>
                            <a:pt x="47" y="82"/>
                            <a:pt x="47" y="82"/>
                          </a:cubicBezTo>
                          <a:cubicBezTo>
                            <a:pt x="47" y="82"/>
                            <a:pt x="47" y="82"/>
                            <a:pt x="47" y="82"/>
                          </a:cubicBezTo>
                          <a:cubicBezTo>
                            <a:pt x="47" y="82"/>
                            <a:pt x="47" y="82"/>
                            <a:pt x="47" y="82"/>
                          </a:cubicBezTo>
                          <a:cubicBezTo>
                            <a:pt x="46" y="82"/>
                            <a:pt x="46" y="83"/>
                            <a:pt x="46" y="83"/>
                          </a:cubicBezTo>
                          <a:cubicBezTo>
                            <a:pt x="46" y="83"/>
                            <a:pt x="46" y="83"/>
                            <a:pt x="46" y="82"/>
                          </a:cubicBezTo>
                          <a:cubicBezTo>
                            <a:pt x="46" y="82"/>
                            <a:pt x="46" y="83"/>
                            <a:pt x="46" y="83"/>
                          </a:cubicBezTo>
                          <a:cubicBezTo>
                            <a:pt x="46" y="83"/>
                            <a:pt x="46" y="83"/>
                            <a:pt x="46" y="83"/>
                          </a:cubicBezTo>
                          <a:cubicBezTo>
                            <a:pt x="46" y="83"/>
                            <a:pt x="46" y="83"/>
                            <a:pt x="46" y="83"/>
                          </a:cubicBezTo>
                          <a:cubicBezTo>
                            <a:pt x="45" y="83"/>
                            <a:pt x="45" y="84"/>
                            <a:pt x="45" y="83"/>
                          </a:cubicBezTo>
                          <a:cubicBezTo>
                            <a:pt x="45" y="83"/>
                            <a:pt x="45" y="83"/>
                            <a:pt x="45" y="83"/>
                          </a:cubicBezTo>
                          <a:cubicBezTo>
                            <a:pt x="45" y="83"/>
                            <a:pt x="45" y="83"/>
                            <a:pt x="45" y="84"/>
                          </a:cubicBezTo>
                          <a:cubicBezTo>
                            <a:pt x="45" y="84"/>
                            <a:pt x="45" y="84"/>
                            <a:pt x="45" y="84"/>
                          </a:cubicBezTo>
                          <a:cubicBezTo>
                            <a:pt x="45" y="84"/>
                            <a:pt x="44" y="84"/>
                            <a:pt x="44" y="84"/>
                          </a:cubicBezTo>
                          <a:cubicBezTo>
                            <a:pt x="44" y="84"/>
                            <a:pt x="44" y="84"/>
                            <a:pt x="44" y="84"/>
                          </a:cubicBezTo>
                          <a:cubicBezTo>
                            <a:pt x="44" y="84"/>
                            <a:pt x="44" y="84"/>
                            <a:pt x="43" y="85"/>
                          </a:cubicBezTo>
                          <a:cubicBezTo>
                            <a:pt x="43" y="84"/>
                            <a:pt x="44" y="84"/>
                            <a:pt x="43" y="84"/>
                          </a:cubicBezTo>
                          <a:cubicBezTo>
                            <a:pt x="43" y="85"/>
                            <a:pt x="43" y="85"/>
                            <a:pt x="42" y="85"/>
                          </a:cubicBezTo>
                          <a:cubicBezTo>
                            <a:pt x="43" y="85"/>
                            <a:pt x="43" y="85"/>
                            <a:pt x="43" y="85"/>
                          </a:cubicBezTo>
                          <a:cubicBezTo>
                            <a:pt x="43" y="85"/>
                            <a:pt x="43" y="85"/>
                            <a:pt x="43" y="85"/>
                          </a:cubicBezTo>
                          <a:cubicBezTo>
                            <a:pt x="43" y="85"/>
                            <a:pt x="43" y="86"/>
                            <a:pt x="43" y="86"/>
                          </a:cubicBezTo>
                          <a:cubicBezTo>
                            <a:pt x="43" y="86"/>
                            <a:pt x="43" y="86"/>
                            <a:pt x="43" y="86"/>
                          </a:cubicBezTo>
                          <a:cubicBezTo>
                            <a:pt x="42" y="86"/>
                            <a:pt x="43" y="86"/>
                            <a:pt x="43" y="86"/>
                          </a:cubicBezTo>
                          <a:cubicBezTo>
                            <a:pt x="44" y="86"/>
                            <a:pt x="44" y="85"/>
                            <a:pt x="44" y="85"/>
                          </a:cubicBezTo>
                          <a:cubicBezTo>
                            <a:pt x="44" y="85"/>
                            <a:pt x="44" y="85"/>
                            <a:pt x="44" y="85"/>
                          </a:cubicBezTo>
                          <a:cubicBezTo>
                            <a:pt x="44" y="85"/>
                            <a:pt x="44" y="85"/>
                            <a:pt x="45" y="85"/>
                          </a:cubicBezTo>
                          <a:cubicBezTo>
                            <a:pt x="44" y="86"/>
                            <a:pt x="44" y="86"/>
                            <a:pt x="43" y="86"/>
                          </a:cubicBezTo>
                          <a:cubicBezTo>
                            <a:pt x="44" y="86"/>
                            <a:pt x="43" y="86"/>
                            <a:pt x="43" y="87"/>
                          </a:cubicBezTo>
                          <a:cubicBezTo>
                            <a:pt x="43" y="87"/>
                            <a:pt x="43" y="86"/>
                            <a:pt x="43" y="86"/>
                          </a:cubicBezTo>
                          <a:cubicBezTo>
                            <a:pt x="43" y="86"/>
                            <a:pt x="43" y="86"/>
                            <a:pt x="42" y="86"/>
                          </a:cubicBezTo>
                          <a:cubicBezTo>
                            <a:pt x="42" y="87"/>
                            <a:pt x="42" y="87"/>
                            <a:pt x="42" y="87"/>
                          </a:cubicBezTo>
                          <a:cubicBezTo>
                            <a:pt x="42" y="87"/>
                            <a:pt x="42" y="87"/>
                            <a:pt x="42" y="87"/>
                          </a:cubicBezTo>
                          <a:cubicBezTo>
                            <a:pt x="42" y="87"/>
                            <a:pt x="42" y="87"/>
                            <a:pt x="42" y="87"/>
                          </a:cubicBezTo>
                          <a:cubicBezTo>
                            <a:pt x="42" y="87"/>
                            <a:pt x="42" y="87"/>
                            <a:pt x="41" y="87"/>
                          </a:cubicBezTo>
                          <a:cubicBezTo>
                            <a:pt x="41" y="87"/>
                            <a:pt x="42" y="87"/>
                            <a:pt x="42" y="87"/>
                          </a:cubicBezTo>
                          <a:cubicBezTo>
                            <a:pt x="41" y="88"/>
                            <a:pt x="41" y="87"/>
                            <a:pt x="41" y="88"/>
                          </a:cubicBezTo>
                          <a:cubicBezTo>
                            <a:pt x="41" y="88"/>
                            <a:pt x="41" y="88"/>
                            <a:pt x="41" y="88"/>
                          </a:cubicBezTo>
                          <a:cubicBezTo>
                            <a:pt x="41" y="88"/>
                            <a:pt x="41" y="88"/>
                            <a:pt x="41" y="88"/>
                          </a:cubicBezTo>
                          <a:cubicBezTo>
                            <a:pt x="41" y="88"/>
                            <a:pt x="41" y="88"/>
                            <a:pt x="41" y="88"/>
                          </a:cubicBezTo>
                          <a:cubicBezTo>
                            <a:pt x="41" y="88"/>
                            <a:pt x="41" y="88"/>
                            <a:pt x="42" y="87"/>
                          </a:cubicBezTo>
                          <a:cubicBezTo>
                            <a:pt x="42" y="87"/>
                            <a:pt x="42" y="87"/>
                            <a:pt x="42" y="87"/>
                          </a:cubicBezTo>
                          <a:cubicBezTo>
                            <a:pt x="42" y="87"/>
                            <a:pt x="42" y="87"/>
                            <a:pt x="42" y="87"/>
                          </a:cubicBezTo>
                          <a:cubicBezTo>
                            <a:pt x="42" y="87"/>
                            <a:pt x="42" y="87"/>
                            <a:pt x="42" y="87"/>
                          </a:cubicBezTo>
                          <a:cubicBezTo>
                            <a:pt x="42" y="87"/>
                            <a:pt x="42" y="87"/>
                            <a:pt x="42" y="87"/>
                          </a:cubicBezTo>
                          <a:cubicBezTo>
                            <a:pt x="43" y="87"/>
                            <a:pt x="43" y="87"/>
                            <a:pt x="43" y="87"/>
                          </a:cubicBezTo>
                          <a:cubicBezTo>
                            <a:pt x="43" y="87"/>
                            <a:pt x="43" y="87"/>
                            <a:pt x="43" y="87"/>
                          </a:cubicBezTo>
                          <a:cubicBezTo>
                            <a:pt x="43" y="87"/>
                            <a:pt x="43" y="87"/>
                            <a:pt x="42" y="87"/>
                          </a:cubicBezTo>
                          <a:cubicBezTo>
                            <a:pt x="42" y="87"/>
                            <a:pt x="43" y="87"/>
                            <a:pt x="43" y="87"/>
                          </a:cubicBezTo>
                          <a:cubicBezTo>
                            <a:pt x="43" y="87"/>
                            <a:pt x="43" y="87"/>
                            <a:pt x="44" y="86"/>
                          </a:cubicBezTo>
                          <a:cubicBezTo>
                            <a:pt x="44" y="87"/>
                            <a:pt x="43" y="87"/>
                            <a:pt x="43" y="87"/>
                          </a:cubicBezTo>
                          <a:cubicBezTo>
                            <a:pt x="43" y="87"/>
                            <a:pt x="43" y="87"/>
                            <a:pt x="43" y="87"/>
                          </a:cubicBezTo>
                          <a:cubicBezTo>
                            <a:pt x="43" y="87"/>
                            <a:pt x="43" y="87"/>
                            <a:pt x="43" y="87"/>
                          </a:cubicBezTo>
                          <a:cubicBezTo>
                            <a:pt x="43" y="88"/>
                            <a:pt x="42" y="87"/>
                            <a:pt x="42" y="88"/>
                          </a:cubicBezTo>
                          <a:cubicBezTo>
                            <a:pt x="42" y="88"/>
                            <a:pt x="42" y="88"/>
                            <a:pt x="42" y="88"/>
                          </a:cubicBezTo>
                          <a:cubicBezTo>
                            <a:pt x="42" y="88"/>
                            <a:pt x="42" y="88"/>
                            <a:pt x="41" y="88"/>
                          </a:cubicBezTo>
                          <a:cubicBezTo>
                            <a:pt x="42" y="88"/>
                            <a:pt x="42" y="88"/>
                            <a:pt x="41" y="88"/>
                          </a:cubicBezTo>
                          <a:cubicBezTo>
                            <a:pt x="41" y="88"/>
                            <a:pt x="42" y="88"/>
                            <a:pt x="42" y="88"/>
                          </a:cubicBezTo>
                          <a:cubicBezTo>
                            <a:pt x="42" y="88"/>
                            <a:pt x="41" y="89"/>
                            <a:pt x="42" y="88"/>
                          </a:cubicBezTo>
                          <a:cubicBezTo>
                            <a:pt x="42" y="89"/>
                            <a:pt x="42" y="89"/>
                            <a:pt x="41" y="89"/>
                          </a:cubicBezTo>
                          <a:cubicBezTo>
                            <a:pt x="41" y="89"/>
                            <a:pt x="41" y="88"/>
                            <a:pt x="41" y="88"/>
                          </a:cubicBezTo>
                          <a:cubicBezTo>
                            <a:pt x="41" y="88"/>
                            <a:pt x="41" y="89"/>
                            <a:pt x="41" y="89"/>
                          </a:cubicBezTo>
                          <a:cubicBezTo>
                            <a:pt x="41" y="89"/>
                            <a:pt x="41" y="89"/>
                            <a:pt x="41" y="89"/>
                          </a:cubicBezTo>
                          <a:cubicBezTo>
                            <a:pt x="41" y="89"/>
                            <a:pt x="41" y="89"/>
                            <a:pt x="41" y="89"/>
                          </a:cubicBezTo>
                          <a:cubicBezTo>
                            <a:pt x="41" y="89"/>
                            <a:pt x="41" y="89"/>
                            <a:pt x="40" y="89"/>
                          </a:cubicBezTo>
                          <a:cubicBezTo>
                            <a:pt x="40" y="89"/>
                            <a:pt x="41" y="89"/>
                            <a:pt x="41" y="89"/>
                          </a:cubicBezTo>
                          <a:cubicBezTo>
                            <a:pt x="41" y="89"/>
                            <a:pt x="40" y="89"/>
                            <a:pt x="40" y="89"/>
                          </a:cubicBezTo>
                          <a:cubicBezTo>
                            <a:pt x="40" y="89"/>
                            <a:pt x="40" y="89"/>
                            <a:pt x="40" y="89"/>
                          </a:cubicBezTo>
                          <a:cubicBezTo>
                            <a:pt x="40" y="90"/>
                            <a:pt x="40" y="89"/>
                            <a:pt x="40" y="90"/>
                          </a:cubicBezTo>
                          <a:cubicBezTo>
                            <a:pt x="40" y="90"/>
                            <a:pt x="40" y="90"/>
                            <a:pt x="40" y="90"/>
                          </a:cubicBezTo>
                          <a:cubicBezTo>
                            <a:pt x="40" y="90"/>
                            <a:pt x="39" y="90"/>
                            <a:pt x="39" y="90"/>
                          </a:cubicBezTo>
                          <a:cubicBezTo>
                            <a:pt x="39" y="90"/>
                            <a:pt x="39" y="90"/>
                            <a:pt x="38" y="91"/>
                          </a:cubicBezTo>
                          <a:cubicBezTo>
                            <a:pt x="38" y="90"/>
                            <a:pt x="39" y="90"/>
                            <a:pt x="39" y="90"/>
                          </a:cubicBezTo>
                          <a:cubicBezTo>
                            <a:pt x="39" y="90"/>
                            <a:pt x="39" y="90"/>
                            <a:pt x="39" y="90"/>
                          </a:cubicBezTo>
                          <a:cubicBezTo>
                            <a:pt x="39" y="90"/>
                            <a:pt x="39" y="90"/>
                            <a:pt x="39" y="90"/>
                          </a:cubicBezTo>
                          <a:cubicBezTo>
                            <a:pt x="39" y="90"/>
                            <a:pt x="39" y="90"/>
                            <a:pt x="38" y="90"/>
                          </a:cubicBezTo>
                          <a:cubicBezTo>
                            <a:pt x="39" y="90"/>
                            <a:pt x="39" y="90"/>
                            <a:pt x="39" y="90"/>
                          </a:cubicBezTo>
                          <a:cubicBezTo>
                            <a:pt x="38" y="90"/>
                            <a:pt x="38" y="90"/>
                            <a:pt x="38" y="90"/>
                          </a:cubicBezTo>
                          <a:cubicBezTo>
                            <a:pt x="38" y="90"/>
                            <a:pt x="38" y="90"/>
                            <a:pt x="38" y="91"/>
                          </a:cubicBezTo>
                          <a:cubicBezTo>
                            <a:pt x="38" y="91"/>
                            <a:pt x="38" y="90"/>
                            <a:pt x="38" y="91"/>
                          </a:cubicBezTo>
                          <a:cubicBezTo>
                            <a:pt x="38" y="91"/>
                            <a:pt x="38" y="91"/>
                            <a:pt x="38" y="91"/>
                          </a:cubicBezTo>
                          <a:cubicBezTo>
                            <a:pt x="38" y="91"/>
                            <a:pt x="38" y="91"/>
                            <a:pt x="38" y="91"/>
                          </a:cubicBezTo>
                          <a:cubicBezTo>
                            <a:pt x="38" y="91"/>
                            <a:pt x="37" y="91"/>
                            <a:pt x="37" y="91"/>
                          </a:cubicBezTo>
                          <a:cubicBezTo>
                            <a:pt x="37" y="91"/>
                            <a:pt x="37" y="92"/>
                            <a:pt x="36" y="92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ubicBezTo>
                            <a:pt x="36" y="92"/>
                            <a:pt x="36" y="92"/>
                            <a:pt x="35" y="92"/>
                          </a:cubicBezTo>
                          <a:cubicBezTo>
                            <a:pt x="36" y="92"/>
                            <a:pt x="36" y="92"/>
                            <a:pt x="36" y="93"/>
                          </a:cubicBezTo>
                          <a:cubicBezTo>
                            <a:pt x="36" y="93"/>
                            <a:pt x="35" y="93"/>
                            <a:pt x="35" y="93"/>
                          </a:cubicBezTo>
                          <a:cubicBezTo>
                            <a:pt x="35" y="93"/>
                            <a:pt x="36" y="93"/>
                            <a:pt x="35" y="93"/>
                          </a:cubicBezTo>
                          <a:cubicBezTo>
                            <a:pt x="35" y="93"/>
                            <a:pt x="35" y="93"/>
                            <a:pt x="35" y="93"/>
                          </a:cubicBezTo>
                          <a:cubicBezTo>
                            <a:pt x="35" y="93"/>
                            <a:pt x="35" y="93"/>
                            <a:pt x="35" y="93"/>
                          </a:cubicBezTo>
                          <a:cubicBezTo>
                            <a:pt x="35" y="94"/>
                            <a:pt x="35" y="94"/>
                            <a:pt x="35" y="94"/>
                          </a:cubicBezTo>
                          <a:cubicBezTo>
                            <a:pt x="35" y="94"/>
                            <a:pt x="35" y="94"/>
                            <a:pt x="35" y="94"/>
                          </a:cubicBezTo>
                          <a:cubicBezTo>
                            <a:pt x="36" y="93"/>
                            <a:pt x="35" y="94"/>
                            <a:pt x="35" y="93"/>
                          </a:cubicBezTo>
                          <a:cubicBezTo>
                            <a:pt x="35" y="93"/>
                            <a:pt x="36" y="93"/>
                            <a:pt x="36" y="93"/>
                          </a:cubicBezTo>
                          <a:cubicBezTo>
                            <a:pt x="35" y="93"/>
                            <a:pt x="36" y="93"/>
                            <a:pt x="36" y="93"/>
                          </a:cubicBezTo>
                          <a:cubicBezTo>
                            <a:pt x="36" y="93"/>
                            <a:pt x="36" y="93"/>
                            <a:pt x="36" y="93"/>
                          </a:cubicBezTo>
                          <a:cubicBezTo>
                            <a:pt x="36" y="93"/>
                            <a:pt x="36" y="93"/>
                            <a:pt x="36" y="93"/>
                          </a:cubicBezTo>
                          <a:cubicBezTo>
                            <a:pt x="37" y="93"/>
                            <a:pt x="37" y="93"/>
                            <a:pt x="37" y="92"/>
                          </a:cubicBezTo>
                          <a:cubicBezTo>
                            <a:pt x="37" y="93"/>
                            <a:pt x="37" y="93"/>
                            <a:pt x="37" y="93"/>
                          </a:cubicBezTo>
                          <a:cubicBezTo>
                            <a:pt x="37" y="93"/>
                            <a:pt x="37" y="93"/>
                            <a:pt x="37" y="93"/>
                          </a:cubicBezTo>
                          <a:cubicBezTo>
                            <a:pt x="37" y="93"/>
                            <a:pt x="37" y="93"/>
                            <a:pt x="37" y="93"/>
                          </a:cubicBezTo>
                          <a:cubicBezTo>
                            <a:pt x="37" y="93"/>
                            <a:pt x="37" y="93"/>
                            <a:pt x="37" y="93"/>
                          </a:cubicBezTo>
                          <a:cubicBezTo>
                            <a:pt x="37" y="93"/>
                            <a:pt x="37" y="93"/>
                            <a:pt x="37" y="93"/>
                          </a:cubicBezTo>
                          <a:cubicBezTo>
                            <a:pt x="37" y="93"/>
                            <a:pt x="37" y="93"/>
                            <a:pt x="37" y="93"/>
                          </a:cubicBezTo>
                          <a:cubicBezTo>
                            <a:pt x="36" y="94"/>
                            <a:pt x="36" y="93"/>
                            <a:pt x="36" y="93"/>
                          </a:cubicBezTo>
                          <a:cubicBezTo>
                            <a:pt x="36" y="93"/>
                            <a:pt x="36" y="93"/>
                            <a:pt x="36" y="93"/>
                          </a:cubicBezTo>
                          <a:cubicBezTo>
                            <a:pt x="36" y="93"/>
                            <a:pt x="36" y="94"/>
                            <a:pt x="36" y="94"/>
                          </a:cubicBezTo>
                          <a:cubicBezTo>
                            <a:pt x="36" y="94"/>
                            <a:pt x="36" y="94"/>
                            <a:pt x="36" y="94"/>
                          </a:cubicBezTo>
                          <a:cubicBezTo>
                            <a:pt x="36" y="94"/>
                            <a:pt x="35" y="94"/>
                            <a:pt x="35" y="95"/>
                          </a:cubicBezTo>
                          <a:cubicBezTo>
                            <a:pt x="35" y="95"/>
                            <a:pt x="35" y="94"/>
                            <a:pt x="35" y="95"/>
                          </a:cubicBezTo>
                          <a:cubicBezTo>
                            <a:pt x="34" y="95"/>
                            <a:pt x="35" y="95"/>
                            <a:pt x="35" y="95"/>
                          </a:cubicBezTo>
                          <a:cubicBezTo>
                            <a:pt x="34" y="95"/>
                            <a:pt x="34" y="95"/>
                            <a:pt x="34" y="95"/>
                          </a:cubicBezTo>
                          <a:cubicBezTo>
                            <a:pt x="34" y="95"/>
                            <a:pt x="34" y="95"/>
                            <a:pt x="34" y="95"/>
                          </a:cubicBezTo>
                          <a:cubicBezTo>
                            <a:pt x="34" y="95"/>
                            <a:pt x="34" y="95"/>
                            <a:pt x="35" y="95"/>
                          </a:cubicBezTo>
                          <a:cubicBezTo>
                            <a:pt x="35" y="95"/>
                            <a:pt x="34" y="95"/>
                            <a:pt x="34" y="95"/>
                          </a:cubicBezTo>
                          <a:cubicBezTo>
                            <a:pt x="34" y="95"/>
                            <a:pt x="34" y="95"/>
                            <a:pt x="34" y="95"/>
                          </a:cubicBezTo>
                          <a:cubicBezTo>
                            <a:pt x="34" y="95"/>
                            <a:pt x="34" y="96"/>
                            <a:pt x="33" y="96"/>
                          </a:cubicBezTo>
                          <a:cubicBezTo>
                            <a:pt x="33" y="96"/>
                            <a:pt x="33" y="96"/>
                            <a:pt x="33" y="96"/>
                          </a:cubicBezTo>
                          <a:cubicBezTo>
                            <a:pt x="33" y="96"/>
                            <a:pt x="33" y="96"/>
                            <a:pt x="33" y="96"/>
                          </a:cubicBezTo>
                          <a:cubicBezTo>
                            <a:pt x="32" y="96"/>
                            <a:pt x="32" y="96"/>
                            <a:pt x="32" y="97"/>
                          </a:cubicBezTo>
                          <a:cubicBezTo>
                            <a:pt x="32" y="97"/>
                            <a:pt x="32" y="97"/>
                            <a:pt x="32" y="97"/>
                          </a:cubicBezTo>
                          <a:cubicBezTo>
                            <a:pt x="32" y="97"/>
                            <a:pt x="32" y="97"/>
                            <a:pt x="32" y="98"/>
                          </a:cubicBezTo>
                          <a:cubicBezTo>
                            <a:pt x="31" y="98"/>
                            <a:pt x="31" y="98"/>
                            <a:pt x="31" y="98"/>
                          </a:cubicBezTo>
                          <a:cubicBezTo>
                            <a:pt x="31" y="98"/>
                            <a:pt x="31" y="98"/>
                            <a:pt x="31" y="98"/>
                          </a:cubicBezTo>
                          <a:cubicBezTo>
                            <a:pt x="32" y="98"/>
                            <a:pt x="31" y="98"/>
                            <a:pt x="31" y="98"/>
                          </a:cubicBezTo>
                          <a:cubicBezTo>
                            <a:pt x="31" y="98"/>
                            <a:pt x="31" y="98"/>
                            <a:pt x="31" y="98"/>
                          </a:cubicBezTo>
                          <a:cubicBezTo>
                            <a:pt x="31" y="98"/>
                            <a:pt x="31" y="98"/>
                            <a:pt x="31" y="98"/>
                          </a:cubicBezTo>
                          <a:cubicBezTo>
                            <a:pt x="31" y="98"/>
                            <a:pt x="31" y="98"/>
                            <a:pt x="31" y="98"/>
                          </a:cubicBezTo>
                          <a:cubicBezTo>
                            <a:pt x="31" y="98"/>
                            <a:pt x="30" y="98"/>
                            <a:pt x="30" y="98"/>
                          </a:cubicBezTo>
                          <a:cubicBezTo>
                            <a:pt x="30" y="98"/>
                            <a:pt x="30" y="98"/>
                            <a:pt x="30" y="98"/>
                          </a:cubicBezTo>
                          <a:cubicBezTo>
                            <a:pt x="30" y="98"/>
                            <a:pt x="30" y="98"/>
                            <a:pt x="30" y="98"/>
                          </a:cubicBezTo>
                          <a:cubicBezTo>
                            <a:pt x="30" y="98"/>
                            <a:pt x="29" y="99"/>
                            <a:pt x="28" y="99"/>
                          </a:cubicBezTo>
                          <a:cubicBezTo>
                            <a:pt x="28" y="99"/>
                            <a:pt x="28" y="99"/>
                            <a:pt x="27" y="99"/>
                          </a:cubicBezTo>
                          <a:cubicBezTo>
                            <a:pt x="27" y="99"/>
                            <a:pt x="27" y="99"/>
                            <a:pt x="27" y="99"/>
                          </a:cubicBezTo>
                          <a:cubicBezTo>
                            <a:pt x="27" y="100"/>
                            <a:pt x="28" y="99"/>
                            <a:pt x="28" y="99"/>
                          </a:cubicBezTo>
                          <a:cubicBezTo>
                            <a:pt x="28" y="100"/>
                            <a:pt x="27" y="100"/>
                            <a:pt x="27" y="100"/>
                          </a:cubicBezTo>
                          <a:cubicBezTo>
                            <a:pt x="27" y="99"/>
                            <a:pt x="27" y="100"/>
                            <a:pt x="26" y="100"/>
                          </a:cubicBezTo>
                          <a:cubicBezTo>
                            <a:pt x="26" y="100"/>
                            <a:pt x="27" y="100"/>
                            <a:pt x="27" y="100"/>
                          </a:cubicBezTo>
                          <a:cubicBezTo>
                            <a:pt x="26" y="100"/>
                            <a:pt x="26" y="100"/>
                            <a:pt x="26" y="100"/>
                          </a:cubicBezTo>
                          <a:cubicBezTo>
                            <a:pt x="26" y="100"/>
                            <a:pt x="25" y="100"/>
                            <a:pt x="25" y="100"/>
                          </a:cubicBezTo>
                          <a:cubicBezTo>
                            <a:pt x="25" y="100"/>
                            <a:pt x="25" y="100"/>
                            <a:pt x="25" y="100"/>
                          </a:cubicBezTo>
                          <a:cubicBezTo>
                            <a:pt x="24" y="100"/>
                            <a:pt x="24" y="100"/>
                            <a:pt x="23" y="101"/>
                          </a:cubicBezTo>
                          <a:cubicBezTo>
                            <a:pt x="23" y="100"/>
                            <a:pt x="23" y="101"/>
                            <a:pt x="23" y="100"/>
                          </a:cubicBezTo>
                          <a:cubicBezTo>
                            <a:pt x="23" y="101"/>
                            <a:pt x="23" y="101"/>
                            <a:pt x="23" y="101"/>
                          </a:cubicBezTo>
                          <a:cubicBezTo>
                            <a:pt x="23" y="101"/>
                            <a:pt x="24" y="101"/>
                            <a:pt x="24" y="100"/>
                          </a:cubicBezTo>
                          <a:cubicBezTo>
                            <a:pt x="24" y="101"/>
                            <a:pt x="24" y="100"/>
                            <a:pt x="24" y="100"/>
                          </a:cubicBezTo>
                          <a:cubicBezTo>
                            <a:pt x="24" y="101"/>
                            <a:pt x="24" y="100"/>
                            <a:pt x="24" y="101"/>
                          </a:cubicBezTo>
                          <a:cubicBezTo>
                            <a:pt x="24" y="101"/>
                            <a:pt x="25" y="101"/>
                            <a:pt x="25" y="101"/>
                          </a:cubicBezTo>
                          <a:cubicBezTo>
                            <a:pt x="25" y="101"/>
                            <a:pt x="24" y="101"/>
                            <a:pt x="24" y="101"/>
                          </a:cubicBezTo>
                          <a:cubicBezTo>
                            <a:pt x="24" y="101"/>
                            <a:pt x="24" y="101"/>
                            <a:pt x="24" y="101"/>
                          </a:cubicBezTo>
                          <a:cubicBezTo>
                            <a:pt x="24" y="101"/>
                            <a:pt x="23" y="101"/>
                            <a:pt x="23" y="101"/>
                          </a:cubicBezTo>
                          <a:cubicBezTo>
                            <a:pt x="23" y="101"/>
                            <a:pt x="23" y="101"/>
                            <a:pt x="22" y="102"/>
                          </a:cubicBezTo>
                          <a:cubicBezTo>
                            <a:pt x="22" y="101"/>
                            <a:pt x="22" y="101"/>
                            <a:pt x="22" y="101"/>
                          </a:cubicBezTo>
                          <a:cubicBezTo>
                            <a:pt x="22" y="102"/>
                            <a:pt x="23" y="101"/>
                            <a:pt x="22" y="102"/>
                          </a:cubicBezTo>
                          <a:cubicBezTo>
                            <a:pt x="22" y="102"/>
                            <a:pt x="22" y="102"/>
                            <a:pt x="21" y="102"/>
                          </a:cubicBezTo>
                          <a:cubicBezTo>
                            <a:pt x="21" y="103"/>
                            <a:pt x="20" y="103"/>
                            <a:pt x="19" y="103"/>
                          </a:cubicBezTo>
                          <a:cubicBezTo>
                            <a:pt x="19" y="103"/>
                            <a:pt x="19" y="103"/>
                            <a:pt x="19" y="103"/>
                          </a:cubicBezTo>
                          <a:cubicBezTo>
                            <a:pt x="19" y="103"/>
                            <a:pt x="19" y="103"/>
                            <a:pt x="19" y="103"/>
                          </a:cubicBezTo>
                          <a:cubicBezTo>
                            <a:pt x="19" y="103"/>
                            <a:pt x="19" y="104"/>
                            <a:pt x="18" y="104"/>
                          </a:cubicBezTo>
                          <a:cubicBezTo>
                            <a:pt x="19" y="104"/>
                            <a:pt x="19" y="104"/>
                            <a:pt x="19" y="104"/>
                          </a:cubicBezTo>
                          <a:cubicBezTo>
                            <a:pt x="18" y="104"/>
                            <a:pt x="18" y="104"/>
                            <a:pt x="18" y="104"/>
                          </a:cubicBezTo>
                          <a:cubicBezTo>
                            <a:pt x="18" y="104"/>
                            <a:pt x="18" y="104"/>
                            <a:pt x="18" y="104"/>
                          </a:cubicBezTo>
                          <a:cubicBezTo>
                            <a:pt x="18" y="104"/>
                            <a:pt x="18" y="104"/>
                            <a:pt x="18" y="104"/>
                          </a:cubicBezTo>
                          <a:cubicBezTo>
                            <a:pt x="18" y="104"/>
                            <a:pt x="17" y="104"/>
                            <a:pt x="17" y="104"/>
                          </a:cubicBezTo>
                          <a:cubicBezTo>
                            <a:pt x="17" y="104"/>
                            <a:pt x="17" y="104"/>
                            <a:pt x="17" y="104"/>
                          </a:cubicBezTo>
                          <a:cubicBezTo>
                            <a:pt x="17" y="104"/>
                            <a:pt x="17" y="104"/>
                            <a:pt x="17" y="104"/>
                          </a:cubicBezTo>
                          <a:cubicBezTo>
                            <a:pt x="17" y="105"/>
                            <a:pt x="17" y="105"/>
                            <a:pt x="18" y="105"/>
                          </a:cubicBezTo>
                          <a:cubicBezTo>
                            <a:pt x="17" y="105"/>
                            <a:pt x="17" y="105"/>
                            <a:pt x="17" y="105"/>
                          </a:cubicBezTo>
                          <a:cubicBezTo>
                            <a:pt x="16" y="105"/>
                            <a:pt x="16" y="105"/>
                            <a:pt x="16" y="104"/>
                          </a:cubicBezTo>
                          <a:cubicBezTo>
                            <a:pt x="15" y="105"/>
                            <a:pt x="16" y="105"/>
                            <a:pt x="15" y="105"/>
                          </a:cubicBezTo>
                          <a:cubicBezTo>
                            <a:pt x="15" y="105"/>
                            <a:pt x="15" y="105"/>
                            <a:pt x="15" y="105"/>
                          </a:cubicBezTo>
                          <a:cubicBezTo>
                            <a:pt x="16" y="105"/>
                            <a:pt x="15" y="105"/>
                            <a:pt x="16" y="105"/>
                          </a:cubicBezTo>
                          <a:cubicBezTo>
                            <a:pt x="16" y="106"/>
                            <a:pt x="16" y="105"/>
                            <a:pt x="15" y="106"/>
                          </a:cubicBezTo>
                          <a:cubicBezTo>
                            <a:pt x="15" y="105"/>
                            <a:pt x="15" y="106"/>
                            <a:pt x="15" y="105"/>
                          </a:cubicBezTo>
                          <a:cubicBezTo>
                            <a:pt x="15" y="105"/>
                            <a:pt x="15" y="106"/>
                            <a:pt x="15" y="105"/>
                          </a:cubicBezTo>
                          <a:cubicBezTo>
                            <a:pt x="14" y="106"/>
                            <a:pt x="14" y="106"/>
                            <a:pt x="14" y="106"/>
                          </a:cubicBezTo>
                          <a:cubicBezTo>
                            <a:pt x="14" y="106"/>
                            <a:pt x="13" y="106"/>
                            <a:pt x="13" y="106"/>
                          </a:cubicBezTo>
                          <a:cubicBezTo>
                            <a:pt x="12" y="107"/>
                            <a:pt x="12" y="107"/>
                            <a:pt x="12" y="107"/>
                          </a:cubicBezTo>
                          <a:cubicBezTo>
                            <a:pt x="12" y="107"/>
                            <a:pt x="12" y="107"/>
                            <a:pt x="11" y="107"/>
                          </a:cubicBezTo>
                          <a:cubicBezTo>
                            <a:pt x="10" y="107"/>
                            <a:pt x="9" y="108"/>
                            <a:pt x="9" y="108"/>
                          </a:cubicBezTo>
                          <a:cubicBezTo>
                            <a:pt x="9" y="108"/>
                            <a:pt x="9" y="108"/>
                            <a:pt x="8" y="108"/>
                          </a:cubicBezTo>
                          <a:cubicBezTo>
                            <a:pt x="6" y="108"/>
                            <a:pt x="4" y="108"/>
                            <a:pt x="3" y="107"/>
                          </a:cubicBezTo>
                          <a:cubicBezTo>
                            <a:pt x="3" y="107"/>
                            <a:pt x="3" y="107"/>
                            <a:pt x="3" y="107"/>
                          </a:cubicBezTo>
                          <a:cubicBezTo>
                            <a:pt x="3" y="107"/>
                            <a:pt x="3" y="107"/>
                            <a:pt x="3" y="107"/>
                          </a:cubicBezTo>
                          <a:cubicBezTo>
                            <a:pt x="2" y="107"/>
                            <a:pt x="2" y="107"/>
                            <a:pt x="2" y="106"/>
                          </a:cubicBezTo>
                          <a:cubicBezTo>
                            <a:pt x="1" y="106"/>
                            <a:pt x="1" y="105"/>
                            <a:pt x="1" y="105"/>
                          </a:cubicBezTo>
                          <a:cubicBezTo>
                            <a:pt x="1" y="105"/>
                            <a:pt x="1" y="104"/>
                            <a:pt x="1" y="104"/>
                          </a:cubicBezTo>
                          <a:cubicBezTo>
                            <a:pt x="1" y="104"/>
                            <a:pt x="1" y="104"/>
                            <a:pt x="1" y="104"/>
                          </a:cubicBezTo>
                          <a:cubicBezTo>
                            <a:pt x="0" y="104"/>
                            <a:pt x="1" y="103"/>
                            <a:pt x="1" y="102"/>
                          </a:cubicBezTo>
                          <a:cubicBezTo>
                            <a:pt x="1" y="102"/>
                            <a:pt x="1" y="102"/>
                            <a:pt x="1" y="102"/>
                          </a:cubicBezTo>
                          <a:cubicBezTo>
                            <a:pt x="1" y="101"/>
                            <a:pt x="3" y="100"/>
                            <a:pt x="3" y="98"/>
                          </a:cubicBezTo>
                          <a:cubicBezTo>
                            <a:pt x="3" y="98"/>
                            <a:pt x="2" y="99"/>
                            <a:pt x="2" y="99"/>
                          </a:cubicBezTo>
                          <a:cubicBezTo>
                            <a:pt x="2" y="99"/>
                            <a:pt x="3" y="98"/>
                            <a:pt x="3" y="98"/>
                          </a:cubicBezTo>
                          <a:cubicBezTo>
                            <a:pt x="3" y="98"/>
                            <a:pt x="3" y="98"/>
                            <a:pt x="3" y="97"/>
                          </a:cubicBezTo>
                          <a:cubicBezTo>
                            <a:pt x="5" y="96"/>
                            <a:pt x="5" y="95"/>
                            <a:pt x="6" y="94"/>
                          </a:cubicBezTo>
                          <a:cubicBezTo>
                            <a:pt x="7" y="94"/>
                            <a:pt x="7" y="94"/>
                            <a:pt x="7" y="94"/>
                          </a:cubicBezTo>
                          <a:cubicBezTo>
                            <a:pt x="8" y="93"/>
                            <a:pt x="8" y="93"/>
                            <a:pt x="8" y="93"/>
                          </a:cubicBezTo>
                          <a:cubicBezTo>
                            <a:pt x="9" y="92"/>
                            <a:pt x="10" y="92"/>
                            <a:pt x="10" y="92"/>
                          </a:cubicBezTo>
                          <a:cubicBezTo>
                            <a:pt x="11" y="91"/>
                            <a:pt x="11" y="91"/>
                            <a:pt x="12" y="91"/>
                          </a:cubicBezTo>
                          <a:cubicBezTo>
                            <a:pt x="12" y="91"/>
                            <a:pt x="12" y="91"/>
                            <a:pt x="12" y="91"/>
                          </a:cubicBezTo>
                          <a:cubicBezTo>
                            <a:pt x="13" y="90"/>
                            <a:pt x="14" y="89"/>
                            <a:pt x="16" y="88"/>
                          </a:cubicBezTo>
                          <a:cubicBezTo>
                            <a:pt x="16" y="88"/>
                            <a:pt x="16" y="88"/>
                            <a:pt x="16" y="88"/>
                          </a:cubicBezTo>
                          <a:close/>
                          <a:moveTo>
                            <a:pt x="32" y="96"/>
                          </a:moveTo>
                          <a:cubicBezTo>
                            <a:pt x="33" y="96"/>
                            <a:pt x="33" y="96"/>
                            <a:pt x="33" y="96"/>
                          </a:cubicBezTo>
                          <a:cubicBezTo>
                            <a:pt x="33" y="96"/>
                            <a:pt x="32" y="96"/>
                            <a:pt x="32" y="96"/>
                          </a:cubicBezTo>
                          <a:close/>
                          <a:moveTo>
                            <a:pt x="32" y="96"/>
                          </a:moveTo>
                          <a:cubicBezTo>
                            <a:pt x="32" y="96"/>
                            <a:pt x="32" y="96"/>
                            <a:pt x="32" y="96"/>
                          </a:cubicBezTo>
                          <a:cubicBezTo>
                            <a:pt x="32" y="96"/>
                            <a:pt x="32" y="96"/>
                            <a:pt x="32" y="96"/>
                          </a:cubicBezTo>
                          <a:close/>
                          <a:moveTo>
                            <a:pt x="36" y="93"/>
                          </a:moveTo>
                          <a:cubicBezTo>
                            <a:pt x="36" y="93"/>
                            <a:pt x="36" y="93"/>
                            <a:pt x="36" y="93"/>
                          </a:cubicBezTo>
                          <a:cubicBezTo>
                            <a:pt x="36" y="93"/>
                            <a:pt x="36" y="93"/>
                            <a:pt x="36" y="93"/>
                          </a:cubicBezTo>
                          <a:cubicBezTo>
                            <a:pt x="36" y="93"/>
                            <a:pt x="36" y="93"/>
                            <a:pt x="36" y="93"/>
                          </a:cubicBezTo>
                          <a:close/>
                          <a:moveTo>
                            <a:pt x="33" y="95"/>
                          </a:moveTo>
                          <a:cubicBezTo>
                            <a:pt x="33" y="94"/>
                            <a:pt x="32" y="94"/>
                            <a:pt x="32" y="94"/>
                          </a:cubicBezTo>
                          <a:cubicBezTo>
                            <a:pt x="32" y="95"/>
                            <a:pt x="32" y="95"/>
                            <a:pt x="32" y="95"/>
                          </a:cubicBezTo>
                          <a:cubicBezTo>
                            <a:pt x="32" y="95"/>
                            <a:pt x="33" y="95"/>
                            <a:pt x="33" y="95"/>
                          </a:cubicBezTo>
                          <a:close/>
                          <a:moveTo>
                            <a:pt x="34" y="94"/>
                          </a:moveTo>
                          <a:cubicBezTo>
                            <a:pt x="33" y="94"/>
                            <a:pt x="34" y="94"/>
                            <a:pt x="34" y="94"/>
                          </a:cubicBezTo>
                          <a:cubicBezTo>
                            <a:pt x="34" y="94"/>
                            <a:pt x="33" y="94"/>
                            <a:pt x="33" y="94"/>
                          </a:cubicBezTo>
                          <a:cubicBezTo>
                            <a:pt x="34" y="94"/>
                            <a:pt x="34" y="94"/>
                            <a:pt x="34" y="94"/>
                          </a:cubicBezTo>
                          <a:cubicBezTo>
                            <a:pt x="34" y="94"/>
                            <a:pt x="34" y="94"/>
                            <a:pt x="34" y="94"/>
                          </a:cubicBezTo>
                          <a:cubicBezTo>
                            <a:pt x="34" y="94"/>
                            <a:pt x="34" y="94"/>
                            <a:pt x="34" y="94"/>
                          </a:cubicBezTo>
                          <a:close/>
                          <a:moveTo>
                            <a:pt x="34" y="94"/>
                          </a:moveTo>
                          <a:cubicBezTo>
                            <a:pt x="34" y="94"/>
                            <a:pt x="34" y="94"/>
                            <a:pt x="34" y="94"/>
                          </a:cubicBezTo>
                          <a:cubicBezTo>
                            <a:pt x="34" y="94"/>
                            <a:pt x="35" y="94"/>
                            <a:pt x="34" y="94"/>
                          </a:cubicBezTo>
                          <a:close/>
                          <a:moveTo>
                            <a:pt x="35" y="93"/>
                          </a:moveTo>
                          <a:cubicBezTo>
                            <a:pt x="35" y="93"/>
                            <a:pt x="35" y="93"/>
                            <a:pt x="35" y="93"/>
                          </a:cubicBezTo>
                          <a:cubicBezTo>
                            <a:pt x="35" y="93"/>
                            <a:pt x="35" y="93"/>
                            <a:pt x="35" y="93"/>
                          </a:cubicBezTo>
                          <a:cubicBezTo>
                            <a:pt x="35" y="93"/>
                            <a:pt x="35" y="93"/>
                            <a:pt x="35" y="93"/>
                          </a:cubicBezTo>
                          <a:cubicBezTo>
                            <a:pt x="35" y="93"/>
                            <a:pt x="35" y="93"/>
                            <a:pt x="35" y="93"/>
                          </a:cubicBezTo>
                          <a:close/>
                          <a:moveTo>
                            <a:pt x="33" y="94"/>
                          </a:moveTo>
                          <a:cubicBezTo>
                            <a:pt x="33" y="94"/>
                            <a:pt x="33" y="94"/>
                            <a:pt x="33" y="94"/>
                          </a:cubicBezTo>
                          <a:cubicBezTo>
                            <a:pt x="33" y="94"/>
                            <a:pt x="33" y="94"/>
                            <a:pt x="33" y="94"/>
                          </a:cubicBezTo>
                          <a:cubicBezTo>
                            <a:pt x="33" y="94"/>
                            <a:pt x="33" y="94"/>
                            <a:pt x="33" y="94"/>
                          </a:cubicBezTo>
                          <a:cubicBezTo>
                            <a:pt x="33" y="94"/>
                            <a:pt x="33" y="94"/>
                            <a:pt x="33" y="94"/>
                          </a:cubicBezTo>
                          <a:close/>
                          <a:moveTo>
                            <a:pt x="35" y="92"/>
                          </a:moveTo>
                          <a:cubicBezTo>
                            <a:pt x="35" y="93"/>
                            <a:pt x="35" y="93"/>
                            <a:pt x="35" y="93"/>
                          </a:cubicBezTo>
                          <a:cubicBezTo>
                            <a:pt x="35" y="93"/>
                            <a:pt x="35" y="93"/>
                            <a:pt x="35" y="93"/>
                          </a:cubicBezTo>
                          <a:cubicBezTo>
                            <a:pt x="35" y="93"/>
                            <a:pt x="35" y="93"/>
                            <a:pt x="35" y="92"/>
                          </a:cubicBezTo>
                          <a:close/>
                          <a:moveTo>
                            <a:pt x="33" y="94"/>
                          </a:moveTo>
                          <a:cubicBezTo>
                            <a:pt x="33" y="94"/>
                            <a:pt x="33" y="94"/>
                            <a:pt x="33" y="94"/>
                          </a:cubicBezTo>
                          <a:cubicBezTo>
                            <a:pt x="33" y="94"/>
                            <a:pt x="33" y="94"/>
                            <a:pt x="33" y="94"/>
                          </a:cubicBezTo>
                          <a:cubicBezTo>
                            <a:pt x="33" y="94"/>
                            <a:pt x="33" y="94"/>
                            <a:pt x="33" y="94"/>
                          </a:cubicBezTo>
                          <a:close/>
                          <a:moveTo>
                            <a:pt x="36" y="92"/>
                          </a:moveTo>
                          <a:cubicBezTo>
                            <a:pt x="36" y="92"/>
                            <a:pt x="36" y="92"/>
                            <a:pt x="36" y="92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lose/>
                          <a:moveTo>
                            <a:pt x="37" y="91"/>
                          </a:moveTo>
                          <a:cubicBezTo>
                            <a:pt x="37" y="91"/>
                            <a:pt x="37" y="91"/>
                            <a:pt x="37" y="91"/>
                          </a:cubicBezTo>
                          <a:cubicBezTo>
                            <a:pt x="37" y="91"/>
                            <a:pt x="37" y="91"/>
                            <a:pt x="37" y="91"/>
                          </a:cubicBezTo>
                          <a:close/>
                          <a:moveTo>
                            <a:pt x="38" y="90"/>
                          </a:moveTo>
                          <a:cubicBezTo>
                            <a:pt x="38" y="90"/>
                            <a:pt x="37" y="90"/>
                            <a:pt x="37" y="90"/>
                          </a:cubicBezTo>
                          <a:cubicBezTo>
                            <a:pt x="37" y="90"/>
                            <a:pt x="37" y="91"/>
                            <a:pt x="38" y="90"/>
                          </a:cubicBezTo>
                          <a:cubicBezTo>
                            <a:pt x="37" y="90"/>
                            <a:pt x="38" y="90"/>
                            <a:pt x="38" y="90"/>
                          </a:cubicBezTo>
                          <a:cubicBezTo>
                            <a:pt x="38" y="90"/>
                            <a:pt x="38" y="90"/>
                            <a:pt x="38" y="90"/>
                          </a:cubicBezTo>
                          <a:close/>
                          <a:moveTo>
                            <a:pt x="39" y="89"/>
                          </a:moveTo>
                          <a:cubicBezTo>
                            <a:pt x="40" y="89"/>
                            <a:pt x="40" y="89"/>
                            <a:pt x="40" y="89"/>
                          </a:cubicBezTo>
                          <a:cubicBezTo>
                            <a:pt x="40" y="89"/>
                            <a:pt x="39" y="89"/>
                            <a:pt x="39" y="89"/>
                          </a:cubicBezTo>
                          <a:close/>
                          <a:moveTo>
                            <a:pt x="38" y="89"/>
                          </a:moveTo>
                          <a:cubicBezTo>
                            <a:pt x="37" y="90"/>
                            <a:pt x="37" y="90"/>
                            <a:pt x="37" y="89"/>
                          </a:cubicBezTo>
                          <a:cubicBezTo>
                            <a:pt x="37" y="90"/>
                            <a:pt x="37" y="90"/>
                            <a:pt x="37" y="90"/>
                          </a:cubicBezTo>
                          <a:cubicBezTo>
                            <a:pt x="37" y="90"/>
                            <a:pt x="38" y="90"/>
                            <a:pt x="38" y="89"/>
                          </a:cubicBezTo>
                          <a:close/>
                          <a:moveTo>
                            <a:pt x="38" y="90"/>
                          </a:moveTo>
                          <a:cubicBezTo>
                            <a:pt x="37" y="90"/>
                            <a:pt x="38" y="90"/>
                            <a:pt x="38" y="89"/>
                          </a:cubicBezTo>
                          <a:cubicBezTo>
                            <a:pt x="38" y="89"/>
                            <a:pt x="37" y="90"/>
                            <a:pt x="37" y="90"/>
                          </a:cubicBezTo>
                          <a:cubicBezTo>
                            <a:pt x="37" y="90"/>
                            <a:pt x="37" y="90"/>
                            <a:pt x="37" y="90"/>
                          </a:cubicBezTo>
                          <a:cubicBezTo>
                            <a:pt x="37" y="90"/>
                            <a:pt x="38" y="90"/>
                            <a:pt x="38" y="90"/>
                          </a:cubicBezTo>
                          <a:close/>
                          <a:moveTo>
                            <a:pt x="39" y="89"/>
                          </a:moveTo>
                          <a:cubicBezTo>
                            <a:pt x="39" y="89"/>
                            <a:pt x="38" y="89"/>
                            <a:pt x="38" y="89"/>
                          </a:cubicBezTo>
                          <a:cubicBezTo>
                            <a:pt x="38" y="89"/>
                            <a:pt x="38" y="89"/>
                            <a:pt x="39" y="89"/>
                          </a:cubicBezTo>
                          <a:close/>
                          <a:moveTo>
                            <a:pt x="39" y="89"/>
                          </a:moveTo>
                          <a:cubicBezTo>
                            <a:pt x="39" y="89"/>
                            <a:pt x="39" y="89"/>
                            <a:pt x="39" y="89"/>
                          </a:cubicBezTo>
                          <a:cubicBezTo>
                            <a:pt x="39" y="89"/>
                            <a:pt x="39" y="89"/>
                            <a:pt x="39" y="89"/>
                          </a:cubicBezTo>
                          <a:cubicBezTo>
                            <a:pt x="39" y="89"/>
                            <a:pt x="39" y="89"/>
                            <a:pt x="39" y="89"/>
                          </a:cubicBezTo>
                          <a:cubicBezTo>
                            <a:pt x="39" y="89"/>
                            <a:pt x="39" y="89"/>
                            <a:pt x="39" y="89"/>
                          </a:cubicBezTo>
                          <a:cubicBezTo>
                            <a:pt x="39" y="89"/>
                            <a:pt x="39" y="89"/>
                            <a:pt x="39" y="89"/>
                          </a:cubicBezTo>
                          <a:close/>
                          <a:moveTo>
                            <a:pt x="40" y="88"/>
                          </a:moveTo>
                          <a:cubicBezTo>
                            <a:pt x="40" y="88"/>
                            <a:pt x="40" y="88"/>
                            <a:pt x="39" y="88"/>
                          </a:cubicBezTo>
                          <a:cubicBezTo>
                            <a:pt x="40" y="88"/>
                            <a:pt x="40" y="88"/>
                            <a:pt x="40" y="88"/>
                          </a:cubicBezTo>
                          <a:cubicBezTo>
                            <a:pt x="40" y="88"/>
                            <a:pt x="40" y="88"/>
                            <a:pt x="40" y="88"/>
                          </a:cubicBezTo>
                          <a:close/>
                          <a:moveTo>
                            <a:pt x="42" y="85"/>
                          </a:moveTo>
                          <a:cubicBezTo>
                            <a:pt x="42" y="85"/>
                            <a:pt x="42" y="86"/>
                            <a:pt x="42" y="86"/>
                          </a:cubicBezTo>
                          <a:cubicBezTo>
                            <a:pt x="42" y="85"/>
                            <a:pt x="43" y="85"/>
                            <a:pt x="43" y="85"/>
                          </a:cubicBezTo>
                          <a:cubicBezTo>
                            <a:pt x="43" y="85"/>
                            <a:pt x="42" y="85"/>
                            <a:pt x="42" y="85"/>
                          </a:cubicBezTo>
                          <a:cubicBezTo>
                            <a:pt x="43" y="85"/>
                            <a:pt x="43" y="85"/>
                            <a:pt x="43" y="85"/>
                          </a:cubicBezTo>
                          <a:cubicBezTo>
                            <a:pt x="42" y="85"/>
                            <a:pt x="42" y="85"/>
                            <a:pt x="42" y="85"/>
                          </a:cubicBezTo>
                          <a:close/>
                          <a:moveTo>
                            <a:pt x="42" y="85"/>
                          </a:moveTo>
                          <a:cubicBezTo>
                            <a:pt x="41" y="86"/>
                            <a:pt x="42" y="86"/>
                            <a:pt x="41" y="86"/>
                          </a:cubicBezTo>
                          <a:cubicBezTo>
                            <a:pt x="42" y="86"/>
                            <a:pt x="42" y="86"/>
                            <a:pt x="42" y="86"/>
                          </a:cubicBezTo>
                          <a:cubicBezTo>
                            <a:pt x="42" y="86"/>
                            <a:pt x="42" y="86"/>
                            <a:pt x="42" y="86"/>
                          </a:cubicBezTo>
                          <a:cubicBezTo>
                            <a:pt x="42" y="86"/>
                            <a:pt x="42" y="86"/>
                            <a:pt x="42" y="86"/>
                          </a:cubicBezTo>
                          <a:cubicBezTo>
                            <a:pt x="42" y="86"/>
                            <a:pt x="42" y="85"/>
                            <a:pt x="42" y="85"/>
                          </a:cubicBezTo>
                          <a:close/>
                          <a:moveTo>
                            <a:pt x="44" y="83"/>
                          </a:moveTo>
                          <a:cubicBezTo>
                            <a:pt x="44" y="83"/>
                            <a:pt x="44" y="83"/>
                            <a:pt x="44" y="83"/>
                          </a:cubicBezTo>
                          <a:cubicBezTo>
                            <a:pt x="44" y="83"/>
                            <a:pt x="44" y="84"/>
                            <a:pt x="45" y="83"/>
                          </a:cubicBezTo>
                          <a:cubicBezTo>
                            <a:pt x="44" y="83"/>
                            <a:pt x="44" y="84"/>
                            <a:pt x="44" y="83"/>
                          </a:cubicBezTo>
                          <a:close/>
                          <a:moveTo>
                            <a:pt x="45" y="83"/>
                          </a:moveTo>
                          <a:cubicBezTo>
                            <a:pt x="45" y="83"/>
                            <a:pt x="44" y="83"/>
                            <a:pt x="44" y="83"/>
                          </a:cubicBezTo>
                          <a:cubicBezTo>
                            <a:pt x="45" y="83"/>
                            <a:pt x="45" y="83"/>
                            <a:pt x="45" y="83"/>
                          </a:cubicBezTo>
                          <a:close/>
                          <a:moveTo>
                            <a:pt x="47" y="82"/>
                          </a:moveTo>
                          <a:cubicBezTo>
                            <a:pt x="47" y="82"/>
                            <a:pt x="47" y="82"/>
                            <a:pt x="47" y="82"/>
                          </a:cubicBezTo>
                          <a:cubicBezTo>
                            <a:pt x="47" y="82"/>
                            <a:pt x="47" y="82"/>
                            <a:pt x="47" y="82"/>
                          </a:cubicBezTo>
                          <a:cubicBezTo>
                            <a:pt x="47" y="82"/>
                            <a:pt x="47" y="82"/>
                            <a:pt x="47" y="82"/>
                          </a:cubicBezTo>
                          <a:close/>
                          <a:moveTo>
                            <a:pt x="44" y="84"/>
                          </a:moveTo>
                          <a:cubicBezTo>
                            <a:pt x="43" y="84"/>
                            <a:pt x="43" y="83"/>
                            <a:pt x="43" y="84"/>
                          </a:cubicBezTo>
                          <a:cubicBezTo>
                            <a:pt x="43" y="84"/>
                            <a:pt x="44" y="84"/>
                            <a:pt x="44" y="84"/>
                          </a:cubicBezTo>
                          <a:close/>
                          <a:moveTo>
                            <a:pt x="44" y="84"/>
                          </a:moveTo>
                          <a:cubicBezTo>
                            <a:pt x="44" y="84"/>
                            <a:pt x="43" y="84"/>
                            <a:pt x="43" y="84"/>
                          </a:cubicBezTo>
                          <a:cubicBezTo>
                            <a:pt x="44" y="84"/>
                            <a:pt x="44" y="84"/>
                            <a:pt x="44" y="84"/>
                          </a:cubicBezTo>
                          <a:close/>
                          <a:moveTo>
                            <a:pt x="44" y="84"/>
                          </a:moveTo>
                          <a:cubicBezTo>
                            <a:pt x="44" y="84"/>
                            <a:pt x="44" y="84"/>
                            <a:pt x="44" y="84"/>
                          </a:cubicBezTo>
                          <a:cubicBezTo>
                            <a:pt x="44" y="84"/>
                            <a:pt x="44" y="84"/>
                            <a:pt x="44" y="84"/>
                          </a:cubicBezTo>
                          <a:cubicBezTo>
                            <a:pt x="44" y="84"/>
                            <a:pt x="44" y="84"/>
                            <a:pt x="44" y="84"/>
                          </a:cubicBezTo>
                          <a:close/>
                          <a:moveTo>
                            <a:pt x="39" y="87"/>
                          </a:moveTo>
                          <a:cubicBezTo>
                            <a:pt x="39" y="87"/>
                            <a:pt x="39" y="86"/>
                            <a:pt x="39" y="86"/>
                          </a:cubicBezTo>
                          <a:cubicBezTo>
                            <a:pt x="39" y="86"/>
                            <a:pt x="39" y="87"/>
                            <a:pt x="39" y="87"/>
                          </a:cubicBezTo>
                          <a:close/>
                          <a:moveTo>
                            <a:pt x="27" y="93"/>
                          </a:moveTo>
                          <a:cubicBezTo>
                            <a:pt x="27" y="93"/>
                            <a:pt x="28" y="92"/>
                            <a:pt x="28" y="92"/>
                          </a:cubicBezTo>
                          <a:cubicBezTo>
                            <a:pt x="27" y="92"/>
                            <a:pt x="27" y="93"/>
                            <a:pt x="27" y="93"/>
                          </a:cubicBezTo>
                          <a:close/>
                          <a:moveTo>
                            <a:pt x="37" y="86"/>
                          </a:moveTo>
                          <a:cubicBezTo>
                            <a:pt x="37" y="86"/>
                            <a:pt x="37" y="86"/>
                            <a:pt x="37" y="86"/>
                          </a:cubicBezTo>
                          <a:cubicBezTo>
                            <a:pt x="37" y="86"/>
                            <a:pt x="37" y="86"/>
                            <a:pt x="37" y="86"/>
                          </a:cubicBezTo>
                          <a:cubicBezTo>
                            <a:pt x="37" y="86"/>
                            <a:pt x="37" y="86"/>
                            <a:pt x="37" y="86"/>
                          </a:cubicBezTo>
                          <a:cubicBezTo>
                            <a:pt x="37" y="86"/>
                            <a:pt x="37" y="86"/>
                            <a:pt x="37" y="86"/>
                          </a:cubicBezTo>
                          <a:cubicBezTo>
                            <a:pt x="37" y="86"/>
                            <a:pt x="38" y="86"/>
                            <a:pt x="37" y="86"/>
                          </a:cubicBezTo>
                          <a:cubicBezTo>
                            <a:pt x="37" y="86"/>
                            <a:pt x="37" y="86"/>
                            <a:pt x="37" y="86"/>
                          </a:cubicBezTo>
                          <a:close/>
                          <a:moveTo>
                            <a:pt x="37" y="86"/>
                          </a:moveTo>
                          <a:cubicBezTo>
                            <a:pt x="36" y="87"/>
                            <a:pt x="37" y="86"/>
                            <a:pt x="37" y="86"/>
                          </a:cubicBezTo>
                          <a:cubicBezTo>
                            <a:pt x="36" y="86"/>
                            <a:pt x="36" y="86"/>
                            <a:pt x="36" y="86"/>
                          </a:cubicBezTo>
                          <a:cubicBezTo>
                            <a:pt x="37" y="86"/>
                            <a:pt x="36" y="86"/>
                            <a:pt x="36" y="87"/>
                          </a:cubicBezTo>
                          <a:cubicBezTo>
                            <a:pt x="36" y="87"/>
                            <a:pt x="37" y="86"/>
                            <a:pt x="37" y="87"/>
                          </a:cubicBezTo>
                          <a:cubicBezTo>
                            <a:pt x="36" y="87"/>
                            <a:pt x="36" y="87"/>
                            <a:pt x="36" y="87"/>
                          </a:cubicBezTo>
                          <a:cubicBezTo>
                            <a:pt x="36" y="87"/>
                            <a:pt x="37" y="87"/>
                            <a:pt x="37" y="86"/>
                          </a:cubicBezTo>
                          <a:close/>
                          <a:moveTo>
                            <a:pt x="37" y="87"/>
                          </a:moveTo>
                          <a:cubicBezTo>
                            <a:pt x="38" y="87"/>
                            <a:pt x="38" y="86"/>
                            <a:pt x="38" y="86"/>
                          </a:cubicBezTo>
                          <a:cubicBezTo>
                            <a:pt x="38" y="86"/>
                            <a:pt x="38" y="86"/>
                            <a:pt x="38" y="86"/>
                          </a:cubicBezTo>
                          <a:cubicBezTo>
                            <a:pt x="38" y="86"/>
                            <a:pt x="38" y="86"/>
                            <a:pt x="38" y="86"/>
                          </a:cubicBezTo>
                          <a:cubicBezTo>
                            <a:pt x="38" y="86"/>
                            <a:pt x="37" y="86"/>
                            <a:pt x="37" y="86"/>
                          </a:cubicBezTo>
                          <a:cubicBezTo>
                            <a:pt x="37" y="86"/>
                            <a:pt x="37" y="86"/>
                            <a:pt x="37" y="86"/>
                          </a:cubicBezTo>
                          <a:cubicBezTo>
                            <a:pt x="37" y="86"/>
                            <a:pt x="37" y="86"/>
                            <a:pt x="37" y="87"/>
                          </a:cubicBezTo>
                          <a:close/>
                          <a:moveTo>
                            <a:pt x="38" y="86"/>
                          </a:moveTo>
                          <a:cubicBezTo>
                            <a:pt x="39" y="86"/>
                            <a:pt x="39" y="86"/>
                            <a:pt x="39" y="86"/>
                          </a:cubicBezTo>
                          <a:cubicBezTo>
                            <a:pt x="39" y="86"/>
                            <a:pt x="39" y="86"/>
                            <a:pt x="38" y="86"/>
                          </a:cubicBezTo>
                          <a:cubicBezTo>
                            <a:pt x="38" y="86"/>
                            <a:pt x="38" y="86"/>
                            <a:pt x="38" y="86"/>
                          </a:cubicBezTo>
                          <a:close/>
                          <a:moveTo>
                            <a:pt x="35" y="88"/>
                          </a:moveTo>
                          <a:cubicBezTo>
                            <a:pt x="35" y="88"/>
                            <a:pt x="36" y="88"/>
                            <a:pt x="35" y="88"/>
                          </a:cubicBezTo>
                          <a:cubicBezTo>
                            <a:pt x="35" y="88"/>
                            <a:pt x="35" y="88"/>
                            <a:pt x="35" y="88"/>
                          </a:cubicBezTo>
                          <a:cubicBezTo>
                            <a:pt x="35" y="88"/>
                            <a:pt x="35" y="88"/>
                            <a:pt x="35" y="88"/>
                          </a:cubicBezTo>
                          <a:close/>
                          <a:moveTo>
                            <a:pt x="39" y="85"/>
                          </a:moveTo>
                          <a:cubicBezTo>
                            <a:pt x="39" y="85"/>
                            <a:pt x="39" y="85"/>
                            <a:pt x="39" y="86"/>
                          </a:cubicBezTo>
                          <a:cubicBezTo>
                            <a:pt x="39" y="85"/>
                            <a:pt x="39" y="86"/>
                            <a:pt x="39" y="86"/>
                          </a:cubicBezTo>
                          <a:cubicBezTo>
                            <a:pt x="39" y="86"/>
                            <a:pt x="39" y="86"/>
                            <a:pt x="39" y="86"/>
                          </a:cubicBezTo>
                          <a:cubicBezTo>
                            <a:pt x="39" y="86"/>
                            <a:pt x="39" y="86"/>
                            <a:pt x="39" y="85"/>
                          </a:cubicBezTo>
                          <a:cubicBezTo>
                            <a:pt x="39" y="86"/>
                            <a:pt x="40" y="85"/>
                            <a:pt x="40" y="85"/>
                          </a:cubicBezTo>
                          <a:cubicBezTo>
                            <a:pt x="40" y="85"/>
                            <a:pt x="40" y="85"/>
                            <a:pt x="40" y="85"/>
                          </a:cubicBezTo>
                          <a:cubicBezTo>
                            <a:pt x="39" y="85"/>
                            <a:pt x="39" y="85"/>
                            <a:pt x="39" y="85"/>
                          </a:cubicBezTo>
                          <a:cubicBezTo>
                            <a:pt x="39" y="85"/>
                            <a:pt x="40" y="85"/>
                            <a:pt x="40" y="85"/>
                          </a:cubicBezTo>
                          <a:cubicBezTo>
                            <a:pt x="39" y="85"/>
                            <a:pt x="39" y="85"/>
                            <a:pt x="39" y="85"/>
                          </a:cubicBezTo>
                          <a:cubicBezTo>
                            <a:pt x="39" y="85"/>
                            <a:pt x="39" y="85"/>
                            <a:pt x="39" y="85"/>
                          </a:cubicBezTo>
                          <a:cubicBezTo>
                            <a:pt x="39" y="85"/>
                            <a:pt x="39" y="85"/>
                            <a:pt x="39" y="85"/>
                          </a:cubicBezTo>
                          <a:cubicBezTo>
                            <a:pt x="39" y="85"/>
                            <a:pt x="39" y="85"/>
                            <a:pt x="39" y="85"/>
                          </a:cubicBezTo>
                          <a:close/>
                          <a:moveTo>
                            <a:pt x="38" y="86"/>
                          </a:moveTo>
                          <a:cubicBezTo>
                            <a:pt x="38" y="86"/>
                            <a:pt x="39" y="85"/>
                            <a:pt x="39" y="85"/>
                          </a:cubicBezTo>
                          <a:cubicBezTo>
                            <a:pt x="38" y="85"/>
                            <a:pt x="38" y="85"/>
                            <a:pt x="38" y="86"/>
                          </a:cubicBezTo>
                          <a:close/>
                          <a:moveTo>
                            <a:pt x="38" y="86"/>
                          </a:moveTo>
                          <a:cubicBezTo>
                            <a:pt x="38" y="86"/>
                            <a:pt x="38" y="86"/>
                            <a:pt x="38" y="86"/>
                          </a:cubicBezTo>
                          <a:cubicBezTo>
                            <a:pt x="38" y="86"/>
                            <a:pt x="38" y="86"/>
                            <a:pt x="38" y="86"/>
                          </a:cubicBezTo>
                          <a:cubicBezTo>
                            <a:pt x="38" y="86"/>
                            <a:pt x="38" y="86"/>
                            <a:pt x="38" y="86"/>
                          </a:cubicBezTo>
                          <a:close/>
                          <a:moveTo>
                            <a:pt x="38" y="85"/>
                          </a:moveTo>
                          <a:cubicBezTo>
                            <a:pt x="38" y="85"/>
                            <a:pt x="37" y="85"/>
                            <a:pt x="38" y="85"/>
                          </a:cubicBezTo>
                          <a:cubicBezTo>
                            <a:pt x="38" y="85"/>
                            <a:pt x="38" y="86"/>
                            <a:pt x="38" y="85"/>
                          </a:cubicBezTo>
                          <a:cubicBezTo>
                            <a:pt x="38" y="85"/>
                            <a:pt x="38" y="85"/>
                            <a:pt x="38" y="85"/>
                          </a:cubicBezTo>
                          <a:cubicBezTo>
                            <a:pt x="38" y="86"/>
                            <a:pt x="38" y="85"/>
                            <a:pt x="38" y="85"/>
                          </a:cubicBezTo>
                          <a:close/>
                          <a:moveTo>
                            <a:pt x="37" y="85"/>
                          </a:moveTo>
                          <a:cubicBezTo>
                            <a:pt x="37" y="85"/>
                            <a:pt x="37" y="85"/>
                            <a:pt x="37" y="85"/>
                          </a:cubicBezTo>
                          <a:cubicBezTo>
                            <a:pt x="37" y="85"/>
                            <a:pt x="37" y="85"/>
                            <a:pt x="37" y="85"/>
                          </a:cubicBezTo>
                          <a:cubicBezTo>
                            <a:pt x="37" y="85"/>
                            <a:pt x="37" y="85"/>
                            <a:pt x="37" y="85"/>
                          </a:cubicBezTo>
                          <a:close/>
                          <a:moveTo>
                            <a:pt x="35" y="86"/>
                          </a:moveTo>
                          <a:cubicBezTo>
                            <a:pt x="35" y="87"/>
                            <a:pt x="35" y="87"/>
                            <a:pt x="34" y="87"/>
                          </a:cubicBezTo>
                          <a:cubicBezTo>
                            <a:pt x="34" y="87"/>
                            <a:pt x="35" y="87"/>
                            <a:pt x="35" y="87"/>
                          </a:cubicBezTo>
                          <a:cubicBezTo>
                            <a:pt x="35" y="87"/>
                            <a:pt x="35" y="87"/>
                            <a:pt x="35" y="86"/>
                          </a:cubicBezTo>
                          <a:close/>
                          <a:moveTo>
                            <a:pt x="39" y="84"/>
                          </a:moveTo>
                          <a:cubicBezTo>
                            <a:pt x="39" y="84"/>
                            <a:pt x="39" y="84"/>
                            <a:pt x="39" y="84"/>
                          </a:cubicBezTo>
                          <a:cubicBezTo>
                            <a:pt x="39" y="84"/>
                            <a:pt x="39" y="84"/>
                            <a:pt x="39" y="84"/>
                          </a:cubicBezTo>
                          <a:cubicBezTo>
                            <a:pt x="39" y="84"/>
                            <a:pt x="39" y="84"/>
                            <a:pt x="39" y="85"/>
                          </a:cubicBezTo>
                          <a:cubicBezTo>
                            <a:pt x="39" y="84"/>
                            <a:pt x="39" y="84"/>
                            <a:pt x="39" y="84"/>
                          </a:cubicBezTo>
                          <a:close/>
                          <a:moveTo>
                            <a:pt x="41" y="83"/>
                          </a:moveTo>
                          <a:cubicBezTo>
                            <a:pt x="41" y="83"/>
                            <a:pt x="41" y="83"/>
                            <a:pt x="41" y="83"/>
                          </a:cubicBezTo>
                          <a:cubicBezTo>
                            <a:pt x="41" y="83"/>
                            <a:pt x="41" y="83"/>
                            <a:pt x="41" y="83"/>
                          </a:cubicBezTo>
                          <a:cubicBezTo>
                            <a:pt x="41" y="83"/>
                            <a:pt x="41" y="83"/>
                            <a:pt x="41" y="83"/>
                          </a:cubicBezTo>
                          <a:close/>
                          <a:moveTo>
                            <a:pt x="42" y="82"/>
                          </a:moveTo>
                          <a:cubicBezTo>
                            <a:pt x="42" y="82"/>
                            <a:pt x="41" y="82"/>
                            <a:pt x="42" y="83"/>
                          </a:cubicBezTo>
                          <a:cubicBezTo>
                            <a:pt x="42" y="83"/>
                            <a:pt x="42" y="82"/>
                            <a:pt x="42" y="83"/>
                          </a:cubicBezTo>
                          <a:cubicBezTo>
                            <a:pt x="42" y="82"/>
                            <a:pt x="42" y="82"/>
                            <a:pt x="42" y="82"/>
                          </a:cubicBezTo>
                          <a:close/>
                          <a:moveTo>
                            <a:pt x="40" y="83"/>
                          </a:moveTo>
                          <a:cubicBezTo>
                            <a:pt x="40" y="83"/>
                            <a:pt x="40" y="83"/>
                            <a:pt x="40" y="84"/>
                          </a:cubicBezTo>
                          <a:cubicBezTo>
                            <a:pt x="40" y="83"/>
                            <a:pt x="40" y="83"/>
                            <a:pt x="40" y="83"/>
                          </a:cubicBezTo>
                          <a:close/>
                          <a:moveTo>
                            <a:pt x="56" y="73"/>
                          </a:moveTo>
                          <a:cubicBezTo>
                            <a:pt x="56" y="73"/>
                            <a:pt x="56" y="73"/>
                            <a:pt x="56" y="73"/>
                          </a:cubicBezTo>
                          <a:cubicBezTo>
                            <a:pt x="56" y="73"/>
                            <a:pt x="56" y="73"/>
                            <a:pt x="56" y="73"/>
                          </a:cubicBezTo>
                          <a:cubicBezTo>
                            <a:pt x="56" y="73"/>
                            <a:pt x="56" y="73"/>
                            <a:pt x="56" y="73"/>
                          </a:cubicBezTo>
                          <a:close/>
                          <a:moveTo>
                            <a:pt x="53" y="74"/>
                          </a:moveTo>
                          <a:cubicBezTo>
                            <a:pt x="53" y="75"/>
                            <a:pt x="53" y="75"/>
                            <a:pt x="53" y="75"/>
                          </a:cubicBezTo>
                          <a:cubicBezTo>
                            <a:pt x="53" y="75"/>
                            <a:pt x="53" y="75"/>
                            <a:pt x="53" y="74"/>
                          </a:cubicBezTo>
                          <a:close/>
                          <a:moveTo>
                            <a:pt x="51" y="77"/>
                          </a:moveTo>
                          <a:cubicBezTo>
                            <a:pt x="51" y="77"/>
                            <a:pt x="51" y="77"/>
                            <a:pt x="51" y="77"/>
                          </a:cubicBezTo>
                          <a:cubicBezTo>
                            <a:pt x="51" y="77"/>
                            <a:pt x="51" y="77"/>
                            <a:pt x="51" y="77"/>
                          </a:cubicBezTo>
                          <a:cubicBezTo>
                            <a:pt x="51" y="77"/>
                            <a:pt x="51" y="77"/>
                            <a:pt x="51" y="77"/>
                          </a:cubicBezTo>
                          <a:close/>
                          <a:moveTo>
                            <a:pt x="40" y="83"/>
                          </a:moveTo>
                          <a:cubicBezTo>
                            <a:pt x="40" y="83"/>
                            <a:pt x="40" y="83"/>
                            <a:pt x="41" y="83"/>
                          </a:cubicBezTo>
                          <a:cubicBezTo>
                            <a:pt x="41" y="83"/>
                            <a:pt x="41" y="82"/>
                            <a:pt x="41" y="82"/>
                          </a:cubicBezTo>
                          <a:cubicBezTo>
                            <a:pt x="41" y="82"/>
                            <a:pt x="41" y="83"/>
                            <a:pt x="41" y="83"/>
                          </a:cubicBezTo>
                          <a:cubicBezTo>
                            <a:pt x="41" y="82"/>
                            <a:pt x="41" y="82"/>
                            <a:pt x="40" y="83"/>
                          </a:cubicBezTo>
                          <a:close/>
                          <a:moveTo>
                            <a:pt x="45" y="80"/>
                          </a:moveTo>
                          <a:cubicBezTo>
                            <a:pt x="45" y="80"/>
                            <a:pt x="45" y="80"/>
                            <a:pt x="45" y="80"/>
                          </a:cubicBezTo>
                          <a:cubicBezTo>
                            <a:pt x="45" y="80"/>
                            <a:pt x="44" y="80"/>
                            <a:pt x="45" y="80"/>
                          </a:cubicBezTo>
                          <a:close/>
                          <a:moveTo>
                            <a:pt x="47" y="79"/>
                          </a:moveTo>
                          <a:cubicBezTo>
                            <a:pt x="47" y="79"/>
                            <a:pt x="47" y="79"/>
                            <a:pt x="47" y="79"/>
                          </a:cubicBezTo>
                          <a:cubicBezTo>
                            <a:pt x="47" y="79"/>
                            <a:pt x="47" y="79"/>
                            <a:pt x="47" y="79"/>
                          </a:cubicBezTo>
                          <a:close/>
                          <a:moveTo>
                            <a:pt x="47" y="78"/>
                          </a:moveTo>
                          <a:cubicBezTo>
                            <a:pt x="47" y="78"/>
                            <a:pt x="47" y="79"/>
                            <a:pt x="47" y="79"/>
                          </a:cubicBezTo>
                          <a:cubicBezTo>
                            <a:pt x="47" y="79"/>
                            <a:pt x="48" y="78"/>
                            <a:pt x="48" y="78"/>
                          </a:cubicBezTo>
                          <a:cubicBezTo>
                            <a:pt x="48" y="78"/>
                            <a:pt x="47" y="78"/>
                            <a:pt x="48" y="78"/>
                          </a:cubicBezTo>
                          <a:cubicBezTo>
                            <a:pt x="47" y="78"/>
                            <a:pt x="47" y="78"/>
                            <a:pt x="47" y="78"/>
                          </a:cubicBezTo>
                          <a:close/>
                          <a:moveTo>
                            <a:pt x="46" y="79"/>
                          </a:moveTo>
                          <a:cubicBezTo>
                            <a:pt x="46" y="79"/>
                            <a:pt x="46" y="79"/>
                            <a:pt x="46" y="79"/>
                          </a:cubicBezTo>
                          <a:cubicBezTo>
                            <a:pt x="46" y="79"/>
                            <a:pt x="46" y="79"/>
                            <a:pt x="46" y="79"/>
                          </a:cubicBezTo>
                          <a:cubicBezTo>
                            <a:pt x="46" y="79"/>
                            <a:pt x="46" y="79"/>
                            <a:pt x="46" y="79"/>
                          </a:cubicBezTo>
                          <a:cubicBezTo>
                            <a:pt x="46" y="79"/>
                            <a:pt x="46" y="79"/>
                            <a:pt x="46" y="79"/>
                          </a:cubicBezTo>
                          <a:cubicBezTo>
                            <a:pt x="46" y="79"/>
                            <a:pt x="46" y="79"/>
                            <a:pt x="46" y="79"/>
                          </a:cubicBezTo>
                          <a:cubicBezTo>
                            <a:pt x="46" y="80"/>
                            <a:pt x="45" y="80"/>
                            <a:pt x="45" y="79"/>
                          </a:cubicBezTo>
                          <a:cubicBezTo>
                            <a:pt x="45" y="80"/>
                            <a:pt x="45" y="80"/>
                            <a:pt x="45" y="80"/>
                          </a:cubicBezTo>
                          <a:cubicBezTo>
                            <a:pt x="45" y="80"/>
                            <a:pt x="45" y="80"/>
                            <a:pt x="45" y="80"/>
                          </a:cubicBezTo>
                          <a:cubicBezTo>
                            <a:pt x="45" y="80"/>
                            <a:pt x="46" y="80"/>
                            <a:pt x="46" y="80"/>
                          </a:cubicBezTo>
                          <a:cubicBezTo>
                            <a:pt x="46" y="80"/>
                            <a:pt x="46" y="80"/>
                            <a:pt x="46" y="80"/>
                          </a:cubicBezTo>
                          <a:cubicBezTo>
                            <a:pt x="46" y="79"/>
                            <a:pt x="46" y="79"/>
                            <a:pt x="47" y="79"/>
                          </a:cubicBezTo>
                          <a:cubicBezTo>
                            <a:pt x="47" y="79"/>
                            <a:pt x="46" y="79"/>
                            <a:pt x="46" y="79"/>
                          </a:cubicBezTo>
                          <a:close/>
                          <a:moveTo>
                            <a:pt x="43" y="80"/>
                          </a:moveTo>
                          <a:cubicBezTo>
                            <a:pt x="43" y="80"/>
                            <a:pt x="43" y="80"/>
                            <a:pt x="43" y="80"/>
                          </a:cubicBezTo>
                          <a:cubicBezTo>
                            <a:pt x="43" y="80"/>
                            <a:pt x="42" y="80"/>
                            <a:pt x="43" y="80"/>
                          </a:cubicBezTo>
                          <a:close/>
                          <a:moveTo>
                            <a:pt x="42" y="80"/>
                          </a:moveTo>
                          <a:cubicBezTo>
                            <a:pt x="42" y="80"/>
                            <a:pt x="42" y="80"/>
                            <a:pt x="41" y="80"/>
                          </a:cubicBezTo>
                          <a:cubicBezTo>
                            <a:pt x="41" y="81"/>
                            <a:pt x="42" y="80"/>
                            <a:pt x="42" y="80"/>
                          </a:cubicBezTo>
                          <a:close/>
                          <a:moveTo>
                            <a:pt x="43" y="79"/>
                          </a:moveTo>
                          <a:cubicBezTo>
                            <a:pt x="43" y="79"/>
                            <a:pt x="43" y="80"/>
                            <a:pt x="43" y="80"/>
                          </a:cubicBezTo>
                          <a:cubicBezTo>
                            <a:pt x="43" y="80"/>
                            <a:pt x="43" y="80"/>
                            <a:pt x="43" y="79"/>
                          </a:cubicBezTo>
                          <a:cubicBezTo>
                            <a:pt x="43" y="79"/>
                            <a:pt x="43" y="79"/>
                            <a:pt x="43" y="79"/>
                          </a:cubicBezTo>
                          <a:cubicBezTo>
                            <a:pt x="43" y="79"/>
                            <a:pt x="43" y="79"/>
                            <a:pt x="44" y="79"/>
                          </a:cubicBezTo>
                          <a:cubicBezTo>
                            <a:pt x="43" y="79"/>
                            <a:pt x="43" y="79"/>
                            <a:pt x="43" y="79"/>
                          </a:cubicBezTo>
                          <a:close/>
                          <a:moveTo>
                            <a:pt x="33" y="84"/>
                          </a:moveTo>
                          <a:cubicBezTo>
                            <a:pt x="34" y="84"/>
                            <a:pt x="33" y="83"/>
                            <a:pt x="33" y="83"/>
                          </a:cubicBezTo>
                          <a:cubicBezTo>
                            <a:pt x="33" y="83"/>
                            <a:pt x="33" y="84"/>
                            <a:pt x="33" y="84"/>
                          </a:cubicBezTo>
                          <a:close/>
                          <a:moveTo>
                            <a:pt x="36" y="82"/>
                          </a:moveTo>
                          <a:cubicBezTo>
                            <a:pt x="36" y="82"/>
                            <a:pt x="36" y="82"/>
                            <a:pt x="36" y="82"/>
                          </a:cubicBezTo>
                          <a:cubicBezTo>
                            <a:pt x="36" y="82"/>
                            <a:pt x="36" y="82"/>
                            <a:pt x="36" y="82"/>
                          </a:cubicBezTo>
                          <a:cubicBezTo>
                            <a:pt x="36" y="82"/>
                            <a:pt x="37" y="82"/>
                            <a:pt x="37" y="82"/>
                          </a:cubicBezTo>
                          <a:cubicBezTo>
                            <a:pt x="36" y="82"/>
                            <a:pt x="36" y="82"/>
                            <a:pt x="36" y="82"/>
                          </a:cubicBezTo>
                          <a:close/>
                          <a:moveTo>
                            <a:pt x="37" y="81"/>
                          </a:moveTo>
                          <a:cubicBezTo>
                            <a:pt x="37" y="81"/>
                            <a:pt x="37" y="81"/>
                            <a:pt x="37" y="81"/>
                          </a:cubicBezTo>
                          <a:cubicBezTo>
                            <a:pt x="37" y="81"/>
                            <a:pt x="37" y="81"/>
                            <a:pt x="37" y="81"/>
                          </a:cubicBezTo>
                          <a:cubicBezTo>
                            <a:pt x="37" y="81"/>
                            <a:pt x="37" y="81"/>
                            <a:pt x="37" y="81"/>
                          </a:cubicBezTo>
                          <a:cubicBezTo>
                            <a:pt x="37" y="81"/>
                            <a:pt x="37" y="81"/>
                            <a:pt x="37" y="81"/>
                          </a:cubicBezTo>
                          <a:close/>
                          <a:moveTo>
                            <a:pt x="35" y="83"/>
                          </a:moveTo>
                          <a:cubicBezTo>
                            <a:pt x="35" y="83"/>
                            <a:pt x="35" y="83"/>
                            <a:pt x="35" y="83"/>
                          </a:cubicBezTo>
                          <a:cubicBezTo>
                            <a:pt x="34" y="83"/>
                            <a:pt x="35" y="83"/>
                            <a:pt x="35" y="83"/>
                          </a:cubicBezTo>
                          <a:cubicBezTo>
                            <a:pt x="34" y="83"/>
                            <a:pt x="34" y="83"/>
                            <a:pt x="34" y="83"/>
                          </a:cubicBezTo>
                          <a:cubicBezTo>
                            <a:pt x="34" y="83"/>
                            <a:pt x="35" y="83"/>
                            <a:pt x="35" y="83"/>
                          </a:cubicBezTo>
                          <a:close/>
                          <a:moveTo>
                            <a:pt x="35" y="83"/>
                          </a:moveTo>
                          <a:cubicBezTo>
                            <a:pt x="35" y="82"/>
                            <a:pt x="35" y="82"/>
                            <a:pt x="35" y="82"/>
                          </a:cubicBezTo>
                          <a:cubicBezTo>
                            <a:pt x="35" y="83"/>
                            <a:pt x="35" y="83"/>
                            <a:pt x="35" y="83"/>
                          </a:cubicBezTo>
                          <a:close/>
                          <a:moveTo>
                            <a:pt x="36" y="82"/>
                          </a:moveTo>
                          <a:cubicBezTo>
                            <a:pt x="36" y="82"/>
                            <a:pt x="36" y="82"/>
                            <a:pt x="36" y="82"/>
                          </a:cubicBezTo>
                          <a:cubicBezTo>
                            <a:pt x="36" y="82"/>
                            <a:pt x="36" y="82"/>
                            <a:pt x="36" y="82"/>
                          </a:cubicBezTo>
                          <a:cubicBezTo>
                            <a:pt x="36" y="82"/>
                            <a:pt x="36" y="82"/>
                            <a:pt x="36" y="82"/>
                          </a:cubicBezTo>
                          <a:cubicBezTo>
                            <a:pt x="36" y="82"/>
                            <a:pt x="36" y="82"/>
                            <a:pt x="36" y="82"/>
                          </a:cubicBezTo>
                          <a:close/>
                          <a:moveTo>
                            <a:pt x="36" y="82"/>
                          </a:moveTo>
                          <a:cubicBezTo>
                            <a:pt x="36" y="82"/>
                            <a:pt x="37" y="82"/>
                            <a:pt x="37" y="82"/>
                          </a:cubicBezTo>
                          <a:cubicBezTo>
                            <a:pt x="37" y="82"/>
                            <a:pt x="36" y="82"/>
                            <a:pt x="36" y="82"/>
                          </a:cubicBezTo>
                          <a:cubicBezTo>
                            <a:pt x="36" y="82"/>
                            <a:pt x="36" y="82"/>
                            <a:pt x="36" y="82"/>
                          </a:cubicBezTo>
                          <a:close/>
                          <a:moveTo>
                            <a:pt x="41" y="80"/>
                          </a:moveTo>
                          <a:cubicBezTo>
                            <a:pt x="40" y="80"/>
                            <a:pt x="40" y="80"/>
                            <a:pt x="40" y="80"/>
                          </a:cubicBezTo>
                          <a:cubicBezTo>
                            <a:pt x="40" y="80"/>
                            <a:pt x="41" y="80"/>
                            <a:pt x="41" y="80"/>
                          </a:cubicBezTo>
                          <a:close/>
                          <a:moveTo>
                            <a:pt x="43" y="79"/>
                          </a:moveTo>
                          <a:cubicBezTo>
                            <a:pt x="42" y="79"/>
                            <a:pt x="42" y="79"/>
                            <a:pt x="42" y="79"/>
                          </a:cubicBezTo>
                          <a:cubicBezTo>
                            <a:pt x="42" y="79"/>
                            <a:pt x="42" y="79"/>
                            <a:pt x="43" y="79"/>
                          </a:cubicBezTo>
                          <a:close/>
                          <a:moveTo>
                            <a:pt x="43" y="79"/>
                          </a:moveTo>
                          <a:cubicBezTo>
                            <a:pt x="43" y="79"/>
                            <a:pt x="42" y="79"/>
                            <a:pt x="42" y="79"/>
                          </a:cubicBezTo>
                          <a:cubicBezTo>
                            <a:pt x="42" y="79"/>
                            <a:pt x="42" y="79"/>
                            <a:pt x="42" y="79"/>
                          </a:cubicBezTo>
                          <a:cubicBezTo>
                            <a:pt x="43" y="79"/>
                            <a:pt x="43" y="79"/>
                            <a:pt x="43" y="79"/>
                          </a:cubicBezTo>
                          <a:cubicBezTo>
                            <a:pt x="43" y="79"/>
                            <a:pt x="43" y="79"/>
                            <a:pt x="43" y="79"/>
                          </a:cubicBezTo>
                          <a:close/>
                          <a:moveTo>
                            <a:pt x="43" y="78"/>
                          </a:moveTo>
                          <a:cubicBezTo>
                            <a:pt x="43" y="78"/>
                            <a:pt x="43" y="78"/>
                            <a:pt x="43" y="78"/>
                          </a:cubicBezTo>
                          <a:cubicBezTo>
                            <a:pt x="44" y="78"/>
                            <a:pt x="43" y="78"/>
                            <a:pt x="43" y="78"/>
                          </a:cubicBezTo>
                          <a:close/>
                          <a:moveTo>
                            <a:pt x="37" y="82"/>
                          </a:moveTo>
                          <a:cubicBezTo>
                            <a:pt x="37" y="82"/>
                            <a:pt x="37" y="82"/>
                            <a:pt x="37" y="82"/>
                          </a:cubicBezTo>
                          <a:cubicBezTo>
                            <a:pt x="37" y="82"/>
                            <a:pt x="37" y="82"/>
                            <a:pt x="37" y="82"/>
                          </a:cubicBezTo>
                          <a:cubicBezTo>
                            <a:pt x="37" y="82"/>
                            <a:pt x="37" y="82"/>
                            <a:pt x="37" y="82"/>
                          </a:cubicBezTo>
                          <a:cubicBezTo>
                            <a:pt x="37" y="82"/>
                            <a:pt x="37" y="82"/>
                            <a:pt x="37" y="82"/>
                          </a:cubicBezTo>
                          <a:cubicBezTo>
                            <a:pt x="37" y="82"/>
                            <a:pt x="37" y="82"/>
                            <a:pt x="37" y="82"/>
                          </a:cubicBezTo>
                          <a:close/>
                          <a:moveTo>
                            <a:pt x="38" y="81"/>
                          </a:moveTo>
                          <a:cubicBezTo>
                            <a:pt x="38" y="81"/>
                            <a:pt x="37" y="81"/>
                            <a:pt x="37" y="82"/>
                          </a:cubicBezTo>
                          <a:cubicBezTo>
                            <a:pt x="38" y="81"/>
                            <a:pt x="38" y="81"/>
                            <a:pt x="38" y="81"/>
                          </a:cubicBezTo>
                          <a:close/>
                          <a:moveTo>
                            <a:pt x="40" y="80"/>
                          </a:moveTo>
                          <a:cubicBezTo>
                            <a:pt x="40" y="80"/>
                            <a:pt x="40" y="80"/>
                            <a:pt x="40" y="80"/>
                          </a:cubicBezTo>
                          <a:cubicBezTo>
                            <a:pt x="40" y="80"/>
                            <a:pt x="41" y="80"/>
                            <a:pt x="41" y="80"/>
                          </a:cubicBezTo>
                          <a:cubicBezTo>
                            <a:pt x="40" y="80"/>
                            <a:pt x="40" y="80"/>
                            <a:pt x="40" y="80"/>
                          </a:cubicBezTo>
                          <a:close/>
                          <a:moveTo>
                            <a:pt x="39" y="80"/>
                          </a:moveTo>
                          <a:cubicBezTo>
                            <a:pt x="39" y="80"/>
                            <a:pt x="39" y="80"/>
                            <a:pt x="39" y="81"/>
                          </a:cubicBezTo>
                          <a:cubicBezTo>
                            <a:pt x="39" y="81"/>
                            <a:pt x="39" y="81"/>
                            <a:pt x="39" y="81"/>
                          </a:cubicBezTo>
                          <a:cubicBezTo>
                            <a:pt x="39" y="81"/>
                            <a:pt x="39" y="81"/>
                            <a:pt x="39" y="80"/>
                          </a:cubicBezTo>
                          <a:cubicBezTo>
                            <a:pt x="39" y="81"/>
                            <a:pt x="39" y="81"/>
                            <a:pt x="39" y="80"/>
                          </a:cubicBezTo>
                          <a:cubicBezTo>
                            <a:pt x="39" y="80"/>
                            <a:pt x="39" y="80"/>
                            <a:pt x="39" y="80"/>
                          </a:cubicBezTo>
                          <a:cubicBezTo>
                            <a:pt x="39" y="80"/>
                            <a:pt x="39" y="80"/>
                            <a:pt x="39" y="80"/>
                          </a:cubicBezTo>
                          <a:cubicBezTo>
                            <a:pt x="39" y="80"/>
                            <a:pt x="39" y="80"/>
                            <a:pt x="39" y="80"/>
                          </a:cubicBezTo>
                          <a:close/>
                          <a:moveTo>
                            <a:pt x="32" y="84"/>
                          </a:moveTo>
                          <a:cubicBezTo>
                            <a:pt x="32" y="84"/>
                            <a:pt x="32" y="84"/>
                            <a:pt x="32" y="84"/>
                          </a:cubicBezTo>
                          <a:cubicBezTo>
                            <a:pt x="33" y="84"/>
                            <a:pt x="33" y="84"/>
                            <a:pt x="33" y="84"/>
                          </a:cubicBezTo>
                          <a:lnTo>
                            <a:pt x="32" y="84"/>
                          </a:lnTo>
                          <a:close/>
                          <a:moveTo>
                            <a:pt x="34" y="83"/>
                          </a:moveTo>
                          <a:cubicBezTo>
                            <a:pt x="34" y="83"/>
                            <a:pt x="34" y="83"/>
                            <a:pt x="34" y="83"/>
                          </a:cubicBezTo>
                          <a:cubicBezTo>
                            <a:pt x="33" y="83"/>
                            <a:pt x="33" y="83"/>
                            <a:pt x="33" y="83"/>
                          </a:cubicBezTo>
                          <a:lnTo>
                            <a:pt x="34" y="83"/>
                          </a:lnTo>
                          <a:close/>
                          <a:moveTo>
                            <a:pt x="35" y="82"/>
                          </a:moveTo>
                          <a:cubicBezTo>
                            <a:pt x="35" y="82"/>
                            <a:pt x="35" y="82"/>
                            <a:pt x="35" y="82"/>
                          </a:cubicBezTo>
                          <a:cubicBezTo>
                            <a:pt x="35" y="82"/>
                            <a:pt x="35" y="82"/>
                            <a:pt x="35" y="82"/>
                          </a:cubicBezTo>
                          <a:cubicBezTo>
                            <a:pt x="35" y="82"/>
                            <a:pt x="35" y="82"/>
                            <a:pt x="36" y="82"/>
                          </a:cubicBezTo>
                          <a:cubicBezTo>
                            <a:pt x="35" y="82"/>
                            <a:pt x="35" y="82"/>
                            <a:pt x="35" y="82"/>
                          </a:cubicBezTo>
                          <a:cubicBezTo>
                            <a:pt x="35" y="82"/>
                            <a:pt x="35" y="82"/>
                            <a:pt x="35" y="82"/>
                          </a:cubicBezTo>
                          <a:close/>
                          <a:moveTo>
                            <a:pt x="53" y="73"/>
                          </a:moveTo>
                          <a:cubicBezTo>
                            <a:pt x="53" y="73"/>
                            <a:pt x="52" y="73"/>
                            <a:pt x="52" y="73"/>
                          </a:cubicBezTo>
                          <a:cubicBezTo>
                            <a:pt x="52" y="73"/>
                            <a:pt x="52" y="73"/>
                            <a:pt x="52" y="74"/>
                          </a:cubicBezTo>
                          <a:cubicBezTo>
                            <a:pt x="53" y="73"/>
                            <a:pt x="53" y="73"/>
                            <a:pt x="53" y="73"/>
                          </a:cubicBezTo>
                          <a:cubicBezTo>
                            <a:pt x="53" y="73"/>
                            <a:pt x="53" y="73"/>
                            <a:pt x="53" y="73"/>
                          </a:cubicBezTo>
                          <a:close/>
                          <a:moveTo>
                            <a:pt x="47" y="75"/>
                          </a:moveTo>
                          <a:cubicBezTo>
                            <a:pt x="47" y="75"/>
                            <a:pt x="48" y="75"/>
                            <a:pt x="48" y="75"/>
                          </a:cubicBezTo>
                          <a:cubicBezTo>
                            <a:pt x="47" y="75"/>
                            <a:pt x="47" y="75"/>
                            <a:pt x="47" y="75"/>
                          </a:cubicBezTo>
                          <a:close/>
                          <a:moveTo>
                            <a:pt x="49" y="74"/>
                          </a:moveTo>
                          <a:cubicBezTo>
                            <a:pt x="48" y="74"/>
                            <a:pt x="48" y="75"/>
                            <a:pt x="48" y="75"/>
                          </a:cubicBezTo>
                          <a:cubicBezTo>
                            <a:pt x="48" y="75"/>
                            <a:pt x="49" y="74"/>
                            <a:pt x="49" y="74"/>
                          </a:cubicBezTo>
                          <a:close/>
                          <a:moveTo>
                            <a:pt x="48" y="74"/>
                          </a:moveTo>
                          <a:cubicBezTo>
                            <a:pt x="48" y="74"/>
                            <a:pt x="48" y="74"/>
                            <a:pt x="48" y="74"/>
                          </a:cubicBezTo>
                          <a:cubicBezTo>
                            <a:pt x="48" y="74"/>
                            <a:pt x="48" y="74"/>
                            <a:pt x="48" y="74"/>
                          </a:cubicBezTo>
                          <a:cubicBezTo>
                            <a:pt x="48" y="74"/>
                            <a:pt x="47" y="75"/>
                            <a:pt x="47" y="74"/>
                          </a:cubicBezTo>
                          <a:cubicBezTo>
                            <a:pt x="47" y="75"/>
                            <a:pt x="47" y="75"/>
                            <a:pt x="46" y="75"/>
                          </a:cubicBezTo>
                          <a:cubicBezTo>
                            <a:pt x="47" y="75"/>
                            <a:pt x="46" y="75"/>
                            <a:pt x="47" y="75"/>
                          </a:cubicBezTo>
                          <a:cubicBezTo>
                            <a:pt x="47" y="75"/>
                            <a:pt x="48" y="74"/>
                            <a:pt x="47" y="75"/>
                          </a:cubicBezTo>
                          <a:cubicBezTo>
                            <a:pt x="48" y="75"/>
                            <a:pt x="47" y="75"/>
                            <a:pt x="48" y="74"/>
                          </a:cubicBezTo>
                          <a:close/>
                          <a:moveTo>
                            <a:pt x="47" y="75"/>
                          </a:moveTo>
                          <a:cubicBezTo>
                            <a:pt x="47" y="75"/>
                            <a:pt x="47" y="75"/>
                            <a:pt x="47" y="75"/>
                          </a:cubicBezTo>
                          <a:cubicBezTo>
                            <a:pt x="47" y="75"/>
                            <a:pt x="47" y="75"/>
                            <a:pt x="46" y="75"/>
                          </a:cubicBezTo>
                          <a:cubicBezTo>
                            <a:pt x="47" y="75"/>
                            <a:pt x="47" y="75"/>
                            <a:pt x="47" y="75"/>
                          </a:cubicBezTo>
                          <a:close/>
                          <a:moveTo>
                            <a:pt x="38" y="80"/>
                          </a:moveTo>
                          <a:cubicBezTo>
                            <a:pt x="38" y="80"/>
                            <a:pt x="38" y="80"/>
                            <a:pt x="38" y="80"/>
                          </a:cubicBezTo>
                          <a:cubicBezTo>
                            <a:pt x="38" y="80"/>
                            <a:pt x="38" y="80"/>
                            <a:pt x="38" y="80"/>
                          </a:cubicBezTo>
                          <a:cubicBezTo>
                            <a:pt x="38" y="80"/>
                            <a:pt x="38" y="80"/>
                            <a:pt x="38" y="80"/>
                          </a:cubicBezTo>
                          <a:cubicBezTo>
                            <a:pt x="38" y="80"/>
                            <a:pt x="37" y="80"/>
                            <a:pt x="37" y="80"/>
                          </a:cubicBezTo>
                          <a:cubicBezTo>
                            <a:pt x="38" y="80"/>
                            <a:pt x="37" y="80"/>
                            <a:pt x="37" y="80"/>
                          </a:cubicBezTo>
                          <a:cubicBezTo>
                            <a:pt x="37" y="80"/>
                            <a:pt x="38" y="80"/>
                            <a:pt x="38" y="80"/>
                          </a:cubicBezTo>
                          <a:close/>
                          <a:moveTo>
                            <a:pt x="38" y="80"/>
                          </a:moveTo>
                          <a:cubicBezTo>
                            <a:pt x="38" y="80"/>
                            <a:pt x="38" y="80"/>
                            <a:pt x="38" y="79"/>
                          </a:cubicBezTo>
                          <a:cubicBezTo>
                            <a:pt x="38" y="80"/>
                            <a:pt x="38" y="80"/>
                            <a:pt x="38" y="80"/>
                          </a:cubicBezTo>
                          <a:cubicBezTo>
                            <a:pt x="38" y="80"/>
                            <a:pt x="38" y="80"/>
                            <a:pt x="38" y="80"/>
                          </a:cubicBezTo>
                          <a:cubicBezTo>
                            <a:pt x="38" y="80"/>
                            <a:pt x="38" y="80"/>
                            <a:pt x="38" y="80"/>
                          </a:cubicBezTo>
                          <a:cubicBezTo>
                            <a:pt x="38" y="80"/>
                            <a:pt x="38" y="80"/>
                            <a:pt x="38" y="80"/>
                          </a:cubicBezTo>
                          <a:close/>
                          <a:moveTo>
                            <a:pt x="39" y="79"/>
                          </a:moveTo>
                          <a:cubicBezTo>
                            <a:pt x="39" y="79"/>
                            <a:pt x="39" y="79"/>
                            <a:pt x="40" y="79"/>
                          </a:cubicBezTo>
                          <a:cubicBezTo>
                            <a:pt x="39" y="79"/>
                            <a:pt x="39" y="79"/>
                            <a:pt x="39" y="79"/>
                          </a:cubicBezTo>
                          <a:cubicBezTo>
                            <a:pt x="39" y="79"/>
                            <a:pt x="39" y="79"/>
                            <a:pt x="39" y="79"/>
                          </a:cubicBezTo>
                          <a:cubicBezTo>
                            <a:pt x="39" y="79"/>
                            <a:pt x="39" y="79"/>
                            <a:pt x="39" y="80"/>
                          </a:cubicBezTo>
                          <a:cubicBezTo>
                            <a:pt x="39" y="79"/>
                            <a:pt x="39" y="79"/>
                            <a:pt x="39" y="79"/>
                          </a:cubicBezTo>
                          <a:close/>
                          <a:moveTo>
                            <a:pt x="40" y="79"/>
                          </a:moveTo>
                          <a:cubicBezTo>
                            <a:pt x="41" y="79"/>
                            <a:pt x="41" y="78"/>
                            <a:pt x="41" y="78"/>
                          </a:cubicBezTo>
                          <a:cubicBezTo>
                            <a:pt x="41" y="78"/>
                            <a:pt x="40" y="79"/>
                            <a:pt x="40" y="79"/>
                          </a:cubicBezTo>
                          <a:close/>
                          <a:moveTo>
                            <a:pt x="38" y="80"/>
                          </a:moveTo>
                          <a:cubicBezTo>
                            <a:pt x="38" y="80"/>
                            <a:pt x="38" y="79"/>
                            <a:pt x="38" y="79"/>
                          </a:cubicBezTo>
                          <a:cubicBezTo>
                            <a:pt x="39" y="79"/>
                            <a:pt x="38" y="79"/>
                            <a:pt x="39" y="79"/>
                          </a:cubicBezTo>
                          <a:cubicBezTo>
                            <a:pt x="38" y="80"/>
                            <a:pt x="39" y="79"/>
                            <a:pt x="40" y="79"/>
                          </a:cubicBezTo>
                          <a:cubicBezTo>
                            <a:pt x="39" y="79"/>
                            <a:pt x="38" y="79"/>
                            <a:pt x="38" y="80"/>
                          </a:cubicBezTo>
                          <a:close/>
                          <a:moveTo>
                            <a:pt x="39" y="79"/>
                          </a:moveTo>
                          <a:cubicBezTo>
                            <a:pt x="40" y="78"/>
                            <a:pt x="39" y="79"/>
                            <a:pt x="39" y="79"/>
                          </a:cubicBezTo>
                          <a:cubicBezTo>
                            <a:pt x="40" y="79"/>
                            <a:pt x="40" y="79"/>
                            <a:pt x="40" y="79"/>
                          </a:cubicBezTo>
                          <a:cubicBezTo>
                            <a:pt x="40" y="78"/>
                            <a:pt x="40" y="78"/>
                            <a:pt x="40" y="78"/>
                          </a:cubicBezTo>
                          <a:cubicBezTo>
                            <a:pt x="40" y="79"/>
                            <a:pt x="39" y="79"/>
                            <a:pt x="39" y="79"/>
                          </a:cubicBezTo>
                          <a:close/>
                          <a:moveTo>
                            <a:pt x="36" y="80"/>
                          </a:moveTo>
                          <a:cubicBezTo>
                            <a:pt x="36" y="80"/>
                            <a:pt x="37" y="80"/>
                            <a:pt x="37" y="80"/>
                          </a:cubicBezTo>
                          <a:cubicBezTo>
                            <a:pt x="36" y="80"/>
                            <a:pt x="36" y="80"/>
                            <a:pt x="36" y="81"/>
                          </a:cubicBezTo>
                          <a:cubicBezTo>
                            <a:pt x="36" y="81"/>
                            <a:pt x="36" y="81"/>
                            <a:pt x="36" y="81"/>
                          </a:cubicBezTo>
                          <a:cubicBezTo>
                            <a:pt x="36" y="81"/>
                            <a:pt x="36" y="81"/>
                            <a:pt x="36" y="81"/>
                          </a:cubicBezTo>
                          <a:cubicBezTo>
                            <a:pt x="36" y="81"/>
                            <a:pt x="36" y="81"/>
                            <a:pt x="36" y="81"/>
                          </a:cubicBezTo>
                          <a:cubicBezTo>
                            <a:pt x="36" y="81"/>
                            <a:pt x="36" y="81"/>
                            <a:pt x="36" y="81"/>
                          </a:cubicBezTo>
                          <a:cubicBezTo>
                            <a:pt x="36" y="81"/>
                            <a:pt x="36" y="81"/>
                            <a:pt x="36" y="81"/>
                          </a:cubicBezTo>
                          <a:cubicBezTo>
                            <a:pt x="36" y="81"/>
                            <a:pt x="36" y="81"/>
                            <a:pt x="36" y="81"/>
                          </a:cubicBezTo>
                          <a:cubicBezTo>
                            <a:pt x="36" y="81"/>
                            <a:pt x="36" y="81"/>
                            <a:pt x="37" y="81"/>
                          </a:cubicBezTo>
                          <a:cubicBezTo>
                            <a:pt x="36" y="81"/>
                            <a:pt x="36" y="81"/>
                            <a:pt x="36" y="81"/>
                          </a:cubicBezTo>
                          <a:cubicBezTo>
                            <a:pt x="37" y="80"/>
                            <a:pt x="37" y="80"/>
                            <a:pt x="37" y="80"/>
                          </a:cubicBezTo>
                          <a:cubicBezTo>
                            <a:pt x="37" y="80"/>
                            <a:pt x="37" y="80"/>
                            <a:pt x="37" y="80"/>
                          </a:cubicBezTo>
                          <a:cubicBezTo>
                            <a:pt x="37" y="80"/>
                            <a:pt x="37" y="80"/>
                            <a:pt x="36" y="80"/>
                          </a:cubicBezTo>
                          <a:close/>
                          <a:moveTo>
                            <a:pt x="39" y="79"/>
                          </a:moveTo>
                          <a:cubicBezTo>
                            <a:pt x="39" y="79"/>
                            <a:pt x="39" y="79"/>
                            <a:pt x="39" y="79"/>
                          </a:cubicBezTo>
                          <a:cubicBezTo>
                            <a:pt x="39" y="78"/>
                            <a:pt x="39" y="79"/>
                            <a:pt x="39" y="79"/>
                          </a:cubicBezTo>
                          <a:close/>
                          <a:moveTo>
                            <a:pt x="37" y="79"/>
                          </a:moveTo>
                          <a:cubicBezTo>
                            <a:pt x="37" y="79"/>
                            <a:pt x="37" y="79"/>
                            <a:pt x="37" y="79"/>
                          </a:cubicBezTo>
                          <a:cubicBezTo>
                            <a:pt x="37" y="79"/>
                            <a:pt x="38" y="79"/>
                            <a:pt x="38" y="79"/>
                          </a:cubicBezTo>
                          <a:cubicBezTo>
                            <a:pt x="38" y="79"/>
                            <a:pt x="37" y="79"/>
                            <a:pt x="37" y="79"/>
                          </a:cubicBezTo>
                          <a:close/>
                          <a:moveTo>
                            <a:pt x="33" y="81"/>
                          </a:moveTo>
                          <a:cubicBezTo>
                            <a:pt x="33" y="81"/>
                            <a:pt x="33" y="81"/>
                            <a:pt x="33" y="81"/>
                          </a:cubicBezTo>
                          <a:cubicBezTo>
                            <a:pt x="33" y="81"/>
                            <a:pt x="33" y="81"/>
                            <a:pt x="33" y="81"/>
                          </a:cubicBezTo>
                          <a:close/>
                          <a:moveTo>
                            <a:pt x="27" y="83"/>
                          </a:moveTo>
                          <a:cubicBezTo>
                            <a:pt x="27" y="83"/>
                            <a:pt x="26" y="83"/>
                            <a:pt x="26" y="84"/>
                          </a:cubicBezTo>
                          <a:cubicBezTo>
                            <a:pt x="26" y="83"/>
                            <a:pt x="26" y="84"/>
                            <a:pt x="26" y="84"/>
                          </a:cubicBezTo>
                          <a:cubicBezTo>
                            <a:pt x="27" y="84"/>
                            <a:pt x="27" y="83"/>
                            <a:pt x="27" y="83"/>
                          </a:cubicBezTo>
                          <a:close/>
                          <a:moveTo>
                            <a:pt x="24" y="85"/>
                          </a:moveTo>
                          <a:cubicBezTo>
                            <a:pt x="24" y="85"/>
                            <a:pt x="24" y="85"/>
                            <a:pt x="24" y="85"/>
                          </a:cubicBezTo>
                          <a:cubicBezTo>
                            <a:pt x="24" y="85"/>
                            <a:pt x="24" y="85"/>
                            <a:pt x="25" y="84"/>
                          </a:cubicBezTo>
                          <a:cubicBezTo>
                            <a:pt x="25" y="85"/>
                            <a:pt x="24" y="85"/>
                            <a:pt x="24" y="85"/>
                          </a:cubicBezTo>
                          <a:cubicBezTo>
                            <a:pt x="25" y="85"/>
                            <a:pt x="25" y="85"/>
                            <a:pt x="25" y="85"/>
                          </a:cubicBezTo>
                          <a:cubicBezTo>
                            <a:pt x="25" y="85"/>
                            <a:pt x="25" y="84"/>
                            <a:pt x="25" y="84"/>
                          </a:cubicBezTo>
                          <a:cubicBezTo>
                            <a:pt x="25" y="84"/>
                            <a:pt x="25" y="84"/>
                            <a:pt x="25" y="84"/>
                          </a:cubicBezTo>
                          <a:cubicBezTo>
                            <a:pt x="25" y="84"/>
                            <a:pt x="24" y="85"/>
                            <a:pt x="24" y="84"/>
                          </a:cubicBezTo>
                          <a:cubicBezTo>
                            <a:pt x="24" y="84"/>
                            <a:pt x="24" y="84"/>
                            <a:pt x="24" y="85"/>
                          </a:cubicBezTo>
                          <a:close/>
                          <a:moveTo>
                            <a:pt x="43" y="86"/>
                          </a:moveTo>
                          <a:cubicBezTo>
                            <a:pt x="43" y="86"/>
                            <a:pt x="43" y="86"/>
                            <a:pt x="44" y="86"/>
                          </a:cubicBezTo>
                          <a:cubicBezTo>
                            <a:pt x="43" y="86"/>
                            <a:pt x="44" y="86"/>
                            <a:pt x="44" y="86"/>
                          </a:cubicBezTo>
                          <a:cubicBezTo>
                            <a:pt x="44" y="86"/>
                            <a:pt x="44" y="86"/>
                            <a:pt x="44" y="86"/>
                          </a:cubicBezTo>
                          <a:cubicBezTo>
                            <a:pt x="44" y="86"/>
                            <a:pt x="43" y="86"/>
                            <a:pt x="43" y="86"/>
                          </a:cubicBezTo>
                          <a:close/>
                          <a:moveTo>
                            <a:pt x="42" y="78"/>
                          </a:moveTo>
                          <a:cubicBezTo>
                            <a:pt x="42" y="79"/>
                            <a:pt x="42" y="79"/>
                            <a:pt x="42" y="79"/>
                          </a:cubicBezTo>
                          <a:cubicBezTo>
                            <a:pt x="42" y="78"/>
                            <a:pt x="42" y="79"/>
                            <a:pt x="42" y="78"/>
                          </a:cubicBezTo>
                          <a:cubicBezTo>
                            <a:pt x="42" y="78"/>
                            <a:pt x="42" y="79"/>
                            <a:pt x="42" y="79"/>
                          </a:cubicBezTo>
                          <a:cubicBezTo>
                            <a:pt x="42" y="78"/>
                            <a:pt x="42" y="78"/>
                            <a:pt x="43" y="78"/>
                          </a:cubicBezTo>
                          <a:cubicBezTo>
                            <a:pt x="43" y="78"/>
                            <a:pt x="43" y="78"/>
                            <a:pt x="43" y="78"/>
                          </a:cubicBezTo>
                          <a:cubicBezTo>
                            <a:pt x="43" y="78"/>
                            <a:pt x="43" y="78"/>
                            <a:pt x="43" y="78"/>
                          </a:cubicBezTo>
                          <a:cubicBezTo>
                            <a:pt x="43" y="78"/>
                            <a:pt x="43" y="78"/>
                            <a:pt x="43" y="79"/>
                          </a:cubicBezTo>
                          <a:cubicBezTo>
                            <a:pt x="43" y="79"/>
                            <a:pt x="43" y="78"/>
                            <a:pt x="42" y="78"/>
                          </a:cubicBezTo>
                          <a:close/>
                          <a:moveTo>
                            <a:pt x="1" y="101"/>
                          </a:moveTo>
                          <a:cubicBezTo>
                            <a:pt x="1" y="101"/>
                            <a:pt x="1" y="102"/>
                            <a:pt x="1" y="102"/>
                          </a:cubicBezTo>
                          <a:cubicBezTo>
                            <a:pt x="0" y="102"/>
                            <a:pt x="0" y="102"/>
                            <a:pt x="0" y="102"/>
                          </a:cubicBezTo>
                          <a:cubicBezTo>
                            <a:pt x="0" y="102"/>
                            <a:pt x="0" y="102"/>
                            <a:pt x="0" y="102"/>
                          </a:cubicBezTo>
                          <a:cubicBezTo>
                            <a:pt x="0" y="102"/>
                            <a:pt x="1" y="101"/>
                            <a:pt x="1" y="101"/>
                          </a:cubicBezTo>
                          <a:cubicBezTo>
                            <a:pt x="0" y="101"/>
                            <a:pt x="1" y="101"/>
                            <a:pt x="1" y="101"/>
                          </a:cubicBezTo>
                          <a:close/>
                          <a:moveTo>
                            <a:pt x="43" y="90"/>
                          </a:moveTo>
                          <a:cubicBezTo>
                            <a:pt x="43" y="90"/>
                            <a:pt x="43" y="90"/>
                            <a:pt x="43" y="90"/>
                          </a:cubicBezTo>
                          <a:cubicBezTo>
                            <a:pt x="43" y="90"/>
                            <a:pt x="43" y="90"/>
                            <a:pt x="42" y="91"/>
                          </a:cubicBezTo>
                          <a:cubicBezTo>
                            <a:pt x="42" y="91"/>
                            <a:pt x="42" y="91"/>
                            <a:pt x="43" y="91"/>
                          </a:cubicBezTo>
                          <a:cubicBezTo>
                            <a:pt x="43" y="90"/>
                            <a:pt x="43" y="90"/>
                            <a:pt x="43" y="90"/>
                          </a:cubicBezTo>
                          <a:close/>
                          <a:moveTo>
                            <a:pt x="44" y="86"/>
                          </a:moveTo>
                          <a:cubicBezTo>
                            <a:pt x="45" y="86"/>
                            <a:pt x="45" y="86"/>
                            <a:pt x="45" y="86"/>
                          </a:cubicBezTo>
                          <a:cubicBezTo>
                            <a:pt x="45" y="86"/>
                            <a:pt x="45" y="86"/>
                            <a:pt x="45" y="86"/>
                          </a:cubicBezTo>
                          <a:cubicBezTo>
                            <a:pt x="45" y="86"/>
                            <a:pt x="45" y="86"/>
                            <a:pt x="45" y="86"/>
                          </a:cubicBezTo>
                          <a:cubicBezTo>
                            <a:pt x="45" y="86"/>
                            <a:pt x="44" y="86"/>
                            <a:pt x="44" y="86"/>
                          </a:cubicBezTo>
                          <a:cubicBezTo>
                            <a:pt x="44" y="86"/>
                            <a:pt x="45" y="86"/>
                            <a:pt x="44" y="86"/>
                          </a:cubicBezTo>
                          <a:close/>
                          <a:moveTo>
                            <a:pt x="44" y="85"/>
                          </a:moveTo>
                          <a:cubicBezTo>
                            <a:pt x="44" y="84"/>
                            <a:pt x="44" y="84"/>
                            <a:pt x="44" y="84"/>
                          </a:cubicBezTo>
                          <a:cubicBezTo>
                            <a:pt x="44" y="84"/>
                            <a:pt x="45" y="84"/>
                            <a:pt x="45" y="84"/>
                          </a:cubicBezTo>
                          <a:cubicBezTo>
                            <a:pt x="44" y="84"/>
                            <a:pt x="44" y="85"/>
                            <a:pt x="44" y="85"/>
                          </a:cubicBezTo>
                          <a:cubicBezTo>
                            <a:pt x="44" y="85"/>
                            <a:pt x="44" y="85"/>
                            <a:pt x="44" y="85"/>
                          </a:cubicBezTo>
                          <a:close/>
                          <a:moveTo>
                            <a:pt x="46" y="84"/>
                          </a:moveTo>
                          <a:cubicBezTo>
                            <a:pt x="46" y="84"/>
                            <a:pt x="46" y="84"/>
                            <a:pt x="46" y="84"/>
                          </a:cubicBezTo>
                          <a:cubicBezTo>
                            <a:pt x="47" y="84"/>
                            <a:pt x="47" y="84"/>
                            <a:pt x="48" y="83"/>
                          </a:cubicBezTo>
                          <a:cubicBezTo>
                            <a:pt x="48" y="84"/>
                            <a:pt x="47" y="84"/>
                            <a:pt x="47" y="84"/>
                          </a:cubicBezTo>
                          <a:cubicBezTo>
                            <a:pt x="47" y="84"/>
                            <a:pt x="47" y="84"/>
                            <a:pt x="47" y="84"/>
                          </a:cubicBezTo>
                          <a:cubicBezTo>
                            <a:pt x="46" y="84"/>
                            <a:pt x="46" y="84"/>
                            <a:pt x="46" y="84"/>
                          </a:cubicBezTo>
                          <a:cubicBezTo>
                            <a:pt x="46" y="84"/>
                            <a:pt x="46" y="84"/>
                            <a:pt x="46" y="84"/>
                          </a:cubicBezTo>
                          <a:cubicBezTo>
                            <a:pt x="46" y="84"/>
                            <a:pt x="46" y="84"/>
                            <a:pt x="46" y="85"/>
                          </a:cubicBezTo>
                          <a:cubicBezTo>
                            <a:pt x="46" y="84"/>
                            <a:pt x="46" y="84"/>
                            <a:pt x="46" y="84"/>
                          </a:cubicBezTo>
                          <a:close/>
                          <a:moveTo>
                            <a:pt x="46" y="84"/>
                          </a:moveTo>
                          <a:cubicBezTo>
                            <a:pt x="46" y="84"/>
                            <a:pt x="46" y="84"/>
                            <a:pt x="46" y="84"/>
                          </a:cubicBezTo>
                          <a:cubicBezTo>
                            <a:pt x="46" y="84"/>
                            <a:pt x="46" y="84"/>
                            <a:pt x="46" y="84"/>
                          </a:cubicBezTo>
                          <a:cubicBezTo>
                            <a:pt x="46" y="84"/>
                            <a:pt x="46" y="84"/>
                            <a:pt x="46" y="84"/>
                          </a:cubicBezTo>
                          <a:close/>
                          <a:moveTo>
                            <a:pt x="46" y="84"/>
                          </a:moveTo>
                          <a:cubicBezTo>
                            <a:pt x="46" y="83"/>
                            <a:pt x="46" y="83"/>
                            <a:pt x="46" y="83"/>
                          </a:cubicBezTo>
                          <a:cubicBezTo>
                            <a:pt x="46" y="83"/>
                            <a:pt x="46" y="83"/>
                            <a:pt x="46" y="83"/>
                          </a:cubicBezTo>
                          <a:cubicBezTo>
                            <a:pt x="46" y="83"/>
                            <a:pt x="46" y="83"/>
                            <a:pt x="46" y="83"/>
                          </a:cubicBezTo>
                          <a:cubicBezTo>
                            <a:pt x="46" y="84"/>
                            <a:pt x="46" y="83"/>
                            <a:pt x="47" y="83"/>
                          </a:cubicBezTo>
                          <a:cubicBezTo>
                            <a:pt x="47" y="83"/>
                            <a:pt x="46" y="84"/>
                            <a:pt x="46" y="84"/>
                          </a:cubicBezTo>
                          <a:close/>
                          <a:moveTo>
                            <a:pt x="47" y="85"/>
                          </a:moveTo>
                          <a:cubicBezTo>
                            <a:pt x="47" y="85"/>
                            <a:pt x="47" y="85"/>
                            <a:pt x="47" y="85"/>
                          </a:cubicBezTo>
                          <a:cubicBezTo>
                            <a:pt x="47" y="85"/>
                            <a:pt x="47" y="85"/>
                            <a:pt x="47" y="85"/>
                          </a:cubicBezTo>
                          <a:cubicBezTo>
                            <a:pt x="47" y="85"/>
                            <a:pt x="47" y="85"/>
                            <a:pt x="47" y="85"/>
                          </a:cubicBezTo>
                          <a:close/>
                          <a:moveTo>
                            <a:pt x="48" y="84"/>
                          </a:moveTo>
                          <a:cubicBezTo>
                            <a:pt x="48" y="84"/>
                            <a:pt x="48" y="84"/>
                            <a:pt x="48" y="83"/>
                          </a:cubicBezTo>
                          <a:cubicBezTo>
                            <a:pt x="48" y="83"/>
                            <a:pt x="49" y="83"/>
                            <a:pt x="49" y="83"/>
                          </a:cubicBezTo>
                          <a:cubicBezTo>
                            <a:pt x="49" y="83"/>
                            <a:pt x="48" y="84"/>
                            <a:pt x="48" y="84"/>
                          </a:cubicBezTo>
                          <a:cubicBezTo>
                            <a:pt x="48" y="84"/>
                            <a:pt x="48" y="84"/>
                            <a:pt x="48" y="84"/>
                          </a:cubicBezTo>
                          <a:close/>
                          <a:moveTo>
                            <a:pt x="47" y="83"/>
                          </a:moveTo>
                          <a:cubicBezTo>
                            <a:pt x="48" y="83"/>
                            <a:pt x="48" y="83"/>
                            <a:pt x="48" y="83"/>
                          </a:cubicBezTo>
                          <a:cubicBezTo>
                            <a:pt x="48" y="83"/>
                            <a:pt x="48" y="83"/>
                            <a:pt x="48" y="83"/>
                          </a:cubicBezTo>
                          <a:cubicBezTo>
                            <a:pt x="48" y="83"/>
                            <a:pt x="48" y="83"/>
                            <a:pt x="48" y="83"/>
                          </a:cubicBezTo>
                          <a:cubicBezTo>
                            <a:pt x="48" y="83"/>
                            <a:pt x="48" y="83"/>
                            <a:pt x="48" y="83"/>
                          </a:cubicBezTo>
                          <a:cubicBezTo>
                            <a:pt x="48" y="83"/>
                            <a:pt x="47" y="83"/>
                            <a:pt x="47" y="83"/>
                          </a:cubicBezTo>
                          <a:close/>
                          <a:moveTo>
                            <a:pt x="48" y="80"/>
                          </a:moveTo>
                          <a:cubicBezTo>
                            <a:pt x="48" y="80"/>
                            <a:pt x="47" y="80"/>
                            <a:pt x="47" y="81"/>
                          </a:cubicBezTo>
                          <a:cubicBezTo>
                            <a:pt x="47" y="81"/>
                            <a:pt x="47" y="81"/>
                            <a:pt x="46" y="81"/>
                          </a:cubicBezTo>
                          <a:cubicBezTo>
                            <a:pt x="46" y="81"/>
                            <a:pt x="47" y="81"/>
                            <a:pt x="47" y="81"/>
                          </a:cubicBezTo>
                          <a:cubicBezTo>
                            <a:pt x="47" y="81"/>
                            <a:pt x="47" y="80"/>
                            <a:pt x="47" y="81"/>
                          </a:cubicBezTo>
                          <a:cubicBezTo>
                            <a:pt x="47" y="80"/>
                            <a:pt x="48" y="80"/>
                            <a:pt x="49" y="80"/>
                          </a:cubicBezTo>
                          <a:cubicBezTo>
                            <a:pt x="49" y="80"/>
                            <a:pt x="48" y="80"/>
                            <a:pt x="48" y="80"/>
                          </a:cubicBezTo>
                          <a:close/>
                          <a:moveTo>
                            <a:pt x="46" y="81"/>
                          </a:moveTo>
                          <a:cubicBezTo>
                            <a:pt x="46" y="81"/>
                            <a:pt x="46" y="81"/>
                            <a:pt x="46" y="80"/>
                          </a:cubicBezTo>
                          <a:cubicBezTo>
                            <a:pt x="47" y="81"/>
                            <a:pt x="46" y="81"/>
                            <a:pt x="46" y="81"/>
                          </a:cubicBezTo>
                          <a:cubicBezTo>
                            <a:pt x="47" y="81"/>
                            <a:pt x="46" y="81"/>
                            <a:pt x="46" y="81"/>
                          </a:cubicBezTo>
                          <a:cubicBezTo>
                            <a:pt x="46" y="81"/>
                            <a:pt x="46" y="81"/>
                            <a:pt x="46" y="81"/>
                          </a:cubicBezTo>
                          <a:cubicBezTo>
                            <a:pt x="46" y="81"/>
                            <a:pt x="47" y="80"/>
                            <a:pt x="46" y="81"/>
                          </a:cubicBezTo>
                          <a:close/>
                          <a:moveTo>
                            <a:pt x="48" y="82"/>
                          </a:moveTo>
                          <a:cubicBezTo>
                            <a:pt x="48" y="82"/>
                            <a:pt x="48" y="82"/>
                            <a:pt x="49" y="82"/>
                          </a:cubicBezTo>
                          <a:cubicBezTo>
                            <a:pt x="48" y="82"/>
                            <a:pt x="48" y="82"/>
                            <a:pt x="48" y="82"/>
                          </a:cubicBezTo>
                          <a:cubicBezTo>
                            <a:pt x="48" y="82"/>
                            <a:pt x="48" y="82"/>
                            <a:pt x="48" y="82"/>
                          </a:cubicBezTo>
                          <a:close/>
                          <a:moveTo>
                            <a:pt x="47" y="80"/>
                          </a:moveTo>
                          <a:cubicBezTo>
                            <a:pt x="47" y="80"/>
                            <a:pt x="47" y="80"/>
                            <a:pt x="47" y="80"/>
                          </a:cubicBezTo>
                          <a:cubicBezTo>
                            <a:pt x="47" y="80"/>
                            <a:pt x="47" y="80"/>
                            <a:pt x="47" y="80"/>
                          </a:cubicBezTo>
                          <a:close/>
                          <a:moveTo>
                            <a:pt x="45" y="77"/>
                          </a:moveTo>
                          <a:cubicBezTo>
                            <a:pt x="45" y="77"/>
                            <a:pt x="46" y="77"/>
                            <a:pt x="46" y="77"/>
                          </a:cubicBezTo>
                          <a:cubicBezTo>
                            <a:pt x="46" y="77"/>
                            <a:pt x="46" y="77"/>
                            <a:pt x="46" y="77"/>
                          </a:cubicBezTo>
                          <a:cubicBezTo>
                            <a:pt x="47" y="76"/>
                            <a:pt x="47" y="76"/>
                            <a:pt x="48" y="75"/>
                          </a:cubicBezTo>
                          <a:cubicBezTo>
                            <a:pt x="49" y="76"/>
                            <a:pt x="48" y="76"/>
                            <a:pt x="49" y="76"/>
                          </a:cubicBezTo>
                          <a:cubicBezTo>
                            <a:pt x="49" y="76"/>
                            <a:pt x="49" y="75"/>
                            <a:pt x="49" y="76"/>
                          </a:cubicBezTo>
                          <a:cubicBezTo>
                            <a:pt x="49" y="76"/>
                            <a:pt x="49" y="76"/>
                            <a:pt x="49" y="76"/>
                          </a:cubicBezTo>
                          <a:cubicBezTo>
                            <a:pt x="49" y="76"/>
                            <a:pt x="49" y="76"/>
                            <a:pt x="49" y="76"/>
                          </a:cubicBezTo>
                          <a:cubicBezTo>
                            <a:pt x="49" y="75"/>
                            <a:pt x="49" y="75"/>
                            <a:pt x="49" y="75"/>
                          </a:cubicBezTo>
                          <a:cubicBezTo>
                            <a:pt x="49" y="75"/>
                            <a:pt x="49" y="75"/>
                            <a:pt x="49" y="75"/>
                          </a:cubicBezTo>
                          <a:cubicBezTo>
                            <a:pt x="49" y="76"/>
                            <a:pt x="49" y="76"/>
                            <a:pt x="49" y="76"/>
                          </a:cubicBezTo>
                          <a:cubicBezTo>
                            <a:pt x="49" y="76"/>
                            <a:pt x="49" y="76"/>
                            <a:pt x="48" y="76"/>
                          </a:cubicBezTo>
                          <a:cubicBezTo>
                            <a:pt x="48" y="76"/>
                            <a:pt x="48" y="76"/>
                            <a:pt x="48" y="76"/>
                          </a:cubicBezTo>
                          <a:cubicBezTo>
                            <a:pt x="48" y="76"/>
                            <a:pt x="48" y="76"/>
                            <a:pt x="48" y="76"/>
                          </a:cubicBezTo>
                          <a:cubicBezTo>
                            <a:pt x="48" y="77"/>
                            <a:pt x="47" y="77"/>
                            <a:pt x="47" y="77"/>
                          </a:cubicBezTo>
                          <a:cubicBezTo>
                            <a:pt x="47" y="77"/>
                            <a:pt x="47" y="77"/>
                            <a:pt x="47" y="77"/>
                          </a:cubicBezTo>
                          <a:cubicBezTo>
                            <a:pt x="47" y="77"/>
                            <a:pt x="47" y="77"/>
                            <a:pt x="47" y="77"/>
                          </a:cubicBezTo>
                          <a:cubicBezTo>
                            <a:pt x="47" y="77"/>
                            <a:pt x="46" y="77"/>
                            <a:pt x="46" y="77"/>
                          </a:cubicBezTo>
                          <a:cubicBezTo>
                            <a:pt x="46" y="77"/>
                            <a:pt x="47" y="77"/>
                            <a:pt x="47" y="77"/>
                          </a:cubicBezTo>
                          <a:cubicBezTo>
                            <a:pt x="47" y="77"/>
                            <a:pt x="47" y="77"/>
                            <a:pt x="47" y="77"/>
                          </a:cubicBezTo>
                          <a:cubicBezTo>
                            <a:pt x="47" y="77"/>
                            <a:pt x="46" y="77"/>
                            <a:pt x="46" y="77"/>
                          </a:cubicBezTo>
                          <a:cubicBezTo>
                            <a:pt x="46" y="77"/>
                            <a:pt x="46" y="77"/>
                            <a:pt x="46" y="77"/>
                          </a:cubicBezTo>
                          <a:cubicBezTo>
                            <a:pt x="45" y="77"/>
                            <a:pt x="45" y="77"/>
                            <a:pt x="45" y="77"/>
                          </a:cubicBezTo>
                          <a:cubicBezTo>
                            <a:pt x="45" y="77"/>
                            <a:pt x="45" y="77"/>
                            <a:pt x="45" y="77"/>
                          </a:cubicBezTo>
                          <a:close/>
                          <a:moveTo>
                            <a:pt x="48" y="80"/>
                          </a:moveTo>
                          <a:cubicBezTo>
                            <a:pt x="48" y="80"/>
                            <a:pt x="47" y="80"/>
                            <a:pt x="47" y="80"/>
                          </a:cubicBezTo>
                          <a:cubicBezTo>
                            <a:pt x="47" y="80"/>
                            <a:pt x="48" y="80"/>
                            <a:pt x="48" y="80"/>
                          </a:cubicBezTo>
                          <a:cubicBezTo>
                            <a:pt x="48" y="80"/>
                            <a:pt x="48" y="80"/>
                            <a:pt x="48" y="80"/>
                          </a:cubicBezTo>
                          <a:close/>
                          <a:moveTo>
                            <a:pt x="50" y="82"/>
                          </a:moveTo>
                          <a:cubicBezTo>
                            <a:pt x="51" y="81"/>
                            <a:pt x="52" y="80"/>
                            <a:pt x="53" y="80"/>
                          </a:cubicBezTo>
                          <a:cubicBezTo>
                            <a:pt x="53" y="80"/>
                            <a:pt x="52" y="80"/>
                            <a:pt x="52" y="81"/>
                          </a:cubicBezTo>
                          <a:cubicBezTo>
                            <a:pt x="52" y="81"/>
                            <a:pt x="52" y="81"/>
                            <a:pt x="52" y="81"/>
                          </a:cubicBezTo>
                          <a:cubicBezTo>
                            <a:pt x="51" y="81"/>
                            <a:pt x="50" y="82"/>
                            <a:pt x="49" y="82"/>
                          </a:cubicBezTo>
                          <a:cubicBezTo>
                            <a:pt x="49" y="82"/>
                            <a:pt x="49" y="82"/>
                            <a:pt x="49" y="82"/>
                          </a:cubicBezTo>
                          <a:cubicBezTo>
                            <a:pt x="49" y="82"/>
                            <a:pt x="49" y="82"/>
                            <a:pt x="49" y="82"/>
                          </a:cubicBezTo>
                          <a:cubicBezTo>
                            <a:pt x="49" y="82"/>
                            <a:pt x="49" y="82"/>
                            <a:pt x="49" y="82"/>
                          </a:cubicBezTo>
                          <a:cubicBezTo>
                            <a:pt x="50" y="82"/>
                            <a:pt x="50" y="82"/>
                            <a:pt x="50" y="82"/>
                          </a:cubicBezTo>
                          <a:cubicBezTo>
                            <a:pt x="50" y="82"/>
                            <a:pt x="50" y="81"/>
                            <a:pt x="50" y="82"/>
                          </a:cubicBezTo>
                          <a:close/>
                          <a:moveTo>
                            <a:pt x="50" y="82"/>
                          </a:moveTo>
                          <a:cubicBezTo>
                            <a:pt x="50" y="82"/>
                            <a:pt x="49" y="82"/>
                            <a:pt x="49" y="82"/>
                          </a:cubicBezTo>
                          <a:cubicBezTo>
                            <a:pt x="49" y="82"/>
                            <a:pt x="49" y="82"/>
                            <a:pt x="50" y="82"/>
                          </a:cubicBezTo>
                          <a:cubicBezTo>
                            <a:pt x="49" y="82"/>
                            <a:pt x="50" y="82"/>
                            <a:pt x="49" y="82"/>
                          </a:cubicBezTo>
                          <a:cubicBezTo>
                            <a:pt x="49" y="82"/>
                            <a:pt x="49" y="82"/>
                            <a:pt x="50" y="82"/>
                          </a:cubicBezTo>
                          <a:close/>
                          <a:moveTo>
                            <a:pt x="49" y="77"/>
                          </a:moveTo>
                          <a:cubicBezTo>
                            <a:pt x="49" y="77"/>
                            <a:pt x="49" y="77"/>
                            <a:pt x="49" y="77"/>
                          </a:cubicBezTo>
                          <a:cubicBezTo>
                            <a:pt x="49" y="76"/>
                            <a:pt x="49" y="77"/>
                            <a:pt x="49" y="76"/>
                          </a:cubicBezTo>
                          <a:cubicBezTo>
                            <a:pt x="48" y="77"/>
                            <a:pt x="48" y="77"/>
                            <a:pt x="47" y="77"/>
                          </a:cubicBezTo>
                          <a:cubicBezTo>
                            <a:pt x="47" y="77"/>
                            <a:pt x="47" y="77"/>
                            <a:pt x="47" y="77"/>
                          </a:cubicBezTo>
                          <a:cubicBezTo>
                            <a:pt x="47" y="77"/>
                            <a:pt x="47" y="77"/>
                            <a:pt x="48" y="77"/>
                          </a:cubicBezTo>
                          <a:cubicBezTo>
                            <a:pt x="48" y="77"/>
                            <a:pt x="48" y="77"/>
                            <a:pt x="48" y="76"/>
                          </a:cubicBezTo>
                          <a:cubicBezTo>
                            <a:pt x="48" y="77"/>
                            <a:pt x="48" y="76"/>
                            <a:pt x="48" y="77"/>
                          </a:cubicBezTo>
                          <a:cubicBezTo>
                            <a:pt x="48" y="76"/>
                            <a:pt x="49" y="76"/>
                            <a:pt x="50" y="76"/>
                          </a:cubicBezTo>
                          <a:cubicBezTo>
                            <a:pt x="50" y="76"/>
                            <a:pt x="49" y="76"/>
                            <a:pt x="50" y="76"/>
                          </a:cubicBezTo>
                          <a:cubicBezTo>
                            <a:pt x="50" y="76"/>
                            <a:pt x="49" y="76"/>
                            <a:pt x="49" y="77"/>
                          </a:cubicBezTo>
                          <a:close/>
                          <a:moveTo>
                            <a:pt x="52" y="84"/>
                          </a:moveTo>
                          <a:cubicBezTo>
                            <a:pt x="52" y="84"/>
                            <a:pt x="52" y="84"/>
                            <a:pt x="51" y="84"/>
                          </a:cubicBezTo>
                          <a:cubicBezTo>
                            <a:pt x="52" y="84"/>
                            <a:pt x="52" y="84"/>
                            <a:pt x="52" y="84"/>
                          </a:cubicBezTo>
                          <a:close/>
                          <a:moveTo>
                            <a:pt x="51" y="83"/>
                          </a:moveTo>
                          <a:cubicBezTo>
                            <a:pt x="51" y="83"/>
                            <a:pt x="51" y="83"/>
                            <a:pt x="51" y="83"/>
                          </a:cubicBezTo>
                          <a:cubicBezTo>
                            <a:pt x="52" y="83"/>
                            <a:pt x="51" y="83"/>
                            <a:pt x="51" y="83"/>
                          </a:cubicBezTo>
                          <a:cubicBezTo>
                            <a:pt x="51" y="83"/>
                            <a:pt x="51" y="83"/>
                            <a:pt x="51" y="83"/>
                          </a:cubicBezTo>
                          <a:close/>
                          <a:moveTo>
                            <a:pt x="52" y="79"/>
                          </a:moveTo>
                          <a:cubicBezTo>
                            <a:pt x="52" y="79"/>
                            <a:pt x="52" y="79"/>
                            <a:pt x="52" y="79"/>
                          </a:cubicBezTo>
                          <a:cubicBezTo>
                            <a:pt x="53" y="79"/>
                            <a:pt x="53" y="79"/>
                            <a:pt x="53" y="79"/>
                          </a:cubicBezTo>
                          <a:cubicBezTo>
                            <a:pt x="53" y="79"/>
                            <a:pt x="53" y="79"/>
                            <a:pt x="53" y="79"/>
                          </a:cubicBezTo>
                          <a:cubicBezTo>
                            <a:pt x="53" y="79"/>
                            <a:pt x="53" y="79"/>
                            <a:pt x="53" y="79"/>
                          </a:cubicBezTo>
                          <a:cubicBezTo>
                            <a:pt x="53" y="79"/>
                            <a:pt x="53" y="79"/>
                            <a:pt x="53" y="79"/>
                          </a:cubicBezTo>
                          <a:cubicBezTo>
                            <a:pt x="53" y="78"/>
                            <a:pt x="53" y="79"/>
                            <a:pt x="53" y="79"/>
                          </a:cubicBezTo>
                          <a:cubicBezTo>
                            <a:pt x="53" y="79"/>
                            <a:pt x="53" y="79"/>
                            <a:pt x="53" y="79"/>
                          </a:cubicBezTo>
                          <a:cubicBezTo>
                            <a:pt x="54" y="78"/>
                            <a:pt x="54" y="78"/>
                            <a:pt x="54" y="78"/>
                          </a:cubicBezTo>
                          <a:cubicBezTo>
                            <a:pt x="54" y="78"/>
                            <a:pt x="54" y="78"/>
                            <a:pt x="54" y="78"/>
                          </a:cubicBezTo>
                          <a:cubicBezTo>
                            <a:pt x="53" y="79"/>
                            <a:pt x="53" y="79"/>
                            <a:pt x="52" y="80"/>
                          </a:cubicBezTo>
                          <a:cubicBezTo>
                            <a:pt x="52" y="79"/>
                            <a:pt x="52" y="79"/>
                            <a:pt x="52" y="79"/>
                          </a:cubicBezTo>
                          <a:close/>
                          <a:moveTo>
                            <a:pt x="55" y="76"/>
                          </a:moveTo>
                          <a:cubicBezTo>
                            <a:pt x="55" y="76"/>
                            <a:pt x="56" y="76"/>
                            <a:pt x="56" y="76"/>
                          </a:cubicBezTo>
                          <a:cubicBezTo>
                            <a:pt x="56" y="76"/>
                            <a:pt x="56" y="76"/>
                            <a:pt x="56" y="76"/>
                          </a:cubicBezTo>
                          <a:cubicBezTo>
                            <a:pt x="56" y="76"/>
                            <a:pt x="56" y="76"/>
                            <a:pt x="56" y="76"/>
                          </a:cubicBezTo>
                          <a:cubicBezTo>
                            <a:pt x="57" y="76"/>
                            <a:pt x="57" y="76"/>
                            <a:pt x="57" y="76"/>
                          </a:cubicBezTo>
                          <a:cubicBezTo>
                            <a:pt x="56" y="76"/>
                            <a:pt x="55" y="77"/>
                            <a:pt x="55" y="76"/>
                          </a:cubicBezTo>
                          <a:close/>
                          <a:moveTo>
                            <a:pt x="57" y="77"/>
                          </a:moveTo>
                          <a:cubicBezTo>
                            <a:pt x="58" y="77"/>
                            <a:pt x="58" y="77"/>
                            <a:pt x="58" y="77"/>
                          </a:cubicBezTo>
                          <a:cubicBezTo>
                            <a:pt x="58" y="77"/>
                            <a:pt x="57" y="77"/>
                            <a:pt x="58" y="77"/>
                          </a:cubicBezTo>
                          <a:cubicBezTo>
                            <a:pt x="57" y="77"/>
                            <a:pt x="57" y="77"/>
                            <a:pt x="57" y="77"/>
                          </a:cubicBezTo>
                          <a:cubicBezTo>
                            <a:pt x="56" y="78"/>
                            <a:pt x="57" y="77"/>
                            <a:pt x="57" y="77"/>
                          </a:cubicBezTo>
                          <a:cubicBezTo>
                            <a:pt x="57" y="77"/>
                            <a:pt x="57" y="77"/>
                            <a:pt x="57" y="77"/>
                          </a:cubicBezTo>
                          <a:close/>
                          <a:moveTo>
                            <a:pt x="59" y="77"/>
                          </a:moveTo>
                          <a:cubicBezTo>
                            <a:pt x="60" y="77"/>
                            <a:pt x="61" y="76"/>
                            <a:pt x="61" y="76"/>
                          </a:cubicBezTo>
                          <a:cubicBezTo>
                            <a:pt x="61" y="76"/>
                            <a:pt x="61" y="76"/>
                            <a:pt x="61" y="76"/>
                          </a:cubicBezTo>
                          <a:cubicBezTo>
                            <a:pt x="61" y="76"/>
                            <a:pt x="61" y="76"/>
                            <a:pt x="61" y="77"/>
                          </a:cubicBezTo>
                          <a:cubicBezTo>
                            <a:pt x="60" y="77"/>
                            <a:pt x="59" y="78"/>
                            <a:pt x="58" y="78"/>
                          </a:cubicBezTo>
                          <a:cubicBezTo>
                            <a:pt x="58" y="78"/>
                            <a:pt x="59" y="78"/>
                            <a:pt x="59" y="77"/>
                          </a:cubicBezTo>
                          <a:close/>
                          <a:moveTo>
                            <a:pt x="59" y="76"/>
                          </a:moveTo>
                          <a:cubicBezTo>
                            <a:pt x="59" y="76"/>
                            <a:pt x="59" y="76"/>
                            <a:pt x="59" y="76"/>
                          </a:cubicBezTo>
                          <a:cubicBezTo>
                            <a:pt x="59" y="76"/>
                            <a:pt x="59" y="76"/>
                            <a:pt x="59" y="76"/>
                          </a:cubicBezTo>
                          <a:cubicBezTo>
                            <a:pt x="59" y="76"/>
                            <a:pt x="59" y="76"/>
                            <a:pt x="60" y="76"/>
                          </a:cubicBezTo>
                          <a:cubicBezTo>
                            <a:pt x="60" y="76"/>
                            <a:pt x="59" y="76"/>
                            <a:pt x="59" y="76"/>
                          </a:cubicBezTo>
                          <a:cubicBezTo>
                            <a:pt x="60" y="76"/>
                            <a:pt x="60" y="76"/>
                            <a:pt x="60" y="76"/>
                          </a:cubicBezTo>
                          <a:cubicBezTo>
                            <a:pt x="60" y="76"/>
                            <a:pt x="60" y="76"/>
                            <a:pt x="60" y="76"/>
                          </a:cubicBezTo>
                          <a:cubicBezTo>
                            <a:pt x="60" y="76"/>
                            <a:pt x="59" y="76"/>
                            <a:pt x="59" y="76"/>
                          </a:cubicBezTo>
                          <a:cubicBezTo>
                            <a:pt x="59" y="76"/>
                            <a:pt x="59" y="76"/>
                            <a:pt x="59" y="76"/>
                          </a:cubicBezTo>
                          <a:close/>
                          <a:moveTo>
                            <a:pt x="59" y="76"/>
                          </a:moveTo>
                          <a:cubicBezTo>
                            <a:pt x="59" y="76"/>
                            <a:pt x="59" y="76"/>
                            <a:pt x="60" y="76"/>
                          </a:cubicBezTo>
                          <a:cubicBezTo>
                            <a:pt x="60" y="76"/>
                            <a:pt x="60" y="76"/>
                            <a:pt x="59" y="76"/>
                          </a:cubicBezTo>
                          <a:close/>
                          <a:moveTo>
                            <a:pt x="59" y="75"/>
                          </a:moveTo>
                          <a:cubicBezTo>
                            <a:pt x="59" y="75"/>
                            <a:pt x="59" y="75"/>
                            <a:pt x="59" y="75"/>
                          </a:cubicBezTo>
                          <a:cubicBezTo>
                            <a:pt x="59" y="75"/>
                            <a:pt x="59" y="75"/>
                            <a:pt x="59" y="75"/>
                          </a:cubicBezTo>
                          <a:cubicBezTo>
                            <a:pt x="59" y="74"/>
                            <a:pt x="59" y="75"/>
                            <a:pt x="60" y="74"/>
                          </a:cubicBezTo>
                          <a:cubicBezTo>
                            <a:pt x="60" y="74"/>
                            <a:pt x="60" y="75"/>
                            <a:pt x="59" y="75"/>
                          </a:cubicBezTo>
                          <a:cubicBezTo>
                            <a:pt x="59" y="75"/>
                            <a:pt x="59" y="75"/>
                            <a:pt x="59" y="75"/>
                          </a:cubicBezTo>
                          <a:cubicBezTo>
                            <a:pt x="59" y="75"/>
                            <a:pt x="59" y="75"/>
                            <a:pt x="59" y="75"/>
                          </a:cubicBezTo>
                          <a:cubicBezTo>
                            <a:pt x="59" y="75"/>
                            <a:pt x="59" y="75"/>
                            <a:pt x="59" y="75"/>
                          </a:cubicBezTo>
                          <a:cubicBezTo>
                            <a:pt x="59" y="75"/>
                            <a:pt x="59" y="75"/>
                            <a:pt x="59" y="75"/>
                          </a:cubicBezTo>
                          <a:close/>
                          <a:moveTo>
                            <a:pt x="58" y="68"/>
                          </a:moveTo>
                          <a:cubicBezTo>
                            <a:pt x="58" y="68"/>
                            <a:pt x="57" y="69"/>
                            <a:pt x="57" y="68"/>
                          </a:cubicBezTo>
                          <a:cubicBezTo>
                            <a:pt x="57" y="68"/>
                            <a:pt x="58" y="68"/>
                            <a:pt x="58" y="68"/>
                          </a:cubicBezTo>
                          <a:cubicBezTo>
                            <a:pt x="58" y="68"/>
                            <a:pt x="58" y="68"/>
                            <a:pt x="58" y="68"/>
                          </a:cubicBezTo>
                          <a:cubicBezTo>
                            <a:pt x="58" y="68"/>
                            <a:pt x="58" y="68"/>
                            <a:pt x="58" y="68"/>
                          </a:cubicBezTo>
                          <a:cubicBezTo>
                            <a:pt x="58" y="68"/>
                            <a:pt x="58" y="68"/>
                            <a:pt x="58" y="68"/>
                          </a:cubicBezTo>
                          <a:close/>
                          <a:moveTo>
                            <a:pt x="60" y="69"/>
                          </a:moveTo>
                          <a:cubicBezTo>
                            <a:pt x="60" y="69"/>
                            <a:pt x="59" y="69"/>
                            <a:pt x="60" y="69"/>
                          </a:cubicBezTo>
                          <a:cubicBezTo>
                            <a:pt x="60" y="69"/>
                            <a:pt x="60" y="69"/>
                            <a:pt x="60" y="69"/>
                          </a:cubicBezTo>
                          <a:cubicBezTo>
                            <a:pt x="60" y="69"/>
                            <a:pt x="61" y="68"/>
                            <a:pt x="61" y="68"/>
                          </a:cubicBezTo>
                          <a:cubicBezTo>
                            <a:pt x="61" y="69"/>
                            <a:pt x="60" y="69"/>
                            <a:pt x="60" y="69"/>
                          </a:cubicBezTo>
                          <a:close/>
                          <a:moveTo>
                            <a:pt x="63" y="74"/>
                          </a:moveTo>
                          <a:cubicBezTo>
                            <a:pt x="63" y="74"/>
                            <a:pt x="63" y="74"/>
                            <a:pt x="63" y="74"/>
                          </a:cubicBezTo>
                          <a:cubicBezTo>
                            <a:pt x="63" y="74"/>
                            <a:pt x="63" y="74"/>
                            <a:pt x="62" y="74"/>
                          </a:cubicBezTo>
                          <a:cubicBezTo>
                            <a:pt x="63" y="74"/>
                            <a:pt x="63" y="74"/>
                            <a:pt x="63" y="74"/>
                          </a:cubicBezTo>
                          <a:cubicBezTo>
                            <a:pt x="63" y="74"/>
                            <a:pt x="63" y="74"/>
                            <a:pt x="63" y="74"/>
                          </a:cubicBezTo>
                          <a:cubicBezTo>
                            <a:pt x="63" y="74"/>
                            <a:pt x="63" y="74"/>
                            <a:pt x="63" y="74"/>
                          </a:cubicBezTo>
                          <a:close/>
                          <a:moveTo>
                            <a:pt x="65" y="66"/>
                          </a:moveTo>
                          <a:cubicBezTo>
                            <a:pt x="65" y="66"/>
                            <a:pt x="65" y="66"/>
                            <a:pt x="65" y="66"/>
                          </a:cubicBezTo>
                          <a:cubicBezTo>
                            <a:pt x="66" y="65"/>
                            <a:pt x="66" y="65"/>
                            <a:pt x="67" y="65"/>
                          </a:cubicBezTo>
                          <a:cubicBezTo>
                            <a:pt x="67" y="65"/>
                            <a:pt x="66" y="65"/>
                            <a:pt x="66" y="65"/>
                          </a:cubicBezTo>
                          <a:cubicBezTo>
                            <a:pt x="67" y="65"/>
                            <a:pt x="67" y="65"/>
                            <a:pt x="67" y="65"/>
                          </a:cubicBezTo>
                          <a:cubicBezTo>
                            <a:pt x="67" y="65"/>
                            <a:pt x="67" y="65"/>
                            <a:pt x="67" y="65"/>
                          </a:cubicBezTo>
                          <a:cubicBezTo>
                            <a:pt x="67" y="66"/>
                            <a:pt x="67" y="66"/>
                            <a:pt x="67" y="65"/>
                          </a:cubicBezTo>
                          <a:cubicBezTo>
                            <a:pt x="66" y="66"/>
                            <a:pt x="64" y="67"/>
                            <a:pt x="63" y="67"/>
                          </a:cubicBezTo>
                          <a:cubicBezTo>
                            <a:pt x="63" y="68"/>
                            <a:pt x="62" y="68"/>
                            <a:pt x="61" y="68"/>
                          </a:cubicBezTo>
                          <a:cubicBezTo>
                            <a:pt x="61" y="68"/>
                            <a:pt x="62" y="68"/>
                            <a:pt x="62" y="68"/>
                          </a:cubicBezTo>
                          <a:cubicBezTo>
                            <a:pt x="62" y="68"/>
                            <a:pt x="62" y="68"/>
                            <a:pt x="62" y="68"/>
                          </a:cubicBezTo>
                          <a:cubicBezTo>
                            <a:pt x="62" y="68"/>
                            <a:pt x="62" y="68"/>
                            <a:pt x="62" y="67"/>
                          </a:cubicBezTo>
                          <a:cubicBezTo>
                            <a:pt x="62" y="68"/>
                            <a:pt x="62" y="68"/>
                            <a:pt x="62" y="68"/>
                          </a:cubicBezTo>
                          <a:cubicBezTo>
                            <a:pt x="63" y="67"/>
                            <a:pt x="64" y="67"/>
                            <a:pt x="65" y="66"/>
                          </a:cubicBezTo>
                          <a:cubicBezTo>
                            <a:pt x="65" y="66"/>
                            <a:pt x="65" y="66"/>
                            <a:pt x="65" y="66"/>
                          </a:cubicBezTo>
                          <a:close/>
                          <a:moveTo>
                            <a:pt x="65" y="66"/>
                          </a:moveTo>
                          <a:cubicBezTo>
                            <a:pt x="65" y="66"/>
                            <a:pt x="65" y="66"/>
                            <a:pt x="65" y="66"/>
                          </a:cubicBezTo>
                          <a:cubicBezTo>
                            <a:pt x="66" y="66"/>
                            <a:pt x="66" y="66"/>
                            <a:pt x="66" y="66"/>
                          </a:cubicBezTo>
                          <a:cubicBezTo>
                            <a:pt x="65" y="66"/>
                            <a:pt x="65" y="66"/>
                            <a:pt x="65" y="66"/>
                          </a:cubicBezTo>
                          <a:close/>
                          <a:moveTo>
                            <a:pt x="63" y="67"/>
                          </a:moveTo>
                          <a:cubicBezTo>
                            <a:pt x="63" y="67"/>
                            <a:pt x="63" y="67"/>
                            <a:pt x="63" y="67"/>
                          </a:cubicBezTo>
                          <a:cubicBezTo>
                            <a:pt x="63" y="67"/>
                            <a:pt x="63" y="67"/>
                            <a:pt x="63" y="67"/>
                          </a:cubicBezTo>
                          <a:close/>
                          <a:moveTo>
                            <a:pt x="62" y="66"/>
                          </a:moveTo>
                          <a:cubicBezTo>
                            <a:pt x="62" y="66"/>
                            <a:pt x="62" y="66"/>
                            <a:pt x="62" y="66"/>
                          </a:cubicBezTo>
                          <a:cubicBezTo>
                            <a:pt x="62" y="66"/>
                            <a:pt x="62" y="66"/>
                            <a:pt x="62" y="66"/>
                          </a:cubicBezTo>
                          <a:cubicBezTo>
                            <a:pt x="62" y="66"/>
                            <a:pt x="62" y="66"/>
                            <a:pt x="62" y="66"/>
                          </a:cubicBezTo>
                          <a:cubicBezTo>
                            <a:pt x="62" y="66"/>
                            <a:pt x="62" y="66"/>
                            <a:pt x="62" y="66"/>
                          </a:cubicBezTo>
                          <a:cubicBezTo>
                            <a:pt x="62" y="66"/>
                            <a:pt x="62" y="66"/>
                            <a:pt x="62" y="66"/>
                          </a:cubicBezTo>
                          <a:cubicBezTo>
                            <a:pt x="62" y="66"/>
                            <a:pt x="62" y="66"/>
                            <a:pt x="62" y="66"/>
                          </a:cubicBezTo>
                          <a:close/>
                          <a:moveTo>
                            <a:pt x="61" y="65"/>
                          </a:moveTo>
                          <a:cubicBezTo>
                            <a:pt x="62" y="65"/>
                            <a:pt x="62" y="65"/>
                            <a:pt x="63" y="65"/>
                          </a:cubicBezTo>
                          <a:cubicBezTo>
                            <a:pt x="62" y="65"/>
                            <a:pt x="62" y="65"/>
                            <a:pt x="62" y="65"/>
                          </a:cubicBezTo>
                          <a:cubicBezTo>
                            <a:pt x="62" y="65"/>
                            <a:pt x="63" y="65"/>
                            <a:pt x="63" y="65"/>
                          </a:cubicBezTo>
                          <a:cubicBezTo>
                            <a:pt x="63" y="65"/>
                            <a:pt x="63" y="65"/>
                            <a:pt x="63" y="65"/>
                          </a:cubicBezTo>
                          <a:cubicBezTo>
                            <a:pt x="63" y="65"/>
                            <a:pt x="63" y="65"/>
                            <a:pt x="63" y="66"/>
                          </a:cubicBezTo>
                          <a:cubicBezTo>
                            <a:pt x="63" y="66"/>
                            <a:pt x="63" y="65"/>
                            <a:pt x="63" y="65"/>
                          </a:cubicBezTo>
                          <a:cubicBezTo>
                            <a:pt x="63" y="66"/>
                            <a:pt x="63" y="66"/>
                            <a:pt x="63" y="66"/>
                          </a:cubicBezTo>
                          <a:cubicBezTo>
                            <a:pt x="63" y="66"/>
                            <a:pt x="63" y="66"/>
                            <a:pt x="63" y="66"/>
                          </a:cubicBezTo>
                          <a:cubicBezTo>
                            <a:pt x="63" y="66"/>
                            <a:pt x="63" y="66"/>
                            <a:pt x="63" y="65"/>
                          </a:cubicBezTo>
                          <a:cubicBezTo>
                            <a:pt x="63" y="65"/>
                            <a:pt x="62" y="66"/>
                            <a:pt x="62" y="66"/>
                          </a:cubicBezTo>
                          <a:cubicBezTo>
                            <a:pt x="62" y="66"/>
                            <a:pt x="62" y="66"/>
                            <a:pt x="62" y="66"/>
                          </a:cubicBezTo>
                          <a:cubicBezTo>
                            <a:pt x="62" y="66"/>
                            <a:pt x="62" y="66"/>
                            <a:pt x="62" y="66"/>
                          </a:cubicBezTo>
                          <a:cubicBezTo>
                            <a:pt x="62" y="65"/>
                            <a:pt x="62" y="66"/>
                            <a:pt x="62" y="66"/>
                          </a:cubicBezTo>
                          <a:cubicBezTo>
                            <a:pt x="62" y="65"/>
                            <a:pt x="61" y="66"/>
                            <a:pt x="61" y="65"/>
                          </a:cubicBezTo>
                          <a:close/>
                          <a:moveTo>
                            <a:pt x="64" y="65"/>
                          </a:moveTo>
                          <a:cubicBezTo>
                            <a:pt x="64" y="65"/>
                            <a:pt x="64" y="65"/>
                            <a:pt x="64" y="65"/>
                          </a:cubicBezTo>
                          <a:cubicBezTo>
                            <a:pt x="64" y="65"/>
                            <a:pt x="64" y="65"/>
                            <a:pt x="63" y="65"/>
                          </a:cubicBezTo>
                          <a:cubicBezTo>
                            <a:pt x="63" y="65"/>
                            <a:pt x="63" y="65"/>
                            <a:pt x="63" y="65"/>
                          </a:cubicBezTo>
                          <a:cubicBezTo>
                            <a:pt x="63" y="65"/>
                            <a:pt x="63" y="65"/>
                            <a:pt x="63" y="65"/>
                          </a:cubicBezTo>
                          <a:cubicBezTo>
                            <a:pt x="63" y="65"/>
                            <a:pt x="64" y="65"/>
                            <a:pt x="64" y="65"/>
                          </a:cubicBezTo>
                          <a:cubicBezTo>
                            <a:pt x="64" y="65"/>
                            <a:pt x="64" y="65"/>
                            <a:pt x="64" y="65"/>
                          </a:cubicBezTo>
                          <a:cubicBezTo>
                            <a:pt x="64" y="65"/>
                            <a:pt x="64" y="65"/>
                            <a:pt x="64" y="65"/>
                          </a:cubicBezTo>
                          <a:cubicBezTo>
                            <a:pt x="64" y="65"/>
                            <a:pt x="64" y="65"/>
                            <a:pt x="64" y="65"/>
                          </a:cubicBezTo>
                          <a:close/>
                          <a:moveTo>
                            <a:pt x="66" y="68"/>
                          </a:moveTo>
                          <a:cubicBezTo>
                            <a:pt x="66" y="68"/>
                            <a:pt x="66" y="68"/>
                            <a:pt x="66" y="67"/>
                          </a:cubicBezTo>
                          <a:cubicBezTo>
                            <a:pt x="66" y="67"/>
                            <a:pt x="66" y="67"/>
                            <a:pt x="66" y="67"/>
                          </a:cubicBezTo>
                          <a:cubicBezTo>
                            <a:pt x="66" y="68"/>
                            <a:pt x="66" y="68"/>
                            <a:pt x="66" y="68"/>
                          </a:cubicBezTo>
                          <a:cubicBezTo>
                            <a:pt x="66" y="68"/>
                            <a:pt x="65" y="68"/>
                            <a:pt x="65" y="68"/>
                          </a:cubicBezTo>
                          <a:cubicBezTo>
                            <a:pt x="65" y="68"/>
                            <a:pt x="65" y="68"/>
                            <a:pt x="65" y="68"/>
                          </a:cubicBezTo>
                          <a:cubicBezTo>
                            <a:pt x="65" y="68"/>
                            <a:pt x="66" y="68"/>
                            <a:pt x="66" y="68"/>
                          </a:cubicBezTo>
                          <a:cubicBezTo>
                            <a:pt x="66" y="68"/>
                            <a:pt x="66" y="67"/>
                            <a:pt x="66" y="67"/>
                          </a:cubicBezTo>
                          <a:cubicBezTo>
                            <a:pt x="66" y="67"/>
                            <a:pt x="66" y="67"/>
                            <a:pt x="65" y="67"/>
                          </a:cubicBezTo>
                          <a:cubicBezTo>
                            <a:pt x="65" y="67"/>
                            <a:pt x="66" y="67"/>
                            <a:pt x="65" y="67"/>
                          </a:cubicBezTo>
                          <a:cubicBezTo>
                            <a:pt x="66" y="67"/>
                            <a:pt x="66" y="67"/>
                            <a:pt x="66" y="67"/>
                          </a:cubicBezTo>
                          <a:cubicBezTo>
                            <a:pt x="67" y="67"/>
                            <a:pt x="67" y="67"/>
                            <a:pt x="67" y="67"/>
                          </a:cubicBezTo>
                          <a:cubicBezTo>
                            <a:pt x="67" y="67"/>
                            <a:pt x="67" y="67"/>
                            <a:pt x="67" y="67"/>
                          </a:cubicBezTo>
                          <a:cubicBezTo>
                            <a:pt x="67" y="67"/>
                            <a:pt x="67" y="67"/>
                            <a:pt x="67" y="67"/>
                          </a:cubicBezTo>
                          <a:cubicBezTo>
                            <a:pt x="67" y="67"/>
                            <a:pt x="67" y="67"/>
                            <a:pt x="67" y="67"/>
                          </a:cubicBezTo>
                          <a:cubicBezTo>
                            <a:pt x="67" y="67"/>
                            <a:pt x="67" y="67"/>
                            <a:pt x="67" y="67"/>
                          </a:cubicBezTo>
                          <a:cubicBezTo>
                            <a:pt x="67" y="67"/>
                            <a:pt x="67" y="67"/>
                            <a:pt x="67" y="67"/>
                          </a:cubicBezTo>
                          <a:cubicBezTo>
                            <a:pt x="67" y="67"/>
                            <a:pt x="67" y="67"/>
                            <a:pt x="67" y="68"/>
                          </a:cubicBezTo>
                          <a:cubicBezTo>
                            <a:pt x="67" y="68"/>
                            <a:pt x="67" y="68"/>
                            <a:pt x="68" y="67"/>
                          </a:cubicBezTo>
                          <a:cubicBezTo>
                            <a:pt x="68" y="68"/>
                            <a:pt x="67" y="68"/>
                            <a:pt x="67" y="68"/>
                          </a:cubicBezTo>
                          <a:cubicBezTo>
                            <a:pt x="67" y="68"/>
                            <a:pt x="67" y="68"/>
                            <a:pt x="67" y="68"/>
                          </a:cubicBezTo>
                          <a:cubicBezTo>
                            <a:pt x="67" y="68"/>
                            <a:pt x="66" y="68"/>
                            <a:pt x="66" y="68"/>
                          </a:cubicBezTo>
                          <a:cubicBezTo>
                            <a:pt x="66" y="68"/>
                            <a:pt x="66" y="68"/>
                            <a:pt x="66" y="68"/>
                          </a:cubicBezTo>
                          <a:close/>
                          <a:moveTo>
                            <a:pt x="67" y="68"/>
                          </a:moveTo>
                          <a:cubicBezTo>
                            <a:pt x="67" y="67"/>
                            <a:pt x="67" y="67"/>
                            <a:pt x="66" y="67"/>
                          </a:cubicBezTo>
                          <a:cubicBezTo>
                            <a:pt x="67" y="67"/>
                            <a:pt x="66" y="67"/>
                            <a:pt x="67" y="68"/>
                          </a:cubicBezTo>
                          <a:close/>
                          <a:moveTo>
                            <a:pt x="65" y="68"/>
                          </a:moveTo>
                          <a:cubicBezTo>
                            <a:pt x="65" y="68"/>
                            <a:pt x="65" y="67"/>
                            <a:pt x="65" y="67"/>
                          </a:cubicBezTo>
                          <a:cubicBezTo>
                            <a:pt x="65" y="67"/>
                            <a:pt x="65" y="68"/>
                            <a:pt x="65" y="68"/>
                          </a:cubicBezTo>
                          <a:close/>
                          <a:moveTo>
                            <a:pt x="67" y="67"/>
                          </a:moveTo>
                          <a:cubicBezTo>
                            <a:pt x="67" y="67"/>
                            <a:pt x="67" y="67"/>
                            <a:pt x="68" y="66"/>
                          </a:cubicBezTo>
                          <a:cubicBezTo>
                            <a:pt x="67" y="67"/>
                            <a:pt x="68" y="67"/>
                            <a:pt x="67" y="67"/>
                          </a:cubicBezTo>
                          <a:close/>
                          <a:moveTo>
                            <a:pt x="68" y="66"/>
                          </a:moveTo>
                          <a:cubicBezTo>
                            <a:pt x="68" y="66"/>
                            <a:pt x="68" y="66"/>
                            <a:pt x="68" y="66"/>
                          </a:cubicBezTo>
                          <a:cubicBezTo>
                            <a:pt x="68" y="65"/>
                            <a:pt x="68" y="66"/>
                            <a:pt x="68" y="66"/>
                          </a:cubicBezTo>
                          <a:cubicBezTo>
                            <a:pt x="68" y="66"/>
                            <a:pt x="67" y="66"/>
                            <a:pt x="67" y="66"/>
                          </a:cubicBezTo>
                          <a:cubicBezTo>
                            <a:pt x="67" y="66"/>
                            <a:pt x="67" y="66"/>
                            <a:pt x="67" y="66"/>
                          </a:cubicBezTo>
                          <a:cubicBezTo>
                            <a:pt x="67" y="66"/>
                            <a:pt x="67" y="66"/>
                            <a:pt x="67" y="66"/>
                          </a:cubicBezTo>
                          <a:cubicBezTo>
                            <a:pt x="68" y="66"/>
                            <a:pt x="68" y="65"/>
                            <a:pt x="68" y="65"/>
                          </a:cubicBezTo>
                          <a:cubicBezTo>
                            <a:pt x="68" y="65"/>
                            <a:pt x="68" y="66"/>
                            <a:pt x="68" y="65"/>
                          </a:cubicBezTo>
                          <a:cubicBezTo>
                            <a:pt x="68" y="66"/>
                            <a:pt x="68" y="65"/>
                            <a:pt x="68" y="66"/>
                          </a:cubicBezTo>
                          <a:cubicBezTo>
                            <a:pt x="68" y="66"/>
                            <a:pt x="68" y="66"/>
                            <a:pt x="68" y="66"/>
                          </a:cubicBezTo>
                          <a:close/>
                          <a:moveTo>
                            <a:pt x="71" y="64"/>
                          </a:moveTo>
                          <a:cubicBezTo>
                            <a:pt x="71" y="63"/>
                            <a:pt x="70" y="64"/>
                            <a:pt x="69" y="64"/>
                          </a:cubicBezTo>
                          <a:cubicBezTo>
                            <a:pt x="69" y="64"/>
                            <a:pt x="69" y="64"/>
                            <a:pt x="69" y="64"/>
                          </a:cubicBezTo>
                          <a:cubicBezTo>
                            <a:pt x="69" y="65"/>
                            <a:pt x="69" y="64"/>
                            <a:pt x="69" y="65"/>
                          </a:cubicBezTo>
                          <a:cubicBezTo>
                            <a:pt x="68" y="65"/>
                            <a:pt x="69" y="64"/>
                            <a:pt x="68" y="64"/>
                          </a:cubicBezTo>
                          <a:cubicBezTo>
                            <a:pt x="68" y="64"/>
                            <a:pt x="68" y="64"/>
                            <a:pt x="69" y="64"/>
                          </a:cubicBezTo>
                          <a:cubicBezTo>
                            <a:pt x="69" y="64"/>
                            <a:pt x="68" y="64"/>
                            <a:pt x="68" y="64"/>
                          </a:cubicBezTo>
                          <a:cubicBezTo>
                            <a:pt x="68" y="64"/>
                            <a:pt x="68" y="64"/>
                            <a:pt x="68" y="64"/>
                          </a:cubicBezTo>
                          <a:cubicBezTo>
                            <a:pt x="68" y="64"/>
                            <a:pt x="68" y="64"/>
                            <a:pt x="68" y="64"/>
                          </a:cubicBezTo>
                          <a:cubicBezTo>
                            <a:pt x="69" y="64"/>
                            <a:pt x="68" y="64"/>
                            <a:pt x="68" y="64"/>
                          </a:cubicBezTo>
                          <a:cubicBezTo>
                            <a:pt x="68" y="64"/>
                            <a:pt x="67" y="65"/>
                            <a:pt x="66" y="65"/>
                          </a:cubicBezTo>
                          <a:cubicBezTo>
                            <a:pt x="67" y="64"/>
                            <a:pt x="67" y="64"/>
                            <a:pt x="67" y="64"/>
                          </a:cubicBezTo>
                          <a:cubicBezTo>
                            <a:pt x="67" y="64"/>
                            <a:pt x="68" y="64"/>
                            <a:pt x="68" y="64"/>
                          </a:cubicBezTo>
                          <a:cubicBezTo>
                            <a:pt x="68" y="64"/>
                            <a:pt x="68" y="63"/>
                            <a:pt x="69" y="63"/>
                          </a:cubicBezTo>
                          <a:cubicBezTo>
                            <a:pt x="69" y="63"/>
                            <a:pt x="69" y="63"/>
                            <a:pt x="69" y="63"/>
                          </a:cubicBezTo>
                          <a:cubicBezTo>
                            <a:pt x="69" y="63"/>
                            <a:pt x="70" y="63"/>
                            <a:pt x="70" y="62"/>
                          </a:cubicBezTo>
                          <a:cubicBezTo>
                            <a:pt x="70" y="62"/>
                            <a:pt x="71" y="62"/>
                            <a:pt x="71" y="62"/>
                          </a:cubicBezTo>
                          <a:cubicBezTo>
                            <a:pt x="71" y="62"/>
                            <a:pt x="70" y="62"/>
                            <a:pt x="70" y="62"/>
                          </a:cubicBezTo>
                          <a:cubicBezTo>
                            <a:pt x="71" y="62"/>
                            <a:pt x="71" y="62"/>
                            <a:pt x="71" y="62"/>
                          </a:cubicBezTo>
                          <a:cubicBezTo>
                            <a:pt x="71" y="62"/>
                            <a:pt x="70" y="62"/>
                            <a:pt x="70" y="62"/>
                          </a:cubicBezTo>
                          <a:cubicBezTo>
                            <a:pt x="70" y="62"/>
                            <a:pt x="70" y="62"/>
                            <a:pt x="70" y="62"/>
                          </a:cubicBezTo>
                          <a:cubicBezTo>
                            <a:pt x="70" y="62"/>
                            <a:pt x="70" y="62"/>
                            <a:pt x="70" y="62"/>
                          </a:cubicBezTo>
                          <a:cubicBezTo>
                            <a:pt x="70" y="62"/>
                            <a:pt x="70" y="62"/>
                            <a:pt x="70" y="62"/>
                          </a:cubicBezTo>
                          <a:cubicBezTo>
                            <a:pt x="70" y="62"/>
                            <a:pt x="70" y="62"/>
                            <a:pt x="70" y="62"/>
                          </a:cubicBezTo>
                          <a:cubicBezTo>
                            <a:pt x="70" y="62"/>
                            <a:pt x="69" y="62"/>
                            <a:pt x="69" y="62"/>
                          </a:cubicBezTo>
                          <a:cubicBezTo>
                            <a:pt x="69" y="62"/>
                            <a:pt x="69" y="62"/>
                            <a:pt x="69" y="62"/>
                          </a:cubicBezTo>
                          <a:cubicBezTo>
                            <a:pt x="69" y="62"/>
                            <a:pt x="70" y="62"/>
                            <a:pt x="70" y="62"/>
                          </a:cubicBezTo>
                          <a:cubicBezTo>
                            <a:pt x="70" y="62"/>
                            <a:pt x="70" y="61"/>
                            <a:pt x="70" y="61"/>
                          </a:cubicBezTo>
                          <a:cubicBezTo>
                            <a:pt x="70" y="61"/>
                            <a:pt x="70" y="61"/>
                            <a:pt x="70" y="61"/>
                          </a:cubicBezTo>
                          <a:cubicBezTo>
                            <a:pt x="70" y="62"/>
                            <a:pt x="71" y="61"/>
                            <a:pt x="70" y="61"/>
                          </a:cubicBezTo>
                          <a:cubicBezTo>
                            <a:pt x="70" y="62"/>
                            <a:pt x="71" y="61"/>
                            <a:pt x="71" y="61"/>
                          </a:cubicBezTo>
                          <a:cubicBezTo>
                            <a:pt x="71" y="61"/>
                            <a:pt x="71" y="61"/>
                            <a:pt x="71" y="62"/>
                          </a:cubicBezTo>
                          <a:cubicBezTo>
                            <a:pt x="71" y="61"/>
                            <a:pt x="71" y="61"/>
                            <a:pt x="71" y="62"/>
                          </a:cubicBezTo>
                          <a:cubicBezTo>
                            <a:pt x="71" y="61"/>
                            <a:pt x="71" y="61"/>
                            <a:pt x="72" y="61"/>
                          </a:cubicBezTo>
                          <a:cubicBezTo>
                            <a:pt x="72" y="61"/>
                            <a:pt x="72" y="61"/>
                            <a:pt x="72" y="61"/>
                          </a:cubicBezTo>
                          <a:cubicBezTo>
                            <a:pt x="72" y="61"/>
                            <a:pt x="72" y="61"/>
                            <a:pt x="72" y="61"/>
                          </a:cubicBezTo>
                          <a:cubicBezTo>
                            <a:pt x="72" y="61"/>
                            <a:pt x="72" y="61"/>
                            <a:pt x="72" y="61"/>
                          </a:cubicBezTo>
                          <a:cubicBezTo>
                            <a:pt x="72" y="61"/>
                            <a:pt x="72" y="61"/>
                            <a:pt x="72" y="61"/>
                          </a:cubicBezTo>
                          <a:cubicBezTo>
                            <a:pt x="71" y="61"/>
                            <a:pt x="71" y="61"/>
                            <a:pt x="71" y="61"/>
                          </a:cubicBezTo>
                          <a:cubicBezTo>
                            <a:pt x="71" y="61"/>
                            <a:pt x="71" y="61"/>
                            <a:pt x="71" y="61"/>
                          </a:cubicBezTo>
                          <a:cubicBezTo>
                            <a:pt x="71" y="61"/>
                            <a:pt x="71" y="61"/>
                            <a:pt x="71" y="61"/>
                          </a:cubicBezTo>
                          <a:cubicBezTo>
                            <a:pt x="71" y="61"/>
                            <a:pt x="71" y="61"/>
                            <a:pt x="71" y="61"/>
                          </a:cubicBezTo>
                          <a:cubicBezTo>
                            <a:pt x="71" y="61"/>
                            <a:pt x="72" y="60"/>
                            <a:pt x="72" y="60"/>
                          </a:cubicBezTo>
                          <a:cubicBezTo>
                            <a:pt x="72" y="60"/>
                            <a:pt x="72" y="60"/>
                            <a:pt x="72" y="60"/>
                          </a:cubicBezTo>
                          <a:cubicBezTo>
                            <a:pt x="72" y="60"/>
                            <a:pt x="72" y="60"/>
                            <a:pt x="72" y="60"/>
                          </a:cubicBezTo>
                          <a:cubicBezTo>
                            <a:pt x="72" y="60"/>
                            <a:pt x="72" y="60"/>
                            <a:pt x="72" y="60"/>
                          </a:cubicBezTo>
                          <a:cubicBezTo>
                            <a:pt x="72" y="60"/>
                            <a:pt x="72" y="60"/>
                            <a:pt x="72" y="60"/>
                          </a:cubicBezTo>
                          <a:cubicBezTo>
                            <a:pt x="72" y="60"/>
                            <a:pt x="72" y="60"/>
                            <a:pt x="72" y="60"/>
                          </a:cubicBezTo>
                          <a:cubicBezTo>
                            <a:pt x="72" y="60"/>
                            <a:pt x="72" y="60"/>
                            <a:pt x="72" y="60"/>
                          </a:cubicBezTo>
                          <a:cubicBezTo>
                            <a:pt x="71" y="60"/>
                            <a:pt x="71" y="60"/>
                            <a:pt x="71" y="60"/>
                          </a:cubicBezTo>
                          <a:cubicBezTo>
                            <a:pt x="71" y="60"/>
                            <a:pt x="71" y="60"/>
                            <a:pt x="71" y="60"/>
                          </a:cubicBezTo>
                          <a:cubicBezTo>
                            <a:pt x="71" y="60"/>
                            <a:pt x="72" y="60"/>
                            <a:pt x="72" y="60"/>
                          </a:cubicBezTo>
                          <a:cubicBezTo>
                            <a:pt x="72" y="60"/>
                            <a:pt x="72" y="59"/>
                            <a:pt x="73" y="59"/>
                          </a:cubicBezTo>
                          <a:cubicBezTo>
                            <a:pt x="73" y="59"/>
                            <a:pt x="73" y="59"/>
                            <a:pt x="73" y="59"/>
                          </a:cubicBezTo>
                          <a:cubicBezTo>
                            <a:pt x="72" y="60"/>
                            <a:pt x="72" y="60"/>
                            <a:pt x="72" y="60"/>
                          </a:cubicBezTo>
                          <a:cubicBezTo>
                            <a:pt x="72" y="60"/>
                            <a:pt x="72" y="60"/>
                            <a:pt x="72" y="60"/>
                          </a:cubicBezTo>
                          <a:cubicBezTo>
                            <a:pt x="73" y="60"/>
                            <a:pt x="73" y="60"/>
                            <a:pt x="73" y="59"/>
                          </a:cubicBezTo>
                          <a:cubicBezTo>
                            <a:pt x="73" y="59"/>
                            <a:pt x="73" y="59"/>
                            <a:pt x="73" y="59"/>
                          </a:cubicBezTo>
                          <a:cubicBezTo>
                            <a:pt x="73" y="59"/>
                            <a:pt x="73" y="59"/>
                            <a:pt x="73" y="59"/>
                          </a:cubicBezTo>
                          <a:cubicBezTo>
                            <a:pt x="73" y="59"/>
                            <a:pt x="73" y="59"/>
                            <a:pt x="74" y="59"/>
                          </a:cubicBezTo>
                          <a:cubicBezTo>
                            <a:pt x="74" y="59"/>
                            <a:pt x="74" y="59"/>
                            <a:pt x="74" y="59"/>
                          </a:cubicBezTo>
                          <a:cubicBezTo>
                            <a:pt x="73" y="59"/>
                            <a:pt x="73" y="59"/>
                            <a:pt x="73" y="59"/>
                          </a:cubicBezTo>
                          <a:cubicBezTo>
                            <a:pt x="74" y="59"/>
                            <a:pt x="74" y="59"/>
                            <a:pt x="74" y="59"/>
                          </a:cubicBezTo>
                          <a:cubicBezTo>
                            <a:pt x="74" y="59"/>
                            <a:pt x="74" y="59"/>
                            <a:pt x="74" y="59"/>
                          </a:cubicBezTo>
                          <a:cubicBezTo>
                            <a:pt x="74" y="59"/>
                            <a:pt x="75" y="59"/>
                            <a:pt x="74" y="59"/>
                          </a:cubicBezTo>
                          <a:cubicBezTo>
                            <a:pt x="75" y="59"/>
                            <a:pt x="75" y="59"/>
                            <a:pt x="75" y="59"/>
                          </a:cubicBezTo>
                          <a:cubicBezTo>
                            <a:pt x="75" y="59"/>
                            <a:pt x="75" y="58"/>
                            <a:pt x="75" y="59"/>
                          </a:cubicBezTo>
                          <a:cubicBezTo>
                            <a:pt x="75" y="59"/>
                            <a:pt x="75" y="59"/>
                            <a:pt x="75" y="59"/>
                          </a:cubicBezTo>
                          <a:cubicBezTo>
                            <a:pt x="74" y="59"/>
                            <a:pt x="75" y="59"/>
                            <a:pt x="75" y="59"/>
                          </a:cubicBezTo>
                          <a:cubicBezTo>
                            <a:pt x="75" y="59"/>
                            <a:pt x="74" y="59"/>
                            <a:pt x="74" y="59"/>
                          </a:cubicBezTo>
                          <a:cubicBezTo>
                            <a:pt x="74" y="60"/>
                            <a:pt x="74" y="59"/>
                            <a:pt x="74" y="60"/>
                          </a:cubicBezTo>
                          <a:cubicBezTo>
                            <a:pt x="75" y="59"/>
                            <a:pt x="75" y="59"/>
                            <a:pt x="75" y="59"/>
                          </a:cubicBezTo>
                          <a:cubicBezTo>
                            <a:pt x="75" y="59"/>
                            <a:pt x="75" y="59"/>
                            <a:pt x="75" y="59"/>
                          </a:cubicBezTo>
                          <a:cubicBezTo>
                            <a:pt x="75" y="59"/>
                            <a:pt x="75" y="59"/>
                            <a:pt x="74" y="59"/>
                          </a:cubicBezTo>
                          <a:cubicBezTo>
                            <a:pt x="75" y="59"/>
                            <a:pt x="75" y="59"/>
                            <a:pt x="75" y="59"/>
                          </a:cubicBezTo>
                          <a:cubicBezTo>
                            <a:pt x="75" y="59"/>
                            <a:pt x="75" y="59"/>
                            <a:pt x="75" y="59"/>
                          </a:cubicBezTo>
                          <a:cubicBezTo>
                            <a:pt x="75" y="59"/>
                            <a:pt x="75" y="59"/>
                            <a:pt x="75" y="59"/>
                          </a:cubicBezTo>
                          <a:cubicBezTo>
                            <a:pt x="75" y="59"/>
                            <a:pt x="75" y="59"/>
                            <a:pt x="75" y="59"/>
                          </a:cubicBezTo>
                          <a:cubicBezTo>
                            <a:pt x="74" y="60"/>
                            <a:pt x="75" y="60"/>
                            <a:pt x="74" y="60"/>
                          </a:cubicBezTo>
                          <a:cubicBezTo>
                            <a:pt x="75" y="60"/>
                            <a:pt x="75" y="60"/>
                            <a:pt x="75" y="60"/>
                          </a:cubicBezTo>
                          <a:cubicBezTo>
                            <a:pt x="75" y="60"/>
                            <a:pt x="75" y="60"/>
                            <a:pt x="75" y="60"/>
                          </a:cubicBezTo>
                          <a:cubicBezTo>
                            <a:pt x="75" y="60"/>
                            <a:pt x="75" y="60"/>
                            <a:pt x="75" y="60"/>
                          </a:cubicBezTo>
                          <a:cubicBezTo>
                            <a:pt x="75" y="60"/>
                            <a:pt x="75" y="60"/>
                            <a:pt x="75" y="59"/>
                          </a:cubicBezTo>
                          <a:cubicBezTo>
                            <a:pt x="75" y="59"/>
                            <a:pt x="76" y="59"/>
                            <a:pt x="75" y="60"/>
                          </a:cubicBezTo>
                          <a:cubicBezTo>
                            <a:pt x="75" y="60"/>
                            <a:pt x="75" y="59"/>
                            <a:pt x="76" y="59"/>
                          </a:cubicBezTo>
                          <a:cubicBezTo>
                            <a:pt x="76" y="59"/>
                            <a:pt x="76" y="59"/>
                            <a:pt x="76" y="59"/>
                          </a:cubicBezTo>
                          <a:cubicBezTo>
                            <a:pt x="76" y="60"/>
                            <a:pt x="76" y="59"/>
                            <a:pt x="75" y="60"/>
                          </a:cubicBezTo>
                          <a:cubicBezTo>
                            <a:pt x="75" y="60"/>
                            <a:pt x="75" y="60"/>
                            <a:pt x="76" y="60"/>
                          </a:cubicBezTo>
                          <a:cubicBezTo>
                            <a:pt x="76" y="60"/>
                            <a:pt x="76" y="60"/>
                            <a:pt x="76" y="60"/>
                          </a:cubicBezTo>
                          <a:cubicBezTo>
                            <a:pt x="76" y="59"/>
                            <a:pt x="76" y="60"/>
                            <a:pt x="76" y="60"/>
                          </a:cubicBezTo>
                          <a:cubicBezTo>
                            <a:pt x="76" y="60"/>
                            <a:pt x="76" y="59"/>
                            <a:pt x="76" y="59"/>
                          </a:cubicBezTo>
                          <a:cubicBezTo>
                            <a:pt x="76" y="59"/>
                            <a:pt x="75" y="59"/>
                            <a:pt x="75" y="59"/>
                          </a:cubicBezTo>
                          <a:cubicBezTo>
                            <a:pt x="76" y="59"/>
                            <a:pt x="76" y="59"/>
                            <a:pt x="76" y="59"/>
                          </a:cubicBezTo>
                          <a:cubicBezTo>
                            <a:pt x="76" y="59"/>
                            <a:pt x="76" y="59"/>
                            <a:pt x="76" y="59"/>
                          </a:cubicBezTo>
                          <a:cubicBezTo>
                            <a:pt x="76" y="59"/>
                            <a:pt x="77" y="59"/>
                            <a:pt x="77" y="58"/>
                          </a:cubicBezTo>
                          <a:cubicBezTo>
                            <a:pt x="77" y="58"/>
                            <a:pt x="77" y="59"/>
                            <a:pt x="77" y="59"/>
                          </a:cubicBezTo>
                          <a:cubicBezTo>
                            <a:pt x="77" y="59"/>
                            <a:pt x="77" y="59"/>
                            <a:pt x="77" y="58"/>
                          </a:cubicBezTo>
                          <a:cubicBezTo>
                            <a:pt x="78" y="59"/>
                            <a:pt x="77" y="59"/>
                            <a:pt x="77" y="59"/>
                          </a:cubicBezTo>
                          <a:cubicBezTo>
                            <a:pt x="78" y="59"/>
                            <a:pt x="78" y="59"/>
                            <a:pt x="78" y="58"/>
                          </a:cubicBezTo>
                          <a:cubicBezTo>
                            <a:pt x="78" y="59"/>
                            <a:pt x="78" y="59"/>
                            <a:pt x="78" y="59"/>
                          </a:cubicBezTo>
                          <a:cubicBezTo>
                            <a:pt x="78" y="59"/>
                            <a:pt x="78" y="59"/>
                            <a:pt x="78" y="59"/>
                          </a:cubicBezTo>
                          <a:cubicBezTo>
                            <a:pt x="78" y="59"/>
                            <a:pt x="78" y="59"/>
                            <a:pt x="78" y="59"/>
                          </a:cubicBezTo>
                          <a:cubicBezTo>
                            <a:pt x="78" y="59"/>
                            <a:pt x="77" y="59"/>
                            <a:pt x="77" y="59"/>
                          </a:cubicBezTo>
                          <a:cubicBezTo>
                            <a:pt x="77" y="59"/>
                            <a:pt x="77" y="59"/>
                            <a:pt x="77" y="59"/>
                          </a:cubicBezTo>
                          <a:cubicBezTo>
                            <a:pt x="77" y="59"/>
                            <a:pt x="77" y="60"/>
                            <a:pt x="76" y="60"/>
                          </a:cubicBezTo>
                          <a:cubicBezTo>
                            <a:pt x="76" y="60"/>
                            <a:pt x="76" y="59"/>
                            <a:pt x="77" y="59"/>
                          </a:cubicBezTo>
                          <a:cubicBezTo>
                            <a:pt x="77" y="59"/>
                            <a:pt x="77" y="60"/>
                            <a:pt x="77" y="59"/>
                          </a:cubicBezTo>
                          <a:cubicBezTo>
                            <a:pt x="77" y="60"/>
                            <a:pt x="76" y="60"/>
                            <a:pt x="76" y="60"/>
                          </a:cubicBezTo>
                          <a:cubicBezTo>
                            <a:pt x="76" y="60"/>
                            <a:pt x="75" y="60"/>
                            <a:pt x="75" y="60"/>
                          </a:cubicBezTo>
                          <a:cubicBezTo>
                            <a:pt x="75" y="60"/>
                            <a:pt x="75" y="61"/>
                            <a:pt x="75" y="61"/>
                          </a:cubicBezTo>
                          <a:cubicBezTo>
                            <a:pt x="75" y="61"/>
                            <a:pt x="75" y="61"/>
                            <a:pt x="75" y="61"/>
                          </a:cubicBezTo>
                          <a:cubicBezTo>
                            <a:pt x="74" y="61"/>
                            <a:pt x="74" y="61"/>
                            <a:pt x="74" y="61"/>
                          </a:cubicBezTo>
                          <a:cubicBezTo>
                            <a:pt x="74" y="61"/>
                            <a:pt x="74" y="61"/>
                            <a:pt x="74" y="61"/>
                          </a:cubicBezTo>
                          <a:cubicBezTo>
                            <a:pt x="74" y="61"/>
                            <a:pt x="74" y="61"/>
                            <a:pt x="74" y="61"/>
                          </a:cubicBezTo>
                          <a:cubicBezTo>
                            <a:pt x="74" y="61"/>
                            <a:pt x="74" y="61"/>
                            <a:pt x="73" y="61"/>
                          </a:cubicBezTo>
                          <a:cubicBezTo>
                            <a:pt x="74" y="61"/>
                            <a:pt x="73" y="61"/>
                            <a:pt x="72" y="61"/>
                          </a:cubicBezTo>
                          <a:cubicBezTo>
                            <a:pt x="73" y="61"/>
                            <a:pt x="73" y="61"/>
                            <a:pt x="73" y="61"/>
                          </a:cubicBezTo>
                          <a:cubicBezTo>
                            <a:pt x="73" y="61"/>
                            <a:pt x="73" y="61"/>
                            <a:pt x="73" y="61"/>
                          </a:cubicBezTo>
                          <a:cubicBezTo>
                            <a:pt x="73" y="61"/>
                            <a:pt x="73" y="61"/>
                            <a:pt x="74" y="61"/>
                          </a:cubicBezTo>
                          <a:cubicBezTo>
                            <a:pt x="74" y="61"/>
                            <a:pt x="74" y="61"/>
                            <a:pt x="73" y="62"/>
                          </a:cubicBezTo>
                          <a:cubicBezTo>
                            <a:pt x="73" y="62"/>
                            <a:pt x="73" y="62"/>
                            <a:pt x="73" y="61"/>
                          </a:cubicBezTo>
                          <a:cubicBezTo>
                            <a:pt x="73" y="61"/>
                            <a:pt x="73" y="62"/>
                            <a:pt x="73" y="61"/>
                          </a:cubicBezTo>
                          <a:cubicBezTo>
                            <a:pt x="73" y="62"/>
                            <a:pt x="73" y="62"/>
                            <a:pt x="73" y="62"/>
                          </a:cubicBezTo>
                          <a:cubicBezTo>
                            <a:pt x="73" y="61"/>
                            <a:pt x="72" y="62"/>
                            <a:pt x="73" y="62"/>
                          </a:cubicBezTo>
                          <a:cubicBezTo>
                            <a:pt x="72" y="62"/>
                            <a:pt x="72" y="62"/>
                            <a:pt x="72" y="62"/>
                          </a:cubicBezTo>
                          <a:cubicBezTo>
                            <a:pt x="72" y="62"/>
                            <a:pt x="72" y="62"/>
                            <a:pt x="72" y="62"/>
                          </a:cubicBezTo>
                          <a:cubicBezTo>
                            <a:pt x="72" y="62"/>
                            <a:pt x="72" y="62"/>
                            <a:pt x="72" y="62"/>
                          </a:cubicBezTo>
                          <a:cubicBezTo>
                            <a:pt x="72" y="62"/>
                            <a:pt x="72" y="62"/>
                            <a:pt x="72" y="62"/>
                          </a:cubicBezTo>
                          <a:cubicBezTo>
                            <a:pt x="72" y="62"/>
                            <a:pt x="72" y="62"/>
                            <a:pt x="73" y="62"/>
                          </a:cubicBezTo>
                          <a:cubicBezTo>
                            <a:pt x="72" y="62"/>
                            <a:pt x="72" y="62"/>
                            <a:pt x="72" y="62"/>
                          </a:cubicBezTo>
                          <a:cubicBezTo>
                            <a:pt x="72" y="62"/>
                            <a:pt x="73" y="62"/>
                            <a:pt x="73" y="62"/>
                          </a:cubicBezTo>
                          <a:cubicBezTo>
                            <a:pt x="73" y="62"/>
                            <a:pt x="73" y="62"/>
                            <a:pt x="73" y="62"/>
                          </a:cubicBezTo>
                          <a:cubicBezTo>
                            <a:pt x="73" y="62"/>
                            <a:pt x="73" y="62"/>
                            <a:pt x="73" y="62"/>
                          </a:cubicBezTo>
                          <a:cubicBezTo>
                            <a:pt x="73" y="62"/>
                            <a:pt x="73" y="62"/>
                            <a:pt x="73" y="62"/>
                          </a:cubicBezTo>
                          <a:cubicBezTo>
                            <a:pt x="73" y="62"/>
                            <a:pt x="73" y="62"/>
                            <a:pt x="74" y="62"/>
                          </a:cubicBezTo>
                          <a:cubicBezTo>
                            <a:pt x="74" y="62"/>
                            <a:pt x="74" y="62"/>
                            <a:pt x="74" y="62"/>
                          </a:cubicBezTo>
                          <a:cubicBezTo>
                            <a:pt x="75" y="62"/>
                            <a:pt x="75" y="61"/>
                            <a:pt x="76" y="61"/>
                          </a:cubicBezTo>
                          <a:cubicBezTo>
                            <a:pt x="76" y="61"/>
                            <a:pt x="77" y="61"/>
                            <a:pt x="77" y="60"/>
                          </a:cubicBezTo>
                          <a:cubicBezTo>
                            <a:pt x="77" y="60"/>
                            <a:pt x="77" y="60"/>
                            <a:pt x="77" y="60"/>
                          </a:cubicBezTo>
                          <a:cubicBezTo>
                            <a:pt x="78" y="60"/>
                            <a:pt x="78" y="60"/>
                            <a:pt x="78" y="60"/>
                          </a:cubicBezTo>
                          <a:cubicBezTo>
                            <a:pt x="78" y="60"/>
                            <a:pt x="77" y="60"/>
                            <a:pt x="77" y="60"/>
                          </a:cubicBezTo>
                          <a:cubicBezTo>
                            <a:pt x="78" y="60"/>
                            <a:pt x="78" y="60"/>
                            <a:pt x="78" y="60"/>
                          </a:cubicBezTo>
                          <a:cubicBezTo>
                            <a:pt x="78" y="60"/>
                            <a:pt x="78" y="60"/>
                            <a:pt x="78" y="60"/>
                          </a:cubicBezTo>
                          <a:cubicBezTo>
                            <a:pt x="78" y="60"/>
                            <a:pt x="78" y="60"/>
                            <a:pt x="77" y="60"/>
                          </a:cubicBezTo>
                          <a:cubicBezTo>
                            <a:pt x="77" y="60"/>
                            <a:pt x="77" y="60"/>
                            <a:pt x="77" y="60"/>
                          </a:cubicBezTo>
                          <a:cubicBezTo>
                            <a:pt x="77" y="60"/>
                            <a:pt x="76" y="61"/>
                            <a:pt x="76" y="61"/>
                          </a:cubicBezTo>
                          <a:cubicBezTo>
                            <a:pt x="76" y="61"/>
                            <a:pt x="76" y="61"/>
                            <a:pt x="76" y="61"/>
                          </a:cubicBezTo>
                          <a:cubicBezTo>
                            <a:pt x="75" y="62"/>
                            <a:pt x="73" y="62"/>
                            <a:pt x="72" y="63"/>
                          </a:cubicBezTo>
                          <a:cubicBezTo>
                            <a:pt x="72" y="64"/>
                            <a:pt x="72" y="63"/>
                            <a:pt x="72" y="64"/>
                          </a:cubicBezTo>
                          <a:cubicBezTo>
                            <a:pt x="72" y="64"/>
                            <a:pt x="71" y="64"/>
                            <a:pt x="72" y="64"/>
                          </a:cubicBezTo>
                          <a:cubicBezTo>
                            <a:pt x="72" y="64"/>
                            <a:pt x="72" y="64"/>
                            <a:pt x="72" y="64"/>
                          </a:cubicBezTo>
                          <a:cubicBezTo>
                            <a:pt x="73" y="63"/>
                            <a:pt x="73" y="63"/>
                            <a:pt x="73" y="64"/>
                          </a:cubicBezTo>
                          <a:cubicBezTo>
                            <a:pt x="73" y="64"/>
                            <a:pt x="72" y="64"/>
                            <a:pt x="72" y="64"/>
                          </a:cubicBezTo>
                          <a:cubicBezTo>
                            <a:pt x="72" y="64"/>
                            <a:pt x="72" y="64"/>
                            <a:pt x="72" y="64"/>
                          </a:cubicBezTo>
                          <a:cubicBezTo>
                            <a:pt x="73" y="64"/>
                            <a:pt x="73" y="64"/>
                            <a:pt x="74" y="63"/>
                          </a:cubicBezTo>
                          <a:cubicBezTo>
                            <a:pt x="74" y="64"/>
                            <a:pt x="75" y="63"/>
                            <a:pt x="74" y="63"/>
                          </a:cubicBezTo>
                          <a:cubicBezTo>
                            <a:pt x="74" y="63"/>
                            <a:pt x="75" y="63"/>
                            <a:pt x="74" y="63"/>
                          </a:cubicBezTo>
                          <a:cubicBezTo>
                            <a:pt x="75" y="63"/>
                            <a:pt x="74" y="64"/>
                            <a:pt x="74" y="63"/>
                          </a:cubicBezTo>
                          <a:cubicBezTo>
                            <a:pt x="74" y="64"/>
                            <a:pt x="73" y="64"/>
                            <a:pt x="74" y="64"/>
                          </a:cubicBezTo>
                          <a:cubicBezTo>
                            <a:pt x="73" y="64"/>
                            <a:pt x="73" y="64"/>
                            <a:pt x="73" y="64"/>
                          </a:cubicBezTo>
                          <a:cubicBezTo>
                            <a:pt x="73" y="64"/>
                            <a:pt x="73" y="64"/>
                            <a:pt x="73" y="64"/>
                          </a:cubicBezTo>
                          <a:cubicBezTo>
                            <a:pt x="73" y="64"/>
                            <a:pt x="73" y="64"/>
                            <a:pt x="72" y="65"/>
                          </a:cubicBezTo>
                          <a:cubicBezTo>
                            <a:pt x="72" y="65"/>
                            <a:pt x="72" y="65"/>
                            <a:pt x="72" y="65"/>
                          </a:cubicBezTo>
                          <a:cubicBezTo>
                            <a:pt x="73" y="65"/>
                            <a:pt x="73" y="64"/>
                            <a:pt x="73" y="64"/>
                          </a:cubicBezTo>
                          <a:cubicBezTo>
                            <a:pt x="73" y="65"/>
                            <a:pt x="72" y="65"/>
                            <a:pt x="72" y="65"/>
                          </a:cubicBezTo>
                          <a:cubicBezTo>
                            <a:pt x="72" y="65"/>
                            <a:pt x="72" y="65"/>
                            <a:pt x="72" y="65"/>
                          </a:cubicBezTo>
                          <a:cubicBezTo>
                            <a:pt x="72" y="65"/>
                            <a:pt x="72" y="65"/>
                            <a:pt x="72" y="65"/>
                          </a:cubicBezTo>
                          <a:cubicBezTo>
                            <a:pt x="72" y="65"/>
                            <a:pt x="72" y="65"/>
                            <a:pt x="73" y="65"/>
                          </a:cubicBezTo>
                          <a:cubicBezTo>
                            <a:pt x="73" y="65"/>
                            <a:pt x="73" y="65"/>
                            <a:pt x="73" y="65"/>
                          </a:cubicBezTo>
                          <a:cubicBezTo>
                            <a:pt x="74" y="65"/>
                            <a:pt x="74" y="65"/>
                            <a:pt x="74" y="65"/>
                          </a:cubicBezTo>
                          <a:cubicBezTo>
                            <a:pt x="74" y="65"/>
                            <a:pt x="74" y="65"/>
                            <a:pt x="74" y="65"/>
                          </a:cubicBezTo>
                          <a:cubicBezTo>
                            <a:pt x="74" y="65"/>
                            <a:pt x="73" y="65"/>
                            <a:pt x="73" y="65"/>
                          </a:cubicBezTo>
                          <a:cubicBezTo>
                            <a:pt x="73" y="65"/>
                            <a:pt x="73" y="65"/>
                            <a:pt x="73" y="65"/>
                          </a:cubicBezTo>
                          <a:cubicBezTo>
                            <a:pt x="73" y="66"/>
                            <a:pt x="74" y="65"/>
                            <a:pt x="74" y="65"/>
                          </a:cubicBezTo>
                          <a:cubicBezTo>
                            <a:pt x="74" y="66"/>
                            <a:pt x="74" y="66"/>
                            <a:pt x="74" y="66"/>
                          </a:cubicBezTo>
                          <a:cubicBezTo>
                            <a:pt x="74" y="66"/>
                            <a:pt x="73" y="66"/>
                            <a:pt x="73" y="66"/>
                          </a:cubicBezTo>
                          <a:cubicBezTo>
                            <a:pt x="73" y="67"/>
                            <a:pt x="73" y="66"/>
                            <a:pt x="73" y="67"/>
                          </a:cubicBezTo>
                          <a:cubicBezTo>
                            <a:pt x="72" y="67"/>
                            <a:pt x="72" y="67"/>
                            <a:pt x="72" y="67"/>
                          </a:cubicBezTo>
                          <a:cubicBezTo>
                            <a:pt x="72" y="67"/>
                            <a:pt x="73" y="67"/>
                            <a:pt x="72" y="67"/>
                          </a:cubicBezTo>
                          <a:cubicBezTo>
                            <a:pt x="72" y="67"/>
                            <a:pt x="72" y="67"/>
                            <a:pt x="72" y="67"/>
                          </a:cubicBezTo>
                          <a:cubicBezTo>
                            <a:pt x="71" y="68"/>
                            <a:pt x="72" y="67"/>
                            <a:pt x="71" y="67"/>
                          </a:cubicBezTo>
                          <a:cubicBezTo>
                            <a:pt x="71" y="67"/>
                            <a:pt x="71" y="67"/>
                            <a:pt x="71" y="67"/>
                          </a:cubicBezTo>
                          <a:cubicBezTo>
                            <a:pt x="72" y="67"/>
                            <a:pt x="71" y="67"/>
                            <a:pt x="72" y="67"/>
                          </a:cubicBezTo>
                          <a:cubicBezTo>
                            <a:pt x="71" y="67"/>
                            <a:pt x="72" y="66"/>
                            <a:pt x="71" y="67"/>
                          </a:cubicBezTo>
                          <a:cubicBezTo>
                            <a:pt x="71" y="67"/>
                            <a:pt x="71" y="67"/>
                            <a:pt x="72" y="66"/>
                          </a:cubicBezTo>
                          <a:cubicBezTo>
                            <a:pt x="71" y="66"/>
                            <a:pt x="71" y="67"/>
                            <a:pt x="71" y="67"/>
                          </a:cubicBezTo>
                          <a:cubicBezTo>
                            <a:pt x="71" y="66"/>
                            <a:pt x="71" y="67"/>
                            <a:pt x="70" y="67"/>
                          </a:cubicBezTo>
                          <a:cubicBezTo>
                            <a:pt x="70" y="66"/>
                            <a:pt x="70" y="66"/>
                            <a:pt x="71" y="66"/>
                          </a:cubicBezTo>
                          <a:cubicBezTo>
                            <a:pt x="70" y="66"/>
                            <a:pt x="70" y="67"/>
                            <a:pt x="69" y="67"/>
                          </a:cubicBezTo>
                          <a:cubicBezTo>
                            <a:pt x="69" y="66"/>
                            <a:pt x="70" y="66"/>
                            <a:pt x="70" y="66"/>
                          </a:cubicBezTo>
                          <a:cubicBezTo>
                            <a:pt x="70" y="66"/>
                            <a:pt x="69" y="67"/>
                            <a:pt x="69" y="67"/>
                          </a:cubicBezTo>
                          <a:cubicBezTo>
                            <a:pt x="69" y="66"/>
                            <a:pt x="69" y="66"/>
                            <a:pt x="69" y="66"/>
                          </a:cubicBezTo>
                          <a:cubicBezTo>
                            <a:pt x="70" y="66"/>
                            <a:pt x="70" y="66"/>
                            <a:pt x="70" y="66"/>
                          </a:cubicBezTo>
                          <a:cubicBezTo>
                            <a:pt x="70" y="66"/>
                            <a:pt x="70" y="66"/>
                            <a:pt x="70" y="66"/>
                          </a:cubicBezTo>
                          <a:cubicBezTo>
                            <a:pt x="70" y="66"/>
                            <a:pt x="70" y="66"/>
                            <a:pt x="70" y="66"/>
                          </a:cubicBezTo>
                          <a:cubicBezTo>
                            <a:pt x="70" y="66"/>
                            <a:pt x="70" y="65"/>
                            <a:pt x="70" y="65"/>
                          </a:cubicBezTo>
                          <a:cubicBezTo>
                            <a:pt x="70" y="65"/>
                            <a:pt x="70" y="65"/>
                            <a:pt x="70" y="65"/>
                          </a:cubicBezTo>
                          <a:cubicBezTo>
                            <a:pt x="71" y="65"/>
                            <a:pt x="71" y="65"/>
                            <a:pt x="71" y="65"/>
                          </a:cubicBezTo>
                          <a:cubicBezTo>
                            <a:pt x="71" y="65"/>
                            <a:pt x="71" y="65"/>
                            <a:pt x="71" y="65"/>
                          </a:cubicBezTo>
                          <a:cubicBezTo>
                            <a:pt x="71" y="65"/>
                            <a:pt x="70" y="65"/>
                            <a:pt x="70" y="65"/>
                          </a:cubicBezTo>
                          <a:cubicBezTo>
                            <a:pt x="70" y="65"/>
                            <a:pt x="71" y="65"/>
                            <a:pt x="70" y="65"/>
                          </a:cubicBezTo>
                          <a:cubicBezTo>
                            <a:pt x="71" y="65"/>
                            <a:pt x="69" y="65"/>
                            <a:pt x="70" y="65"/>
                          </a:cubicBezTo>
                          <a:cubicBezTo>
                            <a:pt x="69" y="65"/>
                            <a:pt x="69" y="65"/>
                            <a:pt x="69" y="66"/>
                          </a:cubicBezTo>
                          <a:cubicBezTo>
                            <a:pt x="69" y="65"/>
                            <a:pt x="69" y="66"/>
                            <a:pt x="69" y="65"/>
                          </a:cubicBezTo>
                          <a:cubicBezTo>
                            <a:pt x="69" y="66"/>
                            <a:pt x="69" y="66"/>
                            <a:pt x="69" y="66"/>
                          </a:cubicBezTo>
                          <a:cubicBezTo>
                            <a:pt x="69" y="66"/>
                            <a:pt x="69" y="66"/>
                            <a:pt x="69" y="66"/>
                          </a:cubicBezTo>
                          <a:cubicBezTo>
                            <a:pt x="68" y="66"/>
                            <a:pt x="69" y="65"/>
                            <a:pt x="68" y="66"/>
                          </a:cubicBezTo>
                          <a:cubicBezTo>
                            <a:pt x="68" y="65"/>
                            <a:pt x="69" y="65"/>
                            <a:pt x="69" y="65"/>
                          </a:cubicBezTo>
                          <a:cubicBezTo>
                            <a:pt x="70" y="65"/>
                            <a:pt x="70" y="65"/>
                            <a:pt x="70" y="65"/>
                          </a:cubicBezTo>
                          <a:cubicBezTo>
                            <a:pt x="70" y="65"/>
                            <a:pt x="70" y="65"/>
                            <a:pt x="70" y="65"/>
                          </a:cubicBezTo>
                          <a:cubicBezTo>
                            <a:pt x="70" y="65"/>
                            <a:pt x="70" y="65"/>
                            <a:pt x="70" y="64"/>
                          </a:cubicBezTo>
                          <a:cubicBezTo>
                            <a:pt x="70" y="64"/>
                            <a:pt x="70" y="64"/>
                            <a:pt x="70" y="64"/>
                          </a:cubicBezTo>
                          <a:cubicBezTo>
                            <a:pt x="70" y="64"/>
                            <a:pt x="71" y="64"/>
                            <a:pt x="71" y="64"/>
                          </a:cubicBezTo>
                          <a:cubicBezTo>
                            <a:pt x="70" y="64"/>
                            <a:pt x="70" y="64"/>
                            <a:pt x="71" y="64"/>
                          </a:cubicBezTo>
                          <a:close/>
                          <a:moveTo>
                            <a:pt x="72" y="67"/>
                          </a:moveTo>
                          <a:cubicBezTo>
                            <a:pt x="72" y="67"/>
                            <a:pt x="72" y="67"/>
                            <a:pt x="72" y="67"/>
                          </a:cubicBezTo>
                          <a:cubicBezTo>
                            <a:pt x="72" y="67"/>
                            <a:pt x="72" y="67"/>
                            <a:pt x="72" y="67"/>
                          </a:cubicBezTo>
                          <a:cubicBezTo>
                            <a:pt x="72" y="67"/>
                            <a:pt x="72" y="67"/>
                            <a:pt x="72" y="67"/>
                          </a:cubicBezTo>
                          <a:close/>
                          <a:moveTo>
                            <a:pt x="72" y="66"/>
                          </a:moveTo>
                          <a:cubicBezTo>
                            <a:pt x="72" y="66"/>
                            <a:pt x="72" y="67"/>
                            <a:pt x="72" y="67"/>
                          </a:cubicBezTo>
                          <a:cubicBezTo>
                            <a:pt x="72" y="67"/>
                            <a:pt x="72" y="66"/>
                            <a:pt x="73" y="66"/>
                          </a:cubicBezTo>
                          <a:cubicBezTo>
                            <a:pt x="73" y="66"/>
                            <a:pt x="73" y="66"/>
                            <a:pt x="73" y="66"/>
                          </a:cubicBezTo>
                          <a:cubicBezTo>
                            <a:pt x="73" y="66"/>
                            <a:pt x="73" y="66"/>
                            <a:pt x="73" y="66"/>
                          </a:cubicBezTo>
                          <a:cubicBezTo>
                            <a:pt x="73" y="66"/>
                            <a:pt x="72" y="66"/>
                            <a:pt x="72" y="66"/>
                          </a:cubicBezTo>
                          <a:cubicBezTo>
                            <a:pt x="72" y="66"/>
                            <a:pt x="72" y="66"/>
                            <a:pt x="72" y="66"/>
                          </a:cubicBezTo>
                          <a:cubicBezTo>
                            <a:pt x="72" y="66"/>
                            <a:pt x="72" y="66"/>
                            <a:pt x="72" y="66"/>
                          </a:cubicBezTo>
                          <a:close/>
                          <a:moveTo>
                            <a:pt x="72" y="65"/>
                          </a:moveTo>
                          <a:cubicBezTo>
                            <a:pt x="72" y="66"/>
                            <a:pt x="72" y="65"/>
                            <a:pt x="72" y="65"/>
                          </a:cubicBezTo>
                          <a:cubicBezTo>
                            <a:pt x="72" y="65"/>
                            <a:pt x="72" y="65"/>
                            <a:pt x="72" y="65"/>
                          </a:cubicBezTo>
                          <a:close/>
                          <a:moveTo>
                            <a:pt x="71" y="64"/>
                          </a:moveTo>
                          <a:cubicBezTo>
                            <a:pt x="71" y="65"/>
                            <a:pt x="71" y="65"/>
                            <a:pt x="71" y="65"/>
                          </a:cubicBezTo>
                          <a:cubicBezTo>
                            <a:pt x="71" y="65"/>
                            <a:pt x="71" y="65"/>
                            <a:pt x="71" y="65"/>
                          </a:cubicBezTo>
                          <a:cubicBezTo>
                            <a:pt x="71" y="65"/>
                            <a:pt x="71" y="65"/>
                            <a:pt x="71" y="64"/>
                          </a:cubicBezTo>
                          <a:close/>
                          <a:moveTo>
                            <a:pt x="76" y="60"/>
                          </a:moveTo>
                          <a:cubicBezTo>
                            <a:pt x="77" y="59"/>
                            <a:pt x="77" y="59"/>
                            <a:pt x="77" y="59"/>
                          </a:cubicBezTo>
                          <a:cubicBezTo>
                            <a:pt x="77" y="59"/>
                            <a:pt x="77" y="59"/>
                            <a:pt x="77" y="59"/>
                          </a:cubicBezTo>
                          <a:cubicBezTo>
                            <a:pt x="76" y="59"/>
                            <a:pt x="77" y="59"/>
                            <a:pt x="76" y="59"/>
                          </a:cubicBezTo>
                          <a:cubicBezTo>
                            <a:pt x="76" y="59"/>
                            <a:pt x="77" y="59"/>
                            <a:pt x="77" y="59"/>
                          </a:cubicBezTo>
                          <a:cubicBezTo>
                            <a:pt x="76" y="59"/>
                            <a:pt x="76" y="59"/>
                            <a:pt x="76" y="59"/>
                          </a:cubicBezTo>
                          <a:cubicBezTo>
                            <a:pt x="76" y="59"/>
                            <a:pt x="76" y="59"/>
                            <a:pt x="76" y="60"/>
                          </a:cubicBezTo>
                          <a:close/>
                          <a:moveTo>
                            <a:pt x="74" y="61"/>
                          </a:moveTo>
                          <a:cubicBezTo>
                            <a:pt x="74" y="61"/>
                            <a:pt x="74" y="61"/>
                            <a:pt x="74" y="61"/>
                          </a:cubicBezTo>
                          <a:cubicBezTo>
                            <a:pt x="74" y="61"/>
                            <a:pt x="74" y="61"/>
                            <a:pt x="74" y="61"/>
                          </a:cubicBezTo>
                          <a:cubicBezTo>
                            <a:pt x="74" y="61"/>
                            <a:pt x="74" y="61"/>
                            <a:pt x="74" y="61"/>
                          </a:cubicBezTo>
                          <a:close/>
                          <a:moveTo>
                            <a:pt x="75" y="60"/>
                          </a:moveTo>
                          <a:cubicBezTo>
                            <a:pt x="75" y="60"/>
                            <a:pt x="75" y="61"/>
                            <a:pt x="74" y="61"/>
                          </a:cubicBezTo>
                          <a:cubicBezTo>
                            <a:pt x="75" y="61"/>
                            <a:pt x="75" y="61"/>
                            <a:pt x="75" y="61"/>
                          </a:cubicBezTo>
                          <a:cubicBezTo>
                            <a:pt x="75" y="60"/>
                            <a:pt x="75" y="60"/>
                            <a:pt x="75" y="60"/>
                          </a:cubicBezTo>
                          <a:close/>
                          <a:moveTo>
                            <a:pt x="75" y="60"/>
                          </a:moveTo>
                          <a:cubicBezTo>
                            <a:pt x="74" y="60"/>
                            <a:pt x="74" y="61"/>
                            <a:pt x="74" y="61"/>
                          </a:cubicBezTo>
                          <a:cubicBezTo>
                            <a:pt x="74" y="61"/>
                            <a:pt x="74" y="61"/>
                            <a:pt x="74" y="61"/>
                          </a:cubicBezTo>
                          <a:cubicBezTo>
                            <a:pt x="74" y="61"/>
                            <a:pt x="74" y="61"/>
                            <a:pt x="74" y="61"/>
                          </a:cubicBezTo>
                          <a:cubicBezTo>
                            <a:pt x="75" y="60"/>
                            <a:pt x="75" y="60"/>
                            <a:pt x="75" y="60"/>
                          </a:cubicBezTo>
                          <a:close/>
                          <a:moveTo>
                            <a:pt x="70" y="62"/>
                          </a:moveTo>
                          <a:cubicBezTo>
                            <a:pt x="70" y="62"/>
                            <a:pt x="69" y="62"/>
                            <a:pt x="69" y="62"/>
                          </a:cubicBezTo>
                          <a:cubicBezTo>
                            <a:pt x="70" y="62"/>
                            <a:pt x="70" y="62"/>
                            <a:pt x="70" y="62"/>
                          </a:cubicBezTo>
                          <a:cubicBezTo>
                            <a:pt x="70" y="62"/>
                            <a:pt x="70" y="62"/>
                            <a:pt x="70" y="62"/>
                          </a:cubicBezTo>
                          <a:close/>
                          <a:moveTo>
                            <a:pt x="74" y="60"/>
                          </a:moveTo>
                          <a:cubicBezTo>
                            <a:pt x="73" y="60"/>
                            <a:pt x="73" y="60"/>
                            <a:pt x="73" y="60"/>
                          </a:cubicBezTo>
                          <a:cubicBezTo>
                            <a:pt x="73" y="60"/>
                            <a:pt x="73" y="60"/>
                            <a:pt x="73" y="61"/>
                          </a:cubicBezTo>
                          <a:cubicBezTo>
                            <a:pt x="73" y="61"/>
                            <a:pt x="74" y="60"/>
                            <a:pt x="74" y="60"/>
                          </a:cubicBezTo>
                          <a:cubicBezTo>
                            <a:pt x="74" y="60"/>
                            <a:pt x="74" y="60"/>
                            <a:pt x="74" y="60"/>
                          </a:cubicBezTo>
                          <a:cubicBezTo>
                            <a:pt x="74" y="60"/>
                            <a:pt x="74" y="60"/>
                            <a:pt x="74" y="60"/>
                          </a:cubicBezTo>
                          <a:cubicBezTo>
                            <a:pt x="74" y="60"/>
                            <a:pt x="74" y="60"/>
                            <a:pt x="74" y="60"/>
                          </a:cubicBezTo>
                          <a:close/>
                          <a:moveTo>
                            <a:pt x="73" y="61"/>
                          </a:moveTo>
                          <a:cubicBezTo>
                            <a:pt x="73" y="61"/>
                            <a:pt x="73" y="61"/>
                            <a:pt x="73" y="60"/>
                          </a:cubicBezTo>
                          <a:cubicBezTo>
                            <a:pt x="73" y="60"/>
                            <a:pt x="73" y="60"/>
                            <a:pt x="74" y="60"/>
                          </a:cubicBezTo>
                          <a:cubicBezTo>
                            <a:pt x="74" y="60"/>
                            <a:pt x="73" y="60"/>
                            <a:pt x="73" y="60"/>
                          </a:cubicBezTo>
                          <a:cubicBezTo>
                            <a:pt x="73" y="60"/>
                            <a:pt x="72" y="60"/>
                            <a:pt x="72" y="60"/>
                          </a:cubicBezTo>
                          <a:cubicBezTo>
                            <a:pt x="73" y="60"/>
                            <a:pt x="72" y="61"/>
                            <a:pt x="72" y="60"/>
                          </a:cubicBezTo>
                          <a:cubicBezTo>
                            <a:pt x="72" y="61"/>
                            <a:pt x="72" y="61"/>
                            <a:pt x="73" y="61"/>
                          </a:cubicBezTo>
                          <a:cubicBezTo>
                            <a:pt x="72" y="61"/>
                            <a:pt x="72" y="61"/>
                            <a:pt x="72" y="61"/>
                          </a:cubicBezTo>
                          <a:cubicBezTo>
                            <a:pt x="73" y="60"/>
                            <a:pt x="73" y="61"/>
                            <a:pt x="72" y="61"/>
                          </a:cubicBezTo>
                          <a:cubicBezTo>
                            <a:pt x="73" y="60"/>
                            <a:pt x="72" y="61"/>
                            <a:pt x="73" y="61"/>
                          </a:cubicBezTo>
                          <a:close/>
                          <a:moveTo>
                            <a:pt x="70" y="62"/>
                          </a:moveTo>
                          <a:cubicBezTo>
                            <a:pt x="70" y="62"/>
                            <a:pt x="70" y="63"/>
                            <a:pt x="70" y="63"/>
                          </a:cubicBezTo>
                          <a:cubicBezTo>
                            <a:pt x="70" y="63"/>
                            <a:pt x="70" y="62"/>
                            <a:pt x="70" y="62"/>
                          </a:cubicBezTo>
                          <a:close/>
                          <a:moveTo>
                            <a:pt x="73" y="62"/>
                          </a:moveTo>
                          <a:cubicBezTo>
                            <a:pt x="73" y="63"/>
                            <a:pt x="73" y="62"/>
                            <a:pt x="73" y="63"/>
                          </a:cubicBezTo>
                          <a:cubicBezTo>
                            <a:pt x="73" y="62"/>
                            <a:pt x="73" y="62"/>
                            <a:pt x="73" y="62"/>
                          </a:cubicBezTo>
                          <a:cubicBezTo>
                            <a:pt x="73" y="63"/>
                            <a:pt x="73" y="62"/>
                            <a:pt x="73" y="62"/>
                          </a:cubicBezTo>
                          <a:close/>
                          <a:moveTo>
                            <a:pt x="72" y="63"/>
                          </a:moveTo>
                          <a:cubicBezTo>
                            <a:pt x="72" y="63"/>
                            <a:pt x="72" y="63"/>
                            <a:pt x="72" y="63"/>
                          </a:cubicBezTo>
                          <a:cubicBezTo>
                            <a:pt x="72" y="63"/>
                            <a:pt x="72" y="63"/>
                            <a:pt x="72" y="63"/>
                          </a:cubicBezTo>
                          <a:cubicBezTo>
                            <a:pt x="72" y="63"/>
                            <a:pt x="72" y="63"/>
                            <a:pt x="72" y="63"/>
                          </a:cubicBezTo>
                          <a:cubicBezTo>
                            <a:pt x="72" y="63"/>
                            <a:pt x="72" y="63"/>
                            <a:pt x="72" y="63"/>
                          </a:cubicBezTo>
                          <a:cubicBezTo>
                            <a:pt x="72" y="63"/>
                            <a:pt x="73" y="63"/>
                            <a:pt x="72" y="63"/>
                          </a:cubicBezTo>
                          <a:cubicBezTo>
                            <a:pt x="72" y="63"/>
                            <a:pt x="72" y="63"/>
                            <a:pt x="72" y="63"/>
                          </a:cubicBezTo>
                          <a:cubicBezTo>
                            <a:pt x="72" y="63"/>
                            <a:pt x="72" y="63"/>
                            <a:pt x="72" y="63"/>
                          </a:cubicBezTo>
                          <a:cubicBezTo>
                            <a:pt x="72" y="63"/>
                            <a:pt x="72" y="63"/>
                            <a:pt x="72" y="63"/>
                          </a:cubicBezTo>
                          <a:close/>
                          <a:moveTo>
                            <a:pt x="70" y="64"/>
                          </a:moveTo>
                          <a:cubicBezTo>
                            <a:pt x="70" y="64"/>
                            <a:pt x="70" y="64"/>
                            <a:pt x="70" y="64"/>
                          </a:cubicBezTo>
                          <a:cubicBezTo>
                            <a:pt x="70" y="64"/>
                            <a:pt x="70" y="64"/>
                            <a:pt x="70" y="63"/>
                          </a:cubicBezTo>
                          <a:cubicBezTo>
                            <a:pt x="70" y="63"/>
                            <a:pt x="70" y="63"/>
                            <a:pt x="70" y="64"/>
                          </a:cubicBezTo>
                          <a:cubicBezTo>
                            <a:pt x="70" y="64"/>
                            <a:pt x="70" y="63"/>
                            <a:pt x="70" y="64"/>
                          </a:cubicBezTo>
                          <a:close/>
                          <a:moveTo>
                            <a:pt x="70" y="63"/>
                          </a:moveTo>
                          <a:cubicBezTo>
                            <a:pt x="71" y="63"/>
                            <a:pt x="70" y="63"/>
                            <a:pt x="70" y="63"/>
                          </a:cubicBezTo>
                          <a:cubicBezTo>
                            <a:pt x="71" y="63"/>
                            <a:pt x="71" y="63"/>
                            <a:pt x="71" y="63"/>
                          </a:cubicBezTo>
                          <a:cubicBezTo>
                            <a:pt x="71" y="63"/>
                            <a:pt x="71" y="63"/>
                            <a:pt x="71" y="63"/>
                          </a:cubicBezTo>
                          <a:cubicBezTo>
                            <a:pt x="71" y="63"/>
                            <a:pt x="71" y="63"/>
                            <a:pt x="71" y="63"/>
                          </a:cubicBezTo>
                          <a:cubicBezTo>
                            <a:pt x="71" y="63"/>
                            <a:pt x="71" y="63"/>
                            <a:pt x="71" y="63"/>
                          </a:cubicBezTo>
                          <a:cubicBezTo>
                            <a:pt x="71" y="63"/>
                            <a:pt x="71" y="63"/>
                            <a:pt x="70" y="63"/>
                          </a:cubicBezTo>
                          <a:close/>
                          <a:moveTo>
                            <a:pt x="70" y="63"/>
                          </a:moveTo>
                          <a:cubicBezTo>
                            <a:pt x="70" y="63"/>
                            <a:pt x="70" y="63"/>
                            <a:pt x="70" y="63"/>
                          </a:cubicBezTo>
                          <a:cubicBezTo>
                            <a:pt x="71" y="63"/>
                            <a:pt x="71" y="63"/>
                            <a:pt x="71" y="63"/>
                          </a:cubicBezTo>
                          <a:cubicBezTo>
                            <a:pt x="71" y="63"/>
                            <a:pt x="70" y="63"/>
                            <a:pt x="70" y="63"/>
                          </a:cubicBezTo>
                          <a:close/>
                          <a:moveTo>
                            <a:pt x="70" y="63"/>
                          </a:moveTo>
                          <a:cubicBezTo>
                            <a:pt x="70" y="63"/>
                            <a:pt x="70" y="63"/>
                            <a:pt x="70" y="63"/>
                          </a:cubicBezTo>
                          <a:cubicBezTo>
                            <a:pt x="70" y="63"/>
                            <a:pt x="70" y="63"/>
                            <a:pt x="70" y="63"/>
                          </a:cubicBezTo>
                          <a:cubicBezTo>
                            <a:pt x="70" y="63"/>
                            <a:pt x="70" y="63"/>
                            <a:pt x="70" y="63"/>
                          </a:cubicBezTo>
                          <a:cubicBezTo>
                            <a:pt x="70" y="63"/>
                            <a:pt x="70" y="63"/>
                            <a:pt x="70" y="63"/>
                          </a:cubicBezTo>
                          <a:cubicBezTo>
                            <a:pt x="70" y="63"/>
                            <a:pt x="69" y="63"/>
                            <a:pt x="69" y="64"/>
                          </a:cubicBezTo>
                          <a:cubicBezTo>
                            <a:pt x="69" y="64"/>
                            <a:pt x="69" y="63"/>
                            <a:pt x="69" y="63"/>
                          </a:cubicBezTo>
                          <a:cubicBezTo>
                            <a:pt x="69" y="64"/>
                            <a:pt x="69" y="64"/>
                            <a:pt x="69" y="64"/>
                          </a:cubicBezTo>
                          <a:cubicBezTo>
                            <a:pt x="69" y="64"/>
                            <a:pt x="69" y="64"/>
                            <a:pt x="69" y="64"/>
                          </a:cubicBezTo>
                          <a:cubicBezTo>
                            <a:pt x="69" y="64"/>
                            <a:pt x="69" y="64"/>
                            <a:pt x="69" y="64"/>
                          </a:cubicBezTo>
                          <a:cubicBezTo>
                            <a:pt x="70" y="64"/>
                            <a:pt x="69" y="64"/>
                            <a:pt x="70" y="63"/>
                          </a:cubicBezTo>
                          <a:close/>
                          <a:moveTo>
                            <a:pt x="70" y="64"/>
                          </a:moveTo>
                          <a:cubicBezTo>
                            <a:pt x="70" y="64"/>
                            <a:pt x="69" y="64"/>
                            <a:pt x="69" y="64"/>
                          </a:cubicBezTo>
                          <a:cubicBezTo>
                            <a:pt x="69" y="64"/>
                            <a:pt x="70" y="64"/>
                            <a:pt x="70" y="64"/>
                          </a:cubicBezTo>
                          <a:close/>
                          <a:moveTo>
                            <a:pt x="72" y="63"/>
                          </a:moveTo>
                          <a:cubicBezTo>
                            <a:pt x="71" y="63"/>
                            <a:pt x="71" y="63"/>
                            <a:pt x="71" y="63"/>
                          </a:cubicBezTo>
                          <a:cubicBezTo>
                            <a:pt x="72" y="63"/>
                            <a:pt x="72" y="63"/>
                            <a:pt x="72" y="63"/>
                          </a:cubicBezTo>
                          <a:cubicBezTo>
                            <a:pt x="72" y="63"/>
                            <a:pt x="71" y="63"/>
                            <a:pt x="71" y="63"/>
                          </a:cubicBezTo>
                          <a:cubicBezTo>
                            <a:pt x="71" y="63"/>
                            <a:pt x="72" y="63"/>
                            <a:pt x="72" y="63"/>
                          </a:cubicBezTo>
                          <a:close/>
                          <a:moveTo>
                            <a:pt x="76" y="61"/>
                          </a:moveTo>
                          <a:cubicBezTo>
                            <a:pt x="76" y="60"/>
                            <a:pt x="76" y="60"/>
                            <a:pt x="76" y="60"/>
                          </a:cubicBezTo>
                          <a:cubicBezTo>
                            <a:pt x="77" y="60"/>
                            <a:pt x="77" y="60"/>
                            <a:pt x="77" y="60"/>
                          </a:cubicBezTo>
                          <a:cubicBezTo>
                            <a:pt x="77" y="60"/>
                            <a:pt x="77" y="60"/>
                            <a:pt x="77" y="60"/>
                          </a:cubicBezTo>
                          <a:cubicBezTo>
                            <a:pt x="77" y="60"/>
                            <a:pt x="77" y="60"/>
                            <a:pt x="77" y="60"/>
                          </a:cubicBezTo>
                          <a:cubicBezTo>
                            <a:pt x="77" y="60"/>
                            <a:pt x="77" y="60"/>
                            <a:pt x="76" y="60"/>
                          </a:cubicBezTo>
                          <a:cubicBezTo>
                            <a:pt x="76" y="60"/>
                            <a:pt x="76" y="60"/>
                            <a:pt x="76" y="60"/>
                          </a:cubicBezTo>
                          <a:cubicBezTo>
                            <a:pt x="77" y="60"/>
                            <a:pt x="76" y="61"/>
                            <a:pt x="76" y="61"/>
                          </a:cubicBezTo>
                          <a:cubicBezTo>
                            <a:pt x="76" y="61"/>
                            <a:pt x="76" y="61"/>
                            <a:pt x="76" y="61"/>
                          </a:cubicBezTo>
                          <a:close/>
                          <a:moveTo>
                            <a:pt x="72" y="61"/>
                          </a:moveTo>
                          <a:cubicBezTo>
                            <a:pt x="71" y="61"/>
                            <a:pt x="71" y="61"/>
                            <a:pt x="71" y="61"/>
                          </a:cubicBezTo>
                          <a:cubicBezTo>
                            <a:pt x="71" y="61"/>
                            <a:pt x="71" y="61"/>
                            <a:pt x="72" y="61"/>
                          </a:cubicBezTo>
                          <a:close/>
                          <a:moveTo>
                            <a:pt x="68" y="67"/>
                          </a:moveTo>
                          <a:cubicBezTo>
                            <a:pt x="68" y="67"/>
                            <a:pt x="68" y="67"/>
                            <a:pt x="67" y="67"/>
                          </a:cubicBezTo>
                          <a:cubicBezTo>
                            <a:pt x="68" y="67"/>
                            <a:pt x="69" y="66"/>
                            <a:pt x="68" y="67"/>
                          </a:cubicBezTo>
                          <a:close/>
                          <a:moveTo>
                            <a:pt x="68" y="69"/>
                          </a:moveTo>
                          <a:cubicBezTo>
                            <a:pt x="68" y="68"/>
                            <a:pt x="69" y="68"/>
                            <a:pt x="69" y="68"/>
                          </a:cubicBezTo>
                          <a:cubicBezTo>
                            <a:pt x="69" y="68"/>
                            <a:pt x="69" y="68"/>
                            <a:pt x="70" y="68"/>
                          </a:cubicBezTo>
                          <a:cubicBezTo>
                            <a:pt x="69" y="68"/>
                            <a:pt x="69" y="68"/>
                            <a:pt x="69" y="68"/>
                          </a:cubicBezTo>
                          <a:cubicBezTo>
                            <a:pt x="70" y="68"/>
                            <a:pt x="70" y="68"/>
                            <a:pt x="70" y="68"/>
                          </a:cubicBezTo>
                          <a:cubicBezTo>
                            <a:pt x="69" y="68"/>
                            <a:pt x="69" y="68"/>
                            <a:pt x="69" y="69"/>
                          </a:cubicBezTo>
                          <a:cubicBezTo>
                            <a:pt x="69" y="69"/>
                            <a:pt x="69" y="68"/>
                            <a:pt x="68" y="69"/>
                          </a:cubicBezTo>
                          <a:close/>
                          <a:moveTo>
                            <a:pt x="69" y="67"/>
                          </a:moveTo>
                          <a:cubicBezTo>
                            <a:pt x="69" y="67"/>
                            <a:pt x="69" y="67"/>
                            <a:pt x="69" y="67"/>
                          </a:cubicBezTo>
                          <a:cubicBezTo>
                            <a:pt x="69" y="67"/>
                            <a:pt x="69" y="67"/>
                            <a:pt x="69" y="68"/>
                          </a:cubicBezTo>
                          <a:lnTo>
                            <a:pt x="69" y="67"/>
                          </a:lnTo>
                          <a:close/>
                          <a:moveTo>
                            <a:pt x="73" y="71"/>
                          </a:moveTo>
                          <a:cubicBezTo>
                            <a:pt x="72" y="72"/>
                            <a:pt x="73" y="72"/>
                            <a:pt x="72" y="72"/>
                          </a:cubicBezTo>
                          <a:cubicBezTo>
                            <a:pt x="72" y="72"/>
                            <a:pt x="72" y="72"/>
                            <a:pt x="72" y="72"/>
                          </a:cubicBezTo>
                          <a:cubicBezTo>
                            <a:pt x="72" y="71"/>
                            <a:pt x="72" y="71"/>
                            <a:pt x="73" y="71"/>
                          </a:cubicBezTo>
                          <a:cubicBezTo>
                            <a:pt x="73" y="71"/>
                            <a:pt x="73" y="71"/>
                            <a:pt x="73" y="71"/>
                          </a:cubicBezTo>
                          <a:cubicBezTo>
                            <a:pt x="73" y="71"/>
                            <a:pt x="73" y="71"/>
                            <a:pt x="73" y="71"/>
                          </a:cubicBezTo>
                          <a:cubicBezTo>
                            <a:pt x="73" y="71"/>
                            <a:pt x="72" y="71"/>
                            <a:pt x="73" y="71"/>
                          </a:cubicBezTo>
                          <a:close/>
                          <a:moveTo>
                            <a:pt x="71" y="69"/>
                          </a:moveTo>
                          <a:cubicBezTo>
                            <a:pt x="71" y="69"/>
                            <a:pt x="72" y="69"/>
                            <a:pt x="72" y="68"/>
                          </a:cubicBezTo>
                          <a:cubicBezTo>
                            <a:pt x="72" y="68"/>
                            <a:pt x="72" y="69"/>
                            <a:pt x="71" y="69"/>
                          </a:cubicBezTo>
                          <a:cubicBezTo>
                            <a:pt x="71" y="69"/>
                            <a:pt x="72" y="68"/>
                            <a:pt x="72" y="68"/>
                          </a:cubicBezTo>
                          <a:cubicBezTo>
                            <a:pt x="72" y="68"/>
                            <a:pt x="72" y="68"/>
                            <a:pt x="73" y="68"/>
                          </a:cubicBezTo>
                          <a:cubicBezTo>
                            <a:pt x="72" y="68"/>
                            <a:pt x="72" y="68"/>
                            <a:pt x="72" y="68"/>
                          </a:cubicBezTo>
                          <a:cubicBezTo>
                            <a:pt x="73" y="68"/>
                            <a:pt x="73" y="68"/>
                            <a:pt x="73" y="67"/>
                          </a:cubicBezTo>
                          <a:cubicBezTo>
                            <a:pt x="73" y="67"/>
                            <a:pt x="73" y="68"/>
                            <a:pt x="73" y="68"/>
                          </a:cubicBezTo>
                          <a:cubicBezTo>
                            <a:pt x="73" y="68"/>
                            <a:pt x="73" y="67"/>
                            <a:pt x="73" y="68"/>
                          </a:cubicBezTo>
                          <a:cubicBezTo>
                            <a:pt x="74" y="67"/>
                            <a:pt x="74" y="67"/>
                            <a:pt x="74" y="67"/>
                          </a:cubicBezTo>
                          <a:cubicBezTo>
                            <a:pt x="74" y="67"/>
                            <a:pt x="74" y="67"/>
                            <a:pt x="74" y="67"/>
                          </a:cubicBezTo>
                          <a:cubicBezTo>
                            <a:pt x="74" y="67"/>
                            <a:pt x="74" y="67"/>
                            <a:pt x="73" y="68"/>
                          </a:cubicBezTo>
                          <a:cubicBezTo>
                            <a:pt x="74" y="68"/>
                            <a:pt x="74" y="67"/>
                            <a:pt x="74" y="67"/>
                          </a:cubicBezTo>
                          <a:cubicBezTo>
                            <a:pt x="74" y="67"/>
                            <a:pt x="74" y="67"/>
                            <a:pt x="74" y="67"/>
                          </a:cubicBezTo>
                          <a:cubicBezTo>
                            <a:pt x="74" y="67"/>
                            <a:pt x="75" y="67"/>
                            <a:pt x="75" y="67"/>
                          </a:cubicBezTo>
                          <a:cubicBezTo>
                            <a:pt x="75" y="67"/>
                            <a:pt x="74" y="67"/>
                            <a:pt x="74" y="67"/>
                          </a:cubicBezTo>
                          <a:cubicBezTo>
                            <a:pt x="74" y="67"/>
                            <a:pt x="74" y="67"/>
                            <a:pt x="74" y="67"/>
                          </a:cubicBezTo>
                          <a:cubicBezTo>
                            <a:pt x="75" y="67"/>
                            <a:pt x="74" y="67"/>
                            <a:pt x="75" y="67"/>
                          </a:cubicBezTo>
                          <a:cubicBezTo>
                            <a:pt x="74" y="67"/>
                            <a:pt x="74" y="67"/>
                            <a:pt x="74" y="68"/>
                          </a:cubicBezTo>
                          <a:cubicBezTo>
                            <a:pt x="74" y="68"/>
                            <a:pt x="75" y="68"/>
                            <a:pt x="75" y="67"/>
                          </a:cubicBezTo>
                          <a:cubicBezTo>
                            <a:pt x="75" y="67"/>
                            <a:pt x="75" y="67"/>
                            <a:pt x="76" y="67"/>
                          </a:cubicBezTo>
                          <a:cubicBezTo>
                            <a:pt x="76" y="67"/>
                            <a:pt x="76" y="67"/>
                            <a:pt x="76" y="67"/>
                          </a:cubicBezTo>
                          <a:cubicBezTo>
                            <a:pt x="76" y="66"/>
                            <a:pt x="76" y="67"/>
                            <a:pt x="76" y="66"/>
                          </a:cubicBezTo>
                          <a:cubicBezTo>
                            <a:pt x="76" y="67"/>
                            <a:pt x="76" y="67"/>
                            <a:pt x="75" y="67"/>
                          </a:cubicBezTo>
                          <a:cubicBezTo>
                            <a:pt x="76" y="67"/>
                            <a:pt x="75" y="67"/>
                            <a:pt x="76" y="67"/>
                          </a:cubicBezTo>
                          <a:cubicBezTo>
                            <a:pt x="75" y="68"/>
                            <a:pt x="75" y="67"/>
                            <a:pt x="75" y="67"/>
                          </a:cubicBezTo>
                          <a:cubicBezTo>
                            <a:pt x="75" y="68"/>
                            <a:pt x="75" y="68"/>
                            <a:pt x="75" y="68"/>
                          </a:cubicBezTo>
                          <a:cubicBezTo>
                            <a:pt x="75" y="68"/>
                            <a:pt x="76" y="68"/>
                            <a:pt x="76" y="67"/>
                          </a:cubicBezTo>
                          <a:cubicBezTo>
                            <a:pt x="75" y="67"/>
                            <a:pt x="76" y="67"/>
                            <a:pt x="76" y="67"/>
                          </a:cubicBezTo>
                          <a:cubicBezTo>
                            <a:pt x="76" y="67"/>
                            <a:pt x="76" y="68"/>
                            <a:pt x="76" y="68"/>
                          </a:cubicBezTo>
                          <a:cubicBezTo>
                            <a:pt x="76" y="68"/>
                            <a:pt x="76" y="68"/>
                            <a:pt x="76" y="68"/>
                          </a:cubicBezTo>
                          <a:cubicBezTo>
                            <a:pt x="76" y="68"/>
                            <a:pt x="77" y="67"/>
                            <a:pt x="77" y="68"/>
                          </a:cubicBezTo>
                          <a:cubicBezTo>
                            <a:pt x="77" y="68"/>
                            <a:pt x="77" y="68"/>
                            <a:pt x="77" y="68"/>
                          </a:cubicBezTo>
                          <a:cubicBezTo>
                            <a:pt x="77" y="68"/>
                            <a:pt x="77" y="68"/>
                            <a:pt x="77" y="68"/>
                          </a:cubicBezTo>
                          <a:cubicBezTo>
                            <a:pt x="77" y="68"/>
                            <a:pt x="77" y="68"/>
                            <a:pt x="77" y="68"/>
                          </a:cubicBezTo>
                          <a:cubicBezTo>
                            <a:pt x="77" y="68"/>
                            <a:pt x="77" y="68"/>
                            <a:pt x="77" y="68"/>
                          </a:cubicBezTo>
                          <a:cubicBezTo>
                            <a:pt x="77" y="68"/>
                            <a:pt x="77" y="68"/>
                            <a:pt x="78" y="68"/>
                          </a:cubicBezTo>
                          <a:cubicBezTo>
                            <a:pt x="77" y="68"/>
                            <a:pt x="77" y="68"/>
                            <a:pt x="78" y="68"/>
                          </a:cubicBezTo>
                          <a:cubicBezTo>
                            <a:pt x="78" y="68"/>
                            <a:pt x="77" y="68"/>
                            <a:pt x="77" y="68"/>
                          </a:cubicBezTo>
                          <a:cubicBezTo>
                            <a:pt x="77" y="68"/>
                            <a:pt x="78" y="68"/>
                            <a:pt x="78" y="68"/>
                          </a:cubicBezTo>
                          <a:cubicBezTo>
                            <a:pt x="78" y="68"/>
                            <a:pt x="78" y="68"/>
                            <a:pt x="78" y="68"/>
                          </a:cubicBezTo>
                          <a:cubicBezTo>
                            <a:pt x="78" y="68"/>
                            <a:pt x="78" y="68"/>
                            <a:pt x="78" y="68"/>
                          </a:cubicBezTo>
                          <a:cubicBezTo>
                            <a:pt x="78" y="68"/>
                            <a:pt x="78" y="68"/>
                            <a:pt x="78" y="68"/>
                          </a:cubicBezTo>
                          <a:cubicBezTo>
                            <a:pt x="78" y="68"/>
                            <a:pt x="78" y="68"/>
                            <a:pt x="78" y="68"/>
                          </a:cubicBezTo>
                          <a:cubicBezTo>
                            <a:pt x="78" y="68"/>
                            <a:pt x="78" y="68"/>
                            <a:pt x="79" y="68"/>
                          </a:cubicBezTo>
                          <a:cubicBezTo>
                            <a:pt x="79" y="68"/>
                            <a:pt x="79" y="68"/>
                            <a:pt x="79" y="68"/>
                          </a:cubicBezTo>
                          <a:cubicBezTo>
                            <a:pt x="79" y="68"/>
                            <a:pt x="79" y="67"/>
                            <a:pt x="79" y="67"/>
                          </a:cubicBezTo>
                          <a:cubicBezTo>
                            <a:pt x="79" y="68"/>
                            <a:pt x="79" y="68"/>
                            <a:pt x="79" y="68"/>
                          </a:cubicBezTo>
                          <a:cubicBezTo>
                            <a:pt x="79" y="68"/>
                            <a:pt x="79" y="67"/>
                            <a:pt x="79" y="67"/>
                          </a:cubicBezTo>
                          <a:cubicBezTo>
                            <a:pt x="79" y="68"/>
                            <a:pt x="79" y="68"/>
                            <a:pt x="79" y="68"/>
                          </a:cubicBezTo>
                          <a:cubicBezTo>
                            <a:pt x="79" y="68"/>
                            <a:pt x="78" y="69"/>
                            <a:pt x="77" y="68"/>
                          </a:cubicBezTo>
                          <a:cubicBezTo>
                            <a:pt x="77" y="69"/>
                            <a:pt x="76" y="69"/>
                            <a:pt x="76" y="69"/>
                          </a:cubicBezTo>
                          <a:cubicBezTo>
                            <a:pt x="76" y="69"/>
                            <a:pt x="76" y="69"/>
                            <a:pt x="76" y="69"/>
                          </a:cubicBezTo>
                          <a:cubicBezTo>
                            <a:pt x="76" y="68"/>
                            <a:pt x="77" y="69"/>
                            <a:pt x="77" y="68"/>
                          </a:cubicBezTo>
                          <a:cubicBezTo>
                            <a:pt x="77" y="68"/>
                            <a:pt x="76" y="69"/>
                            <a:pt x="76" y="68"/>
                          </a:cubicBezTo>
                          <a:cubicBezTo>
                            <a:pt x="76" y="68"/>
                            <a:pt x="76" y="68"/>
                            <a:pt x="77" y="68"/>
                          </a:cubicBezTo>
                          <a:cubicBezTo>
                            <a:pt x="77" y="68"/>
                            <a:pt x="76" y="68"/>
                            <a:pt x="76" y="68"/>
                          </a:cubicBezTo>
                          <a:cubicBezTo>
                            <a:pt x="76" y="68"/>
                            <a:pt x="76" y="68"/>
                            <a:pt x="76" y="68"/>
                          </a:cubicBezTo>
                          <a:cubicBezTo>
                            <a:pt x="76" y="69"/>
                            <a:pt x="76" y="68"/>
                            <a:pt x="76" y="69"/>
                          </a:cubicBezTo>
                          <a:cubicBezTo>
                            <a:pt x="76" y="69"/>
                            <a:pt x="75" y="69"/>
                            <a:pt x="75" y="69"/>
                          </a:cubicBezTo>
                          <a:cubicBezTo>
                            <a:pt x="75" y="69"/>
                            <a:pt x="75" y="69"/>
                            <a:pt x="75" y="69"/>
                          </a:cubicBezTo>
                          <a:cubicBezTo>
                            <a:pt x="75" y="69"/>
                            <a:pt x="75" y="69"/>
                            <a:pt x="75" y="69"/>
                          </a:cubicBezTo>
                          <a:cubicBezTo>
                            <a:pt x="75" y="69"/>
                            <a:pt x="75" y="69"/>
                            <a:pt x="75" y="69"/>
                          </a:cubicBezTo>
                          <a:cubicBezTo>
                            <a:pt x="75" y="69"/>
                            <a:pt x="75" y="69"/>
                            <a:pt x="75" y="69"/>
                          </a:cubicBezTo>
                          <a:cubicBezTo>
                            <a:pt x="75" y="69"/>
                            <a:pt x="75" y="68"/>
                            <a:pt x="76" y="68"/>
                          </a:cubicBezTo>
                          <a:cubicBezTo>
                            <a:pt x="75" y="68"/>
                            <a:pt x="75" y="68"/>
                            <a:pt x="75" y="69"/>
                          </a:cubicBezTo>
                          <a:cubicBezTo>
                            <a:pt x="75" y="69"/>
                            <a:pt x="74" y="68"/>
                            <a:pt x="75" y="68"/>
                          </a:cubicBezTo>
                          <a:cubicBezTo>
                            <a:pt x="74" y="68"/>
                            <a:pt x="74" y="69"/>
                            <a:pt x="73" y="69"/>
                          </a:cubicBezTo>
                          <a:cubicBezTo>
                            <a:pt x="73" y="69"/>
                            <a:pt x="73" y="69"/>
                            <a:pt x="73" y="69"/>
                          </a:cubicBezTo>
                          <a:cubicBezTo>
                            <a:pt x="73" y="69"/>
                            <a:pt x="74" y="68"/>
                            <a:pt x="74" y="68"/>
                          </a:cubicBezTo>
                          <a:cubicBezTo>
                            <a:pt x="74" y="68"/>
                            <a:pt x="73" y="69"/>
                            <a:pt x="73" y="68"/>
                          </a:cubicBezTo>
                          <a:cubicBezTo>
                            <a:pt x="73" y="69"/>
                            <a:pt x="73" y="69"/>
                            <a:pt x="73" y="69"/>
                          </a:cubicBezTo>
                          <a:cubicBezTo>
                            <a:pt x="73" y="69"/>
                            <a:pt x="73" y="69"/>
                            <a:pt x="73" y="69"/>
                          </a:cubicBezTo>
                          <a:cubicBezTo>
                            <a:pt x="73" y="69"/>
                            <a:pt x="73" y="69"/>
                            <a:pt x="72" y="69"/>
                          </a:cubicBezTo>
                          <a:cubicBezTo>
                            <a:pt x="73" y="69"/>
                            <a:pt x="72" y="69"/>
                            <a:pt x="72" y="69"/>
                          </a:cubicBezTo>
                          <a:cubicBezTo>
                            <a:pt x="73" y="69"/>
                            <a:pt x="73" y="69"/>
                            <a:pt x="73" y="68"/>
                          </a:cubicBezTo>
                          <a:cubicBezTo>
                            <a:pt x="73" y="68"/>
                            <a:pt x="72" y="69"/>
                            <a:pt x="72" y="69"/>
                          </a:cubicBezTo>
                          <a:cubicBezTo>
                            <a:pt x="72" y="69"/>
                            <a:pt x="71" y="69"/>
                            <a:pt x="71" y="69"/>
                          </a:cubicBezTo>
                          <a:close/>
                          <a:moveTo>
                            <a:pt x="76" y="68"/>
                          </a:moveTo>
                          <a:cubicBezTo>
                            <a:pt x="76" y="68"/>
                            <a:pt x="76" y="68"/>
                            <a:pt x="76" y="68"/>
                          </a:cubicBezTo>
                          <a:cubicBezTo>
                            <a:pt x="76" y="68"/>
                            <a:pt x="76" y="68"/>
                            <a:pt x="76" y="68"/>
                          </a:cubicBezTo>
                          <a:cubicBezTo>
                            <a:pt x="76" y="68"/>
                            <a:pt x="76" y="68"/>
                            <a:pt x="76" y="68"/>
                          </a:cubicBezTo>
                          <a:close/>
                          <a:moveTo>
                            <a:pt x="75" y="68"/>
                          </a:moveTo>
                          <a:cubicBezTo>
                            <a:pt x="75" y="68"/>
                            <a:pt x="75" y="68"/>
                            <a:pt x="75" y="68"/>
                          </a:cubicBezTo>
                          <a:cubicBezTo>
                            <a:pt x="75" y="68"/>
                            <a:pt x="75" y="68"/>
                            <a:pt x="75" y="68"/>
                          </a:cubicBezTo>
                          <a:cubicBezTo>
                            <a:pt x="75" y="68"/>
                            <a:pt x="76" y="68"/>
                            <a:pt x="76" y="68"/>
                          </a:cubicBezTo>
                          <a:cubicBezTo>
                            <a:pt x="75" y="68"/>
                            <a:pt x="76" y="68"/>
                            <a:pt x="76" y="68"/>
                          </a:cubicBezTo>
                          <a:cubicBezTo>
                            <a:pt x="76" y="68"/>
                            <a:pt x="75" y="68"/>
                            <a:pt x="75" y="68"/>
                          </a:cubicBezTo>
                          <a:close/>
                          <a:moveTo>
                            <a:pt x="73" y="68"/>
                          </a:moveTo>
                          <a:cubicBezTo>
                            <a:pt x="73" y="68"/>
                            <a:pt x="74" y="68"/>
                            <a:pt x="74" y="68"/>
                          </a:cubicBezTo>
                          <a:cubicBezTo>
                            <a:pt x="73" y="68"/>
                            <a:pt x="73" y="68"/>
                            <a:pt x="73" y="68"/>
                          </a:cubicBezTo>
                          <a:close/>
                          <a:moveTo>
                            <a:pt x="73" y="68"/>
                          </a:moveTo>
                          <a:cubicBezTo>
                            <a:pt x="73" y="68"/>
                            <a:pt x="73" y="68"/>
                            <a:pt x="73" y="68"/>
                          </a:cubicBezTo>
                          <a:cubicBezTo>
                            <a:pt x="73" y="68"/>
                            <a:pt x="73" y="68"/>
                            <a:pt x="73" y="68"/>
                          </a:cubicBezTo>
                          <a:close/>
                          <a:moveTo>
                            <a:pt x="69" y="66"/>
                          </a:moveTo>
                          <a:cubicBezTo>
                            <a:pt x="69" y="65"/>
                            <a:pt x="70" y="66"/>
                            <a:pt x="70" y="65"/>
                          </a:cubicBezTo>
                          <a:cubicBezTo>
                            <a:pt x="70" y="66"/>
                            <a:pt x="70" y="65"/>
                            <a:pt x="69" y="66"/>
                          </a:cubicBezTo>
                          <a:close/>
                          <a:moveTo>
                            <a:pt x="74" y="72"/>
                          </a:moveTo>
                          <a:cubicBezTo>
                            <a:pt x="74" y="72"/>
                            <a:pt x="74" y="72"/>
                            <a:pt x="74" y="72"/>
                          </a:cubicBezTo>
                          <a:cubicBezTo>
                            <a:pt x="74" y="72"/>
                            <a:pt x="74" y="72"/>
                            <a:pt x="74" y="72"/>
                          </a:cubicBezTo>
                          <a:cubicBezTo>
                            <a:pt x="74" y="72"/>
                            <a:pt x="74" y="72"/>
                            <a:pt x="74" y="73"/>
                          </a:cubicBezTo>
                          <a:cubicBezTo>
                            <a:pt x="74" y="73"/>
                            <a:pt x="74" y="73"/>
                            <a:pt x="74" y="72"/>
                          </a:cubicBezTo>
                          <a:close/>
                          <a:moveTo>
                            <a:pt x="75" y="64"/>
                          </a:moveTo>
                          <a:cubicBezTo>
                            <a:pt x="75" y="64"/>
                            <a:pt x="74" y="64"/>
                            <a:pt x="74" y="65"/>
                          </a:cubicBezTo>
                          <a:cubicBezTo>
                            <a:pt x="74" y="65"/>
                            <a:pt x="74" y="65"/>
                            <a:pt x="74" y="65"/>
                          </a:cubicBezTo>
                          <a:cubicBezTo>
                            <a:pt x="74" y="64"/>
                            <a:pt x="74" y="64"/>
                            <a:pt x="74" y="64"/>
                          </a:cubicBezTo>
                          <a:cubicBezTo>
                            <a:pt x="74" y="64"/>
                            <a:pt x="75" y="64"/>
                            <a:pt x="75" y="64"/>
                          </a:cubicBezTo>
                          <a:cubicBezTo>
                            <a:pt x="75" y="64"/>
                            <a:pt x="75" y="64"/>
                            <a:pt x="75" y="64"/>
                          </a:cubicBezTo>
                          <a:cubicBezTo>
                            <a:pt x="75" y="64"/>
                            <a:pt x="75" y="64"/>
                            <a:pt x="75" y="64"/>
                          </a:cubicBezTo>
                          <a:cubicBezTo>
                            <a:pt x="75" y="64"/>
                            <a:pt x="75" y="64"/>
                            <a:pt x="75" y="64"/>
                          </a:cubicBezTo>
                          <a:cubicBezTo>
                            <a:pt x="75" y="64"/>
                            <a:pt x="75" y="64"/>
                            <a:pt x="75" y="64"/>
                          </a:cubicBezTo>
                          <a:cubicBezTo>
                            <a:pt x="75" y="64"/>
                            <a:pt x="76" y="63"/>
                            <a:pt x="76" y="64"/>
                          </a:cubicBezTo>
                          <a:cubicBezTo>
                            <a:pt x="76" y="64"/>
                            <a:pt x="75" y="64"/>
                            <a:pt x="75" y="64"/>
                          </a:cubicBezTo>
                          <a:close/>
                          <a:moveTo>
                            <a:pt x="74" y="62"/>
                          </a:moveTo>
                          <a:cubicBezTo>
                            <a:pt x="75" y="62"/>
                            <a:pt x="75" y="62"/>
                            <a:pt x="75" y="62"/>
                          </a:cubicBezTo>
                          <a:cubicBezTo>
                            <a:pt x="75" y="62"/>
                            <a:pt x="75" y="62"/>
                            <a:pt x="75" y="62"/>
                          </a:cubicBezTo>
                          <a:cubicBezTo>
                            <a:pt x="74" y="63"/>
                            <a:pt x="74" y="63"/>
                            <a:pt x="74" y="63"/>
                          </a:cubicBezTo>
                          <a:cubicBezTo>
                            <a:pt x="73" y="63"/>
                            <a:pt x="74" y="63"/>
                            <a:pt x="74" y="62"/>
                          </a:cubicBezTo>
                          <a:close/>
                          <a:moveTo>
                            <a:pt x="110" y="44"/>
                          </a:moveTo>
                          <a:cubicBezTo>
                            <a:pt x="110" y="44"/>
                            <a:pt x="111" y="43"/>
                            <a:pt x="111" y="43"/>
                          </a:cubicBezTo>
                          <a:cubicBezTo>
                            <a:pt x="112" y="43"/>
                            <a:pt x="111" y="43"/>
                            <a:pt x="111" y="43"/>
                          </a:cubicBezTo>
                          <a:cubicBezTo>
                            <a:pt x="113" y="43"/>
                            <a:pt x="113" y="43"/>
                            <a:pt x="113" y="43"/>
                          </a:cubicBezTo>
                          <a:cubicBezTo>
                            <a:pt x="113" y="43"/>
                            <a:pt x="113" y="43"/>
                            <a:pt x="112" y="43"/>
                          </a:cubicBezTo>
                          <a:cubicBezTo>
                            <a:pt x="113" y="42"/>
                            <a:pt x="113" y="42"/>
                            <a:pt x="113" y="42"/>
                          </a:cubicBezTo>
                          <a:cubicBezTo>
                            <a:pt x="113" y="42"/>
                            <a:pt x="112" y="42"/>
                            <a:pt x="113" y="42"/>
                          </a:cubicBezTo>
                          <a:cubicBezTo>
                            <a:pt x="113" y="43"/>
                            <a:pt x="113" y="43"/>
                            <a:pt x="113" y="43"/>
                          </a:cubicBezTo>
                          <a:cubicBezTo>
                            <a:pt x="114" y="42"/>
                            <a:pt x="115" y="41"/>
                            <a:pt x="116" y="41"/>
                          </a:cubicBezTo>
                          <a:cubicBezTo>
                            <a:pt x="115" y="42"/>
                            <a:pt x="114" y="42"/>
                            <a:pt x="114" y="42"/>
                          </a:cubicBezTo>
                          <a:cubicBezTo>
                            <a:pt x="114" y="42"/>
                            <a:pt x="113" y="43"/>
                            <a:pt x="113" y="43"/>
                          </a:cubicBezTo>
                          <a:cubicBezTo>
                            <a:pt x="113" y="43"/>
                            <a:pt x="113" y="43"/>
                            <a:pt x="113" y="43"/>
                          </a:cubicBezTo>
                          <a:cubicBezTo>
                            <a:pt x="113" y="43"/>
                            <a:pt x="116" y="42"/>
                            <a:pt x="115" y="42"/>
                          </a:cubicBezTo>
                          <a:cubicBezTo>
                            <a:pt x="114" y="42"/>
                            <a:pt x="115" y="42"/>
                            <a:pt x="114" y="42"/>
                          </a:cubicBezTo>
                          <a:cubicBezTo>
                            <a:pt x="114" y="42"/>
                            <a:pt x="114" y="42"/>
                            <a:pt x="114" y="42"/>
                          </a:cubicBezTo>
                          <a:cubicBezTo>
                            <a:pt x="114" y="42"/>
                            <a:pt x="114" y="42"/>
                            <a:pt x="114" y="43"/>
                          </a:cubicBezTo>
                          <a:cubicBezTo>
                            <a:pt x="114" y="43"/>
                            <a:pt x="114" y="42"/>
                            <a:pt x="113" y="43"/>
                          </a:cubicBezTo>
                          <a:cubicBezTo>
                            <a:pt x="114" y="42"/>
                            <a:pt x="114" y="42"/>
                            <a:pt x="114" y="42"/>
                          </a:cubicBezTo>
                          <a:cubicBezTo>
                            <a:pt x="115" y="42"/>
                            <a:pt x="115" y="42"/>
                            <a:pt x="115" y="41"/>
                          </a:cubicBezTo>
                          <a:cubicBezTo>
                            <a:pt x="115" y="42"/>
                            <a:pt x="115" y="42"/>
                            <a:pt x="115" y="42"/>
                          </a:cubicBezTo>
                          <a:cubicBezTo>
                            <a:pt x="115" y="42"/>
                            <a:pt x="115" y="42"/>
                            <a:pt x="115" y="42"/>
                          </a:cubicBezTo>
                          <a:cubicBezTo>
                            <a:pt x="115" y="42"/>
                            <a:pt x="115" y="42"/>
                            <a:pt x="115" y="42"/>
                          </a:cubicBezTo>
                          <a:cubicBezTo>
                            <a:pt x="115" y="42"/>
                            <a:pt x="116" y="42"/>
                            <a:pt x="116" y="42"/>
                          </a:cubicBezTo>
                          <a:cubicBezTo>
                            <a:pt x="116" y="42"/>
                            <a:pt x="116" y="42"/>
                            <a:pt x="116" y="42"/>
                          </a:cubicBezTo>
                          <a:cubicBezTo>
                            <a:pt x="116" y="42"/>
                            <a:pt x="116" y="42"/>
                            <a:pt x="116" y="42"/>
                          </a:cubicBezTo>
                          <a:cubicBezTo>
                            <a:pt x="116" y="42"/>
                            <a:pt x="115" y="42"/>
                            <a:pt x="115" y="42"/>
                          </a:cubicBezTo>
                          <a:cubicBezTo>
                            <a:pt x="114" y="43"/>
                            <a:pt x="114" y="43"/>
                            <a:pt x="113" y="44"/>
                          </a:cubicBezTo>
                          <a:cubicBezTo>
                            <a:pt x="113" y="44"/>
                            <a:pt x="113" y="44"/>
                            <a:pt x="113" y="44"/>
                          </a:cubicBezTo>
                          <a:cubicBezTo>
                            <a:pt x="113" y="44"/>
                            <a:pt x="113" y="44"/>
                            <a:pt x="112" y="44"/>
                          </a:cubicBezTo>
                          <a:cubicBezTo>
                            <a:pt x="112" y="44"/>
                            <a:pt x="113" y="44"/>
                            <a:pt x="114" y="43"/>
                          </a:cubicBezTo>
                          <a:cubicBezTo>
                            <a:pt x="113" y="43"/>
                            <a:pt x="113" y="43"/>
                            <a:pt x="113" y="43"/>
                          </a:cubicBezTo>
                          <a:cubicBezTo>
                            <a:pt x="113" y="43"/>
                            <a:pt x="113" y="43"/>
                            <a:pt x="113" y="43"/>
                          </a:cubicBezTo>
                          <a:cubicBezTo>
                            <a:pt x="113" y="43"/>
                            <a:pt x="113" y="43"/>
                            <a:pt x="113" y="43"/>
                          </a:cubicBezTo>
                          <a:cubicBezTo>
                            <a:pt x="113" y="43"/>
                            <a:pt x="113" y="43"/>
                            <a:pt x="113" y="43"/>
                          </a:cubicBezTo>
                          <a:cubicBezTo>
                            <a:pt x="113" y="43"/>
                            <a:pt x="113" y="43"/>
                            <a:pt x="113" y="43"/>
                          </a:cubicBezTo>
                          <a:cubicBezTo>
                            <a:pt x="112" y="43"/>
                            <a:pt x="112" y="43"/>
                            <a:pt x="112" y="43"/>
                          </a:cubicBezTo>
                          <a:cubicBezTo>
                            <a:pt x="112" y="44"/>
                            <a:pt x="112" y="44"/>
                            <a:pt x="112" y="44"/>
                          </a:cubicBezTo>
                          <a:cubicBezTo>
                            <a:pt x="112" y="43"/>
                            <a:pt x="112" y="43"/>
                            <a:pt x="112" y="43"/>
                          </a:cubicBezTo>
                          <a:cubicBezTo>
                            <a:pt x="113" y="43"/>
                            <a:pt x="113" y="43"/>
                            <a:pt x="113" y="43"/>
                          </a:cubicBezTo>
                          <a:cubicBezTo>
                            <a:pt x="113" y="44"/>
                            <a:pt x="112" y="44"/>
                            <a:pt x="112" y="44"/>
                          </a:cubicBezTo>
                          <a:cubicBezTo>
                            <a:pt x="112" y="44"/>
                            <a:pt x="112" y="44"/>
                            <a:pt x="112" y="44"/>
                          </a:cubicBezTo>
                          <a:cubicBezTo>
                            <a:pt x="112" y="44"/>
                            <a:pt x="112" y="44"/>
                            <a:pt x="112" y="44"/>
                          </a:cubicBezTo>
                          <a:cubicBezTo>
                            <a:pt x="112" y="44"/>
                            <a:pt x="112" y="44"/>
                            <a:pt x="112" y="44"/>
                          </a:cubicBezTo>
                          <a:cubicBezTo>
                            <a:pt x="112" y="44"/>
                            <a:pt x="112" y="44"/>
                            <a:pt x="112" y="45"/>
                          </a:cubicBezTo>
                          <a:cubicBezTo>
                            <a:pt x="112" y="44"/>
                            <a:pt x="113" y="44"/>
                            <a:pt x="113" y="44"/>
                          </a:cubicBezTo>
                          <a:cubicBezTo>
                            <a:pt x="113" y="44"/>
                            <a:pt x="113" y="44"/>
                            <a:pt x="114" y="44"/>
                          </a:cubicBezTo>
                          <a:cubicBezTo>
                            <a:pt x="114" y="43"/>
                            <a:pt x="114" y="43"/>
                            <a:pt x="115" y="43"/>
                          </a:cubicBezTo>
                          <a:cubicBezTo>
                            <a:pt x="114" y="43"/>
                            <a:pt x="114" y="43"/>
                            <a:pt x="115" y="43"/>
                          </a:cubicBezTo>
                          <a:cubicBezTo>
                            <a:pt x="114" y="44"/>
                            <a:pt x="113" y="44"/>
                            <a:pt x="112" y="44"/>
                          </a:cubicBezTo>
                          <a:cubicBezTo>
                            <a:pt x="112" y="45"/>
                            <a:pt x="111" y="45"/>
                            <a:pt x="111" y="45"/>
                          </a:cubicBezTo>
                          <a:cubicBezTo>
                            <a:pt x="111" y="45"/>
                            <a:pt x="111" y="45"/>
                            <a:pt x="111" y="45"/>
                          </a:cubicBezTo>
                          <a:cubicBezTo>
                            <a:pt x="111" y="45"/>
                            <a:pt x="111" y="45"/>
                            <a:pt x="111" y="45"/>
                          </a:cubicBezTo>
                          <a:cubicBezTo>
                            <a:pt x="111" y="45"/>
                            <a:pt x="111" y="45"/>
                            <a:pt x="112" y="44"/>
                          </a:cubicBezTo>
                          <a:cubicBezTo>
                            <a:pt x="112" y="44"/>
                            <a:pt x="111" y="44"/>
                            <a:pt x="111" y="44"/>
                          </a:cubicBezTo>
                          <a:cubicBezTo>
                            <a:pt x="111" y="45"/>
                            <a:pt x="111" y="45"/>
                            <a:pt x="111" y="45"/>
                          </a:cubicBezTo>
                          <a:cubicBezTo>
                            <a:pt x="111" y="45"/>
                            <a:pt x="111" y="45"/>
                            <a:pt x="111" y="44"/>
                          </a:cubicBezTo>
                          <a:cubicBezTo>
                            <a:pt x="111" y="45"/>
                            <a:pt x="111" y="45"/>
                            <a:pt x="110" y="45"/>
                          </a:cubicBezTo>
                          <a:cubicBezTo>
                            <a:pt x="110" y="45"/>
                            <a:pt x="110" y="45"/>
                            <a:pt x="110" y="45"/>
                          </a:cubicBezTo>
                          <a:cubicBezTo>
                            <a:pt x="110" y="45"/>
                            <a:pt x="110" y="45"/>
                            <a:pt x="110" y="45"/>
                          </a:cubicBezTo>
                          <a:cubicBezTo>
                            <a:pt x="110" y="45"/>
                            <a:pt x="110" y="45"/>
                            <a:pt x="109" y="45"/>
                          </a:cubicBezTo>
                          <a:cubicBezTo>
                            <a:pt x="110" y="45"/>
                            <a:pt x="109" y="45"/>
                            <a:pt x="109" y="45"/>
                          </a:cubicBezTo>
                          <a:cubicBezTo>
                            <a:pt x="110" y="45"/>
                            <a:pt x="110" y="45"/>
                            <a:pt x="110" y="45"/>
                          </a:cubicBezTo>
                          <a:cubicBezTo>
                            <a:pt x="110" y="45"/>
                            <a:pt x="110" y="45"/>
                            <a:pt x="110" y="45"/>
                          </a:cubicBezTo>
                          <a:cubicBezTo>
                            <a:pt x="110" y="44"/>
                            <a:pt x="110" y="44"/>
                            <a:pt x="110" y="44"/>
                          </a:cubicBezTo>
                          <a:cubicBezTo>
                            <a:pt x="110" y="45"/>
                            <a:pt x="110" y="45"/>
                            <a:pt x="110" y="45"/>
                          </a:cubicBezTo>
                          <a:cubicBezTo>
                            <a:pt x="111" y="44"/>
                            <a:pt x="111" y="44"/>
                            <a:pt x="112" y="44"/>
                          </a:cubicBezTo>
                          <a:cubicBezTo>
                            <a:pt x="112" y="44"/>
                            <a:pt x="112" y="44"/>
                            <a:pt x="112" y="44"/>
                          </a:cubicBezTo>
                          <a:cubicBezTo>
                            <a:pt x="112" y="44"/>
                            <a:pt x="112" y="44"/>
                            <a:pt x="112" y="43"/>
                          </a:cubicBezTo>
                          <a:cubicBezTo>
                            <a:pt x="112" y="43"/>
                            <a:pt x="111" y="44"/>
                            <a:pt x="111" y="43"/>
                          </a:cubicBezTo>
                          <a:cubicBezTo>
                            <a:pt x="112" y="43"/>
                            <a:pt x="112" y="43"/>
                            <a:pt x="112" y="43"/>
                          </a:cubicBezTo>
                          <a:cubicBezTo>
                            <a:pt x="112" y="43"/>
                            <a:pt x="112" y="43"/>
                            <a:pt x="111" y="43"/>
                          </a:cubicBezTo>
                          <a:cubicBezTo>
                            <a:pt x="111" y="43"/>
                            <a:pt x="111" y="44"/>
                            <a:pt x="111" y="44"/>
                          </a:cubicBezTo>
                          <a:cubicBezTo>
                            <a:pt x="111" y="44"/>
                            <a:pt x="111" y="44"/>
                            <a:pt x="111" y="44"/>
                          </a:cubicBezTo>
                          <a:cubicBezTo>
                            <a:pt x="111" y="43"/>
                            <a:pt x="111" y="44"/>
                            <a:pt x="111" y="44"/>
                          </a:cubicBezTo>
                          <a:cubicBezTo>
                            <a:pt x="110" y="44"/>
                            <a:pt x="111" y="44"/>
                            <a:pt x="111" y="44"/>
                          </a:cubicBezTo>
                          <a:cubicBezTo>
                            <a:pt x="111" y="44"/>
                            <a:pt x="111" y="44"/>
                            <a:pt x="111" y="44"/>
                          </a:cubicBezTo>
                          <a:cubicBezTo>
                            <a:pt x="111" y="44"/>
                            <a:pt x="111" y="44"/>
                            <a:pt x="111" y="44"/>
                          </a:cubicBezTo>
                          <a:cubicBezTo>
                            <a:pt x="111" y="44"/>
                            <a:pt x="111" y="44"/>
                            <a:pt x="111" y="44"/>
                          </a:cubicBezTo>
                          <a:cubicBezTo>
                            <a:pt x="110" y="44"/>
                            <a:pt x="111" y="44"/>
                            <a:pt x="111" y="44"/>
                          </a:cubicBezTo>
                          <a:cubicBezTo>
                            <a:pt x="110" y="45"/>
                            <a:pt x="110" y="44"/>
                            <a:pt x="109" y="45"/>
                          </a:cubicBezTo>
                          <a:cubicBezTo>
                            <a:pt x="109" y="45"/>
                            <a:pt x="108" y="45"/>
                            <a:pt x="108" y="45"/>
                          </a:cubicBezTo>
                          <a:cubicBezTo>
                            <a:pt x="107" y="45"/>
                            <a:pt x="108" y="45"/>
                            <a:pt x="108" y="46"/>
                          </a:cubicBezTo>
                          <a:cubicBezTo>
                            <a:pt x="108" y="46"/>
                            <a:pt x="107" y="46"/>
                            <a:pt x="107" y="46"/>
                          </a:cubicBezTo>
                          <a:cubicBezTo>
                            <a:pt x="107" y="45"/>
                            <a:pt x="107" y="45"/>
                            <a:pt x="107" y="45"/>
                          </a:cubicBezTo>
                          <a:cubicBezTo>
                            <a:pt x="107" y="45"/>
                            <a:pt x="107" y="45"/>
                            <a:pt x="107" y="45"/>
                          </a:cubicBezTo>
                          <a:cubicBezTo>
                            <a:pt x="107" y="46"/>
                            <a:pt x="107" y="46"/>
                            <a:pt x="107" y="46"/>
                          </a:cubicBezTo>
                          <a:cubicBezTo>
                            <a:pt x="107" y="46"/>
                            <a:pt x="107" y="46"/>
                            <a:pt x="107" y="46"/>
                          </a:cubicBezTo>
                          <a:cubicBezTo>
                            <a:pt x="107" y="46"/>
                            <a:pt x="107" y="46"/>
                            <a:pt x="106" y="46"/>
                          </a:cubicBezTo>
                          <a:cubicBezTo>
                            <a:pt x="106" y="46"/>
                            <a:pt x="106" y="46"/>
                            <a:pt x="106" y="46"/>
                          </a:cubicBezTo>
                          <a:cubicBezTo>
                            <a:pt x="106" y="46"/>
                            <a:pt x="106" y="46"/>
                            <a:pt x="107" y="46"/>
                          </a:cubicBezTo>
                          <a:cubicBezTo>
                            <a:pt x="106" y="46"/>
                            <a:pt x="106" y="46"/>
                            <a:pt x="106" y="46"/>
                          </a:cubicBezTo>
                          <a:cubicBezTo>
                            <a:pt x="106" y="46"/>
                            <a:pt x="106" y="46"/>
                            <a:pt x="106" y="46"/>
                          </a:cubicBezTo>
                          <a:cubicBezTo>
                            <a:pt x="106" y="46"/>
                            <a:pt x="105" y="47"/>
                            <a:pt x="105" y="47"/>
                          </a:cubicBezTo>
                          <a:cubicBezTo>
                            <a:pt x="104" y="47"/>
                            <a:pt x="104" y="47"/>
                            <a:pt x="104" y="47"/>
                          </a:cubicBezTo>
                          <a:cubicBezTo>
                            <a:pt x="104" y="47"/>
                            <a:pt x="105" y="47"/>
                            <a:pt x="105" y="47"/>
                          </a:cubicBezTo>
                          <a:cubicBezTo>
                            <a:pt x="105" y="47"/>
                            <a:pt x="105" y="47"/>
                            <a:pt x="105" y="46"/>
                          </a:cubicBezTo>
                          <a:cubicBezTo>
                            <a:pt x="105" y="47"/>
                            <a:pt x="105" y="47"/>
                            <a:pt x="105" y="47"/>
                          </a:cubicBezTo>
                          <a:cubicBezTo>
                            <a:pt x="105" y="47"/>
                            <a:pt x="106" y="46"/>
                            <a:pt x="106" y="46"/>
                          </a:cubicBezTo>
                          <a:cubicBezTo>
                            <a:pt x="105" y="46"/>
                            <a:pt x="104" y="47"/>
                            <a:pt x="104" y="47"/>
                          </a:cubicBezTo>
                          <a:cubicBezTo>
                            <a:pt x="104" y="47"/>
                            <a:pt x="104" y="47"/>
                            <a:pt x="104" y="47"/>
                          </a:cubicBezTo>
                          <a:cubicBezTo>
                            <a:pt x="104" y="47"/>
                            <a:pt x="104" y="47"/>
                            <a:pt x="104" y="47"/>
                          </a:cubicBezTo>
                          <a:cubicBezTo>
                            <a:pt x="105" y="47"/>
                            <a:pt x="105" y="47"/>
                            <a:pt x="105" y="47"/>
                          </a:cubicBezTo>
                          <a:cubicBezTo>
                            <a:pt x="105" y="47"/>
                            <a:pt x="105" y="47"/>
                            <a:pt x="105" y="47"/>
                          </a:cubicBezTo>
                          <a:cubicBezTo>
                            <a:pt x="104" y="47"/>
                            <a:pt x="104" y="48"/>
                            <a:pt x="103" y="48"/>
                          </a:cubicBezTo>
                          <a:cubicBezTo>
                            <a:pt x="103" y="48"/>
                            <a:pt x="103" y="48"/>
                            <a:pt x="104" y="48"/>
                          </a:cubicBezTo>
                          <a:cubicBezTo>
                            <a:pt x="104" y="48"/>
                            <a:pt x="103" y="48"/>
                            <a:pt x="103" y="48"/>
                          </a:cubicBezTo>
                          <a:cubicBezTo>
                            <a:pt x="103" y="48"/>
                            <a:pt x="103" y="48"/>
                            <a:pt x="103" y="48"/>
                          </a:cubicBezTo>
                          <a:cubicBezTo>
                            <a:pt x="103" y="48"/>
                            <a:pt x="103" y="48"/>
                            <a:pt x="103" y="48"/>
                          </a:cubicBezTo>
                          <a:cubicBezTo>
                            <a:pt x="103" y="48"/>
                            <a:pt x="102" y="48"/>
                            <a:pt x="103" y="48"/>
                          </a:cubicBezTo>
                          <a:cubicBezTo>
                            <a:pt x="102" y="48"/>
                            <a:pt x="102" y="48"/>
                            <a:pt x="101" y="49"/>
                          </a:cubicBezTo>
                          <a:cubicBezTo>
                            <a:pt x="101" y="49"/>
                            <a:pt x="101" y="49"/>
                            <a:pt x="101" y="49"/>
                          </a:cubicBezTo>
                          <a:cubicBezTo>
                            <a:pt x="101" y="49"/>
                            <a:pt x="102" y="49"/>
                            <a:pt x="102" y="48"/>
                          </a:cubicBezTo>
                          <a:cubicBezTo>
                            <a:pt x="101" y="48"/>
                            <a:pt x="101" y="49"/>
                            <a:pt x="101" y="49"/>
                          </a:cubicBezTo>
                          <a:cubicBezTo>
                            <a:pt x="100" y="49"/>
                            <a:pt x="99" y="50"/>
                            <a:pt x="99" y="50"/>
                          </a:cubicBezTo>
                          <a:cubicBezTo>
                            <a:pt x="99" y="50"/>
                            <a:pt x="99" y="50"/>
                            <a:pt x="99" y="50"/>
                          </a:cubicBezTo>
                          <a:cubicBezTo>
                            <a:pt x="99" y="50"/>
                            <a:pt x="98" y="50"/>
                            <a:pt x="98" y="50"/>
                          </a:cubicBezTo>
                          <a:cubicBezTo>
                            <a:pt x="98" y="50"/>
                            <a:pt x="99" y="50"/>
                            <a:pt x="98" y="50"/>
                          </a:cubicBezTo>
                          <a:cubicBezTo>
                            <a:pt x="98" y="50"/>
                            <a:pt x="99" y="50"/>
                            <a:pt x="99" y="50"/>
                          </a:cubicBezTo>
                          <a:cubicBezTo>
                            <a:pt x="99" y="50"/>
                            <a:pt x="99" y="49"/>
                            <a:pt x="99" y="49"/>
                          </a:cubicBezTo>
                          <a:cubicBezTo>
                            <a:pt x="99" y="49"/>
                            <a:pt x="99" y="49"/>
                            <a:pt x="99" y="50"/>
                          </a:cubicBezTo>
                          <a:cubicBezTo>
                            <a:pt x="99" y="50"/>
                            <a:pt x="99" y="49"/>
                            <a:pt x="99" y="49"/>
                          </a:cubicBezTo>
                          <a:cubicBezTo>
                            <a:pt x="99" y="49"/>
                            <a:pt x="99" y="49"/>
                            <a:pt x="99" y="49"/>
                          </a:cubicBezTo>
                          <a:cubicBezTo>
                            <a:pt x="99" y="49"/>
                            <a:pt x="99" y="49"/>
                            <a:pt x="100" y="49"/>
                          </a:cubicBezTo>
                          <a:cubicBezTo>
                            <a:pt x="100" y="49"/>
                            <a:pt x="101" y="48"/>
                            <a:pt x="102" y="48"/>
                          </a:cubicBezTo>
                          <a:cubicBezTo>
                            <a:pt x="102" y="48"/>
                            <a:pt x="102" y="48"/>
                            <a:pt x="101" y="48"/>
                          </a:cubicBezTo>
                          <a:cubicBezTo>
                            <a:pt x="101" y="48"/>
                            <a:pt x="102" y="48"/>
                            <a:pt x="102" y="48"/>
                          </a:cubicBezTo>
                          <a:cubicBezTo>
                            <a:pt x="102" y="48"/>
                            <a:pt x="102" y="48"/>
                            <a:pt x="102" y="48"/>
                          </a:cubicBezTo>
                          <a:cubicBezTo>
                            <a:pt x="101" y="48"/>
                            <a:pt x="101" y="48"/>
                            <a:pt x="101" y="49"/>
                          </a:cubicBezTo>
                          <a:cubicBezTo>
                            <a:pt x="101" y="49"/>
                            <a:pt x="101" y="48"/>
                            <a:pt x="100" y="49"/>
                          </a:cubicBezTo>
                          <a:cubicBezTo>
                            <a:pt x="100" y="48"/>
                            <a:pt x="101" y="48"/>
                            <a:pt x="101" y="48"/>
                          </a:cubicBezTo>
                          <a:cubicBezTo>
                            <a:pt x="100" y="48"/>
                            <a:pt x="100" y="49"/>
                            <a:pt x="100" y="49"/>
                          </a:cubicBezTo>
                          <a:cubicBezTo>
                            <a:pt x="100" y="49"/>
                            <a:pt x="100" y="49"/>
                            <a:pt x="99" y="49"/>
                          </a:cubicBezTo>
                          <a:cubicBezTo>
                            <a:pt x="99" y="49"/>
                            <a:pt x="100" y="49"/>
                            <a:pt x="100" y="49"/>
                          </a:cubicBezTo>
                          <a:cubicBezTo>
                            <a:pt x="99" y="49"/>
                            <a:pt x="99" y="49"/>
                            <a:pt x="99" y="49"/>
                          </a:cubicBezTo>
                          <a:cubicBezTo>
                            <a:pt x="99" y="49"/>
                            <a:pt x="99" y="49"/>
                            <a:pt x="99" y="49"/>
                          </a:cubicBezTo>
                          <a:cubicBezTo>
                            <a:pt x="99" y="49"/>
                            <a:pt x="99" y="49"/>
                            <a:pt x="99" y="49"/>
                          </a:cubicBezTo>
                          <a:cubicBezTo>
                            <a:pt x="98" y="49"/>
                            <a:pt x="98" y="50"/>
                            <a:pt x="97" y="50"/>
                          </a:cubicBezTo>
                          <a:cubicBezTo>
                            <a:pt x="97" y="51"/>
                            <a:pt x="97" y="50"/>
                            <a:pt x="98" y="50"/>
                          </a:cubicBezTo>
                          <a:cubicBezTo>
                            <a:pt x="97" y="51"/>
                            <a:pt x="98" y="50"/>
                            <a:pt x="97" y="50"/>
                          </a:cubicBezTo>
                          <a:cubicBezTo>
                            <a:pt x="97" y="51"/>
                            <a:pt x="98" y="50"/>
                            <a:pt x="97" y="51"/>
                          </a:cubicBezTo>
                          <a:cubicBezTo>
                            <a:pt x="97" y="51"/>
                            <a:pt x="98" y="50"/>
                            <a:pt x="98" y="50"/>
                          </a:cubicBezTo>
                          <a:cubicBezTo>
                            <a:pt x="97" y="51"/>
                            <a:pt x="98" y="51"/>
                            <a:pt x="97" y="51"/>
                          </a:cubicBezTo>
                          <a:cubicBezTo>
                            <a:pt x="97" y="51"/>
                            <a:pt x="98" y="51"/>
                            <a:pt x="98" y="51"/>
                          </a:cubicBezTo>
                          <a:cubicBezTo>
                            <a:pt x="98" y="51"/>
                            <a:pt x="98" y="51"/>
                            <a:pt x="98" y="51"/>
                          </a:cubicBezTo>
                          <a:cubicBezTo>
                            <a:pt x="98" y="51"/>
                            <a:pt x="99" y="50"/>
                            <a:pt x="99" y="51"/>
                          </a:cubicBezTo>
                          <a:cubicBezTo>
                            <a:pt x="98" y="51"/>
                            <a:pt x="98" y="51"/>
                            <a:pt x="98" y="51"/>
                          </a:cubicBezTo>
                          <a:cubicBezTo>
                            <a:pt x="98" y="51"/>
                            <a:pt x="99" y="51"/>
                            <a:pt x="99" y="51"/>
                          </a:cubicBezTo>
                          <a:cubicBezTo>
                            <a:pt x="99" y="51"/>
                            <a:pt x="99" y="51"/>
                            <a:pt x="99" y="51"/>
                          </a:cubicBezTo>
                          <a:cubicBezTo>
                            <a:pt x="99" y="51"/>
                            <a:pt x="99" y="51"/>
                            <a:pt x="99" y="50"/>
                          </a:cubicBezTo>
                          <a:cubicBezTo>
                            <a:pt x="99" y="50"/>
                            <a:pt x="99" y="50"/>
                            <a:pt x="100" y="50"/>
                          </a:cubicBezTo>
                          <a:cubicBezTo>
                            <a:pt x="99" y="50"/>
                            <a:pt x="100" y="50"/>
                            <a:pt x="100" y="50"/>
                          </a:cubicBezTo>
                          <a:cubicBezTo>
                            <a:pt x="100" y="50"/>
                            <a:pt x="100" y="50"/>
                            <a:pt x="100" y="50"/>
                          </a:cubicBezTo>
                          <a:cubicBezTo>
                            <a:pt x="100" y="50"/>
                            <a:pt x="100" y="50"/>
                            <a:pt x="100" y="50"/>
                          </a:cubicBezTo>
                          <a:cubicBezTo>
                            <a:pt x="100" y="50"/>
                            <a:pt x="100" y="50"/>
                            <a:pt x="100" y="50"/>
                          </a:cubicBezTo>
                          <a:cubicBezTo>
                            <a:pt x="100" y="50"/>
                            <a:pt x="100" y="50"/>
                            <a:pt x="100" y="50"/>
                          </a:cubicBezTo>
                          <a:cubicBezTo>
                            <a:pt x="100" y="50"/>
                            <a:pt x="100" y="50"/>
                            <a:pt x="100" y="50"/>
                          </a:cubicBezTo>
                          <a:cubicBezTo>
                            <a:pt x="101" y="50"/>
                            <a:pt x="101" y="49"/>
                            <a:pt x="101" y="49"/>
                          </a:cubicBezTo>
                          <a:cubicBezTo>
                            <a:pt x="101" y="49"/>
                            <a:pt x="102" y="49"/>
                            <a:pt x="102" y="49"/>
                          </a:cubicBezTo>
                          <a:cubicBezTo>
                            <a:pt x="101" y="49"/>
                            <a:pt x="101" y="49"/>
                            <a:pt x="101" y="50"/>
                          </a:cubicBezTo>
                          <a:cubicBezTo>
                            <a:pt x="101" y="50"/>
                            <a:pt x="101" y="50"/>
                            <a:pt x="101" y="50"/>
                          </a:cubicBezTo>
                          <a:cubicBezTo>
                            <a:pt x="101" y="50"/>
                            <a:pt x="101" y="50"/>
                            <a:pt x="101" y="50"/>
                          </a:cubicBezTo>
                          <a:cubicBezTo>
                            <a:pt x="101" y="50"/>
                            <a:pt x="102" y="50"/>
                            <a:pt x="102" y="50"/>
                          </a:cubicBezTo>
                          <a:cubicBezTo>
                            <a:pt x="102" y="49"/>
                            <a:pt x="102" y="49"/>
                            <a:pt x="102" y="49"/>
                          </a:cubicBezTo>
                          <a:cubicBezTo>
                            <a:pt x="102" y="49"/>
                            <a:pt x="102" y="49"/>
                            <a:pt x="102" y="50"/>
                          </a:cubicBezTo>
                          <a:cubicBezTo>
                            <a:pt x="102" y="49"/>
                            <a:pt x="102" y="49"/>
                            <a:pt x="103" y="49"/>
                          </a:cubicBezTo>
                          <a:cubicBezTo>
                            <a:pt x="103" y="49"/>
                            <a:pt x="102" y="50"/>
                            <a:pt x="102" y="50"/>
                          </a:cubicBezTo>
                          <a:cubicBezTo>
                            <a:pt x="102" y="50"/>
                            <a:pt x="102" y="50"/>
                            <a:pt x="102" y="50"/>
                          </a:cubicBezTo>
                          <a:cubicBezTo>
                            <a:pt x="102" y="50"/>
                            <a:pt x="102" y="50"/>
                            <a:pt x="101" y="50"/>
                          </a:cubicBezTo>
                          <a:cubicBezTo>
                            <a:pt x="101" y="50"/>
                            <a:pt x="102" y="50"/>
                            <a:pt x="102" y="50"/>
                          </a:cubicBezTo>
                          <a:cubicBezTo>
                            <a:pt x="102" y="50"/>
                            <a:pt x="102" y="50"/>
                            <a:pt x="103" y="50"/>
                          </a:cubicBezTo>
                          <a:cubicBezTo>
                            <a:pt x="103" y="50"/>
                            <a:pt x="102" y="50"/>
                            <a:pt x="102" y="50"/>
                          </a:cubicBezTo>
                          <a:cubicBezTo>
                            <a:pt x="103" y="49"/>
                            <a:pt x="103" y="49"/>
                            <a:pt x="103" y="49"/>
                          </a:cubicBezTo>
                          <a:cubicBezTo>
                            <a:pt x="103" y="49"/>
                            <a:pt x="103" y="49"/>
                            <a:pt x="103" y="49"/>
                          </a:cubicBezTo>
                          <a:cubicBezTo>
                            <a:pt x="103" y="49"/>
                            <a:pt x="103" y="49"/>
                            <a:pt x="103" y="49"/>
                          </a:cubicBezTo>
                          <a:cubicBezTo>
                            <a:pt x="103" y="49"/>
                            <a:pt x="103" y="49"/>
                            <a:pt x="103" y="49"/>
                          </a:cubicBezTo>
                          <a:cubicBezTo>
                            <a:pt x="103" y="49"/>
                            <a:pt x="103" y="49"/>
                            <a:pt x="103" y="49"/>
                          </a:cubicBezTo>
                          <a:cubicBezTo>
                            <a:pt x="103" y="49"/>
                            <a:pt x="104" y="49"/>
                            <a:pt x="104" y="48"/>
                          </a:cubicBezTo>
                          <a:cubicBezTo>
                            <a:pt x="105" y="48"/>
                            <a:pt x="105" y="48"/>
                            <a:pt x="106" y="48"/>
                          </a:cubicBezTo>
                          <a:cubicBezTo>
                            <a:pt x="106" y="48"/>
                            <a:pt x="106" y="48"/>
                            <a:pt x="107" y="47"/>
                          </a:cubicBezTo>
                          <a:cubicBezTo>
                            <a:pt x="107" y="48"/>
                            <a:pt x="106" y="48"/>
                            <a:pt x="106" y="48"/>
                          </a:cubicBezTo>
                          <a:cubicBezTo>
                            <a:pt x="106" y="48"/>
                            <a:pt x="106" y="48"/>
                            <a:pt x="106" y="48"/>
                          </a:cubicBezTo>
                          <a:cubicBezTo>
                            <a:pt x="106" y="48"/>
                            <a:pt x="106" y="48"/>
                            <a:pt x="105" y="48"/>
                          </a:cubicBezTo>
                          <a:cubicBezTo>
                            <a:pt x="105" y="48"/>
                            <a:pt x="106" y="48"/>
                            <a:pt x="105" y="48"/>
                          </a:cubicBezTo>
                          <a:cubicBezTo>
                            <a:pt x="105" y="48"/>
                            <a:pt x="105" y="48"/>
                            <a:pt x="105" y="48"/>
                          </a:cubicBezTo>
                          <a:cubicBezTo>
                            <a:pt x="105" y="48"/>
                            <a:pt x="105" y="48"/>
                            <a:pt x="105" y="48"/>
                          </a:cubicBezTo>
                          <a:cubicBezTo>
                            <a:pt x="105" y="49"/>
                            <a:pt x="105" y="48"/>
                            <a:pt x="105" y="49"/>
                          </a:cubicBezTo>
                          <a:cubicBezTo>
                            <a:pt x="105" y="49"/>
                            <a:pt x="105" y="49"/>
                            <a:pt x="105" y="49"/>
                          </a:cubicBezTo>
                          <a:cubicBezTo>
                            <a:pt x="105" y="49"/>
                            <a:pt x="105" y="49"/>
                            <a:pt x="105" y="49"/>
                          </a:cubicBezTo>
                          <a:cubicBezTo>
                            <a:pt x="105" y="49"/>
                            <a:pt x="105" y="49"/>
                            <a:pt x="105" y="49"/>
                          </a:cubicBezTo>
                          <a:cubicBezTo>
                            <a:pt x="104" y="49"/>
                            <a:pt x="104" y="49"/>
                            <a:pt x="104" y="49"/>
                          </a:cubicBezTo>
                          <a:cubicBezTo>
                            <a:pt x="104" y="49"/>
                            <a:pt x="104" y="49"/>
                            <a:pt x="105" y="49"/>
                          </a:cubicBezTo>
                          <a:cubicBezTo>
                            <a:pt x="104" y="49"/>
                            <a:pt x="104" y="49"/>
                            <a:pt x="104" y="49"/>
                          </a:cubicBezTo>
                          <a:cubicBezTo>
                            <a:pt x="104" y="49"/>
                            <a:pt x="104" y="49"/>
                            <a:pt x="104" y="49"/>
                          </a:cubicBezTo>
                          <a:cubicBezTo>
                            <a:pt x="103" y="49"/>
                            <a:pt x="104" y="50"/>
                            <a:pt x="104" y="50"/>
                          </a:cubicBezTo>
                          <a:cubicBezTo>
                            <a:pt x="104" y="50"/>
                            <a:pt x="104" y="49"/>
                            <a:pt x="104" y="49"/>
                          </a:cubicBezTo>
                          <a:cubicBezTo>
                            <a:pt x="104" y="49"/>
                            <a:pt x="104" y="49"/>
                            <a:pt x="104" y="49"/>
                          </a:cubicBezTo>
                          <a:cubicBezTo>
                            <a:pt x="104" y="49"/>
                            <a:pt x="104" y="49"/>
                            <a:pt x="104" y="49"/>
                          </a:cubicBezTo>
                          <a:cubicBezTo>
                            <a:pt x="104" y="49"/>
                            <a:pt x="104" y="50"/>
                            <a:pt x="104" y="50"/>
                          </a:cubicBezTo>
                          <a:cubicBezTo>
                            <a:pt x="104" y="50"/>
                            <a:pt x="105" y="49"/>
                            <a:pt x="105" y="49"/>
                          </a:cubicBezTo>
                          <a:cubicBezTo>
                            <a:pt x="105" y="49"/>
                            <a:pt x="105" y="49"/>
                            <a:pt x="105" y="49"/>
                          </a:cubicBezTo>
                          <a:cubicBezTo>
                            <a:pt x="105" y="49"/>
                            <a:pt x="105" y="49"/>
                            <a:pt x="105" y="49"/>
                          </a:cubicBezTo>
                          <a:cubicBezTo>
                            <a:pt x="106" y="49"/>
                            <a:pt x="105" y="49"/>
                            <a:pt x="105" y="49"/>
                          </a:cubicBezTo>
                          <a:cubicBezTo>
                            <a:pt x="105" y="49"/>
                            <a:pt x="106" y="49"/>
                            <a:pt x="106" y="49"/>
                          </a:cubicBezTo>
                          <a:cubicBezTo>
                            <a:pt x="106" y="49"/>
                            <a:pt x="106" y="49"/>
                            <a:pt x="106" y="49"/>
                          </a:cubicBezTo>
                          <a:cubicBezTo>
                            <a:pt x="106" y="48"/>
                            <a:pt x="106" y="49"/>
                            <a:pt x="106" y="49"/>
                          </a:cubicBezTo>
                          <a:cubicBezTo>
                            <a:pt x="106" y="49"/>
                            <a:pt x="106" y="49"/>
                            <a:pt x="106" y="49"/>
                          </a:cubicBezTo>
                          <a:cubicBezTo>
                            <a:pt x="106" y="49"/>
                            <a:pt x="106" y="49"/>
                            <a:pt x="106" y="49"/>
                          </a:cubicBezTo>
                          <a:cubicBezTo>
                            <a:pt x="106" y="49"/>
                            <a:pt x="106" y="49"/>
                            <a:pt x="106" y="49"/>
                          </a:cubicBezTo>
                          <a:cubicBezTo>
                            <a:pt x="106" y="49"/>
                            <a:pt x="106" y="49"/>
                            <a:pt x="106" y="49"/>
                          </a:cubicBezTo>
                          <a:cubicBezTo>
                            <a:pt x="106" y="49"/>
                            <a:pt x="105" y="50"/>
                            <a:pt x="105" y="50"/>
                          </a:cubicBezTo>
                          <a:cubicBezTo>
                            <a:pt x="105" y="50"/>
                            <a:pt x="105" y="50"/>
                            <a:pt x="105" y="50"/>
                          </a:cubicBezTo>
                          <a:cubicBezTo>
                            <a:pt x="104" y="51"/>
                            <a:pt x="104" y="51"/>
                            <a:pt x="103" y="51"/>
                          </a:cubicBezTo>
                          <a:cubicBezTo>
                            <a:pt x="103" y="51"/>
                            <a:pt x="103" y="51"/>
                            <a:pt x="103" y="51"/>
                          </a:cubicBezTo>
                          <a:cubicBezTo>
                            <a:pt x="103" y="51"/>
                            <a:pt x="103" y="51"/>
                            <a:pt x="103" y="51"/>
                          </a:cubicBezTo>
                          <a:cubicBezTo>
                            <a:pt x="103" y="51"/>
                            <a:pt x="103" y="51"/>
                            <a:pt x="103" y="51"/>
                          </a:cubicBezTo>
                          <a:cubicBezTo>
                            <a:pt x="103" y="50"/>
                            <a:pt x="103" y="51"/>
                            <a:pt x="103" y="51"/>
                          </a:cubicBezTo>
                          <a:cubicBezTo>
                            <a:pt x="103" y="51"/>
                            <a:pt x="103" y="51"/>
                            <a:pt x="103" y="51"/>
                          </a:cubicBezTo>
                          <a:cubicBezTo>
                            <a:pt x="103" y="51"/>
                            <a:pt x="103" y="51"/>
                            <a:pt x="102" y="51"/>
                          </a:cubicBezTo>
                          <a:cubicBezTo>
                            <a:pt x="102" y="51"/>
                            <a:pt x="102" y="51"/>
                            <a:pt x="101" y="51"/>
                          </a:cubicBezTo>
                          <a:cubicBezTo>
                            <a:pt x="101" y="51"/>
                            <a:pt x="101" y="51"/>
                            <a:pt x="101" y="51"/>
                          </a:cubicBezTo>
                          <a:cubicBezTo>
                            <a:pt x="101" y="51"/>
                            <a:pt x="101" y="52"/>
                            <a:pt x="101" y="52"/>
                          </a:cubicBezTo>
                          <a:cubicBezTo>
                            <a:pt x="101" y="52"/>
                            <a:pt x="101" y="52"/>
                            <a:pt x="101" y="52"/>
                          </a:cubicBezTo>
                          <a:cubicBezTo>
                            <a:pt x="101" y="52"/>
                            <a:pt x="101" y="52"/>
                            <a:pt x="100" y="52"/>
                          </a:cubicBezTo>
                          <a:cubicBezTo>
                            <a:pt x="100" y="52"/>
                            <a:pt x="100" y="52"/>
                            <a:pt x="101" y="52"/>
                          </a:cubicBezTo>
                          <a:cubicBezTo>
                            <a:pt x="101" y="52"/>
                            <a:pt x="101" y="52"/>
                            <a:pt x="101" y="52"/>
                          </a:cubicBezTo>
                          <a:cubicBezTo>
                            <a:pt x="100" y="52"/>
                            <a:pt x="100" y="52"/>
                            <a:pt x="100" y="52"/>
                          </a:cubicBezTo>
                          <a:cubicBezTo>
                            <a:pt x="100" y="52"/>
                            <a:pt x="100" y="52"/>
                            <a:pt x="100" y="52"/>
                          </a:cubicBezTo>
                          <a:cubicBezTo>
                            <a:pt x="100" y="52"/>
                            <a:pt x="101" y="51"/>
                            <a:pt x="101" y="51"/>
                          </a:cubicBezTo>
                          <a:cubicBezTo>
                            <a:pt x="101" y="51"/>
                            <a:pt x="102" y="51"/>
                            <a:pt x="102" y="51"/>
                          </a:cubicBezTo>
                          <a:cubicBezTo>
                            <a:pt x="102" y="50"/>
                            <a:pt x="101" y="51"/>
                            <a:pt x="101" y="51"/>
                          </a:cubicBezTo>
                          <a:cubicBezTo>
                            <a:pt x="101" y="50"/>
                            <a:pt x="102" y="50"/>
                            <a:pt x="102" y="50"/>
                          </a:cubicBezTo>
                          <a:cubicBezTo>
                            <a:pt x="102" y="50"/>
                            <a:pt x="102" y="50"/>
                            <a:pt x="102" y="50"/>
                          </a:cubicBezTo>
                          <a:cubicBezTo>
                            <a:pt x="102" y="50"/>
                            <a:pt x="102" y="50"/>
                            <a:pt x="101" y="50"/>
                          </a:cubicBezTo>
                          <a:cubicBezTo>
                            <a:pt x="101" y="50"/>
                            <a:pt x="101" y="50"/>
                            <a:pt x="102" y="50"/>
                          </a:cubicBezTo>
                          <a:cubicBezTo>
                            <a:pt x="101" y="50"/>
                            <a:pt x="101" y="50"/>
                            <a:pt x="101" y="50"/>
                          </a:cubicBezTo>
                          <a:cubicBezTo>
                            <a:pt x="101" y="50"/>
                            <a:pt x="101" y="50"/>
                            <a:pt x="101" y="50"/>
                          </a:cubicBezTo>
                          <a:cubicBezTo>
                            <a:pt x="101" y="50"/>
                            <a:pt x="101" y="51"/>
                            <a:pt x="101" y="51"/>
                          </a:cubicBezTo>
                          <a:cubicBezTo>
                            <a:pt x="101" y="51"/>
                            <a:pt x="101" y="50"/>
                            <a:pt x="101" y="51"/>
                          </a:cubicBezTo>
                          <a:cubicBezTo>
                            <a:pt x="101" y="51"/>
                            <a:pt x="101" y="51"/>
                            <a:pt x="101" y="50"/>
                          </a:cubicBezTo>
                          <a:cubicBezTo>
                            <a:pt x="100" y="50"/>
                            <a:pt x="100" y="51"/>
                            <a:pt x="100" y="51"/>
                          </a:cubicBezTo>
                          <a:cubicBezTo>
                            <a:pt x="100" y="51"/>
                            <a:pt x="100" y="51"/>
                            <a:pt x="101" y="51"/>
                          </a:cubicBezTo>
                          <a:cubicBezTo>
                            <a:pt x="101" y="51"/>
                            <a:pt x="101" y="51"/>
                            <a:pt x="101" y="51"/>
                          </a:cubicBezTo>
                          <a:cubicBezTo>
                            <a:pt x="101" y="51"/>
                            <a:pt x="100" y="51"/>
                            <a:pt x="100" y="51"/>
                          </a:cubicBezTo>
                          <a:cubicBezTo>
                            <a:pt x="100" y="51"/>
                            <a:pt x="100" y="51"/>
                            <a:pt x="100" y="51"/>
                          </a:cubicBezTo>
                          <a:cubicBezTo>
                            <a:pt x="100" y="51"/>
                            <a:pt x="100" y="51"/>
                            <a:pt x="100" y="51"/>
                          </a:cubicBezTo>
                          <a:cubicBezTo>
                            <a:pt x="100" y="51"/>
                            <a:pt x="100" y="52"/>
                            <a:pt x="99" y="52"/>
                          </a:cubicBezTo>
                          <a:cubicBezTo>
                            <a:pt x="100" y="52"/>
                            <a:pt x="100" y="52"/>
                            <a:pt x="100" y="52"/>
                          </a:cubicBezTo>
                          <a:cubicBezTo>
                            <a:pt x="99" y="52"/>
                            <a:pt x="99" y="52"/>
                            <a:pt x="98" y="52"/>
                          </a:cubicBezTo>
                          <a:cubicBezTo>
                            <a:pt x="98" y="53"/>
                            <a:pt x="97" y="53"/>
                            <a:pt x="97" y="53"/>
                          </a:cubicBezTo>
                          <a:cubicBezTo>
                            <a:pt x="97" y="53"/>
                            <a:pt x="97" y="53"/>
                            <a:pt x="97" y="53"/>
                          </a:cubicBezTo>
                          <a:cubicBezTo>
                            <a:pt x="97" y="53"/>
                            <a:pt x="97" y="53"/>
                            <a:pt x="97" y="53"/>
                          </a:cubicBezTo>
                          <a:cubicBezTo>
                            <a:pt x="97" y="53"/>
                            <a:pt x="97" y="52"/>
                            <a:pt x="98" y="52"/>
                          </a:cubicBezTo>
                          <a:cubicBezTo>
                            <a:pt x="98" y="52"/>
                            <a:pt x="97" y="52"/>
                            <a:pt x="97" y="52"/>
                          </a:cubicBezTo>
                          <a:cubicBezTo>
                            <a:pt x="97" y="52"/>
                            <a:pt x="97" y="52"/>
                            <a:pt x="97" y="52"/>
                          </a:cubicBezTo>
                          <a:cubicBezTo>
                            <a:pt x="97" y="52"/>
                            <a:pt x="97" y="52"/>
                            <a:pt x="97" y="52"/>
                          </a:cubicBezTo>
                          <a:cubicBezTo>
                            <a:pt x="98" y="52"/>
                            <a:pt x="98" y="52"/>
                            <a:pt x="98" y="52"/>
                          </a:cubicBezTo>
                          <a:cubicBezTo>
                            <a:pt x="98" y="52"/>
                            <a:pt x="97" y="53"/>
                            <a:pt x="98" y="53"/>
                          </a:cubicBezTo>
                          <a:cubicBezTo>
                            <a:pt x="98" y="53"/>
                            <a:pt x="98" y="52"/>
                            <a:pt x="99" y="52"/>
                          </a:cubicBezTo>
                          <a:cubicBezTo>
                            <a:pt x="99" y="52"/>
                            <a:pt x="99" y="52"/>
                            <a:pt x="100" y="51"/>
                          </a:cubicBezTo>
                          <a:cubicBezTo>
                            <a:pt x="100" y="51"/>
                            <a:pt x="99" y="51"/>
                            <a:pt x="99" y="51"/>
                          </a:cubicBezTo>
                          <a:cubicBezTo>
                            <a:pt x="99" y="51"/>
                            <a:pt x="99" y="52"/>
                            <a:pt x="99" y="52"/>
                          </a:cubicBezTo>
                          <a:cubicBezTo>
                            <a:pt x="99" y="52"/>
                            <a:pt x="99" y="52"/>
                            <a:pt x="99" y="52"/>
                          </a:cubicBezTo>
                          <a:cubicBezTo>
                            <a:pt x="98" y="52"/>
                            <a:pt x="99" y="52"/>
                            <a:pt x="99" y="52"/>
                          </a:cubicBezTo>
                          <a:cubicBezTo>
                            <a:pt x="99" y="52"/>
                            <a:pt x="98" y="52"/>
                            <a:pt x="98" y="52"/>
                          </a:cubicBezTo>
                          <a:cubicBezTo>
                            <a:pt x="98" y="52"/>
                            <a:pt x="98" y="52"/>
                            <a:pt x="98" y="52"/>
                          </a:cubicBezTo>
                          <a:cubicBezTo>
                            <a:pt x="98" y="52"/>
                            <a:pt x="98" y="52"/>
                            <a:pt x="98" y="52"/>
                          </a:cubicBezTo>
                          <a:cubicBezTo>
                            <a:pt x="98" y="52"/>
                            <a:pt x="98" y="52"/>
                            <a:pt x="97" y="52"/>
                          </a:cubicBezTo>
                          <a:cubicBezTo>
                            <a:pt x="97" y="52"/>
                            <a:pt x="97" y="52"/>
                            <a:pt x="97" y="52"/>
                          </a:cubicBezTo>
                          <a:cubicBezTo>
                            <a:pt x="97" y="52"/>
                            <a:pt x="97" y="52"/>
                            <a:pt x="97" y="52"/>
                          </a:cubicBezTo>
                          <a:cubicBezTo>
                            <a:pt x="96" y="52"/>
                            <a:pt x="97" y="52"/>
                            <a:pt x="97" y="53"/>
                          </a:cubicBezTo>
                          <a:cubicBezTo>
                            <a:pt x="97" y="53"/>
                            <a:pt x="96" y="53"/>
                            <a:pt x="96" y="53"/>
                          </a:cubicBezTo>
                          <a:cubicBezTo>
                            <a:pt x="96" y="53"/>
                            <a:pt x="96" y="53"/>
                            <a:pt x="97" y="53"/>
                          </a:cubicBezTo>
                          <a:cubicBezTo>
                            <a:pt x="96" y="52"/>
                            <a:pt x="96" y="53"/>
                            <a:pt x="96" y="53"/>
                          </a:cubicBezTo>
                          <a:cubicBezTo>
                            <a:pt x="96" y="52"/>
                            <a:pt x="97" y="52"/>
                            <a:pt x="98" y="52"/>
                          </a:cubicBezTo>
                          <a:cubicBezTo>
                            <a:pt x="98" y="51"/>
                            <a:pt x="98" y="51"/>
                            <a:pt x="98" y="52"/>
                          </a:cubicBezTo>
                          <a:cubicBezTo>
                            <a:pt x="98" y="51"/>
                            <a:pt x="98" y="51"/>
                            <a:pt x="98" y="51"/>
                          </a:cubicBezTo>
                          <a:cubicBezTo>
                            <a:pt x="98" y="51"/>
                            <a:pt x="98" y="51"/>
                            <a:pt x="98" y="51"/>
                          </a:cubicBezTo>
                          <a:cubicBezTo>
                            <a:pt x="98" y="51"/>
                            <a:pt x="99" y="51"/>
                            <a:pt x="99" y="51"/>
                          </a:cubicBezTo>
                          <a:cubicBezTo>
                            <a:pt x="98" y="51"/>
                            <a:pt x="97" y="52"/>
                            <a:pt x="97" y="52"/>
                          </a:cubicBezTo>
                          <a:cubicBezTo>
                            <a:pt x="96" y="52"/>
                            <a:pt x="97" y="52"/>
                            <a:pt x="96" y="52"/>
                          </a:cubicBezTo>
                          <a:cubicBezTo>
                            <a:pt x="96" y="52"/>
                            <a:pt x="96" y="52"/>
                            <a:pt x="96" y="52"/>
                          </a:cubicBezTo>
                          <a:cubicBezTo>
                            <a:pt x="96" y="52"/>
                            <a:pt x="96" y="52"/>
                            <a:pt x="96" y="52"/>
                          </a:cubicBezTo>
                          <a:cubicBezTo>
                            <a:pt x="96" y="52"/>
                            <a:pt x="96" y="52"/>
                            <a:pt x="96" y="52"/>
                          </a:cubicBezTo>
                          <a:cubicBezTo>
                            <a:pt x="95" y="52"/>
                            <a:pt x="95" y="52"/>
                            <a:pt x="95" y="53"/>
                          </a:cubicBezTo>
                          <a:cubicBezTo>
                            <a:pt x="95" y="52"/>
                            <a:pt x="95" y="52"/>
                            <a:pt x="95" y="52"/>
                          </a:cubicBezTo>
                          <a:cubicBezTo>
                            <a:pt x="95" y="52"/>
                            <a:pt x="95" y="53"/>
                            <a:pt x="95" y="53"/>
                          </a:cubicBezTo>
                          <a:cubicBezTo>
                            <a:pt x="95" y="53"/>
                            <a:pt x="94" y="53"/>
                            <a:pt x="94" y="53"/>
                          </a:cubicBezTo>
                          <a:cubicBezTo>
                            <a:pt x="94" y="53"/>
                            <a:pt x="94" y="53"/>
                            <a:pt x="94" y="53"/>
                          </a:cubicBezTo>
                          <a:cubicBezTo>
                            <a:pt x="94" y="53"/>
                            <a:pt x="94" y="53"/>
                            <a:pt x="94" y="53"/>
                          </a:cubicBezTo>
                          <a:cubicBezTo>
                            <a:pt x="94" y="53"/>
                            <a:pt x="94" y="53"/>
                            <a:pt x="93" y="53"/>
                          </a:cubicBezTo>
                          <a:cubicBezTo>
                            <a:pt x="94" y="53"/>
                            <a:pt x="94" y="53"/>
                            <a:pt x="94" y="53"/>
                          </a:cubicBezTo>
                          <a:cubicBezTo>
                            <a:pt x="93" y="53"/>
                            <a:pt x="93" y="53"/>
                            <a:pt x="93" y="54"/>
                          </a:cubicBezTo>
                          <a:cubicBezTo>
                            <a:pt x="93" y="54"/>
                            <a:pt x="93" y="53"/>
                            <a:pt x="93" y="53"/>
                          </a:cubicBezTo>
                          <a:cubicBezTo>
                            <a:pt x="93" y="53"/>
                            <a:pt x="93" y="53"/>
                            <a:pt x="93" y="53"/>
                          </a:cubicBezTo>
                          <a:cubicBezTo>
                            <a:pt x="93" y="53"/>
                            <a:pt x="93" y="53"/>
                            <a:pt x="93" y="53"/>
                          </a:cubicBezTo>
                          <a:cubicBezTo>
                            <a:pt x="93" y="53"/>
                            <a:pt x="94" y="53"/>
                            <a:pt x="94" y="52"/>
                          </a:cubicBezTo>
                          <a:cubicBezTo>
                            <a:pt x="94" y="52"/>
                            <a:pt x="94" y="53"/>
                            <a:pt x="93" y="53"/>
                          </a:cubicBezTo>
                          <a:cubicBezTo>
                            <a:pt x="94" y="52"/>
                            <a:pt x="94" y="52"/>
                            <a:pt x="94" y="52"/>
                          </a:cubicBezTo>
                          <a:cubicBezTo>
                            <a:pt x="94" y="52"/>
                            <a:pt x="94" y="52"/>
                            <a:pt x="94" y="52"/>
                          </a:cubicBezTo>
                          <a:cubicBezTo>
                            <a:pt x="94" y="52"/>
                            <a:pt x="95" y="52"/>
                            <a:pt x="94" y="52"/>
                          </a:cubicBezTo>
                          <a:cubicBezTo>
                            <a:pt x="95" y="52"/>
                            <a:pt x="95" y="52"/>
                            <a:pt x="95" y="52"/>
                          </a:cubicBezTo>
                          <a:cubicBezTo>
                            <a:pt x="95" y="52"/>
                            <a:pt x="94" y="52"/>
                            <a:pt x="95" y="51"/>
                          </a:cubicBezTo>
                          <a:cubicBezTo>
                            <a:pt x="94" y="52"/>
                            <a:pt x="94" y="52"/>
                            <a:pt x="94" y="52"/>
                          </a:cubicBezTo>
                          <a:cubicBezTo>
                            <a:pt x="94" y="52"/>
                            <a:pt x="94" y="52"/>
                            <a:pt x="94" y="52"/>
                          </a:cubicBezTo>
                          <a:cubicBezTo>
                            <a:pt x="94" y="52"/>
                            <a:pt x="94" y="52"/>
                            <a:pt x="94" y="52"/>
                          </a:cubicBezTo>
                          <a:cubicBezTo>
                            <a:pt x="94" y="52"/>
                            <a:pt x="94" y="52"/>
                            <a:pt x="94" y="52"/>
                          </a:cubicBezTo>
                          <a:cubicBezTo>
                            <a:pt x="94" y="52"/>
                            <a:pt x="94" y="52"/>
                            <a:pt x="94" y="52"/>
                          </a:cubicBezTo>
                          <a:cubicBezTo>
                            <a:pt x="93" y="52"/>
                            <a:pt x="93" y="52"/>
                            <a:pt x="93" y="52"/>
                          </a:cubicBezTo>
                          <a:cubicBezTo>
                            <a:pt x="93" y="52"/>
                            <a:pt x="93" y="52"/>
                            <a:pt x="92" y="52"/>
                          </a:cubicBezTo>
                          <a:cubicBezTo>
                            <a:pt x="92" y="52"/>
                            <a:pt x="93" y="52"/>
                            <a:pt x="93" y="52"/>
                          </a:cubicBezTo>
                          <a:cubicBezTo>
                            <a:pt x="93" y="52"/>
                            <a:pt x="93" y="52"/>
                            <a:pt x="93" y="52"/>
                          </a:cubicBezTo>
                          <a:cubicBezTo>
                            <a:pt x="93" y="52"/>
                            <a:pt x="93" y="52"/>
                            <a:pt x="92" y="52"/>
                          </a:cubicBezTo>
                          <a:cubicBezTo>
                            <a:pt x="92" y="52"/>
                            <a:pt x="92" y="52"/>
                            <a:pt x="93" y="53"/>
                          </a:cubicBezTo>
                          <a:cubicBezTo>
                            <a:pt x="92" y="53"/>
                            <a:pt x="92" y="53"/>
                            <a:pt x="92" y="53"/>
                          </a:cubicBezTo>
                          <a:cubicBezTo>
                            <a:pt x="92" y="53"/>
                            <a:pt x="92" y="53"/>
                            <a:pt x="92" y="52"/>
                          </a:cubicBezTo>
                          <a:cubicBezTo>
                            <a:pt x="92" y="52"/>
                            <a:pt x="92" y="52"/>
                            <a:pt x="91" y="52"/>
                          </a:cubicBezTo>
                          <a:cubicBezTo>
                            <a:pt x="91" y="52"/>
                            <a:pt x="92" y="52"/>
                            <a:pt x="92" y="52"/>
                          </a:cubicBezTo>
                          <a:cubicBezTo>
                            <a:pt x="92" y="53"/>
                            <a:pt x="92" y="53"/>
                            <a:pt x="91" y="53"/>
                          </a:cubicBezTo>
                          <a:cubicBezTo>
                            <a:pt x="91" y="53"/>
                            <a:pt x="92" y="53"/>
                            <a:pt x="91" y="52"/>
                          </a:cubicBezTo>
                          <a:cubicBezTo>
                            <a:pt x="91" y="53"/>
                            <a:pt x="91" y="53"/>
                            <a:pt x="91" y="53"/>
                          </a:cubicBezTo>
                          <a:cubicBezTo>
                            <a:pt x="91" y="53"/>
                            <a:pt x="91" y="53"/>
                            <a:pt x="91" y="53"/>
                          </a:cubicBezTo>
                          <a:cubicBezTo>
                            <a:pt x="91" y="53"/>
                            <a:pt x="91" y="53"/>
                            <a:pt x="90" y="53"/>
                          </a:cubicBezTo>
                          <a:cubicBezTo>
                            <a:pt x="90" y="53"/>
                            <a:pt x="91" y="53"/>
                            <a:pt x="91" y="53"/>
                          </a:cubicBezTo>
                          <a:cubicBezTo>
                            <a:pt x="90" y="53"/>
                            <a:pt x="90" y="53"/>
                            <a:pt x="90" y="53"/>
                          </a:cubicBezTo>
                          <a:cubicBezTo>
                            <a:pt x="90" y="53"/>
                            <a:pt x="90" y="53"/>
                            <a:pt x="90" y="53"/>
                          </a:cubicBezTo>
                          <a:cubicBezTo>
                            <a:pt x="90" y="53"/>
                            <a:pt x="90" y="53"/>
                            <a:pt x="90" y="53"/>
                          </a:cubicBezTo>
                          <a:cubicBezTo>
                            <a:pt x="90" y="53"/>
                            <a:pt x="89" y="54"/>
                            <a:pt x="89" y="54"/>
                          </a:cubicBezTo>
                          <a:cubicBezTo>
                            <a:pt x="89" y="54"/>
                            <a:pt x="89" y="54"/>
                            <a:pt x="90" y="54"/>
                          </a:cubicBezTo>
                          <a:cubicBezTo>
                            <a:pt x="90" y="54"/>
                            <a:pt x="90" y="54"/>
                            <a:pt x="90" y="54"/>
                          </a:cubicBezTo>
                          <a:cubicBezTo>
                            <a:pt x="90" y="54"/>
                            <a:pt x="90" y="54"/>
                            <a:pt x="90" y="54"/>
                          </a:cubicBezTo>
                          <a:cubicBezTo>
                            <a:pt x="89" y="54"/>
                            <a:pt x="89" y="54"/>
                            <a:pt x="89" y="54"/>
                          </a:cubicBezTo>
                          <a:cubicBezTo>
                            <a:pt x="89" y="54"/>
                            <a:pt x="89" y="54"/>
                            <a:pt x="89" y="54"/>
                          </a:cubicBezTo>
                          <a:cubicBezTo>
                            <a:pt x="89" y="54"/>
                            <a:pt x="89" y="54"/>
                            <a:pt x="89" y="54"/>
                          </a:cubicBezTo>
                          <a:cubicBezTo>
                            <a:pt x="89" y="54"/>
                            <a:pt x="89" y="54"/>
                            <a:pt x="89" y="54"/>
                          </a:cubicBezTo>
                          <a:cubicBezTo>
                            <a:pt x="89" y="54"/>
                            <a:pt x="89" y="54"/>
                            <a:pt x="89" y="54"/>
                          </a:cubicBezTo>
                          <a:cubicBezTo>
                            <a:pt x="89" y="54"/>
                            <a:pt x="88" y="55"/>
                            <a:pt x="88" y="55"/>
                          </a:cubicBezTo>
                          <a:cubicBezTo>
                            <a:pt x="88" y="55"/>
                            <a:pt x="87" y="55"/>
                            <a:pt x="87" y="56"/>
                          </a:cubicBezTo>
                          <a:cubicBezTo>
                            <a:pt x="87" y="56"/>
                            <a:pt x="87" y="55"/>
                            <a:pt x="87" y="55"/>
                          </a:cubicBezTo>
                          <a:cubicBezTo>
                            <a:pt x="87" y="55"/>
                            <a:pt x="87" y="55"/>
                            <a:pt x="87" y="55"/>
                          </a:cubicBezTo>
                          <a:cubicBezTo>
                            <a:pt x="87" y="55"/>
                            <a:pt x="87" y="55"/>
                            <a:pt x="87" y="55"/>
                          </a:cubicBezTo>
                          <a:cubicBezTo>
                            <a:pt x="87" y="55"/>
                            <a:pt x="87" y="55"/>
                            <a:pt x="88" y="55"/>
                          </a:cubicBezTo>
                          <a:cubicBezTo>
                            <a:pt x="88" y="55"/>
                            <a:pt x="88" y="55"/>
                            <a:pt x="88" y="55"/>
                          </a:cubicBezTo>
                          <a:cubicBezTo>
                            <a:pt x="88" y="55"/>
                            <a:pt x="89" y="54"/>
                            <a:pt x="89" y="54"/>
                          </a:cubicBezTo>
                          <a:cubicBezTo>
                            <a:pt x="89" y="54"/>
                            <a:pt x="89" y="54"/>
                            <a:pt x="89" y="54"/>
                          </a:cubicBezTo>
                          <a:cubicBezTo>
                            <a:pt x="89" y="54"/>
                            <a:pt x="89" y="54"/>
                            <a:pt x="89" y="54"/>
                          </a:cubicBezTo>
                          <a:cubicBezTo>
                            <a:pt x="89" y="54"/>
                            <a:pt x="88" y="54"/>
                            <a:pt x="88" y="54"/>
                          </a:cubicBezTo>
                          <a:cubicBezTo>
                            <a:pt x="88" y="54"/>
                            <a:pt x="89" y="54"/>
                            <a:pt x="89" y="54"/>
                          </a:cubicBezTo>
                          <a:cubicBezTo>
                            <a:pt x="88" y="54"/>
                            <a:pt x="88" y="54"/>
                            <a:pt x="88" y="54"/>
                          </a:cubicBezTo>
                          <a:cubicBezTo>
                            <a:pt x="88" y="54"/>
                            <a:pt x="88" y="54"/>
                            <a:pt x="88" y="54"/>
                          </a:cubicBezTo>
                          <a:cubicBezTo>
                            <a:pt x="88" y="54"/>
                            <a:pt x="87" y="54"/>
                            <a:pt x="87" y="54"/>
                          </a:cubicBezTo>
                          <a:cubicBezTo>
                            <a:pt x="87" y="55"/>
                            <a:pt x="87" y="55"/>
                            <a:pt x="87" y="55"/>
                          </a:cubicBezTo>
                          <a:cubicBezTo>
                            <a:pt x="87" y="55"/>
                            <a:pt x="87" y="55"/>
                            <a:pt x="86" y="55"/>
                          </a:cubicBezTo>
                          <a:cubicBezTo>
                            <a:pt x="86" y="55"/>
                            <a:pt x="87" y="55"/>
                            <a:pt x="87" y="55"/>
                          </a:cubicBezTo>
                          <a:cubicBezTo>
                            <a:pt x="86" y="54"/>
                            <a:pt x="86" y="55"/>
                            <a:pt x="86" y="55"/>
                          </a:cubicBezTo>
                          <a:cubicBezTo>
                            <a:pt x="86" y="55"/>
                            <a:pt x="85" y="55"/>
                            <a:pt x="86" y="55"/>
                          </a:cubicBezTo>
                          <a:cubicBezTo>
                            <a:pt x="85" y="56"/>
                            <a:pt x="85" y="56"/>
                            <a:pt x="85" y="56"/>
                          </a:cubicBezTo>
                          <a:cubicBezTo>
                            <a:pt x="85" y="56"/>
                            <a:pt x="85" y="56"/>
                            <a:pt x="85" y="56"/>
                          </a:cubicBezTo>
                          <a:cubicBezTo>
                            <a:pt x="85" y="56"/>
                            <a:pt x="85" y="56"/>
                            <a:pt x="85" y="56"/>
                          </a:cubicBezTo>
                          <a:cubicBezTo>
                            <a:pt x="85" y="56"/>
                            <a:pt x="84" y="56"/>
                            <a:pt x="84" y="56"/>
                          </a:cubicBezTo>
                          <a:cubicBezTo>
                            <a:pt x="84" y="56"/>
                            <a:pt x="85" y="56"/>
                            <a:pt x="85" y="56"/>
                          </a:cubicBezTo>
                          <a:cubicBezTo>
                            <a:pt x="85" y="56"/>
                            <a:pt x="85" y="56"/>
                            <a:pt x="85" y="56"/>
                          </a:cubicBezTo>
                          <a:cubicBezTo>
                            <a:pt x="85" y="57"/>
                            <a:pt x="85" y="57"/>
                            <a:pt x="85" y="57"/>
                          </a:cubicBezTo>
                          <a:cubicBezTo>
                            <a:pt x="85" y="57"/>
                            <a:pt x="85" y="57"/>
                            <a:pt x="85" y="57"/>
                          </a:cubicBezTo>
                          <a:cubicBezTo>
                            <a:pt x="85" y="57"/>
                            <a:pt x="84" y="57"/>
                            <a:pt x="84" y="57"/>
                          </a:cubicBezTo>
                          <a:cubicBezTo>
                            <a:pt x="84" y="57"/>
                            <a:pt x="85" y="57"/>
                            <a:pt x="85" y="57"/>
                          </a:cubicBezTo>
                          <a:cubicBezTo>
                            <a:pt x="85" y="57"/>
                            <a:pt x="85" y="57"/>
                            <a:pt x="85" y="57"/>
                          </a:cubicBezTo>
                          <a:cubicBezTo>
                            <a:pt x="85" y="57"/>
                            <a:pt x="84" y="57"/>
                            <a:pt x="84" y="57"/>
                          </a:cubicBezTo>
                          <a:cubicBezTo>
                            <a:pt x="84" y="57"/>
                            <a:pt x="84" y="57"/>
                            <a:pt x="84" y="57"/>
                          </a:cubicBezTo>
                          <a:cubicBezTo>
                            <a:pt x="84" y="57"/>
                            <a:pt x="84" y="57"/>
                            <a:pt x="84" y="57"/>
                          </a:cubicBezTo>
                          <a:cubicBezTo>
                            <a:pt x="84" y="57"/>
                            <a:pt x="84" y="57"/>
                            <a:pt x="84" y="57"/>
                          </a:cubicBezTo>
                          <a:cubicBezTo>
                            <a:pt x="84" y="57"/>
                            <a:pt x="84" y="57"/>
                            <a:pt x="84" y="57"/>
                          </a:cubicBezTo>
                          <a:cubicBezTo>
                            <a:pt x="84" y="56"/>
                            <a:pt x="84" y="57"/>
                            <a:pt x="84" y="56"/>
                          </a:cubicBezTo>
                          <a:cubicBezTo>
                            <a:pt x="84" y="56"/>
                            <a:pt x="84" y="56"/>
                            <a:pt x="83" y="57"/>
                          </a:cubicBezTo>
                          <a:cubicBezTo>
                            <a:pt x="83" y="57"/>
                            <a:pt x="83" y="57"/>
                            <a:pt x="83" y="57"/>
                          </a:cubicBezTo>
                          <a:cubicBezTo>
                            <a:pt x="83" y="57"/>
                            <a:pt x="83" y="57"/>
                            <a:pt x="83" y="57"/>
                          </a:cubicBezTo>
                          <a:cubicBezTo>
                            <a:pt x="83" y="57"/>
                            <a:pt x="82" y="57"/>
                            <a:pt x="82" y="57"/>
                          </a:cubicBezTo>
                          <a:cubicBezTo>
                            <a:pt x="83" y="57"/>
                            <a:pt x="82" y="57"/>
                            <a:pt x="82" y="57"/>
                          </a:cubicBezTo>
                          <a:cubicBezTo>
                            <a:pt x="82" y="57"/>
                            <a:pt x="82" y="57"/>
                            <a:pt x="81" y="57"/>
                          </a:cubicBezTo>
                          <a:cubicBezTo>
                            <a:pt x="82" y="57"/>
                            <a:pt x="82" y="57"/>
                            <a:pt x="82" y="57"/>
                          </a:cubicBezTo>
                          <a:cubicBezTo>
                            <a:pt x="82" y="57"/>
                            <a:pt x="82" y="57"/>
                            <a:pt x="82" y="57"/>
                          </a:cubicBezTo>
                          <a:cubicBezTo>
                            <a:pt x="82" y="57"/>
                            <a:pt x="82" y="57"/>
                            <a:pt x="82" y="57"/>
                          </a:cubicBezTo>
                          <a:cubicBezTo>
                            <a:pt x="82" y="57"/>
                            <a:pt x="83" y="56"/>
                            <a:pt x="83" y="56"/>
                          </a:cubicBezTo>
                          <a:cubicBezTo>
                            <a:pt x="83" y="56"/>
                            <a:pt x="84" y="56"/>
                            <a:pt x="84" y="55"/>
                          </a:cubicBezTo>
                          <a:cubicBezTo>
                            <a:pt x="84" y="55"/>
                            <a:pt x="85" y="55"/>
                            <a:pt x="85" y="55"/>
                          </a:cubicBezTo>
                          <a:cubicBezTo>
                            <a:pt x="85" y="55"/>
                            <a:pt x="85" y="55"/>
                            <a:pt x="85" y="55"/>
                          </a:cubicBezTo>
                          <a:cubicBezTo>
                            <a:pt x="85" y="55"/>
                            <a:pt x="85" y="55"/>
                            <a:pt x="86" y="55"/>
                          </a:cubicBezTo>
                          <a:cubicBezTo>
                            <a:pt x="85" y="55"/>
                            <a:pt x="85" y="55"/>
                            <a:pt x="85" y="55"/>
                          </a:cubicBezTo>
                          <a:cubicBezTo>
                            <a:pt x="85" y="55"/>
                            <a:pt x="86" y="54"/>
                            <a:pt x="86" y="54"/>
                          </a:cubicBezTo>
                          <a:cubicBezTo>
                            <a:pt x="86" y="55"/>
                            <a:pt x="86" y="55"/>
                            <a:pt x="86" y="55"/>
                          </a:cubicBezTo>
                          <a:cubicBezTo>
                            <a:pt x="86" y="55"/>
                            <a:pt x="86" y="54"/>
                            <a:pt x="87" y="54"/>
                          </a:cubicBezTo>
                          <a:cubicBezTo>
                            <a:pt x="87" y="54"/>
                            <a:pt x="86" y="54"/>
                            <a:pt x="86" y="55"/>
                          </a:cubicBezTo>
                          <a:cubicBezTo>
                            <a:pt x="86" y="54"/>
                            <a:pt x="86" y="54"/>
                            <a:pt x="86" y="54"/>
                          </a:cubicBezTo>
                          <a:cubicBezTo>
                            <a:pt x="86" y="54"/>
                            <a:pt x="86" y="54"/>
                            <a:pt x="85" y="54"/>
                          </a:cubicBezTo>
                          <a:cubicBezTo>
                            <a:pt x="86" y="54"/>
                            <a:pt x="86" y="54"/>
                            <a:pt x="86" y="54"/>
                          </a:cubicBezTo>
                          <a:cubicBezTo>
                            <a:pt x="85" y="54"/>
                            <a:pt x="85" y="55"/>
                            <a:pt x="85" y="55"/>
                          </a:cubicBezTo>
                          <a:cubicBezTo>
                            <a:pt x="85" y="55"/>
                            <a:pt x="85" y="55"/>
                            <a:pt x="84" y="55"/>
                          </a:cubicBezTo>
                          <a:cubicBezTo>
                            <a:pt x="84" y="55"/>
                            <a:pt x="84" y="55"/>
                            <a:pt x="84" y="55"/>
                          </a:cubicBezTo>
                          <a:cubicBezTo>
                            <a:pt x="84" y="55"/>
                            <a:pt x="84" y="55"/>
                            <a:pt x="84" y="55"/>
                          </a:cubicBezTo>
                          <a:cubicBezTo>
                            <a:pt x="85" y="55"/>
                            <a:pt x="84" y="55"/>
                            <a:pt x="84" y="55"/>
                          </a:cubicBezTo>
                          <a:cubicBezTo>
                            <a:pt x="84" y="55"/>
                            <a:pt x="84" y="55"/>
                            <a:pt x="84" y="56"/>
                          </a:cubicBezTo>
                          <a:cubicBezTo>
                            <a:pt x="83" y="55"/>
                            <a:pt x="83" y="56"/>
                            <a:pt x="83" y="56"/>
                          </a:cubicBezTo>
                          <a:cubicBezTo>
                            <a:pt x="83" y="56"/>
                            <a:pt x="83" y="56"/>
                            <a:pt x="83" y="56"/>
                          </a:cubicBezTo>
                          <a:cubicBezTo>
                            <a:pt x="83" y="56"/>
                            <a:pt x="83" y="56"/>
                            <a:pt x="83" y="56"/>
                          </a:cubicBezTo>
                          <a:cubicBezTo>
                            <a:pt x="83" y="56"/>
                            <a:pt x="83" y="56"/>
                            <a:pt x="82" y="56"/>
                          </a:cubicBezTo>
                          <a:cubicBezTo>
                            <a:pt x="82" y="56"/>
                            <a:pt x="83" y="56"/>
                            <a:pt x="82" y="56"/>
                          </a:cubicBezTo>
                          <a:cubicBezTo>
                            <a:pt x="82" y="56"/>
                            <a:pt x="82" y="56"/>
                            <a:pt x="82" y="56"/>
                          </a:cubicBezTo>
                          <a:cubicBezTo>
                            <a:pt x="82" y="56"/>
                            <a:pt x="82" y="56"/>
                            <a:pt x="82" y="56"/>
                          </a:cubicBezTo>
                          <a:cubicBezTo>
                            <a:pt x="82" y="56"/>
                            <a:pt x="82" y="56"/>
                            <a:pt x="82" y="56"/>
                          </a:cubicBezTo>
                          <a:cubicBezTo>
                            <a:pt x="82" y="56"/>
                            <a:pt x="82" y="56"/>
                            <a:pt x="82" y="56"/>
                          </a:cubicBezTo>
                          <a:cubicBezTo>
                            <a:pt x="82" y="56"/>
                            <a:pt x="82" y="56"/>
                            <a:pt x="82" y="56"/>
                          </a:cubicBezTo>
                          <a:cubicBezTo>
                            <a:pt x="82" y="56"/>
                            <a:pt x="82" y="56"/>
                            <a:pt x="82" y="56"/>
                          </a:cubicBezTo>
                          <a:cubicBezTo>
                            <a:pt x="82" y="56"/>
                            <a:pt x="82" y="56"/>
                            <a:pt x="82" y="56"/>
                          </a:cubicBezTo>
                          <a:cubicBezTo>
                            <a:pt x="82" y="56"/>
                            <a:pt x="83" y="55"/>
                            <a:pt x="83" y="55"/>
                          </a:cubicBezTo>
                          <a:cubicBezTo>
                            <a:pt x="82" y="55"/>
                            <a:pt x="82" y="56"/>
                            <a:pt x="82" y="56"/>
                          </a:cubicBezTo>
                          <a:cubicBezTo>
                            <a:pt x="82" y="56"/>
                            <a:pt x="82" y="56"/>
                            <a:pt x="82" y="56"/>
                          </a:cubicBezTo>
                          <a:cubicBezTo>
                            <a:pt x="82" y="56"/>
                            <a:pt x="81" y="56"/>
                            <a:pt x="81" y="56"/>
                          </a:cubicBezTo>
                          <a:cubicBezTo>
                            <a:pt x="81" y="56"/>
                            <a:pt x="81" y="56"/>
                            <a:pt x="82" y="56"/>
                          </a:cubicBezTo>
                          <a:cubicBezTo>
                            <a:pt x="81" y="56"/>
                            <a:pt x="81" y="56"/>
                            <a:pt x="82" y="56"/>
                          </a:cubicBezTo>
                          <a:cubicBezTo>
                            <a:pt x="82" y="56"/>
                            <a:pt x="82" y="56"/>
                            <a:pt x="81" y="56"/>
                          </a:cubicBezTo>
                          <a:cubicBezTo>
                            <a:pt x="81" y="57"/>
                            <a:pt x="82" y="57"/>
                            <a:pt x="81" y="57"/>
                          </a:cubicBezTo>
                          <a:cubicBezTo>
                            <a:pt x="81" y="57"/>
                            <a:pt x="81" y="57"/>
                            <a:pt x="81" y="57"/>
                          </a:cubicBezTo>
                          <a:cubicBezTo>
                            <a:pt x="81" y="57"/>
                            <a:pt x="80" y="57"/>
                            <a:pt x="79" y="58"/>
                          </a:cubicBezTo>
                          <a:cubicBezTo>
                            <a:pt x="79" y="58"/>
                            <a:pt x="80" y="58"/>
                            <a:pt x="80" y="58"/>
                          </a:cubicBezTo>
                          <a:cubicBezTo>
                            <a:pt x="80" y="58"/>
                            <a:pt x="80" y="58"/>
                            <a:pt x="80" y="58"/>
                          </a:cubicBezTo>
                          <a:cubicBezTo>
                            <a:pt x="80" y="58"/>
                            <a:pt x="79" y="58"/>
                            <a:pt x="79" y="58"/>
                          </a:cubicBezTo>
                          <a:cubicBezTo>
                            <a:pt x="79" y="58"/>
                            <a:pt x="80" y="58"/>
                            <a:pt x="79" y="58"/>
                          </a:cubicBezTo>
                          <a:cubicBezTo>
                            <a:pt x="79" y="58"/>
                            <a:pt x="79" y="58"/>
                            <a:pt x="79" y="58"/>
                          </a:cubicBezTo>
                          <a:cubicBezTo>
                            <a:pt x="79" y="58"/>
                            <a:pt x="79" y="58"/>
                            <a:pt x="79" y="58"/>
                          </a:cubicBezTo>
                          <a:cubicBezTo>
                            <a:pt x="79" y="58"/>
                            <a:pt x="79" y="58"/>
                            <a:pt x="79" y="58"/>
                          </a:cubicBezTo>
                          <a:cubicBezTo>
                            <a:pt x="79" y="57"/>
                            <a:pt x="79" y="57"/>
                            <a:pt x="79" y="57"/>
                          </a:cubicBezTo>
                          <a:cubicBezTo>
                            <a:pt x="79" y="57"/>
                            <a:pt x="79" y="57"/>
                            <a:pt x="79" y="57"/>
                          </a:cubicBezTo>
                          <a:cubicBezTo>
                            <a:pt x="79" y="57"/>
                            <a:pt x="79" y="57"/>
                            <a:pt x="79" y="57"/>
                          </a:cubicBezTo>
                          <a:cubicBezTo>
                            <a:pt x="79" y="57"/>
                            <a:pt x="78" y="57"/>
                            <a:pt x="78" y="57"/>
                          </a:cubicBezTo>
                          <a:cubicBezTo>
                            <a:pt x="78" y="57"/>
                            <a:pt x="78" y="57"/>
                            <a:pt x="78" y="58"/>
                          </a:cubicBezTo>
                          <a:cubicBezTo>
                            <a:pt x="78" y="58"/>
                            <a:pt x="78" y="57"/>
                            <a:pt x="78" y="58"/>
                          </a:cubicBezTo>
                          <a:cubicBezTo>
                            <a:pt x="78" y="58"/>
                            <a:pt x="78" y="58"/>
                            <a:pt x="78" y="57"/>
                          </a:cubicBezTo>
                          <a:cubicBezTo>
                            <a:pt x="79" y="57"/>
                            <a:pt x="78" y="58"/>
                            <a:pt x="78" y="58"/>
                          </a:cubicBezTo>
                          <a:cubicBezTo>
                            <a:pt x="78" y="58"/>
                            <a:pt x="78" y="58"/>
                            <a:pt x="78" y="58"/>
                          </a:cubicBezTo>
                          <a:cubicBezTo>
                            <a:pt x="78" y="58"/>
                            <a:pt x="78" y="58"/>
                            <a:pt x="78" y="58"/>
                          </a:cubicBezTo>
                          <a:cubicBezTo>
                            <a:pt x="78" y="58"/>
                            <a:pt x="78" y="58"/>
                            <a:pt x="78" y="58"/>
                          </a:cubicBezTo>
                          <a:cubicBezTo>
                            <a:pt x="78" y="58"/>
                            <a:pt x="78" y="58"/>
                            <a:pt x="78" y="58"/>
                          </a:cubicBezTo>
                          <a:cubicBezTo>
                            <a:pt x="78" y="58"/>
                            <a:pt x="78" y="58"/>
                            <a:pt x="78" y="58"/>
                          </a:cubicBezTo>
                          <a:cubicBezTo>
                            <a:pt x="78" y="58"/>
                            <a:pt x="77" y="58"/>
                            <a:pt x="78" y="57"/>
                          </a:cubicBezTo>
                          <a:cubicBezTo>
                            <a:pt x="78" y="57"/>
                            <a:pt x="77" y="57"/>
                            <a:pt x="77" y="58"/>
                          </a:cubicBezTo>
                          <a:cubicBezTo>
                            <a:pt x="77" y="58"/>
                            <a:pt x="77" y="58"/>
                            <a:pt x="77" y="58"/>
                          </a:cubicBezTo>
                          <a:cubicBezTo>
                            <a:pt x="77" y="58"/>
                            <a:pt x="77" y="58"/>
                            <a:pt x="77" y="58"/>
                          </a:cubicBezTo>
                          <a:cubicBezTo>
                            <a:pt x="77" y="58"/>
                            <a:pt x="77" y="58"/>
                            <a:pt x="76" y="58"/>
                          </a:cubicBezTo>
                          <a:cubicBezTo>
                            <a:pt x="77" y="58"/>
                            <a:pt x="77" y="58"/>
                            <a:pt x="77" y="58"/>
                          </a:cubicBezTo>
                          <a:cubicBezTo>
                            <a:pt x="77" y="58"/>
                            <a:pt x="76" y="58"/>
                            <a:pt x="76" y="58"/>
                          </a:cubicBezTo>
                          <a:cubicBezTo>
                            <a:pt x="76" y="58"/>
                            <a:pt x="77" y="58"/>
                            <a:pt x="76" y="58"/>
                          </a:cubicBezTo>
                          <a:cubicBezTo>
                            <a:pt x="76" y="58"/>
                            <a:pt x="76" y="58"/>
                            <a:pt x="76" y="59"/>
                          </a:cubicBezTo>
                          <a:cubicBezTo>
                            <a:pt x="76" y="58"/>
                            <a:pt x="76" y="58"/>
                            <a:pt x="76" y="58"/>
                          </a:cubicBezTo>
                          <a:cubicBezTo>
                            <a:pt x="76" y="58"/>
                            <a:pt x="76" y="58"/>
                            <a:pt x="76" y="58"/>
                          </a:cubicBezTo>
                          <a:cubicBezTo>
                            <a:pt x="75" y="58"/>
                            <a:pt x="75" y="58"/>
                            <a:pt x="75" y="58"/>
                          </a:cubicBezTo>
                          <a:cubicBezTo>
                            <a:pt x="75" y="58"/>
                            <a:pt x="75" y="58"/>
                            <a:pt x="75" y="58"/>
                          </a:cubicBezTo>
                          <a:cubicBezTo>
                            <a:pt x="75" y="58"/>
                            <a:pt x="75" y="59"/>
                            <a:pt x="75" y="58"/>
                          </a:cubicBezTo>
                          <a:cubicBezTo>
                            <a:pt x="74" y="59"/>
                            <a:pt x="74" y="59"/>
                            <a:pt x="73" y="59"/>
                          </a:cubicBezTo>
                          <a:cubicBezTo>
                            <a:pt x="73" y="59"/>
                            <a:pt x="74" y="59"/>
                            <a:pt x="74" y="58"/>
                          </a:cubicBezTo>
                          <a:cubicBezTo>
                            <a:pt x="74" y="58"/>
                            <a:pt x="74" y="58"/>
                            <a:pt x="75" y="58"/>
                          </a:cubicBezTo>
                          <a:cubicBezTo>
                            <a:pt x="75" y="58"/>
                            <a:pt x="74" y="58"/>
                            <a:pt x="74" y="58"/>
                          </a:cubicBezTo>
                          <a:cubicBezTo>
                            <a:pt x="74" y="58"/>
                            <a:pt x="74" y="58"/>
                            <a:pt x="74" y="58"/>
                          </a:cubicBezTo>
                          <a:cubicBezTo>
                            <a:pt x="74" y="58"/>
                            <a:pt x="75" y="58"/>
                            <a:pt x="75" y="58"/>
                          </a:cubicBezTo>
                          <a:cubicBezTo>
                            <a:pt x="75" y="58"/>
                            <a:pt x="75" y="58"/>
                            <a:pt x="75" y="58"/>
                          </a:cubicBezTo>
                          <a:cubicBezTo>
                            <a:pt x="75" y="58"/>
                            <a:pt x="75" y="58"/>
                            <a:pt x="75" y="58"/>
                          </a:cubicBezTo>
                          <a:cubicBezTo>
                            <a:pt x="75" y="57"/>
                            <a:pt x="75" y="57"/>
                            <a:pt x="75" y="57"/>
                          </a:cubicBezTo>
                          <a:cubicBezTo>
                            <a:pt x="75" y="57"/>
                            <a:pt x="75" y="57"/>
                            <a:pt x="75" y="57"/>
                          </a:cubicBezTo>
                          <a:cubicBezTo>
                            <a:pt x="76" y="57"/>
                            <a:pt x="76" y="56"/>
                            <a:pt x="77" y="56"/>
                          </a:cubicBezTo>
                          <a:cubicBezTo>
                            <a:pt x="77" y="56"/>
                            <a:pt x="77" y="56"/>
                            <a:pt x="77" y="56"/>
                          </a:cubicBezTo>
                          <a:cubicBezTo>
                            <a:pt x="78" y="56"/>
                            <a:pt x="78" y="56"/>
                            <a:pt x="78" y="56"/>
                          </a:cubicBezTo>
                          <a:cubicBezTo>
                            <a:pt x="78" y="56"/>
                            <a:pt x="78" y="56"/>
                            <a:pt x="78" y="56"/>
                          </a:cubicBezTo>
                          <a:cubicBezTo>
                            <a:pt x="78" y="56"/>
                            <a:pt x="78" y="56"/>
                            <a:pt x="78" y="55"/>
                          </a:cubicBezTo>
                          <a:cubicBezTo>
                            <a:pt x="78" y="55"/>
                            <a:pt x="78" y="56"/>
                            <a:pt x="78" y="56"/>
                          </a:cubicBezTo>
                          <a:cubicBezTo>
                            <a:pt x="79" y="55"/>
                            <a:pt x="79" y="55"/>
                            <a:pt x="79" y="55"/>
                          </a:cubicBezTo>
                          <a:cubicBezTo>
                            <a:pt x="80" y="55"/>
                            <a:pt x="80" y="54"/>
                            <a:pt x="80" y="54"/>
                          </a:cubicBezTo>
                          <a:cubicBezTo>
                            <a:pt x="81" y="54"/>
                            <a:pt x="81" y="54"/>
                            <a:pt x="82" y="54"/>
                          </a:cubicBezTo>
                          <a:cubicBezTo>
                            <a:pt x="81" y="54"/>
                            <a:pt x="81" y="54"/>
                            <a:pt x="81" y="54"/>
                          </a:cubicBezTo>
                          <a:cubicBezTo>
                            <a:pt x="81" y="54"/>
                            <a:pt x="81" y="54"/>
                            <a:pt x="81" y="54"/>
                          </a:cubicBezTo>
                          <a:cubicBezTo>
                            <a:pt x="81" y="54"/>
                            <a:pt x="81" y="54"/>
                            <a:pt x="82" y="54"/>
                          </a:cubicBezTo>
                          <a:cubicBezTo>
                            <a:pt x="81" y="54"/>
                            <a:pt x="83" y="53"/>
                            <a:pt x="83" y="53"/>
                          </a:cubicBezTo>
                          <a:cubicBezTo>
                            <a:pt x="83" y="53"/>
                            <a:pt x="83" y="53"/>
                            <a:pt x="83" y="53"/>
                          </a:cubicBezTo>
                          <a:cubicBezTo>
                            <a:pt x="84" y="53"/>
                            <a:pt x="84" y="53"/>
                            <a:pt x="84" y="53"/>
                          </a:cubicBezTo>
                          <a:cubicBezTo>
                            <a:pt x="84" y="53"/>
                            <a:pt x="84" y="53"/>
                            <a:pt x="84" y="53"/>
                          </a:cubicBezTo>
                          <a:cubicBezTo>
                            <a:pt x="85" y="52"/>
                            <a:pt x="87" y="51"/>
                            <a:pt x="89" y="50"/>
                          </a:cubicBezTo>
                          <a:cubicBezTo>
                            <a:pt x="89" y="50"/>
                            <a:pt x="89" y="50"/>
                            <a:pt x="89" y="50"/>
                          </a:cubicBezTo>
                          <a:cubicBezTo>
                            <a:pt x="89" y="50"/>
                            <a:pt x="89" y="50"/>
                            <a:pt x="89" y="50"/>
                          </a:cubicBezTo>
                          <a:cubicBezTo>
                            <a:pt x="89" y="50"/>
                            <a:pt x="89" y="50"/>
                            <a:pt x="89" y="50"/>
                          </a:cubicBezTo>
                          <a:cubicBezTo>
                            <a:pt x="89" y="50"/>
                            <a:pt x="89" y="50"/>
                            <a:pt x="89" y="50"/>
                          </a:cubicBezTo>
                          <a:cubicBezTo>
                            <a:pt x="89" y="50"/>
                            <a:pt x="89" y="50"/>
                            <a:pt x="89" y="50"/>
                          </a:cubicBezTo>
                          <a:cubicBezTo>
                            <a:pt x="90" y="50"/>
                            <a:pt x="89" y="50"/>
                            <a:pt x="89" y="50"/>
                          </a:cubicBezTo>
                          <a:cubicBezTo>
                            <a:pt x="89" y="50"/>
                            <a:pt x="89" y="49"/>
                            <a:pt x="90" y="49"/>
                          </a:cubicBezTo>
                          <a:cubicBezTo>
                            <a:pt x="90" y="49"/>
                            <a:pt x="90" y="50"/>
                            <a:pt x="90" y="49"/>
                          </a:cubicBezTo>
                          <a:cubicBezTo>
                            <a:pt x="90" y="49"/>
                            <a:pt x="90" y="49"/>
                            <a:pt x="91" y="49"/>
                          </a:cubicBezTo>
                          <a:cubicBezTo>
                            <a:pt x="91" y="49"/>
                            <a:pt x="91" y="49"/>
                            <a:pt x="91" y="49"/>
                          </a:cubicBezTo>
                          <a:cubicBezTo>
                            <a:pt x="91" y="49"/>
                            <a:pt x="91" y="49"/>
                            <a:pt x="92" y="49"/>
                          </a:cubicBezTo>
                          <a:cubicBezTo>
                            <a:pt x="92" y="49"/>
                            <a:pt x="91" y="49"/>
                            <a:pt x="92" y="48"/>
                          </a:cubicBezTo>
                          <a:cubicBezTo>
                            <a:pt x="92" y="48"/>
                            <a:pt x="91" y="49"/>
                            <a:pt x="91" y="48"/>
                          </a:cubicBezTo>
                          <a:cubicBezTo>
                            <a:pt x="92" y="48"/>
                            <a:pt x="92" y="48"/>
                            <a:pt x="92" y="48"/>
                          </a:cubicBezTo>
                          <a:cubicBezTo>
                            <a:pt x="92" y="48"/>
                            <a:pt x="93" y="48"/>
                            <a:pt x="93" y="47"/>
                          </a:cubicBezTo>
                          <a:cubicBezTo>
                            <a:pt x="93" y="47"/>
                            <a:pt x="94" y="47"/>
                            <a:pt x="94" y="47"/>
                          </a:cubicBezTo>
                          <a:cubicBezTo>
                            <a:pt x="94" y="47"/>
                            <a:pt x="94" y="47"/>
                            <a:pt x="94" y="47"/>
                          </a:cubicBezTo>
                          <a:cubicBezTo>
                            <a:pt x="95" y="47"/>
                            <a:pt x="95" y="47"/>
                            <a:pt x="96" y="47"/>
                          </a:cubicBezTo>
                          <a:cubicBezTo>
                            <a:pt x="95" y="47"/>
                            <a:pt x="95" y="47"/>
                            <a:pt x="95" y="47"/>
                          </a:cubicBezTo>
                          <a:cubicBezTo>
                            <a:pt x="95" y="47"/>
                            <a:pt x="96" y="47"/>
                            <a:pt x="96" y="46"/>
                          </a:cubicBezTo>
                          <a:cubicBezTo>
                            <a:pt x="96" y="46"/>
                            <a:pt x="95" y="47"/>
                            <a:pt x="95" y="47"/>
                          </a:cubicBezTo>
                          <a:cubicBezTo>
                            <a:pt x="95" y="47"/>
                            <a:pt x="95" y="47"/>
                            <a:pt x="95" y="47"/>
                          </a:cubicBezTo>
                          <a:cubicBezTo>
                            <a:pt x="95" y="47"/>
                            <a:pt x="95" y="47"/>
                            <a:pt x="95" y="47"/>
                          </a:cubicBezTo>
                          <a:cubicBezTo>
                            <a:pt x="94" y="48"/>
                            <a:pt x="93" y="48"/>
                            <a:pt x="92" y="49"/>
                          </a:cubicBezTo>
                          <a:cubicBezTo>
                            <a:pt x="92" y="49"/>
                            <a:pt x="92" y="48"/>
                            <a:pt x="92" y="49"/>
                          </a:cubicBezTo>
                          <a:cubicBezTo>
                            <a:pt x="91" y="49"/>
                            <a:pt x="89" y="50"/>
                            <a:pt x="88" y="51"/>
                          </a:cubicBezTo>
                          <a:cubicBezTo>
                            <a:pt x="88" y="51"/>
                            <a:pt x="88" y="51"/>
                            <a:pt x="88" y="51"/>
                          </a:cubicBezTo>
                          <a:cubicBezTo>
                            <a:pt x="88" y="51"/>
                            <a:pt x="88" y="51"/>
                            <a:pt x="88" y="51"/>
                          </a:cubicBezTo>
                          <a:cubicBezTo>
                            <a:pt x="87" y="51"/>
                            <a:pt x="87" y="52"/>
                            <a:pt x="86" y="52"/>
                          </a:cubicBezTo>
                          <a:cubicBezTo>
                            <a:pt x="86" y="52"/>
                            <a:pt x="86" y="52"/>
                            <a:pt x="86" y="52"/>
                          </a:cubicBezTo>
                          <a:cubicBezTo>
                            <a:pt x="86" y="52"/>
                            <a:pt x="86" y="52"/>
                            <a:pt x="86" y="52"/>
                          </a:cubicBezTo>
                          <a:cubicBezTo>
                            <a:pt x="86" y="52"/>
                            <a:pt x="86" y="52"/>
                            <a:pt x="86" y="52"/>
                          </a:cubicBezTo>
                          <a:cubicBezTo>
                            <a:pt x="85" y="52"/>
                            <a:pt x="85" y="52"/>
                            <a:pt x="85" y="52"/>
                          </a:cubicBezTo>
                          <a:cubicBezTo>
                            <a:pt x="85" y="53"/>
                            <a:pt x="85" y="53"/>
                            <a:pt x="85" y="53"/>
                          </a:cubicBezTo>
                          <a:cubicBezTo>
                            <a:pt x="85" y="53"/>
                            <a:pt x="86" y="52"/>
                            <a:pt x="87" y="52"/>
                          </a:cubicBezTo>
                          <a:cubicBezTo>
                            <a:pt x="87" y="52"/>
                            <a:pt x="87" y="52"/>
                            <a:pt x="87" y="52"/>
                          </a:cubicBezTo>
                          <a:cubicBezTo>
                            <a:pt x="87" y="52"/>
                            <a:pt x="87" y="52"/>
                            <a:pt x="87" y="52"/>
                          </a:cubicBezTo>
                          <a:cubicBezTo>
                            <a:pt x="87" y="52"/>
                            <a:pt x="88" y="52"/>
                            <a:pt x="88" y="51"/>
                          </a:cubicBezTo>
                          <a:cubicBezTo>
                            <a:pt x="88" y="52"/>
                            <a:pt x="89" y="51"/>
                            <a:pt x="88" y="51"/>
                          </a:cubicBezTo>
                          <a:cubicBezTo>
                            <a:pt x="88" y="51"/>
                            <a:pt x="89" y="51"/>
                            <a:pt x="88" y="51"/>
                          </a:cubicBezTo>
                          <a:cubicBezTo>
                            <a:pt x="88" y="52"/>
                            <a:pt x="89" y="51"/>
                            <a:pt x="89" y="51"/>
                          </a:cubicBezTo>
                          <a:cubicBezTo>
                            <a:pt x="89" y="52"/>
                            <a:pt x="89" y="52"/>
                            <a:pt x="88" y="52"/>
                          </a:cubicBezTo>
                          <a:cubicBezTo>
                            <a:pt x="89" y="52"/>
                            <a:pt x="88" y="52"/>
                            <a:pt x="88" y="52"/>
                          </a:cubicBezTo>
                          <a:cubicBezTo>
                            <a:pt x="88" y="52"/>
                            <a:pt x="88" y="52"/>
                            <a:pt x="87" y="52"/>
                          </a:cubicBezTo>
                          <a:cubicBezTo>
                            <a:pt x="87" y="52"/>
                            <a:pt x="87" y="52"/>
                            <a:pt x="86" y="52"/>
                          </a:cubicBezTo>
                          <a:cubicBezTo>
                            <a:pt x="86" y="53"/>
                            <a:pt x="87" y="52"/>
                            <a:pt x="87" y="53"/>
                          </a:cubicBezTo>
                          <a:cubicBezTo>
                            <a:pt x="87" y="52"/>
                            <a:pt x="87" y="52"/>
                            <a:pt x="87" y="52"/>
                          </a:cubicBezTo>
                          <a:cubicBezTo>
                            <a:pt x="87" y="52"/>
                            <a:pt x="88" y="52"/>
                            <a:pt x="88" y="52"/>
                          </a:cubicBezTo>
                          <a:cubicBezTo>
                            <a:pt x="88" y="52"/>
                            <a:pt x="88" y="52"/>
                            <a:pt x="88" y="52"/>
                          </a:cubicBezTo>
                          <a:cubicBezTo>
                            <a:pt x="88" y="52"/>
                            <a:pt x="88" y="52"/>
                            <a:pt x="89" y="52"/>
                          </a:cubicBezTo>
                          <a:cubicBezTo>
                            <a:pt x="89" y="52"/>
                            <a:pt x="89" y="52"/>
                            <a:pt x="89" y="52"/>
                          </a:cubicBezTo>
                          <a:cubicBezTo>
                            <a:pt x="89" y="52"/>
                            <a:pt x="89" y="52"/>
                            <a:pt x="89" y="52"/>
                          </a:cubicBezTo>
                          <a:cubicBezTo>
                            <a:pt x="89" y="52"/>
                            <a:pt x="89" y="52"/>
                            <a:pt x="89" y="52"/>
                          </a:cubicBezTo>
                          <a:cubicBezTo>
                            <a:pt x="88" y="53"/>
                            <a:pt x="89" y="52"/>
                            <a:pt x="89" y="52"/>
                          </a:cubicBezTo>
                          <a:cubicBezTo>
                            <a:pt x="89" y="52"/>
                            <a:pt x="89" y="52"/>
                            <a:pt x="89" y="52"/>
                          </a:cubicBezTo>
                          <a:cubicBezTo>
                            <a:pt x="90" y="52"/>
                            <a:pt x="90" y="52"/>
                            <a:pt x="90" y="52"/>
                          </a:cubicBezTo>
                          <a:cubicBezTo>
                            <a:pt x="90" y="52"/>
                            <a:pt x="90" y="52"/>
                            <a:pt x="91" y="51"/>
                          </a:cubicBezTo>
                          <a:cubicBezTo>
                            <a:pt x="90" y="51"/>
                            <a:pt x="90" y="51"/>
                            <a:pt x="90" y="52"/>
                          </a:cubicBezTo>
                          <a:cubicBezTo>
                            <a:pt x="90" y="51"/>
                            <a:pt x="90" y="51"/>
                            <a:pt x="91" y="51"/>
                          </a:cubicBezTo>
                          <a:cubicBezTo>
                            <a:pt x="91" y="51"/>
                            <a:pt x="91" y="51"/>
                            <a:pt x="92" y="51"/>
                          </a:cubicBezTo>
                          <a:cubicBezTo>
                            <a:pt x="92" y="51"/>
                            <a:pt x="92" y="51"/>
                            <a:pt x="92" y="51"/>
                          </a:cubicBezTo>
                          <a:cubicBezTo>
                            <a:pt x="93" y="50"/>
                            <a:pt x="93" y="50"/>
                            <a:pt x="94" y="50"/>
                          </a:cubicBezTo>
                          <a:cubicBezTo>
                            <a:pt x="94" y="49"/>
                            <a:pt x="94" y="49"/>
                            <a:pt x="94" y="49"/>
                          </a:cubicBezTo>
                          <a:cubicBezTo>
                            <a:pt x="94" y="50"/>
                            <a:pt x="93" y="50"/>
                            <a:pt x="93" y="50"/>
                          </a:cubicBezTo>
                          <a:cubicBezTo>
                            <a:pt x="92" y="50"/>
                            <a:pt x="92" y="51"/>
                            <a:pt x="92" y="50"/>
                          </a:cubicBezTo>
                          <a:cubicBezTo>
                            <a:pt x="92" y="51"/>
                            <a:pt x="92" y="51"/>
                            <a:pt x="92" y="51"/>
                          </a:cubicBezTo>
                          <a:cubicBezTo>
                            <a:pt x="91" y="50"/>
                            <a:pt x="93" y="50"/>
                            <a:pt x="93" y="50"/>
                          </a:cubicBezTo>
                          <a:cubicBezTo>
                            <a:pt x="93" y="50"/>
                            <a:pt x="93" y="50"/>
                            <a:pt x="93" y="50"/>
                          </a:cubicBezTo>
                          <a:cubicBezTo>
                            <a:pt x="93" y="50"/>
                            <a:pt x="93" y="50"/>
                            <a:pt x="93" y="50"/>
                          </a:cubicBezTo>
                          <a:cubicBezTo>
                            <a:pt x="93" y="50"/>
                            <a:pt x="93" y="50"/>
                            <a:pt x="93" y="50"/>
                          </a:cubicBezTo>
                          <a:cubicBezTo>
                            <a:pt x="93" y="50"/>
                            <a:pt x="93" y="50"/>
                            <a:pt x="93" y="50"/>
                          </a:cubicBezTo>
                          <a:cubicBezTo>
                            <a:pt x="93" y="49"/>
                            <a:pt x="94" y="49"/>
                            <a:pt x="94" y="49"/>
                          </a:cubicBezTo>
                          <a:cubicBezTo>
                            <a:pt x="94" y="49"/>
                            <a:pt x="94" y="49"/>
                            <a:pt x="94" y="49"/>
                          </a:cubicBezTo>
                          <a:cubicBezTo>
                            <a:pt x="93" y="49"/>
                            <a:pt x="93" y="49"/>
                            <a:pt x="93" y="49"/>
                          </a:cubicBezTo>
                          <a:cubicBezTo>
                            <a:pt x="94" y="49"/>
                            <a:pt x="94" y="49"/>
                            <a:pt x="94" y="49"/>
                          </a:cubicBezTo>
                          <a:cubicBezTo>
                            <a:pt x="94" y="49"/>
                            <a:pt x="94" y="49"/>
                            <a:pt x="94" y="49"/>
                          </a:cubicBezTo>
                          <a:cubicBezTo>
                            <a:pt x="94" y="49"/>
                            <a:pt x="94" y="49"/>
                            <a:pt x="95" y="49"/>
                          </a:cubicBezTo>
                          <a:cubicBezTo>
                            <a:pt x="95" y="48"/>
                            <a:pt x="95" y="48"/>
                            <a:pt x="95" y="48"/>
                          </a:cubicBezTo>
                          <a:cubicBezTo>
                            <a:pt x="95" y="48"/>
                            <a:pt x="95" y="48"/>
                            <a:pt x="95" y="48"/>
                          </a:cubicBezTo>
                          <a:cubicBezTo>
                            <a:pt x="95" y="48"/>
                            <a:pt x="95" y="48"/>
                            <a:pt x="96" y="48"/>
                          </a:cubicBezTo>
                          <a:cubicBezTo>
                            <a:pt x="96" y="48"/>
                            <a:pt x="96" y="48"/>
                            <a:pt x="96" y="48"/>
                          </a:cubicBezTo>
                          <a:cubicBezTo>
                            <a:pt x="96" y="48"/>
                            <a:pt x="96" y="48"/>
                            <a:pt x="96" y="48"/>
                          </a:cubicBezTo>
                          <a:cubicBezTo>
                            <a:pt x="96" y="48"/>
                            <a:pt x="96" y="48"/>
                            <a:pt x="96" y="48"/>
                          </a:cubicBezTo>
                          <a:cubicBezTo>
                            <a:pt x="96" y="48"/>
                            <a:pt x="96" y="47"/>
                            <a:pt x="97" y="47"/>
                          </a:cubicBezTo>
                          <a:cubicBezTo>
                            <a:pt x="96" y="47"/>
                            <a:pt x="96" y="48"/>
                            <a:pt x="96" y="47"/>
                          </a:cubicBezTo>
                          <a:cubicBezTo>
                            <a:pt x="96" y="47"/>
                            <a:pt x="96" y="47"/>
                            <a:pt x="97" y="47"/>
                          </a:cubicBezTo>
                          <a:cubicBezTo>
                            <a:pt x="97" y="47"/>
                            <a:pt x="96" y="47"/>
                            <a:pt x="97" y="47"/>
                          </a:cubicBezTo>
                          <a:cubicBezTo>
                            <a:pt x="97" y="47"/>
                            <a:pt x="97" y="47"/>
                            <a:pt x="97" y="47"/>
                          </a:cubicBezTo>
                          <a:cubicBezTo>
                            <a:pt x="97" y="47"/>
                            <a:pt x="97" y="47"/>
                            <a:pt x="97" y="47"/>
                          </a:cubicBezTo>
                          <a:cubicBezTo>
                            <a:pt x="97" y="47"/>
                            <a:pt x="97" y="46"/>
                            <a:pt x="97" y="46"/>
                          </a:cubicBezTo>
                          <a:cubicBezTo>
                            <a:pt x="97" y="46"/>
                            <a:pt x="97" y="46"/>
                            <a:pt x="98" y="46"/>
                          </a:cubicBezTo>
                          <a:cubicBezTo>
                            <a:pt x="98" y="46"/>
                            <a:pt x="97" y="46"/>
                            <a:pt x="97" y="46"/>
                          </a:cubicBezTo>
                          <a:cubicBezTo>
                            <a:pt x="97" y="46"/>
                            <a:pt x="98" y="46"/>
                            <a:pt x="98" y="46"/>
                          </a:cubicBezTo>
                          <a:cubicBezTo>
                            <a:pt x="99" y="45"/>
                            <a:pt x="100" y="45"/>
                            <a:pt x="101" y="44"/>
                          </a:cubicBezTo>
                          <a:cubicBezTo>
                            <a:pt x="101" y="45"/>
                            <a:pt x="101" y="44"/>
                            <a:pt x="101" y="44"/>
                          </a:cubicBezTo>
                          <a:cubicBezTo>
                            <a:pt x="101" y="45"/>
                            <a:pt x="101" y="45"/>
                            <a:pt x="101" y="45"/>
                          </a:cubicBezTo>
                          <a:cubicBezTo>
                            <a:pt x="101" y="45"/>
                            <a:pt x="101" y="45"/>
                            <a:pt x="101" y="45"/>
                          </a:cubicBezTo>
                          <a:cubicBezTo>
                            <a:pt x="101" y="45"/>
                            <a:pt x="101" y="45"/>
                            <a:pt x="101" y="45"/>
                          </a:cubicBezTo>
                          <a:cubicBezTo>
                            <a:pt x="101" y="45"/>
                            <a:pt x="101" y="45"/>
                            <a:pt x="100" y="45"/>
                          </a:cubicBezTo>
                          <a:cubicBezTo>
                            <a:pt x="100" y="45"/>
                            <a:pt x="101" y="45"/>
                            <a:pt x="101" y="45"/>
                          </a:cubicBezTo>
                          <a:cubicBezTo>
                            <a:pt x="100" y="45"/>
                            <a:pt x="99" y="45"/>
                            <a:pt x="100" y="46"/>
                          </a:cubicBezTo>
                          <a:cubicBezTo>
                            <a:pt x="100" y="46"/>
                            <a:pt x="100" y="45"/>
                            <a:pt x="100" y="45"/>
                          </a:cubicBezTo>
                          <a:cubicBezTo>
                            <a:pt x="100" y="45"/>
                            <a:pt x="100" y="45"/>
                            <a:pt x="100" y="45"/>
                          </a:cubicBezTo>
                          <a:cubicBezTo>
                            <a:pt x="100" y="45"/>
                            <a:pt x="100" y="45"/>
                            <a:pt x="100" y="46"/>
                          </a:cubicBezTo>
                          <a:cubicBezTo>
                            <a:pt x="100" y="45"/>
                            <a:pt x="100" y="45"/>
                            <a:pt x="100" y="45"/>
                          </a:cubicBezTo>
                          <a:cubicBezTo>
                            <a:pt x="100" y="45"/>
                            <a:pt x="100" y="45"/>
                            <a:pt x="100" y="45"/>
                          </a:cubicBezTo>
                          <a:cubicBezTo>
                            <a:pt x="100" y="45"/>
                            <a:pt x="100" y="45"/>
                            <a:pt x="100" y="45"/>
                          </a:cubicBezTo>
                          <a:cubicBezTo>
                            <a:pt x="101" y="45"/>
                            <a:pt x="101" y="45"/>
                            <a:pt x="101" y="45"/>
                          </a:cubicBezTo>
                          <a:cubicBezTo>
                            <a:pt x="101" y="45"/>
                            <a:pt x="101" y="45"/>
                            <a:pt x="101" y="45"/>
                          </a:cubicBezTo>
                          <a:cubicBezTo>
                            <a:pt x="101" y="44"/>
                            <a:pt x="102" y="45"/>
                            <a:pt x="102" y="44"/>
                          </a:cubicBezTo>
                          <a:cubicBezTo>
                            <a:pt x="103" y="44"/>
                            <a:pt x="103" y="44"/>
                            <a:pt x="103" y="44"/>
                          </a:cubicBezTo>
                          <a:cubicBezTo>
                            <a:pt x="103" y="44"/>
                            <a:pt x="103" y="44"/>
                            <a:pt x="103" y="44"/>
                          </a:cubicBezTo>
                          <a:cubicBezTo>
                            <a:pt x="103" y="44"/>
                            <a:pt x="104" y="44"/>
                            <a:pt x="103" y="44"/>
                          </a:cubicBezTo>
                          <a:cubicBezTo>
                            <a:pt x="104" y="43"/>
                            <a:pt x="103" y="44"/>
                            <a:pt x="103" y="44"/>
                          </a:cubicBezTo>
                          <a:cubicBezTo>
                            <a:pt x="103" y="44"/>
                            <a:pt x="103" y="43"/>
                            <a:pt x="104" y="43"/>
                          </a:cubicBezTo>
                          <a:cubicBezTo>
                            <a:pt x="104" y="43"/>
                            <a:pt x="104" y="43"/>
                            <a:pt x="104" y="43"/>
                          </a:cubicBezTo>
                          <a:cubicBezTo>
                            <a:pt x="104" y="43"/>
                            <a:pt x="104" y="43"/>
                            <a:pt x="104" y="43"/>
                          </a:cubicBezTo>
                          <a:cubicBezTo>
                            <a:pt x="104" y="43"/>
                            <a:pt x="104" y="43"/>
                            <a:pt x="105" y="43"/>
                          </a:cubicBezTo>
                          <a:cubicBezTo>
                            <a:pt x="105" y="43"/>
                            <a:pt x="105" y="43"/>
                            <a:pt x="105" y="43"/>
                          </a:cubicBezTo>
                          <a:cubicBezTo>
                            <a:pt x="105" y="42"/>
                            <a:pt x="105" y="42"/>
                            <a:pt x="105" y="42"/>
                          </a:cubicBezTo>
                          <a:cubicBezTo>
                            <a:pt x="104" y="43"/>
                            <a:pt x="104" y="43"/>
                            <a:pt x="104" y="43"/>
                          </a:cubicBezTo>
                          <a:cubicBezTo>
                            <a:pt x="104" y="42"/>
                            <a:pt x="105" y="42"/>
                            <a:pt x="105" y="42"/>
                          </a:cubicBezTo>
                          <a:cubicBezTo>
                            <a:pt x="105" y="42"/>
                            <a:pt x="106" y="42"/>
                            <a:pt x="106" y="41"/>
                          </a:cubicBezTo>
                          <a:cubicBezTo>
                            <a:pt x="106" y="41"/>
                            <a:pt x="107" y="41"/>
                            <a:pt x="108" y="41"/>
                          </a:cubicBezTo>
                          <a:cubicBezTo>
                            <a:pt x="108" y="41"/>
                            <a:pt x="107" y="41"/>
                            <a:pt x="107" y="41"/>
                          </a:cubicBezTo>
                          <a:cubicBezTo>
                            <a:pt x="107" y="41"/>
                            <a:pt x="108" y="40"/>
                            <a:pt x="108" y="41"/>
                          </a:cubicBezTo>
                          <a:cubicBezTo>
                            <a:pt x="108" y="40"/>
                            <a:pt x="108" y="41"/>
                            <a:pt x="108" y="40"/>
                          </a:cubicBezTo>
                          <a:cubicBezTo>
                            <a:pt x="108" y="40"/>
                            <a:pt x="108" y="40"/>
                            <a:pt x="108" y="40"/>
                          </a:cubicBezTo>
                          <a:cubicBezTo>
                            <a:pt x="108" y="40"/>
                            <a:pt x="109" y="40"/>
                            <a:pt x="109" y="40"/>
                          </a:cubicBezTo>
                          <a:cubicBezTo>
                            <a:pt x="109" y="40"/>
                            <a:pt x="109" y="40"/>
                            <a:pt x="109" y="40"/>
                          </a:cubicBezTo>
                          <a:cubicBezTo>
                            <a:pt x="109" y="40"/>
                            <a:pt x="108" y="40"/>
                            <a:pt x="108" y="40"/>
                          </a:cubicBezTo>
                          <a:cubicBezTo>
                            <a:pt x="108" y="40"/>
                            <a:pt x="107" y="41"/>
                            <a:pt x="106" y="41"/>
                          </a:cubicBezTo>
                          <a:cubicBezTo>
                            <a:pt x="106" y="41"/>
                            <a:pt x="106" y="41"/>
                            <a:pt x="106" y="41"/>
                          </a:cubicBezTo>
                          <a:cubicBezTo>
                            <a:pt x="106" y="41"/>
                            <a:pt x="106" y="41"/>
                            <a:pt x="106" y="41"/>
                          </a:cubicBezTo>
                          <a:cubicBezTo>
                            <a:pt x="106" y="41"/>
                            <a:pt x="106" y="41"/>
                            <a:pt x="106" y="41"/>
                          </a:cubicBezTo>
                          <a:cubicBezTo>
                            <a:pt x="106" y="42"/>
                            <a:pt x="105" y="42"/>
                            <a:pt x="104" y="42"/>
                          </a:cubicBezTo>
                          <a:cubicBezTo>
                            <a:pt x="104" y="42"/>
                            <a:pt x="104" y="42"/>
                            <a:pt x="104" y="42"/>
                          </a:cubicBezTo>
                          <a:cubicBezTo>
                            <a:pt x="102" y="43"/>
                            <a:pt x="100" y="45"/>
                            <a:pt x="97" y="46"/>
                          </a:cubicBezTo>
                          <a:cubicBezTo>
                            <a:pt x="97" y="46"/>
                            <a:pt x="97" y="46"/>
                            <a:pt x="97" y="46"/>
                          </a:cubicBezTo>
                          <a:cubicBezTo>
                            <a:pt x="97" y="46"/>
                            <a:pt x="97" y="46"/>
                            <a:pt x="96" y="46"/>
                          </a:cubicBezTo>
                          <a:cubicBezTo>
                            <a:pt x="96" y="46"/>
                            <a:pt x="96" y="46"/>
                            <a:pt x="96" y="46"/>
                          </a:cubicBezTo>
                          <a:cubicBezTo>
                            <a:pt x="97" y="46"/>
                            <a:pt x="97" y="46"/>
                            <a:pt x="97" y="45"/>
                          </a:cubicBezTo>
                          <a:cubicBezTo>
                            <a:pt x="97" y="45"/>
                            <a:pt x="97" y="45"/>
                            <a:pt x="97" y="46"/>
                          </a:cubicBezTo>
                          <a:cubicBezTo>
                            <a:pt x="98" y="45"/>
                            <a:pt x="98" y="45"/>
                            <a:pt x="98" y="45"/>
                          </a:cubicBezTo>
                          <a:cubicBezTo>
                            <a:pt x="98" y="45"/>
                            <a:pt x="98" y="45"/>
                            <a:pt x="98" y="45"/>
                          </a:cubicBezTo>
                          <a:cubicBezTo>
                            <a:pt x="99" y="45"/>
                            <a:pt x="99" y="45"/>
                            <a:pt x="99" y="45"/>
                          </a:cubicBezTo>
                          <a:cubicBezTo>
                            <a:pt x="99" y="45"/>
                            <a:pt x="98" y="45"/>
                            <a:pt x="98" y="45"/>
                          </a:cubicBezTo>
                          <a:cubicBezTo>
                            <a:pt x="99" y="45"/>
                            <a:pt x="99" y="44"/>
                            <a:pt x="99" y="44"/>
                          </a:cubicBezTo>
                          <a:cubicBezTo>
                            <a:pt x="99" y="44"/>
                            <a:pt x="99" y="44"/>
                            <a:pt x="99" y="45"/>
                          </a:cubicBezTo>
                          <a:cubicBezTo>
                            <a:pt x="99" y="45"/>
                            <a:pt x="99" y="45"/>
                            <a:pt x="99" y="45"/>
                          </a:cubicBezTo>
                          <a:cubicBezTo>
                            <a:pt x="99" y="44"/>
                            <a:pt x="100" y="44"/>
                            <a:pt x="100" y="44"/>
                          </a:cubicBezTo>
                          <a:cubicBezTo>
                            <a:pt x="100" y="44"/>
                            <a:pt x="100" y="44"/>
                            <a:pt x="100" y="44"/>
                          </a:cubicBezTo>
                          <a:cubicBezTo>
                            <a:pt x="100" y="44"/>
                            <a:pt x="100" y="44"/>
                            <a:pt x="101" y="44"/>
                          </a:cubicBezTo>
                          <a:cubicBezTo>
                            <a:pt x="101" y="44"/>
                            <a:pt x="101" y="44"/>
                            <a:pt x="101" y="44"/>
                          </a:cubicBezTo>
                          <a:cubicBezTo>
                            <a:pt x="101" y="44"/>
                            <a:pt x="101" y="44"/>
                            <a:pt x="101" y="43"/>
                          </a:cubicBezTo>
                          <a:cubicBezTo>
                            <a:pt x="101" y="43"/>
                            <a:pt x="101" y="43"/>
                            <a:pt x="102" y="43"/>
                          </a:cubicBezTo>
                          <a:cubicBezTo>
                            <a:pt x="102" y="43"/>
                            <a:pt x="102" y="43"/>
                            <a:pt x="102" y="43"/>
                          </a:cubicBezTo>
                          <a:cubicBezTo>
                            <a:pt x="102" y="43"/>
                            <a:pt x="103" y="43"/>
                            <a:pt x="102" y="43"/>
                          </a:cubicBezTo>
                          <a:cubicBezTo>
                            <a:pt x="104" y="42"/>
                            <a:pt x="107" y="40"/>
                            <a:pt x="108" y="40"/>
                          </a:cubicBezTo>
                          <a:cubicBezTo>
                            <a:pt x="108" y="40"/>
                            <a:pt x="108" y="40"/>
                            <a:pt x="108" y="40"/>
                          </a:cubicBezTo>
                          <a:cubicBezTo>
                            <a:pt x="109" y="40"/>
                            <a:pt x="109" y="39"/>
                            <a:pt x="110" y="39"/>
                          </a:cubicBezTo>
                          <a:cubicBezTo>
                            <a:pt x="110" y="39"/>
                            <a:pt x="110" y="39"/>
                            <a:pt x="110" y="39"/>
                          </a:cubicBezTo>
                          <a:cubicBezTo>
                            <a:pt x="110" y="39"/>
                            <a:pt x="111" y="39"/>
                            <a:pt x="111" y="38"/>
                          </a:cubicBezTo>
                          <a:cubicBezTo>
                            <a:pt x="111" y="38"/>
                            <a:pt x="111" y="39"/>
                            <a:pt x="111" y="39"/>
                          </a:cubicBezTo>
                          <a:cubicBezTo>
                            <a:pt x="110" y="39"/>
                            <a:pt x="109" y="39"/>
                            <a:pt x="109" y="40"/>
                          </a:cubicBezTo>
                          <a:cubicBezTo>
                            <a:pt x="109" y="40"/>
                            <a:pt x="109" y="40"/>
                            <a:pt x="109" y="40"/>
                          </a:cubicBezTo>
                          <a:cubicBezTo>
                            <a:pt x="109" y="40"/>
                            <a:pt x="109" y="40"/>
                            <a:pt x="109" y="40"/>
                          </a:cubicBezTo>
                          <a:cubicBezTo>
                            <a:pt x="109" y="40"/>
                            <a:pt x="109" y="40"/>
                            <a:pt x="109" y="40"/>
                          </a:cubicBezTo>
                          <a:cubicBezTo>
                            <a:pt x="109" y="40"/>
                            <a:pt x="109" y="40"/>
                            <a:pt x="109" y="40"/>
                          </a:cubicBezTo>
                          <a:cubicBezTo>
                            <a:pt x="109" y="40"/>
                            <a:pt x="109" y="40"/>
                            <a:pt x="109" y="40"/>
                          </a:cubicBezTo>
                          <a:cubicBezTo>
                            <a:pt x="109" y="40"/>
                            <a:pt x="109" y="40"/>
                            <a:pt x="109" y="40"/>
                          </a:cubicBezTo>
                          <a:cubicBezTo>
                            <a:pt x="109" y="40"/>
                            <a:pt x="110" y="39"/>
                            <a:pt x="110" y="39"/>
                          </a:cubicBezTo>
                          <a:cubicBezTo>
                            <a:pt x="110" y="39"/>
                            <a:pt x="110" y="39"/>
                            <a:pt x="110" y="39"/>
                          </a:cubicBezTo>
                          <a:cubicBezTo>
                            <a:pt x="110" y="39"/>
                            <a:pt x="111" y="39"/>
                            <a:pt x="111" y="39"/>
                          </a:cubicBezTo>
                          <a:cubicBezTo>
                            <a:pt x="111" y="39"/>
                            <a:pt x="111" y="39"/>
                            <a:pt x="110" y="39"/>
                          </a:cubicBezTo>
                          <a:cubicBezTo>
                            <a:pt x="110" y="39"/>
                            <a:pt x="111" y="39"/>
                            <a:pt x="111" y="39"/>
                          </a:cubicBezTo>
                          <a:cubicBezTo>
                            <a:pt x="111" y="39"/>
                            <a:pt x="111" y="39"/>
                            <a:pt x="112" y="39"/>
                          </a:cubicBezTo>
                          <a:cubicBezTo>
                            <a:pt x="112" y="38"/>
                            <a:pt x="112" y="38"/>
                            <a:pt x="113" y="38"/>
                          </a:cubicBezTo>
                          <a:cubicBezTo>
                            <a:pt x="113" y="38"/>
                            <a:pt x="113" y="38"/>
                            <a:pt x="113" y="38"/>
                          </a:cubicBezTo>
                          <a:cubicBezTo>
                            <a:pt x="113" y="38"/>
                            <a:pt x="113" y="38"/>
                            <a:pt x="113" y="38"/>
                          </a:cubicBezTo>
                          <a:cubicBezTo>
                            <a:pt x="113" y="38"/>
                            <a:pt x="113" y="38"/>
                            <a:pt x="112" y="39"/>
                          </a:cubicBezTo>
                          <a:cubicBezTo>
                            <a:pt x="112" y="39"/>
                            <a:pt x="113" y="38"/>
                            <a:pt x="113" y="39"/>
                          </a:cubicBezTo>
                          <a:cubicBezTo>
                            <a:pt x="113" y="39"/>
                            <a:pt x="113" y="39"/>
                            <a:pt x="113" y="39"/>
                          </a:cubicBezTo>
                          <a:cubicBezTo>
                            <a:pt x="113" y="38"/>
                            <a:pt x="113" y="38"/>
                            <a:pt x="113" y="38"/>
                          </a:cubicBezTo>
                          <a:cubicBezTo>
                            <a:pt x="113" y="38"/>
                            <a:pt x="113" y="39"/>
                            <a:pt x="113" y="38"/>
                          </a:cubicBezTo>
                          <a:cubicBezTo>
                            <a:pt x="113" y="38"/>
                            <a:pt x="113" y="38"/>
                            <a:pt x="113" y="38"/>
                          </a:cubicBezTo>
                          <a:cubicBezTo>
                            <a:pt x="113" y="39"/>
                            <a:pt x="113" y="39"/>
                            <a:pt x="112" y="39"/>
                          </a:cubicBezTo>
                          <a:cubicBezTo>
                            <a:pt x="112" y="39"/>
                            <a:pt x="112" y="39"/>
                            <a:pt x="112" y="39"/>
                          </a:cubicBezTo>
                          <a:cubicBezTo>
                            <a:pt x="112" y="39"/>
                            <a:pt x="112" y="39"/>
                            <a:pt x="112" y="39"/>
                          </a:cubicBezTo>
                          <a:cubicBezTo>
                            <a:pt x="112" y="39"/>
                            <a:pt x="111" y="39"/>
                            <a:pt x="111" y="39"/>
                          </a:cubicBezTo>
                          <a:cubicBezTo>
                            <a:pt x="112" y="39"/>
                            <a:pt x="112" y="39"/>
                            <a:pt x="112" y="39"/>
                          </a:cubicBezTo>
                          <a:cubicBezTo>
                            <a:pt x="111" y="39"/>
                            <a:pt x="111" y="40"/>
                            <a:pt x="110" y="40"/>
                          </a:cubicBezTo>
                          <a:cubicBezTo>
                            <a:pt x="110" y="40"/>
                            <a:pt x="110" y="40"/>
                            <a:pt x="110" y="40"/>
                          </a:cubicBezTo>
                          <a:cubicBezTo>
                            <a:pt x="110" y="40"/>
                            <a:pt x="110" y="40"/>
                            <a:pt x="110" y="40"/>
                          </a:cubicBezTo>
                          <a:cubicBezTo>
                            <a:pt x="110" y="40"/>
                            <a:pt x="110" y="40"/>
                            <a:pt x="110" y="40"/>
                          </a:cubicBezTo>
                          <a:cubicBezTo>
                            <a:pt x="110" y="40"/>
                            <a:pt x="110" y="40"/>
                            <a:pt x="110" y="40"/>
                          </a:cubicBezTo>
                          <a:cubicBezTo>
                            <a:pt x="110" y="40"/>
                            <a:pt x="110" y="40"/>
                            <a:pt x="110" y="40"/>
                          </a:cubicBezTo>
                          <a:cubicBezTo>
                            <a:pt x="109" y="41"/>
                            <a:pt x="109" y="41"/>
                            <a:pt x="108" y="41"/>
                          </a:cubicBezTo>
                          <a:cubicBezTo>
                            <a:pt x="108" y="41"/>
                            <a:pt x="109" y="41"/>
                            <a:pt x="109" y="41"/>
                          </a:cubicBezTo>
                          <a:cubicBezTo>
                            <a:pt x="109" y="41"/>
                            <a:pt x="108" y="42"/>
                            <a:pt x="107" y="42"/>
                          </a:cubicBezTo>
                          <a:cubicBezTo>
                            <a:pt x="107" y="42"/>
                            <a:pt x="108" y="42"/>
                            <a:pt x="108" y="42"/>
                          </a:cubicBezTo>
                          <a:cubicBezTo>
                            <a:pt x="108" y="42"/>
                            <a:pt x="108" y="42"/>
                            <a:pt x="108" y="42"/>
                          </a:cubicBezTo>
                          <a:cubicBezTo>
                            <a:pt x="108" y="42"/>
                            <a:pt x="108" y="42"/>
                            <a:pt x="108" y="41"/>
                          </a:cubicBezTo>
                          <a:cubicBezTo>
                            <a:pt x="109" y="41"/>
                            <a:pt x="108" y="42"/>
                            <a:pt x="108" y="42"/>
                          </a:cubicBezTo>
                          <a:cubicBezTo>
                            <a:pt x="108" y="42"/>
                            <a:pt x="108" y="41"/>
                            <a:pt x="109" y="42"/>
                          </a:cubicBezTo>
                          <a:cubicBezTo>
                            <a:pt x="109" y="41"/>
                            <a:pt x="108" y="41"/>
                            <a:pt x="109" y="41"/>
                          </a:cubicBezTo>
                          <a:cubicBezTo>
                            <a:pt x="109" y="41"/>
                            <a:pt x="109" y="41"/>
                            <a:pt x="109" y="41"/>
                          </a:cubicBezTo>
                          <a:cubicBezTo>
                            <a:pt x="109" y="41"/>
                            <a:pt x="109" y="41"/>
                            <a:pt x="109" y="41"/>
                          </a:cubicBezTo>
                          <a:cubicBezTo>
                            <a:pt x="109" y="41"/>
                            <a:pt x="109" y="42"/>
                            <a:pt x="108" y="42"/>
                          </a:cubicBezTo>
                          <a:cubicBezTo>
                            <a:pt x="109" y="42"/>
                            <a:pt x="109" y="42"/>
                            <a:pt x="110" y="41"/>
                          </a:cubicBezTo>
                          <a:cubicBezTo>
                            <a:pt x="109" y="41"/>
                            <a:pt x="109" y="41"/>
                            <a:pt x="109" y="41"/>
                          </a:cubicBezTo>
                          <a:cubicBezTo>
                            <a:pt x="109" y="41"/>
                            <a:pt x="110" y="41"/>
                            <a:pt x="110" y="41"/>
                          </a:cubicBezTo>
                          <a:cubicBezTo>
                            <a:pt x="110" y="41"/>
                            <a:pt x="111" y="41"/>
                            <a:pt x="111" y="40"/>
                          </a:cubicBezTo>
                          <a:cubicBezTo>
                            <a:pt x="111" y="40"/>
                            <a:pt x="111" y="40"/>
                            <a:pt x="111" y="41"/>
                          </a:cubicBezTo>
                          <a:cubicBezTo>
                            <a:pt x="110" y="41"/>
                            <a:pt x="110" y="41"/>
                            <a:pt x="110" y="41"/>
                          </a:cubicBezTo>
                          <a:cubicBezTo>
                            <a:pt x="110" y="41"/>
                            <a:pt x="110" y="41"/>
                            <a:pt x="111" y="41"/>
                          </a:cubicBezTo>
                          <a:cubicBezTo>
                            <a:pt x="110" y="41"/>
                            <a:pt x="110" y="41"/>
                            <a:pt x="110" y="42"/>
                          </a:cubicBezTo>
                          <a:cubicBezTo>
                            <a:pt x="109" y="42"/>
                            <a:pt x="109" y="42"/>
                            <a:pt x="109" y="42"/>
                          </a:cubicBezTo>
                          <a:cubicBezTo>
                            <a:pt x="109" y="42"/>
                            <a:pt x="109" y="42"/>
                            <a:pt x="109" y="42"/>
                          </a:cubicBezTo>
                          <a:cubicBezTo>
                            <a:pt x="109" y="42"/>
                            <a:pt x="110" y="42"/>
                            <a:pt x="110" y="42"/>
                          </a:cubicBezTo>
                          <a:cubicBezTo>
                            <a:pt x="110" y="42"/>
                            <a:pt x="110" y="42"/>
                            <a:pt x="110" y="41"/>
                          </a:cubicBezTo>
                          <a:cubicBezTo>
                            <a:pt x="110" y="41"/>
                            <a:pt x="110" y="42"/>
                            <a:pt x="110" y="42"/>
                          </a:cubicBezTo>
                          <a:cubicBezTo>
                            <a:pt x="111" y="41"/>
                            <a:pt x="111" y="41"/>
                            <a:pt x="111" y="41"/>
                          </a:cubicBezTo>
                          <a:cubicBezTo>
                            <a:pt x="111" y="42"/>
                            <a:pt x="111" y="42"/>
                            <a:pt x="111" y="42"/>
                          </a:cubicBezTo>
                          <a:cubicBezTo>
                            <a:pt x="111" y="42"/>
                            <a:pt x="112" y="41"/>
                            <a:pt x="112" y="41"/>
                          </a:cubicBezTo>
                          <a:cubicBezTo>
                            <a:pt x="112" y="42"/>
                            <a:pt x="111" y="42"/>
                            <a:pt x="111" y="42"/>
                          </a:cubicBezTo>
                          <a:cubicBezTo>
                            <a:pt x="110" y="42"/>
                            <a:pt x="111" y="42"/>
                            <a:pt x="111" y="42"/>
                          </a:cubicBezTo>
                          <a:cubicBezTo>
                            <a:pt x="111" y="42"/>
                            <a:pt x="111" y="42"/>
                            <a:pt x="110" y="42"/>
                          </a:cubicBezTo>
                          <a:cubicBezTo>
                            <a:pt x="110" y="42"/>
                            <a:pt x="110" y="42"/>
                            <a:pt x="110" y="42"/>
                          </a:cubicBezTo>
                          <a:cubicBezTo>
                            <a:pt x="109" y="42"/>
                            <a:pt x="110" y="42"/>
                            <a:pt x="110" y="42"/>
                          </a:cubicBezTo>
                          <a:cubicBezTo>
                            <a:pt x="110" y="42"/>
                            <a:pt x="110" y="42"/>
                            <a:pt x="110" y="42"/>
                          </a:cubicBezTo>
                          <a:cubicBezTo>
                            <a:pt x="110" y="42"/>
                            <a:pt x="109" y="42"/>
                            <a:pt x="109" y="42"/>
                          </a:cubicBezTo>
                          <a:cubicBezTo>
                            <a:pt x="109" y="42"/>
                            <a:pt x="109" y="43"/>
                            <a:pt x="109" y="43"/>
                          </a:cubicBezTo>
                          <a:cubicBezTo>
                            <a:pt x="109" y="43"/>
                            <a:pt x="109" y="43"/>
                            <a:pt x="109" y="43"/>
                          </a:cubicBezTo>
                          <a:cubicBezTo>
                            <a:pt x="109" y="43"/>
                            <a:pt x="108" y="43"/>
                            <a:pt x="108" y="43"/>
                          </a:cubicBezTo>
                          <a:cubicBezTo>
                            <a:pt x="108" y="43"/>
                            <a:pt x="107" y="44"/>
                            <a:pt x="108" y="43"/>
                          </a:cubicBezTo>
                          <a:cubicBezTo>
                            <a:pt x="107" y="44"/>
                            <a:pt x="107" y="43"/>
                            <a:pt x="107" y="44"/>
                          </a:cubicBezTo>
                          <a:cubicBezTo>
                            <a:pt x="107" y="44"/>
                            <a:pt x="107" y="44"/>
                            <a:pt x="107" y="44"/>
                          </a:cubicBezTo>
                          <a:cubicBezTo>
                            <a:pt x="107" y="44"/>
                            <a:pt x="106" y="44"/>
                            <a:pt x="107" y="44"/>
                          </a:cubicBezTo>
                          <a:cubicBezTo>
                            <a:pt x="107" y="44"/>
                            <a:pt x="107" y="44"/>
                            <a:pt x="106" y="44"/>
                          </a:cubicBezTo>
                          <a:cubicBezTo>
                            <a:pt x="106" y="44"/>
                            <a:pt x="105" y="45"/>
                            <a:pt x="105" y="45"/>
                          </a:cubicBezTo>
                          <a:cubicBezTo>
                            <a:pt x="105" y="45"/>
                            <a:pt x="105" y="45"/>
                            <a:pt x="105" y="45"/>
                          </a:cubicBezTo>
                          <a:cubicBezTo>
                            <a:pt x="105" y="45"/>
                            <a:pt x="104" y="45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5"/>
                          </a:cubicBezTo>
                          <a:cubicBezTo>
                            <a:pt x="105" y="45"/>
                            <a:pt x="104" y="45"/>
                            <a:pt x="104" y="45"/>
                          </a:cubicBezTo>
                          <a:cubicBezTo>
                            <a:pt x="104" y="45"/>
                            <a:pt x="105" y="45"/>
                            <a:pt x="105" y="45"/>
                          </a:cubicBezTo>
                          <a:cubicBezTo>
                            <a:pt x="105" y="45"/>
                            <a:pt x="106" y="45"/>
                            <a:pt x="106" y="45"/>
                          </a:cubicBezTo>
                          <a:cubicBezTo>
                            <a:pt x="106" y="45"/>
                            <a:pt x="106" y="45"/>
                            <a:pt x="106" y="45"/>
                          </a:cubicBezTo>
                          <a:cubicBezTo>
                            <a:pt x="106" y="45"/>
                            <a:pt x="106" y="45"/>
                            <a:pt x="105" y="45"/>
                          </a:cubicBezTo>
                          <a:cubicBezTo>
                            <a:pt x="106" y="45"/>
                            <a:pt x="107" y="44"/>
                            <a:pt x="108" y="44"/>
                          </a:cubicBezTo>
                          <a:cubicBezTo>
                            <a:pt x="108" y="44"/>
                            <a:pt x="108" y="44"/>
                            <a:pt x="108" y="44"/>
                          </a:cubicBezTo>
                          <a:cubicBezTo>
                            <a:pt x="108" y="44"/>
                            <a:pt x="108" y="44"/>
                            <a:pt x="108" y="44"/>
                          </a:cubicBezTo>
                          <a:cubicBezTo>
                            <a:pt x="108" y="43"/>
                            <a:pt x="108" y="43"/>
                            <a:pt x="108" y="44"/>
                          </a:cubicBezTo>
                          <a:cubicBezTo>
                            <a:pt x="108" y="43"/>
                            <a:pt x="108" y="43"/>
                            <a:pt x="109" y="43"/>
                          </a:cubicBezTo>
                          <a:cubicBezTo>
                            <a:pt x="109" y="43"/>
                            <a:pt x="108" y="43"/>
                            <a:pt x="108" y="43"/>
                          </a:cubicBezTo>
                          <a:cubicBezTo>
                            <a:pt x="109" y="43"/>
                            <a:pt x="109" y="43"/>
                            <a:pt x="109" y="43"/>
                          </a:cubicBezTo>
                          <a:cubicBezTo>
                            <a:pt x="109" y="43"/>
                            <a:pt x="110" y="43"/>
                            <a:pt x="110" y="43"/>
                          </a:cubicBezTo>
                          <a:cubicBezTo>
                            <a:pt x="110" y="43"/>
                            <a:pt x="110" y="44"/>
                            <a:pt x="110" y="43"/>
                          </a:cubicBezTo>
                          <a:cubicBezTo>
                            <a:pt x="109" y="44"/>
                            <a:pt x="108" y="44"/>
                            <a:pt x="108" y="45"/>
                          </a:cubicBezTo>
                          <a:cubicBezTo>
                            <a:pt x="108" y="45"/>
                            <a:pt x="108" y="44"/>
                            <a:pt x="108" y="44"/>
                          </a:cubicBezTo>
                          <a:cubicBezTo>
                            <a:pt x="108" y="45"/>
                            <a:pt x="108" y="45"/>
                            <a:pt x="108" y="45"/>
                          </a:cubicBezTo>
                          <a:cubicBezTo>
                            <a:pt x="108" y="45"/>
                            <a:pt x="108" y="45"/>
                            <a:pt x="108" y="45"/>
                          </a:cubicBezTo>
                          <a:cubicBezTo>
                            <a:pt x="108" y="45"/>
                            <a:pt x="108" y="45"/>
                            <a:pt x="109" y="45"/>
                          </a:cubicBezTo>
                          <a:cubicBezTo>
                            <a:pt x="109" y="45"/>
                            <a:pt x="109" y="45"/>
                            <a:pt x="109" y="45"/>
                          </a:cubicBezTo>
                          <a:cubicBezTo>
                            <a:pt x="110" y="44"/>
                            <a:pt x="110" y="44"/>
                            <a:pt x="111" y="43"/>
                          </a:cubicBezTo>
                          <a:cubicBezTo>
                            <a:pt x="110" y="44"/>
                            <a:pt x="109" y="45"/>
                            <a:pt x="108" y="45"/>
                          </a:cubicBezTo>
                          <a:cubicBezTo>
                            <a:pt x="108" y="44"/>
                            <a:pt x="110" y="44"/>
                            <a:pt x="111" y="43"/>
                          </a:cubicBezTo>
                          <a:cubicBezTo>
                            <a:pt x="111" y="43"/>
                            <a:pt x="110" y="43"/>
                            <a:pt x="110" y="43"/>
                          </a:cubicBezTo>
                          <a:cubicBezTo>
                            <a:pt x="110" y="43"/>
                            <a:pt x="110" y="43"/>
                            <a:pt x="110" y="43"/>
                          </a:cubicBezTo>
                          <a:cubicBezTo>
                            <a:pt x="111" y="43"/>
                            <a:pt x="111" y="43"/>
                            <a:pt x="111" y="43"/>
                          </a:cubicBezTo>
                          <a:cubicBezTo>
                            <a:pt x="111" y="43"/>
                            <a:pt x="111" y="43"/>
                            <a:pt x="111" y="43"/>
                          </a:cubicBezTo>
                          <a:cubicBezTo>
                            <a:pt x="111" y="43"/>
                            <a:pt x="110" y="43"/>
                            <a:pt x="110" y="44"/>
                          </a:cubicBezTo>
                          <a:close/>
                          <a:moveTo>
                            <a:pt x="81" y="54"/>
                          </a:moveTo>
                          <a:cubicBezTo>
                            <a:pt x="81" y="54"/>
                            <a:pt x="81" y="54"/>
                            <a:pt x="80" y="54"/>
                          </a:cubicBezTo>
                          <a:cubicBezTo>
                            <a:pt x="80" y="54"/>
                            <a:pt x="80" y="55"/>
                            <a:pt x="80" y="55"/>
                          </a:cubicBezTo>
                          <a:cubicBezTo>
                            <a:pt x="81" y="55"/>
                            <a:pt x="81" y="54"/>
                            <a:pt x="81" y="54"/>
                          </a:cubicBezTo>
                          <a:close/>
                          <a:moveTo>
                            <a:pt x="91" y="49"/>
                          </a:moveTo>
                          <a:cubicBezTo>
                            <a:pt x="91" y="49"/>
                            <a:pt x="90" y="49"/>
                            <a:pt x="90" y="49"/>
                          </a:cubicBezTo>
                          <a:cubicBezTo>
                            <a:pt x="90" y="49"/>
                            <a:pt x="90" y="49"/>
                            <a:pt x="90" y="49"/>
                          </a:cubicBezTo>
                          <a:cubicBezTo>
                            <a:pt x="90" y="49"/>
                            <a:pt x="91" y="49"/>
                            <a:pt x="91" y="49"/>
                          </a:cubicBezTo>
                          <a:close/>
                          <a:moveTo>
                            <a:pt x="88" y="52"/>
                          </a:moveTo>
                          <a:cubicBezTo>
                            <a:pt x="88" y="52"/>
                            <a:pt x="88" y="52"/>
                            <a:pt x="88" y="52"/>
                          </a:cubicBezTo>
                          <a:cubicBezTo>
                            <a:pt x="88" y="52"/>
                            <a:pt x="88" y="52"/>
                            <a:pt x="88" y="52"/>
                          </a:cubicBezTo>
                          <a:cubicBezTo>
                            <a:pt x="88" y="52"/>
                            <a:pt x="88" y="52"/>
                            <a:pt x="88" y="52"/>
                          </a:cubicBezTo>
                          <a:close/>
                          <a:moveTo>
                            <a:pt x="86" y="53"/>
                          </a:moveTo>
                          <a:cubicBezTo>
                            <a:pt x="86" y="53"/>
                            <a:pt x="86" y="53"/>
                            <a:pt x="86" y="53"/>
                          </a:cubicBezTo>
                          <a:cubicBezTo>
                            <a:pt x="86" y="53"/>
                            <a:pt x="85" y="53"/>
                            <a:pt x="86" y="53"/>
                          </a:cubicBezTo>
                          <a:cubicBezTo>
                            <a:pt x="85" y="53"/>
                            <a:pt x="85" y="53"/>
                            <a:pt x="85" y="53"/>
                          </a:cubicBezTo>
                          <a:cubicBezTo>
                            <a:pt x="86" y="53"/>
                            <a:pt x="86" y="53"/>
                            <a:pt x="86" y="53"/>
                          </a:cubicBezTo>
                          <a:cubicBezTo>
                            <a:pt x="86" y="52"/>
                            <a:pt x="86" y="53"/>
                            <a:pt x="86" y="53"/>
                          </a:cubicBezTo>
                          <a:close/>
                          <a:moveTo>
                            <a:pt x="86" y="53"/>
                          </a:moveTo>
                          <a:cubicBezTo>
                            <a:pt x="86" y="53"/>
                            <a:pt x="86" y="52"/>
                            <a:pt x="86" y="52"/>
                          </a:cubicBezTo>
                          <a:cubicBezTo>
                            <a:pt x="86" y="52"/>
                            <a:pt x="86" y="53"/>
                            <a:pt x="86" y="53"/>
                          </a:cubicBezTo>
                          <a:close/>
                          <a:moveTo>
                            <a:pt x="85" y="53"/>
                          </a:moveTo>
                          <a:cubicBezTo>
                            <a:pt x="85" y="53"/>
                            <a:pt x="85" y="53"/>
                            <a:pt x="85" y="53"/>
                          </a:cubicBezTo>
                          <a:cubicBezTo>
                            <a:pt x="85" y="53"/>
                            <a:pt x="85" y="53"/>
                            <a:pt x="85" y="53"/>
                          </a:cubicBezTo>
                          <a:cubicBezTo>
                            <a:pt x="85" y="53"/>
                            <a:pt x="85" y="53"/>
                            <a:pt x="85" y="53"/>
                          </a:cubicBezTo>
                          <a:cubicBezTo>
                            <a:pt x="85" y="53"/>
                            <a:pt x="85" y="53"/>
                            <a:pt x="85" y="53"/>
                          </a:cubicBezTo>
                          <a:cubicBezTo>
                            <a:pt x="85" y="53"/>
                            <a:pt x="85" y="53"/>
                            <a:pt x="85" y="53"/>
                          </a:cubicBezTo>
                          <a:close/>
                          <a:moveTo>
                            <a:pt x="85" y="53"/>
                          </a:moveTo>
                          <a:cubicBezTo>
                            <a:pt x="85" y="53"/>
                            <a:pt x="85" y="53"/>
                            <a:pt x="84" y="53"/>
                          </a:cubicBezTo>
                          <a:cubicBezTo>
                            <a:pt x="84" y="53"/>
                            <a:pt x="84" y="53"/>
                            <a:pt x="84" y="53"/>
                          </a:cubicBezTo>
                          <a:cubicBezTo>
                            <a:pt x="84" y="53"/>
                            <a:pt x="84" y="53"/>
                            <a:pt x="84" y="53"/>
                          </a:cubicBezTo>
                          <a:cubicBezTo>
                            <a:pt x="84" y="53"/>
                            <a:pt x="85" y="53"/>
                            <a:pt x="85" y="53"/>
                          </a:cubicBezTo>
                          <a:close/>
                          <a:moveTo>
                            <a:pt x="79" y="56"/>
                          </a:moveTo>
                          <a:cubicBezTo>
                            <a:pt x="79" y="56"/>
                            <a:pt x="79" y="56"/>
                            <a:pt x="79" y="56"/>
                          </a:cubicBezTo>
                          <a:cubicBezTo>
                            <a:pt x="79" y="56"/>
                            <a:pt x="79" y="56"/>
                            <a:pt x="79" y="56"/>
                          </a:cubicBezTo>
                          <a:cubicBezTo>
                            <a:pt x="79" y="56"/>
                            <a:pt x="79" y="56"/>
                            <a:pt x="79" y="56"/>
                          </a:cubicBezTo>
                          <a:close/>
                          <a:moveTo>
                            <a:pt x="81" y="55"/>
                          </a:moveTo>
                          <a:cubicBezTo>
                            <a:pt x="80" y="55"/>
                            <a:pt x="80" y="56"/>
                            <a:pt x="80" y="56"/>
                          </a:cubicBezTo>
                          <a:cubicBezTo>
                            <a:pt x="80" y="56"/>
                            <a:pt x="80" y="55"/>
                            <a:pt x="81" y="55"/>
                          </a:cubicBezTo>
                          <a:close/>
                          <a:moveTo>
                            <a:pt x="83" y="54"/>
                          </a:moveTo>
                          <a:cubicBezTo>
                            <a:pt x="84" y="54"/>
                            <a:pt x="84" y="53"/>
                            <a:pt x="85" y="53"/>
                          </a:cubicBezTo>
                          <a:cubicBezTo>
                            <a:pt x="85" y="53"/>
                            <a:pt x="85" y="53"/>
                            <a:pt x="85" y="53"/>
                          </a:cubicBezTo>
                          <a:cubicBezTo>
                            <a:pt x="85" y="53"/>
                            <a:pt x="85" y="53"/>
                            <a:pt x="85" y="53"/>
                          </a:cubicBezTo>
                          <a:cubicBezTo>
                            <a:pt x="85" y="53"/>
                            <a:pt x="85" y="53"/>
                            <a:pt x="85" y="53"/>
                          </a:cubicBezTo>
                          <a:cubicBezTo>
                            <a:pt x="84" y="53"/>
                            <a:pt x="84" y="53"/>
                            <a:pt x="84" y="53"/>
                          </a:cubicBezTo>
                          <a:cubicBezTo>
                            <a:pt x="84" y="53"/>
                            <a:pt x="84" y="53"/>
                            <a:pt x="84" y="53"/>
                          </a:cubicBezTo>
                          <a:cubicBezTo>
                            <a:pt x="84" y="53"/>
                            <a:pt x="84" y="54"/>
                            <a:pt x="84" y="54"/>
                          </a:cubicBezTo>
                          <a:cubicBezTo>
                            <a:pt x="84" y="54"/>
                            <a:pt x="84" y="53"/>
                            <a:pt x="84" y="53"/>
                          </a:cubicBezTo>
                          <a:cubicBezTo>
                            <a:pt x="83" y="54"/>
                            <a:pt x="82" y="54"/>
                            <a:pt x="81" y="55"/>
                          </a:cubicBezTo>
                          <a:cubicBezTo>
                            <a:pt x="82" y="55"/>
                            <a:pt x="83" y="54"/>
                            <a:pt x="83" y="54"/>
                          </a:cubicBezTo>
                          <a:cubicBezTo>
                            <a:pt x="83" y="54"/>
                            <a:pt x="84" y="54"/>
                            <a:pt x="83" y="54"/>
                          </a:cubicBezTo>
                          <a:close/>
                          <a:moveTo>
                            <a:pt x="78" y="57"/>
                          </a:moveTo>
                          <a:cubicBezTo>
                            <a:pt x="78" y="57"/>
                            <a:pt x="78" y="57"/>
                            <a:pt x="78" y="57"/>
                          </a:cubicBezTo>
                          <a:cubicBezTo>
                            <a:pt x="78" y="57"/>
                            <a:pt x="78" y="57"/>
                            <a:pt x="78" y="57"/>
                          </a:cubicBezTo>
                          <a:cubicBezTo>
                            <a:pt x="78" y="57"/>
                            <a:pt x="78" y="57"/>
                            <a:pt x="78" y="57"/>
                          </a:cubicBezTo>
                          <a:close/>
                          <a:moveTo>
                            <a:pt x="78" y="57"/>
                          </a:moveTo>
                          <a:cubicBezTo>
                            <a:pt x="78" y="57"/>
                            <a:pt x="79" y="57"/>
                            <a:pt x="79" y="57"/>
                          </a:cubicBezTo>
                          <a:cubicBezTo>
                            <a:pt x="79" y="57"/>
                            <a:pt x="79" y="56"/>
                            <a:pt x="79" y="56"/>
                          </a:cubicBezTo>
                          <a:cubicBezTo>
                            <a:pt x="78" y="57"/>
                            <a:pt x="78" y="57"/>
                            <a:pt x="78" y="57"/>
                          </a:cubicBezTo>
                          <a:close/>
                          <a:moveTo>
                            <a:pt x="78" y="57"/>
                          </a:moveTo>
                          <a:cubicBezTo>
                            <a:pt x="78" y="57"/>
                            <a:pt x="79" y="57"/>
                            <a:pt x="79" y="56"/>
                          </a:cubicBezTo>
                          <a:cubicBezTo>
                            <a:pt x="79" y="57"/>
                            <a:pt x="78" y="57"/>
                            <a:pt x="78" y="57"/>
                          </a:cubicBezTo>
                          <a:close/>
                          <a:moveTo>
                            <a:pt x="82" y="55"/>
                          </a:moveTo>
                          <a:cubicBezTo>
                            <a:pt x="82" y="55"/>
                            <a:pt x="82" y="55"/>
                            <a:pt x="82" y="56"/>
                          </a:cubicBezTo>
                          <a:cubicBezTo>
                            <a:pt x="82" y="55"/>
                            <a:pt x="82" y="55"/>
                            <a:pt x="82" y="55"/>
                          </a:cubicBezTo>
                          <a:close/>
                          <a:moveTo>
                            <a:pt x="80" y="57"/>
                          </a:moveTo>
                          <a:cubicBezTo>
                            <a:pt x="80" y="57"/>
                            <a:pt x="79" y="57"/>
                            <a:pt x="79" y="57"/>
                          </a:cubicBezTo>
                          <a:cubicBezTo>
                            <a:pt x="79" y="57"/>
                            <a:pt x="79" y="57"/>
                            <a:pt x="80" y="57"/>
                          </a:cubicBezTo>
                          <a:close/>
                          <a:moveTo>
                            <a:pt x="80" y="57"/>
                          </a:moveTo>
                          <a:cubicBezTo>
                            <a:pt x="80" y="57"/>
                            <a:pt x="80" y="57"/>
                            <a:pt x="80" y="57"/>
                          </a:cubicBezTo>
                          <a:cubicBezTo>
                            <a:pt x="80" y="57"/>
                            <a:pt x="80" y="57"/>
                            <a:pt x="80" y="57"/>
                          </a:cubicBezTo>
                          <a:cubicBezTo>
                            <a:pt x="80" y="57"/>
                            <a:pt x="80" y="57"/>
                            <a:pt x="80" y="57"/>
                          </a:cubicBezTo>
                          <a:cubicBezTo>
                            <a:pt x="80" y="57"/>
                            <a:pt x="79" y="57"/>
                            <a:pt x="79" y="58"/>
                          </a:cubicBezTo>
                          <a:cubicBezTo>
                            <a:pt x="80" y="57"/>
                            <a:pt x="80" y="57"/>
                            <a:pt x="80" y="57"/>
                          </a:cubicBezTo>
                          <a:cubicBezTo>
                            <a:pt x="80" y="57"/>
                            <a:pt x="80" y="57"/>
                            <a:pt x="80" y="57"/>
                          </a:cubicBezTo>
                          <a:close/>
                          <a:moveTo>
                            <a:pt x="81" y="57"/>
                          </a:moveTo>
                          <a:cubicBezTo>
                            <a:pt x="81" y="57"/>
                            <a:pt x="81" y="57"/>
                            <a:pt x="81" y="57"/>
                          </a:cubicBezTo>
                          <a:cubicBezTo>
                            <a:pt x="81" y="57"/>
                            <a:pt x="81" y="57"/>
                            <a:pt x="81" y="57"/>
                          </a:cubicBezTo>
                          <a:cubicBezTo>
                            <a:pt x="81" y="57"/>
                            <a:pt x="81" y="57"/>
                            <a:pt x="81" y="57"/>
                          </a:cubicBezTo>
                          <a:cubicBezTo>
                            <a:pt x="81" y="57"/>
                            <a:pt x="81" y="57"/>
                            <a:pt x="81" y="56"/>
                          </a:cubicBezTo>
                          <a:cubicBezTo>
                            <a:pt x="81" y="57"/>
                            <a:pt x="81" y="57"/>
                            <a:pt x="81" y="56"/>
                          </a:cubicBezTo>
                          <a:cubicBezTo>
                            <a:pt x="81" y="56"/>
                            <a:pt x="81" y="57"/>
                            <a:pt x="81" y="57"/>
                          </a:cubicBezTo>
                          <a:close/>
                          <a:moveTo>
                            <a:pt x="80" y="57"/>
                          </a:moveTo>
                          <a:cubicBezTo>
                            <a:pt x="80" y="57"/>
                            <a:pt x="81" y="57"/>
                            <a:pt x="81" y="57"/>
                          </a:cubicBezTo>
                          <a:cubicBezTo>
                            <a:pt x="81" y="57"/>
                            <a:pt x="80" y="57"/>
                            <a:pt x="80" y="57"/>
                          </a:cubicBezTo>
                          <a:cubicBezTo>
                            <a:pt x="81" y="56"/>
                            <a:pt x="81" y="57"/>
                            <a:pt x="81" y="56"/>
                          </a:cubicBezTo>
                          <a:cubicBezTo>
                            <a:pt x="81" y="56"/>
                            <a:pt x="80" y="57"/>
                            <a:pt x="80" y="57"/>
                          </a:cubicBezTo>
                          <a:close/>
                          <a:moveTo>
                            <a:pt x="86" y="53"/>
                          </a:moveTo>
                          <a:cubicBezTo>
                            <a:pt x="87" y="54"/>
                            <a:pt x="87" y="53"/>
                            <a:pt x="88" y="53"/>
                          </a:cubicBezTo>
                          <a:cubicBezTo>
                            <a:pt x="88" y="52"/>
                            <a:pt x="88" y="53"/>
                            <a:pt x="87" y="53"/>
                          </a:cubicBezTo>
                          <a:cubicBezTo>
                            <a:pt x="87" y="53"/>
                            <a:pt x="87" y="53"/>
                            <a:pt x="87" y="53"/>
                          </a:cubicBezTo>
                          <a:cubicBezTo>
                            <a:pt x="86" y="53"/>
                            <a:pt x="87" y="53"/>
                            <a:pt x="87" y="53"/>
                          </a:cubicBezTo>
                          <a:cubicBezTo>
                            <a:pt x="87" y="53"/>
                            <a:pt x="86" y="53"/>
                            <a:pt x="86" y="53"/>
                          </a:cubicBezTo>
                          <a:cubicBezTo>
                            <a:pt x="87" y="53"/>
                            <a:pt x="87" y="53"/>
                            <a:pt x="87" y="53"/>
                          </a:cubicBezTo>
                          <a:cubicBezTo>
                            <a:pt x="86" y="53"/>
                            <a:pt x="86" y="53"/>
                            <a:pt x="86" y="53"/>
                          </a:cubicBezTo>
                          <a:cubicBezTo>
                            <a:pt x="86" y="53"/>
                            <a:pt x="86" y="54"/>
                            <a:pt x="85" y="54"/>
                          </a:cubicBezTo>
                          <a:cubicBezTo>
                            <a:pt x="85" y="53"/>
                            <a:pt x="85" y="54"/>
                            <a:pt x="85" y="54"/>
                          </a:cubicBezTo>
                          <a:cubicBezTo>
                            <a:pt x="85" y="54"/>
                            <a:pt x="85" y="54"/>
                            <a:pt x="85" y="54"/>
                          </a:cubicBezTo>
                          <a:cubicBezTo>
                            <a:pt x="85" y="54"/>
                            <a:pt x="85" y="54"/>
                            <a:pt x="84" y="54"/>
                          </a:cubicBezTo>
                          <a:cubicBezTo>
                            <a:pt x="84" y="54"/>
                            <a:pt x="84" y="54"/>
                            <a:pt x="84" y="54"/>
                          </a:cubicBezTo>
                          <a:cubicBezTo>
                            <a:pt x="84" y="54"/>
                            <a:pt x="85" y="54"/>
                            <a:pt x="85" y="54"/>
                          </a:cubicBezTo>
                          <a:cubicBezTo>
                            <a:pt x="85" y="54"/>
                            <a:pt x="85" y="53"/>
                            <a:pt x="85" y="53"/>
                          </a:cubicBezTo>
                          <a:cubicBezTo>
                            <a:pt x="85" y="54"/>
                            <a:pt x="85" y="53"/>
                            <a:pt x="84" y="54"/>
                          </a:cubicBezTo>
                          <a:cubicBezTo>
                            <a:pt x="84" y="54"/>
                            <a:pt x="84" y="54"/>
                            <a:pt x="84" y="54"/>
                          </a:cubicBezTo>
                          <a:cubicBezTo>
                            <a:pt x="84" y="54"/>
                            <a:pt x="84" y="54"/>
                            <a:pt x="84" y="54"/>
                          </a:cubicBezTo>
                          <a:cubicBezTo>
                            <a:pt x="84" y="54"/>
                            <a:pt x="84" y="54"/>
                            <a:pt x="84" y="54"/>
                          </a:cubicBezTo>
                          <a:cubicBezTo>
                            <a:pt x="84" y="54"/>
                            <a:pt x="84" y="54"/>
                            <a:pt x="83" y="54"/>
                          </a:cubicBezTo>
                          <a:cubicBezTo>
                            <a:pt x="83" y="54"/>
                            <a:pt x="84" y="54"/>
                            <a:pt x="84" y="54"/>
                          </a:cubicBezTo>
                          <a:cubicBezTo>
                            <a:pt x="84" y="54"/>
                            <a:pt x="84" y="54"/>
                            <a:pt x="84" y="54"/>
                          </a:cubicBezTo>
                          <a:cubicBezTo>
                            <a:pt x="84" y="54"/>
                            <a:pt x="84" y="54"/>
                            <a:pt x="84" y="54"/>
                          </a:cubicBezTo>
                          <a:cubicBezTo>
                            <a:pt x="84" y="54"/>
                            <a:pt x="83" y="55"/>
                            <a:pt x="83" y="55"/>
                          </a:cubicBezTo>
                          <a:cubicBezTo>
                            <a:pt x="84" y="54"/>
                            <a:pt x="84" y="54"/>
                            <a:pt x="85" y="54"/>
                          </a:cubicBezTo>
                          <a:cubicBezTo>
                            <a:pt x="85" y="54"/>
                            <a:pt x="85" y="54"/>
                            <a:pt x="86" y="54"/>
                          </a:cubicBezTo>
                          <a:cubicBezTo>
                            <a:pt x="86" y="54"/>
                            <a:pt x="86" y="54"/>
                            <a:pt x="86" y="54"/>
                          </a:cubicBezTo>
                          <a:cubicBezTo>
                            <a:pt x="86" y="54"/>
                            <a:pt x="85" y="54"/>
                            <a:pt x="86" y="54"/>
                          </a:cubicBezTo>
                          <a:cubicBezTo>
                            <a:pt x="86" y="54"/>
                            <a:pt x="86" y="54"/>
                            <a:pt x="86" y="53"/>
                          </a:cubicBezTo>
                          <a:close/>
                          <a:moveTo>
                            <a:pt x="86" y="54"/>
                          </a:moveTo>
                          <a:cubicBezTo>
                            <a:pt x="86" y="54"/>
                            <a:pt x="87" y="54"/>
                            <a:pt x="87" y="54"/>
                          </a:cubicBezTo>
                          <a:cubicBezTo>
                            <a:pt x="86" y="54"/>
                            <a:pt x="86" y="54"/>
                            <a:pt x="86" y="54"/>
                          </a:cubicBezTo>
                          <a:cubicBezTo>
                            <a:pt x="86" y="54"/>
                            <a:pt x="86" y="54"/>
                            <a:pt x="86" y="54"/>
                          </a:cubicBezTo>
                          <a:close/>
                          <a:moveTo>
                            <a:pt x="103" y="50"/>
                          </a:moveTo>
                          <a:cubicBezTo>
                            <a:pt x="103" y="50"/>
                            <a:pt x="103" y="50"/>
                            <a:pt x="103" y="50"/>
                          </a:cubicBezTo>
                          <a:cubicBezTo>
                            <a:pt x="103" y="50"/>
                            <a:pt x="103" y="50"/>
                            <a:pt x="103" y="50"/>
                          </a:cubicBezTo>
                          <a:cubicBezTo>
                            <a:pt x="103" y="50"/>
                            <a:pt x="103" y="50"/>
                            <a:pt x="103" y="50"/>
                          </a:cubicBezTo>
                          <a:close/>
                          <a:moveTo>
                            <a:pt x="105" y="50"/>
                          </a:moveTo>
                          <a:cubicBezTo>
                            <a:pt x="105" y="49"/>
                            <a:pt x="105" y="49"/>
                            <a:pt x="105" y="49"/>
                          </a:cubicBezTo>
                          <a:cubicBezTo>
                            <a:pt x="105" y="49"/>
                            <a:pt x="105" y="49"/>
                            <a:pt x="105" y="50"/>
                          </a:cubicBezTo>
                          <a:close/>
                          <a:moveTo>
                            <a:pt x="102" y="50"/>
                          </a:moveTo>
                          <a:cubicBezTo>
                            <a:pt x="102" y="50"/>
                            <a:pt x="102" y="50"/>
                            <a:pt x="102" y="51"/>
                          </a:cubicBezTo>
                          <a:cubicBezTo>
                            <a:pt x="102" y="51"/>
                            <a:pt x="102" y="51"/>
                            <a:pt x="102" y="51"/>
                          </a:cubicBezTo>
                          <a:cubicBezTo>
                            <a:pt x="102" y="50"/>
                            <a:pt x="102" y="50"/>
                            <a:pt x="102" y="50"/>
                          </a:cubicBezTo>
                          <a:cubicBezTo>
                            <a:pt x="102" y="50"/>
                            <a:pt x="102" y="51"/>
                            <a:pt x="102" y="51"/>
                          </a:cubicBezTo>
                          <a:cubicBezTo>
                            <a:pt x="102" y="51"/>
                            <a:pt x="103" y="50"/>
                            <a:pt x="102" y="51"/>
                          </a:cubicBezTo>
                          <a:cubicBezTo>
                            <a:pt x="103" y="50"/>
                            <a:pt x="103" y="50"/>
                            <a:pt x="103" y="50"/>
                          </a:cubicBezTo>
                          <a:cubicBezTo>
                            <a:pt x="103" y="51"/>
                            <a:pt x="102" y="50"/>
                            <a:pt x="102" y="50"/>
                          </a:cubicBezTo>
                          <a:close/>
                          <a:moveTo>
                            <a:pt x="102" y="50"/>
                          </a:moveTo>
                          <a:cubicBezTo>
                            <a:pt x="103" y="50"/>
                            <a:pt x="103" y="50"/>
                            <a:pt x="103" y="50"/>
                          </a:cubicBezTo>
                          <a:cubicBezTo>
                            <a:pt x="103" y="50"/>
                            <a:pt x="102" y="50"/>
                            <a:pt x="102" y="50"/>
                          </a:cubicBezTo>
                          <a:close/>
                          <a:moveTo>
                            <a:pt x="100" y="50"/>
                          </a:moveTo>
                          <a:cubicBezTo>
                            <a:pt x="100" y="50"/>
                            <a:pt x="100" y="51"/>
                            <a:pt x="100" y="51"/>
                          </a:cubicBezTo>
                          <a:cubicBezTo>
                            <a:pt x="100" y="51"/>
                            <a:pt x="100" y="51"/>
                            <a:pt x="100" y="51"/>
                          </a:cubicBezTo>
                          <a:cubicBezTo>
                            <a:pt x="100" y="51"/>
                            <a:pt x="100" y="50"/>
                            <a:pt x="100" y="51"/>
                          </a:cubicBezTo>
                          <a:cubicBezTo>
                            <a:pt x="100" y="51"/>
                            <a:pt x="99" y="51"/>
                            <a:pt x="99" y="51"/>
                          </a:cubicBezTo>
                          <a:cubicBezTo>
                            <a:pt x="99" y="51"/>
                            <a:pt x="99" y="51"/>
                            <a:pt x="100" y="51"/>
                          </a:cubicBezTo>
                          <a:cubicBezTo>
                            <a:pt x="100" y="51"/>
                            <a:pt x="100" y="51"/>
                            <a:pt x="100" y="51"/>
                          </a:cubicBezTo>
                          <a:cubicBezTo>
                            <a:pt x="100" y="50"/>
                            <a:pt x="100" y="50"/>
                            <a:pt x="100" y="50"/>
                          </a:cubicBezTo>
                          <a:cubicBezTo>
                            <a:pt x="100" y="50"/>
                            <a:pt x="101" y="50"/>
                            <a:pt x="101" y="50"/>
                          </a:cubicBezTo>
                          <a:cubicBezTo>
                            <a:pt x="101" y="50"/>
                            <a:pt x="101" y="50"/>
                            <a:pt x="101" y="50"/>
                          </a:cubicBezTo>
                          <a:cubicBezTo>
                            <a:pt x="101" y="50"/>
                            <a:pt x="101" y="50"/>
                            <a:pt x="101" y="50"/>
                          </a:cubicBezTo>
                          <a:cubicBezTo>
                            <a:pt x="101" y="50"/>
                            <a:pt x="101" y="50"/>
                            <a:pt x="101" y="50"/>
                          </a:cubicBezTo>
                          <a:cubicBezTo>
                            <a:pt x="101" y="50"/>
                            <a:pt x="101" y="50"/>
                            <a:pt x="101" y="50"/>
                          </a:cubicBezTo>
                          <a:cubicBezTo>
                            <a:pt x="101" y="50"/>
                            <a:pt x="101" y="50"/>
                            <a:pt x="100" y="50"/>
                          </a:cubicBezTo>
                          <a:cubicBezTo>
                            <a:pt x="100" y="50"/>
                            <a:pt x="100" y="50"/>
                            <a:pt x="100" y="50"/>
                          </a:cubicBezTo>
                          <a:cubicBezTo>
                            <a:pt x="100" y="50"/>
                            <a:pt x="100" y="50"/>
                            <a:pt x="100" y="50"/>
                          </a:cubicBezTo>
                          <a:close/>
                          <a:moveTo>
                            <a:pt x="95" y="52"/>
                          </a:moveTo>
                          <a:cubicBezTo>
                            <a:pt x="95" y="52"/>
                            <a:pt x="95" y="52"/>
                            <a:pt x="95" y="52"/>
                          </a:cubicBezTo>
                          <a:cubicBezTo>
                            <a:pt x="95" y="52"/>
                            <a:pt x="95" y="52"/>
                            <a:pt x="94" y="52"/>
                          </a:cubicBezTo>
                          <a:cubicBezTo>
                            <a:pt x="94" y="52"/>
                            <a:pt x="95" y="52"/>
                            <a:pt x="95" y="52"/>
                          </a:cubicBezTo>
                          <a:close/>
                          <a:moveTo>
                            <a:pt x="97" y="51"/>
                          </a:moveTo>
                          <a:cubicBezTo>
                            <a:pt x="97" y="51"/>
                            <a:pt x="96" y="51"/>
                            <a:pt x="96" y="51"/>
                          </a:cubicBezTo>
                          <a:cubicBezTo>
                            <a:pt x="96" y="51"/>
                            <a:pt x="96" y="51"/>
                            <a:pt x="96" y="51"/>
                          </a:cubicBezTo>
                          <a:cubicBezTo>
                            <a:pt x="97" y="51"/>
                            <a:pt x="97" y="51"/>
                            <a:pt x="97" y="51"/>
                          </a:cubicBezTo>
                          <a:close/>
                          <a:moveTo>
                            <a:pt x="96" y="51"/>
                          </a:moveTo>
                          <a:cubicBezTo>
                            <a:pt x="96" y="51"/>
                            <a:pt x="96" y="51"/>
                            <a:pt x="96" y="51"/>
                          </a:cubicBezTo>
                          <a:cubicBezTo>
                            <a:pt x="96" y="51"/>
                            <a:pt x="96" y="51"/>
                            <a:pt x="96" y="51"/>
                          </a:cubicBezTo>
                          <a:cubicBezTo>
                            <a:pt x="96" y="52"/>
                            <a:pt x="96" y="52"/>
                            <a:pt x="95" y="52"/>
                          </a:cubicBezTo>
                          <a:cubicBezTo>
                            <a:pt x="96" y="52"/>
                            <a:pt x="95" y="52"/>
                            <a:pt x="96" y="52"/>
                          </a:cubicBezTo>
                          <a:cubicBezTo>
                            <a:pt x="96" y="52"/>
                            <a:pt x="96" y="52"/>
                            <a:pt x="96" y="52"/>
                          </a:cubicBezTo>
                          <a:cubicBezTo>
                            <a:pt x="96" y="52"/>
                            <a:pt x="96" y="52"/>
                            <a:pt x="96" y="52"/>
                          </a:cubicBezTo>
                          <a:cubicBezTo>
                            <a:pt x="96" y="52"/>
                            <a:pt x="96" y="52"/>
                            <a:pt x="96" y="52"/>
                          </a:cubicBezTo>
                          <a:cubicBezTo>
                            <a:pt x="96" y="52"/>
                            <a:pt x="96" y="52"/>
                            <a:pt x="96" y="52"/>
                          </a:cubicBezTo>
                          <a:cubicBezTo>
                            <a:pt x="96" y="51"/>
                            <a:pt x="96" y="52"/>
                            <a:pt x="96" y="51"/>
                          </a:cubicBezTo>
                          <a:close/>
                          <a:moveTo>
                            <a:pt x="97" y="51"/>
                          </a:moveTo>
                          <a:cubicBezTo>
                            <a:pt x="96" y="51"/>
                            <a:pt x="96" y="51"/>
                            <a:pt x="96" y="51"/>
                          </a:cubicBezTo>
                          <a:cubicBezTo>
                            <a:pt x="96" y="51"/>
                            <a:pt x="96" y="51"/>
                            <a:pt x="96" y="51"/>
                          </a:cubicBezTo>
                          <a:cubicBezTo>
                            <a:pt x="97" y="51"/>
                            <a:pt x="97" y="51"/>
                            <a:pt x="97" y="51"/>
                          </a:cubicBezTo>
                          <a:cubicBezTo>
                            <a:pt x="97" y="51"/>
                            <a:pt x="97" y="51"/>
                            <a:pt x="97" y="51"/>
                          </a:cubicBezTo>
                          <a:cubicBezTo>
                            <a:pt x="96" y="51"/>
                            <a:pt x="97" y="51"/>
                            <a:pt x="97" y="51"/>
                          </a:cubicBezTo>
                          <a:close/>
                          <a:moveTo>
                            <a:pt x="96" y="51"/>
                          </a:moveTo>
                          <a:cubicBezTo>
                            <a:pt x="95" y="51"/>
                            <a:pt x="95" y="51"/>
                            <a:pt x="95" y="52"/>
                          </a:cubicBezTo>
                          <a:cubicBezTo>
                            <a:pt x="95" y="52"/>
                            <a:pt x="95" y="52"/>
                            <a:pt x="95" y="52"/>
                          </a:cubicBezTo>
                          <a:cubicBezTo>
                            <a:pt x="95" y="51"/>
                            <a:pt x="96" y="51"/>
                            <a:pt x="96" y="51"/>
                          </a:cubicBezTo>
                          <a:close/>
                          <a:moveTo>
                            <a:pt x="108" y="44"/>
                          </a:moveTo>
                          <a:cubicBezTo>
                            <a:pt x="108" y="44"/>
                            <a:pt x="108" y="44"/>
                            <a:pt x="108" y="44"/>
                          </a:cubicBezTo>
                          <a:cubicBezTo>
                            <a:pt x="108" y="44"/>
                            <a:pt x="109" y="44"/>
                            <a:pt x="109" y="44"/>
                          </a:cubicBezTo>
                          <a:cubicBezTo>
                            <a:pt x="109" y="44"/>
                            <a:pt x="109" y="44"/>
                            <a:pt x="108" y="44"/>
                          </a:cubicBezTo>
                          <a:close/>
                          <a:moveTo>
                            <a:pt x="106" y="45"/>
                          </a:moveTo>
                          <a:cubicBezTo>
                            <a:pt x="105" y="45"/>
                            <a:pt x="105" y="46"/>
                            <a:pt x="105" y="46"/>
                          </a:cubicBezTo>
                          <a:cubicBezTo>
                            <a:pt x="105" y="46"/>
                            <a:pt x="106" y="45"/>
                            <a:pt x="106" y="45"/>
                          </a:cubicBezTo>
                          <a:close/>
                          <a:moveTo>
                            <a:pt x="104" y="46"/>
                          </a:moveTo>
                          <a:cubicBezTo>
                            <a:pt x="105" y="46"/>
                            <a:pt x="104" y="46"/>
                            <a:pt x="104" y="46"/>
                          </a:cubicBezTo>
                          <a:cubicBezTo>
                            <a:pt x="105" y="46"/>
                            <a:pt x="105" y="46"/>
                            <a:pt x="105" y="46"/>
                          </a:cubicBezTo>
                          <a:cubicBezTo>
                            <a:pt x="105" y="46"/>
                            <a:pt x="105" y="46"/>
                            <a:pt x="105" y="46"/>
                          </a:cubicBezTo>
                          <a:cubicBezTo>
                            <a:pt x="105" y="46"/>
                            <a:pt x="105" y="46"/>
                            <a:pt x="104" y="46"/>
                          </a:cubicBezTo>
                          <a:cubicBezTo>
                            <a:pt x="105" y="46"/>
                            <a:pt x="105" y="46"/>
                            <a:pt x="105" y="46"/>
                          </a:cubicBezTo>
                          <a:cubicBezTo>
                            <a:pt x="105" y="46"/>
                            <a:pt x="105" y="46"/>
                            <a:pt x="105" y="46"/>
                          </a:cubicBezTo>
                          <a:cubicBezTo>
                            <a:pt x="105" y="46"/>
                            <a:pt x="105" y="46"/>
                            <a:pt x="105" y="45"/>
                          </a:cubicBezTo>
                          <a:cubicBezTo>
                            <a:pt x="105" y="45"/>
                            <a:pt x="105" y="46"/>
                            <a:pt x="105" y="46"/>
                          </a:cubicBezTo>
                          <a:cubicBezTo>
                            <a:pt x="105" y="46"/>
                            <a:pt x="105" y="45"/>
                            <a:pt x="105" y="45"/>
                          </a:cubicBezTo>
                          <a:cubicBezTo>
                            <a:pt x="104" y="45"/>
                            <a:pt x="104" y="46"/>
                            <a:pt x="104" y="46"/>
                          </a:cubicBezTo>
                          <a:close/>
                          <a:moveTo>
                            <a:pt x="102" y="47"/>
                          </a:moveTo>
                          <a:cubicBezTo>
                            <a:pt x="103" y="47"/>
                            <a:pt x="103" y="47"/>
                            <a:pt x="104" y="47"/>
                          </a:cubicBezTo>
                          <a:cubicBezTo>
                            <a:pt x="104" y="47"/>
                            <a:pt x="104" y="47"/>
                            <a:pt x="104" y="46"/>
                          </a:cubicBezTo>
                          <a:cubicBezTo>
                            <a:pt x="104" y="47"/>
                            <a:pt x="104" y="47"/>
                            <a:pt x="103" y="47"/>
                          </a:cubicBezTo>
                          <a:cubicBezTo>
                            <a:pt x="103" y="47"/>
                            <a:pt x="103" y="47"/>
                            <a:pt x="103" y="47"/>
                          </a:cubicBezTo>
                          <a:cubicBezTo>
                            <a:pt x="103" y="47"/>
                            <a:pt x="103" y="47"/>
                            <a:pt x="102" y="47"/>
                          </a:cubicBezTo>
                          <a:close/>
                          <a:moveTo>
                            <a:pt x="99" y="48"/>
                          </a:moveTo>
                          <a:cubicBezTo>
                            <a:pt x="99" y="49"/>
                            <a:pt x="99" y="49"/>
                            <a:pt x="99" y="49"/>
                          </a:cubicBezTo>
                          <a:cubicBezTo>
                            <a:pt x="99" y="48"/>
                            <a:pt x="99" y="49"/>
                            <a:pt x="99" y="49"/>
                          </a:cubicBezTo>
                          <a:cubicBezTo>
                            <a:pt x="99" y="49"/>
                            <a:pt x="99" y="49"/>
                            <a:pt x="99" y="49"/>
                          </a:cubicBezTo>
                          <a:cubicBezTo>
                            <a:pt x="99" y="49"/>
                            <a:pt x="99" y="49"/>
                            <a:pt x="99" y="48"/>
                          </a:cubicBezTo>
                          <a:cubicBezTo>
                            <a:pt x="99" y="49"/>
                            <a:pt x="99" y="48"/>
                            <a:pt x="99" y="48"/>
                          </a:cubicBezTo>
                          <a:cubicBezTo>
                            <a:pt x="99" y="49"/>
                            <a:pt x="99" y="48"/>
                            <a:pt x="98" y="49"/>
                          </a:cubicBezTo>
                          <a:cubicBezTo>
                            <a:pt x="98" y="49"/>
                            <a:pt x="99" y="49"/>
                            <a:pt x="99" y="49"/>
                          </a:cubicBezTo>
                          <a:cubicBezTo>
                            <a:pt x="98" y="49"/>
                            <a:pt x="98" y="49"/>
                            <a:pt x="98" y="49"/>
                          </a:cubicBezTo>
                          <a:cubicBezTo>
                            <a:pt x="98" y="49"/>
                            <a:pt x="98" y="49"/>
                            <a:pt x="99" y="49"/>
                          </a:cubicBezTo>
                          <a:cubicBezTo>
                            <a:pt x="99" y="49"/>
                            <a:pt x="100" y="49"/>
                            <a:pt x="99" y="48"/>
                          </a:cubicBezTo>
                          <a:close/>
                          <a:moveTo>
                            <a:pt x="101" y="48"/>
                          </a:moveTo>
                          <a:cubicBezTo>
                            <a:pt x="101" y="48"/>
                            <a:pt x="99" y="48"/>
                            <a:pt x="100" y="48"/>
                          </a:cubicBezTo>
                          <a:cubicBezTo>
                            <a:pt x="100" y="48"/>
                            <a:pt x="100" y="48"/>
                            <a:pt x="101" y="48"/>
                          </a:cubicBezTo>
                          <a:close/>
                          <a:moveTo>
                            <a:pt x="101" y="48"/>
                          </a:moveTo>
                          <a:cubicBezTo>
                            <a:pt x="101" y="48"/>
                            <a:pt x="101" y="47"/>
                            <a:pt x="101" y="47"/>
                          </a:cubicBezTo>
                          <a:cubicBezTo>
                            <a:pt x="101" y="47"/>
                            <a:pt x="101" y="48"/>
                            <a:pt x="101" y="48"/>
                          </a:cubicBezTo>
                          <a:cubicBezTo>
                            <a:pt x="101" y="48"/>
                            <a:pt x="101" y="48"/>
                            <a:pt x="101" y="48"/>
                          </a:cubicBezTo>
                          <a:close/>
                          <a:moveTo>
                            <a:pt x="104" y="45"/>
                          </a:moveTo>
                          <a:cubicBezTo>
                            <a:pt x="104" y="46"/>
                            <a:pt x="104" y="46"/>
                            <a:pt x="104" y="46"/>
                          </a:cubicBezTo>
                          <a:cubicBezTo>
                            <a:pt x="104" y="46"/>
                            <a:pt x="104" y="46"/>
                            <a:pt x="104" y="46"/>
                          </a:cubicBezTo>
                          <a:cubicBezTo>
                            <a:pt x="104" y="46"/>
                            <a:pt x="103" y="46"/>
                            <a:pt x="103" y="46"/>
                          </a:cubicBezTo>
                          <a:cubicBezTo>
                            <a:pt x="103" y="46"/>
                            <a:pt x="103" y="46"/>
                            <a:pt x="103" y="46"/>
                          </a:cubicBezTo>
                          <a:cubicBezTo>
                            <a:pt x="103" y="46"/>
                            <a:pt x="103" y="46"/>
                            <a:pt x="104" y="46"/>
                          </a:cubicBezTo>
                          <a:cubicBezTo>
                            <a:pt x="103" y="46"/>
                            <a:pt x="103" y="46"/>
                            <a:pt x="103" y="46"/>
                          </a:cubicBezTo>
                          <a:cubicBezTo>
                            <a:pt x="103" y="46"/>
                            <a:pt x="103" y="46"/>
                            <a:pt x="103" y="46"/>
                          </a:cubicBezTo>
                          <a:cubicBezTo>
                            <a:pt x="103" y="46"/>
                            <a:pt x="104" y="46"/>
                            <a:pt x="104" y="46"/>
                          </a:cubicBezTo>
                          <a:cubicBezTo>
                            <a:pt x="104" y="46"/>
                            <a:pt x="104" y="46"/>
                            <a:pt x="104" y="45"/>
                          </a:cubicBezTo>
                          <a:close/>
                          <a:moveTo>
                            <a:pt x="102" y="47"/>
                          </a:moveTo>
                          <a:cubicBezTo>
                            <a:pt x="102" y="47"/>
                            <a:pt x="102" y="47"/>
                            <a:pt x="102" y="47"/>
                          </a:cubicBezTo>
                          <a:cubicBezTo>
                            <a:pt x="102" y="47"/>
                            <a:pt x="103" y="47"/>
                            <a:pt x="103" y="47"/>
                          </a:cubicBezTo>
                          <a:cubicBezTo>
                            <a:pt x="102" y="47"/>
                            <a:pt x="102" y="47"/>
                            <a:pt x="102" y="47"/>
                          </a:cubicBezTo>
                          <a:close/>
                          <a:moveTo>
                            <a:pt x="103" y="46"/>
                          </a:moveTo>
                          <a:cubicBezTo>
                            <a:pt x="103" y="46"/>
                            <a:pt x="103" y="46"/>
                            <a:pt x="103" y="46"/>
                          </a:cubicBezTo>
                          <a:cubicBezTo>
                            <a:pt x="103" y="46"/>
                            <a:pt x="103" y="46"/>
                            <a:pt x="103" y="46"/>
                          </a:cubicBezTo>
                          <a:close/>
                          <a:moveTo>
                            <a:pt x="101" y="47"/>
                          </a:moveTo>
                          <a:cubicBezTo>
                            <a:pt x="101" y="47"/>
                            <a:pt x="101" y="47"/>
                            <a:pt x="101" y="47"/>
                          </a:cubicBezTo>
                          <a:cubicBezTo>
                            <a:pt x="101" y="47"/>
                            <a:pt x="100" y="47"/>
                            <a:pt x="100" y="47"/>
                          </a:cubicBezTo>
                          <a:cubicBezTo>
                            <a:pt x="100" y="47"/>
                            <a:pt x="101" y="47"/>
                            <a:pt x="101" y="47"/>
                          </a:cubicBezTo>
                          <a:cubicBezTo>
                            <a:pt x="101" y="47"/>
                            <a:pt x="100" y="47"/>
                            <a:pt x="100" y="48"/>
                          </a:cubicBezTo>
                          <a:cubicBezTo>
                            <a:pt x="100" y="47"/>
                            <a:pt x="101" y="47"/>
                            <a:pt x="101" y="47"/>
                          </a:cubicBezTo>
                          <a:cubicBezTo>
                            <a:pt x="101" y="47"/>
                            <a:pt x="101" y="47"/>
                            <a:pt x="102" y="47"/>
                          </a:cubicBezTo>
                          <a:cubicBezTo>
                            <a:pt x="102" y="47"/>
                            <a:pt x="102" y="47"/>
                            <a:pt x="102" y="47"/>
                          </a:cubicBezTo>
                          <a:cubicBezTo>
                            <a:pt x="102" y="47"/>
                            <a:pt x="102" y="47"/>
                            <a:pt x="101" y="47"/>
                          </a:cubicBezTo>
                          <a:cubicBezTo>
                            <a:pt x="101" y="47"/>
                            <a:pt x="102" y="47"/>
                            <a:pt x="102" y="47"/>
                          </a:cubicBezTo>
                          <a:cubicBezTo>
                            <a:pt x="102" y="47"/>
                            <a:pt x="102" y="47"/>
                            <a:pt x="102" y="47"/>
                          </a:cubicBezTo>
                          <a:cubicBezTo>
                            <a:pt x="102" y="47"/>
                            <a:pt x="102" y="47"/>
                            <a:pt x="102" y="47"/>
                          </a:cubicBezTo>
                          <a:cubicBezTo>
                            <a:pt x="102" y="47"/>
                            <a:pt x="102" y="47"/>
                            <a:pt x="102" y="47"/>
                          </a:cubicBezTo>
                          <a:cubicBezTo>
                            <a:pt x="102" y="47"/>
                            <a:pt x="101" y="47"/>
                            <a:pt x="101" y="47"/>
                          </a:cubicBezTo>
                          <a:cubicBezTo>
                            <a:pt x="101" y="47"/>
                            <a:pt x="101" y="47"/>
                            <a:pt x="101" y="47"/>
                          </a:cubicBezTo>
                          <a:close/>
                          <a:moveTo>
                            <a:pt x="99" y="48"/>
                          </a:moveTo>
                          <a:cubicBezTo>
                            <a:pt x="100" y="48"/>
                            <a:pt x="100" y="48"/>
                            <a:pt x="100" y="48"/>
                          </a:cubicBezTo>
                          <a:cubicBezTo>
                            <a:pt x="100" y="48"/>
                            <a:pt x="100" y="48"/>
                            <a:pt x="99" y="48"/>
                          </a:cubicBezTo>
                          <a:cubicBezTo>
                            <a:pt x="99" y="48"/>
                            <a:pt x="99" y="48"/>
                            <a:pt x="99" y="48"/>
                          </a:cubicBezTo>
                          <a:cubicBezTo>
                            <a:pt x="99" y="48"/>
                            <a:pt x="98" y="48"/>
                            <a:pt x="98" y="48"/>
                          </a:cubicBezTo>
                          <a:cubicBezTo>
                            <a:pt x="98" y="49"/>
                            <a:pt x="99" y="48"/>
                            <a:pt x="99" y="48"/>
                          </a:cubicBezTo>
                          <a:cubicBezTo>
                            <a:pt x="99" y="48"/>
                            <a:pt x="99" y="48"/>
                            <a:pt x="99" y="48"/>
                          </a:cubicBezTo>
                          <a:cubicBezTo>
                            <a:pt x="99" y="48"/>
                            <a:pt x="99" y="48"/>
                            <a:pt x="99" y="48"/>
                          </a:cubicBezTo>
                          <a:close/>
                          <a:moveTo>
                            <a:pt x="97" y="49"/>
                          </a:moveTo>
                          <a:cubicBezTo>
                            <a:pt x="97" y="49"/>
                            <a:pt x="97" y="49"/>
                            <a:pt x="97" y="49"/>
                          </a:cubicBezTo>
                          <a:cubicBezTo>
                            <a:pt x="97" y="49"/>
                            <a:pt x="97" y="49"/>
                            <a:pt x="97" y="49"/>
                          </a:cubicBezTo>
                          <a:close/>
                          <a:moveTo>
                            <a:pt x="96" y="50"/>
                          </a:moveTo>
                          <a:cubicBezTo>
                            <a:pt x="95" y="50"/>
                            <a:pt x="96" y="50"/>
                            <a:pt x="96" y="50"/>
                          </a:cubicBezTo>
                          <a:cubicBezTo>
                            <a:pt x="96" y="50"/>
                            <a:pt x="95" y="50"/>
                            <a:pt x="95" y="50"/>
                          </a:cubicBezTo>
                          <a:cubicBezTo>
                            <a:pt x="95" y="50"/>
                            <a:pt x="95" y="50"/>
                            <a:pt x="96" y="50"/>
                          </a:cubicBezTo>
                          <a:close/>
                          <a:moveTo>
                            <a:pt x="94" y="50"/>
                          </a:moveTo>
                          <a:cubicBezTo>
                            <a:pt x="94" y="50"/>
                            <a:pt x="94" y="51"/>
                            <a:pt x="94" y="51"/>
                          </a:cubicBezTo>
                          <a:cubicBezTo>
                            <a:pt x="94" y="51"/>
                            <a:pt x="94" y="51"/>
                            <a:pt x="94" y="51"/>
                          </a:cubicBezTo>
                          <a:cubicBezTo>
                            <a:pt x="94" y="51"/>
                            <a:pt x="95" y="50"/>
                            <a:pt x="94" y="50"/>
                          </a:cubicBezTo>
                          <a:close/>
                          <a:moveTo>
                            <a:pt x="102" y="46"/>
                          </a:moveTo>
                          <a:cubicBezTo>
                            <a:pt x="102" y="46"/>
                            <a:pt x="101" y="46"/>
                            <a:pt x="101" y="46"/>
                          </a:cubicBezTo>
                          <a:cubicBezTo>
                            <a:pt x="101" y="46"/>
                            <a:pt x="102" y="46"/>
                            <a:pt x="102" y="47"/>
                          </a:cubicBezTo>
                          <a:cubicBezTo>
                            <a:pt x="102" y="46"/>
                            <a:pt x="103" y="46"/>
                            <a:pt x="103" y="46"/>
                          </a:cubicBezTo>
                          <a:cubicBezTo>
                            <a:pt x="103" y="46"/>
                            <a:pt x="102" y="46"/>
                            <a:pt x="102" y="46"/>
                          </a:cubicBezTo>
                          <a:close/>
                          <a:moveTo>
                            <a:pt x="100" y="47"/>
                          </a:moveTo>
                          <a:cubicBezTo>
                            <a:pt x="100" y="47"/>
                            <a:pt x="100" y="47"/>
                            <a:pt x="100" y="47"/>
                          </a:cubicBezTo>
                          <a:cubicBezTo>
                            <a:pt x="100" y="47"/>
                            <a:pt x="100" y="47"/>
                            <a:pt x="100" y="47"/>
                          </a:cubicBezTo>
                          <a:cubicBezTo>
                            <a:pt x="100" y="47"/>
                            <a:pt x="100" y="47"/>
                            <a:pt x="101" y="47"/>
                          </a:cubicBezTo>
                          <a:cubicBezTo>
                            <a:pt x="100" y="46"/>
                            <a:pt x="101" y="46"/>
                            <a:pt x="101" y="46"/>
                          </a:cubicBezTo>
                          <a:cubicBezTo>
                            <a:pt x="101" y="46"/>
                            <a:pt x="100" y="46"/>
                            <a:pt x="100" y="47"/>
                          </a:cubicBezTo>
                          <a:cubicBezTo>
                            <a:pt x="100" y="47"/>
                            <a:pt x="100" y="46"/>
                            <a:pt x="100" y="47"/>
                          </a:cubicBezTo>
                          <a:cubicBezTo>
                            <a:pt x="100" y="47"/>
                            <a:pt x="100" y="47"/>
                            <a:pt x="100" y="47"/>
                          </a:cubicBezTo>
                          <a:cubicBezTo>
                            <a:pt x="100" y="47"/>
                            <a:pt x="99" y="47"/>
                            <a:pt x="99" y="47"/>
                          </a:cubicBezTo>
                          <a:cubicBezTo>
                            <a:pt x="99" y="47"/>
                            <a:pt x="99" y="47"/>
                            <a:pt x="99" y="47"/>
                          </a:cubicBezTo>
                          <a:cubicBezTo>
                            <a:pt x="99" y="47"/>
                            <a:pt x="99" y="48"/>
                            <a:pt x="99" y="47"/>
                          </a:cubicBezTo>
                          <a:cubicBezTo>
                            <a:pt x="99" y="47"/>
                            <a:pt x="99" y="47"/>
                            <a:pt x="99" y="47"/>
                          </a:cubicBezTo>
                          <a:cubicBezTo>
                            <a:pt x="99" y="47"/>
                            <a:pt x="99" y="47"/>
                            <a:pt x="100" y="47"/>
                          </a:cubicBezTo>
                          <a:close/>
                          <a:moveTo>
                            <a:pt x="105" y="44"/>
                          </a:moveTo>
                          <a:cubicBezTo>
                            <a:pt x="105" y="44"/>
                            <a:pt x="105" y="44"/>
                            <a:pt x="106" y="44"/>
                          </a:cubicBezTo>
                          <a:cubicBezTo>
                            <a:pt x="105" y="44"/>
                            <a:pt x="105" y="44"/>
                            <a:pt x="105" y="44"/>
                          </a:cubicBezTo>
                          <a:cubicBezTo>
                            <a:pt x="105" y="44"/>
                            <a:pt x="105" y="44"/>
                            <a:pt x="105" y="44"/>
                          </a:cubicBezTo>
                          <a:close/>
                          <a:moveTo>
                            <a:pt x="104" y="44"/>
                          </a:moveTo>
                          <a:cubicBezTo>
                            <a:pt x="104" y="44"/>
                            <a:pt x="105" y="44"/>
                            <a:pt x="104" y="44"/>
                          </a:cubicBezTo>
                          <a:cubicBezTo>
                            <a:pt x="105" y="44"/>
                            <a:pt x="105" y="44"/>
                            <a:pt x="105" y="44"/>
                          </a:cubicBezTo>
                          <a:cubicBezTo>
                            <a:pt x="105" y="44"/>
                            <a:pt x="105" y="44"/>
                            <a:pt x="104" y="44"/>
                          </a:cubicBezTo>
                          <a:close/>
                          <a:moveTo>
                            <a:pt x="103" y="45"/>
                          </a:moveTo>
                          <a:cubicBezTo>
                            <a:pt x="103" y="45"/>
                            <a:pt x="103" y="45"/>
                            <a:pt x="104" y="45"/>
                          </a:cubicBezTo>
                          <a:cubicBezTo>
                            <a:pt x="103" y="45"/>
                            <a:pt x="103" y="45"/>
                            <a:pt x="103" y="45"/>
                          </a:cubicBezTo>
                          <a:cubicBezTo>
                            <a:pt x="103" y="45"/>
                            <a:pt x="103" y="45"/>
                            <a:pt x="103" y="45"/>
                          </a:cubicBezTo>
                          <a:close/>
                          <a:moveTo>
                            <a:pt x="104" y="45"/>
                          </a:moveTo>
                          <a:cubicBezTo>
                            <a:pt x="104" y="45"/>
                            <a:pt x="104" y="45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5"/>
                          </a:cubicBezTo>
                          <a:close/>
                          <a:moveTo>
                            <a:pt x="107" y="43"/>
                          </a:moveTo>
                          <a:cubicBezTo>
                            <a:pt x="107" y="43"/>
                            <a:pt x="107" y="43"/>
                            <a:pt x="107" y="43"/>
                          </a:cubicBezTo>
                          <a:cubicBezTo>
                            <a:pt x="107" y="43"/>
                            <a:pt x="107" y="43"/>
                            <a:pt x="107" y="43"/>
                          </a:cubicBezTo>
                          <a:cubicBezTo>
                            <a:pt x="107" y="43"/>
                            <a:pt x="108" y="43"/>
                            <a:pt x="107" y="43"/>
                          </a:cubicBezTo>
                          <a:close/>
                          <a:moveTo>
                            <a:pt x="106" y="44"/>
                          </a:moveTo>
                          <a:cubicBezTo>
                            <a:pt x="106" y="44"/>
                            <a:pt x="105" y="44"/>
                            <a:pt x="105" y="44"/>
                          </a:cubicBezTo>
                          <a:cubicBezTo>
                            <a:pt x="105" y="44"/>
                            <a:pt x="105" y="44"/>
                            <a:pt x="106" y="44"/>
                          </a:cubicBezTo>
                          <a:close/>
                          <a:moveTo>
                            <a:pt x="106" y="43"/>
                          </a:moveTo>
                          <a:cubicBezTo>
                            <a:pt x="106" y="44"/>
                            <a:pt x="106" y="44"/>
                            <a:pt x="106" y="44"/>
                          </a:cubicBezTo>
                          <a:cubicBezTo>
                            <a:pt x="106" y="44"/>
                            <a:pt x="107" y="44"/>
                            <a:pt x="106" y="43"/>
                          </a:cubicBezTo>
                          <a:close/>
                          <a:moveTo>
                            <a:pt x="104" y="45"/>
                          </a:moveTo>
                          <a:cubicBezTo>
                            <a:pt x="104" y="45"/>
                            <a:pt x="104" y="45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5"/>
                          </a:cubicBezTo>
                          <a:close/>
                          <a:moveTo>
                            <a:pt x="108" y="43"/>
                          </a:moveTo>
                          <a:cubicBezTo>
                            <a:pt x="108" y="43"/>
                            <a:pt x="107" y="43"/>
                            <a:pt x="107" y="43"/>
                          </a:cubicBezTo>
                          <a:cubicBezTo>
                            <a:pt x="108" y="43"/>
                            <a:pt x="108" y="43"/>
                            <a:pt x="108" y="43"/>
                          </a:cubicBezTo>
                          <a:cubicBezTo>
                            <a:pt x="108" y="43"/>
                            <a:pt x="108" y="43"/>
                            <a:pt x="108" y="43"/>
                          </a:cubicBezTo>
                          <a:close/>
                          <a:moveTo>
                            <a:pt x="109" y="42"/>
                          </a:moveTo>
                          <a:cubicBezTo>
                            <a:pt x="109" y="42"/>
                            <a:pt x="108" y="42"/>
                            <a:pt x="108" y="43"/>
                          </a:cubicBezTo>
                          <a:cubicBezTo>
                            <a:pt x="108" y="43"/>
                            <a:pt x="108" y="43"/>
                            <a:pt x="108" y="43"/>
                          </a:cubicBezTo>
                          <a:cubicBezTo>
                            <a:pt x="108" y="42"/>
                            <a:pt x="108" y="43"/>
                            <a:pt x="108" y="43"/>
                          </a:cubicBezTo>
                          <a:cubicBezTo>
                            <a:pt x="109" y="42"/>
                            <a:pt x="108" y="42"/>
                            <a:pt x="109" y="42"/>
                          </a:cubicBezTo>
                          <a:cubicBezTo>
                            <a:pt x="109" y="42"/>
                            <a:pt x="109" y="42"/>
                            <a:pt x="109" y="42"/>
                          </a:cubicBezTo>
                          <a:close/>
                          <a:moveTo>
                            <a:pt x="110" y="41"/>
                          </a:moveTo>
                          <a:cubicBezTo>
                            <a:pt x="110" y="41"/>
                            <a:pt x="110" y="41"/>
                            <a:pt x="110" y="41"/>
                          </a:cubicBezTo>
                          <a:cubicBezTo>
                            <a:pt x="110" y="41"/>
                            <a:pt x="110" y="41"/>
                            <a:pt x="110" y="41"/>
                          </a:cubicBezTo>
                          <a:close/>
                          <a:moveTo>
                            <a:pt x="106" y="43"/>
                          </a:moveTo>
                          <a:cubicBezTo>
                            <a:pt x="106" y="43"/>
                            <a:pt x="106" y="43"/>
                            <a:pt x="106" y="44"/>
                          </a:cubicBezTo>
                          <a:cubicBezTo>
                            <a:pt x="106" y="43"/>
                            <a:pt x="106" y="43"/>
                            <a:pt x="106" y="43"/>
                          </a:cubicBezTo>
                          <a:cubicBezTo>
                            <a:pt x="106" y="43"/>
                            <a:pt x="107" y="43"/>
                            <a:pt x="107" y="43"/>
                          </a:cubicBezTo>
                          <a:cubicBezTo>
                            <a:pt x="107" y="43"/>
                            <a:pt x="107" y="43"/>
                            <a:pt x="107" y="43"/>
                          </a:cubicBezTo>
                          <a:cubicBezTo>
                            <a:pt x="107" y="43"/>
                            <a:pt x="106" y="43"/>
                            <a:pt x="106" y="43"/>
                          </a:cubicBezTo>
                          <a:close/>
                          <a:moveTo>
                            <a:pt x="107" y="42"/>
                          </a:moveTo>
                          <a:cubicBezTo>
                            <a:pt x="107" y="42"/>
                            <a:pt x="107" y="42"/>
                            <a:pt x="107" y="42"/>
                          </a:cubicBezTo>
                          <a:cubicBezTo>
                            <a:pt x="107" y="42"/>
                            <a:pt x="107" y="42"/>
                            <a:pt x="107" y="42"/>
                          </a:cubicBezTo>
                          <a:cubicBezTo>
                            <a:pt x="107" y="42"/>
                            <a:pt x="107" y="42"/>
                            <a:pt x="107" y="42"/>
                          </a:cubicBezTo>
                          <a:close/>
                          <a:moveTo>
                            <a:pt x="107" y="42"/>
                          </a:moveTo>
                          <a:cubicBezTo>
                            <a:pt x="107" y="42"/>
                            <a:pt x="107" y="42"/>
                            <a:pt x="108" y="42"/>
                          </a:cubicBezTo>
                          <a:cubicBezTo>
                            <a:pt x="107" y="42"/>
                            <a:pt x="107" y="42"/>
                            <a:pt x="107" y="42"/>
                          </a:cubicBezTo>
                          <a:close/>
                          <a:moveTo>
                            <a:pt x="107" y="41"/>
                          </a:moveTo>
                          <a:cubicBezTo>
                            <a:pt x="107" y="41"/>
                            <a:pt x="108" y="41"/>
                            <a:pt x="108" y="41"/>
                          </a:cubicBezTo>
                          <a:cubicBezTo>
                            <a:pt x="108" y="41"/>
                            <a:pt x="107" y="41"/>
                            <a:pt x="107" y="41"/>
                          </a:cubicBezTo>
                          <a:close/>
                          <a:moveTo>
                            <a:pt x="110" y="40"/>
                          </a:moveTo>
                          <a:cubicBezTo>
                            <a:pt x="110" y="40"/>
                            <a:pt x="110" y="40"/>
                            <a:pt x="110" y="40"/>
                          </a:cubicBezTo>
                          <a:cubicBezTo>
                            <a:pt x="110" y="40"/>
                            <a:pt x="111" y="40"/>
                            <a:pt x="110" y="40"/>
                          </a:cubicBezTo>
                          <a:cubicBezTo>
                            <a:pt x="110" y="40"/>
                            <a:pt x="110" y="40"/>
                            <a:pt x="110" y="40"/>
                          </a:cubicBezTo>
                          <a:close/>
                          <a:moveTo>
                            <a:pt x="110" y="40"/>
                          </a:moveTo>
                          <a:cubicBezTo>
                            <a:pt x="109" y="40"/>
                            <a:pt x="109" y="40"/>
                            <a:pt x="109" y="40"/>
                          </a:cubicBezTo>
                          <a:cubicBezTo>
                            <a:pt x="109" y="40"/>
                            <a:pt x="110" y="40"/>
                            <a:pt x="110" y="40"/>
                          </a:cubicBezTo>
                          <a:close/>
                          <a:moveTo>
                            <a:pt x="108" y="41"/>
                          </a:moveTo>
                          <a:cubicBezTo>
                            <a:pt x="108" y="41"/>
                            <a:pt x="109" y="41"/>
                            <a:pt x="109" y="41"/>
                          </a:cubicBezTo>
                          <a:cubicBezTo>
                            <a:pt x="109" y="41"/>
                            <a:pt x="109" y="40"/>
                            <a:pt x="109" y="40"/>
                          </a:cubicBezTo>
                          <a:cubicBezTo>
                            <a:pt x="109" y="40"/>
                            <a:pt x="110" y="40"/>
                            <a:pt x="110" y="40"/>
                          </a:cubicBezTo>
                          <a:cubicBezTo>
                            <a:pt x="109" y="40"/>
                            <a:pt x="109" y="40"/>
                            <a:pt x="108" y="40"/>
                          </a:cubicBezTo>
                          <a:cubicBezTo>
                            <a:pt x="109" y="40"/>
                            <a:pt x="109" y="40"/>
                            <a:pt x="109" y="40"/>
                          </a:cubicBezTo>
                          <a:cubicBezTo>
                            <a:pt x="108" y="41"/>
                            <a:pt x="108" y="41"/>
                            <a:pt x="108" y="41"/>
                          </a:cubicBezTo>
                          <a:close/>
                          <a:moveTo>
                            <a:pt x="106" y="42"/>
                          </a:moveTo>
                          <a:cubicBezTo>
                            <a:pt x="106" y="42"/>
                            <a:pt x="106" y="42"/>
                            <a:pt x="106" y="42"/>
                          </a:cubicBezTo>
                          <a:cubicBezTo>
                            <a:pt x="107" y="42"/>
                            <a:pt x="106" y="42"/>
                            <a:pt x="106" y="42"/>
                          </a:cubicBezTo>
                          <a:cubicBezTo>
                            <a:pt x="106" y="42"/>
                            <a:pt x="106" y="42"/>
                            <a:pt x="106" y="42"/>
                          </a:cubicBezTo>
                          <a:close/>
                          <a:moveTo>
                            <a:pt x="105" y="43"/>
                          </a:moveTo>
                          <a:cubicBezTo>
                            <a:pt x="105" y="43"/>
                            <a:pt x="105" y="43"/>
                            <a:pt x="105" y="43"/>
                          </a:cubicBezTo>
                          <a:cubicBezTo>
                            <a:pt x="105" y="43"/>
                            <a:pt x="105" y="43"/>
                            <a:pt x="105" y="43"/>
                          </a:cubicBezTo>
                          <a:cubicBezTo>
                            <a:pt x="105" y="43"/>
                            <a:pt x="105" y="43"/>
                            <a:pt x="105" y="43"/>
                          </a:cubicBezTo>
                          <a:cubicBezTo>
                            <a:pt x="105" y="43"/>
                            <a:pt x="105" y="44"/>
                            <a:pt x="105" y="43"/>
                          </a:cubicBezTo>
                          <a:cubicBezTo>
                            <a:pt x="105" y="43"/>
                            <a:pt x="106" y="43"/>
                            <a:pt x="106" y="43"/>
                          </a:cubicBezTo>
                          <a:cubicBezTo>
                            <a:pt x="106" y="43"/>
                            <a:pt x="106" y="43"/>
                            <a:pt x="106" y="43"/>
                          </a:cubicBezTo>
                          <a:cubicBezTo>
                            <a:pt x="106" y="43"/>
                            <a:pt x="106" y="43"/>
                            <a:pt x="106" y="43"/>
                          </a:cubicBezTo>
                          <a:cubicBezTo>
                            <a:pt x="107" y="43"/>
                            <a:pt x="107" y="43"/>
                            <a:pt x="107" y="43"/>
                          </a:cubicBezTo>
                          <a:cubicBezTo>
                            <a:pt x="107" y="43"/>
                            <a:pt x="107" y="42"/>
                            <a:pt x="107" y="42"/>
                          </a:cubicBezTo>
                          <a:cubicBezTo>
                            <a:pt x="106" y="42"/>
                            <a:pt x="106" y="43"/>
                            <a:pt x="106" y="43"/>
                          </a:cubicBezTo>
                          <a:cubicBezTo>
                            <a:pt x="105" y="43"/>
                            <a:pt x="105" y="43"/>
                            <a:pt x="105" y="43"/>
                          </a:cubicBezTo>
                          <a:cubicBezTo>
                            <a:pt x="105" y="43"/>
                            <a:pt x="104" y="43"/>
                            <a:pt x="104" y="43"/>
                          </a:cubicBezTo>
                          <a:cubicBezTo>
                            <a:pt x="104" y="43"/>
                            <a:pt x="104" y="44"/>
                            <a:pt x="104" y="44"/>
                          </a:cubicBezTo>
                          <a:cubicBezTo>
                            <a:pt x="104" y="43"/>
                            <a:pt x="104" y="44"/>
                            <a:pt x="104" y="44"/>
                          </a:cubicBezTo>
                          <a:cubicBezTo>
                            <a:pt x="104" y="44"/>
                            <a:pt x="104" y="43"/>
                            <a:pt x="105" y="43"/>
                          </a:cubicBezTo>
                          <a:close/>
                          <a:moveTo>
                            <a:pt x="103" y="44"/>
                          </a:moveTo>
                          <a:cubicBezTo>
                            <a:pt x="104" y="44"/>
                            <a:pt x="104" y="44"/>
                            <a:pt x="104" y="44"/>
                          </a:cubicBezTo>
                          <a:cubicBezTo>
                            <a:pt x="104" y="44"/>
                            <a:pt x="104" y="44"/>
                            <a:pt x="104" y="44"/>
                          </a:cubicBezTo>
                          <a:cubicBezTo>
                            <a:pt x="104" y="44"/>
                            <a:pt x="104" y="44"/>
                            <a:pt x="105" y="44"/>
                          </a:cubicBezTo>
                          <a:cubicBezTo>
                            <a:pt x="104" y="44"/>
                            <a:pt x="104" y="44"/>
                            <a:pt x="104" y="44"/>
                          </a:cubicBezTo>
                          <a:cubicBezTo>
                            <a:pt x="104" y="44"/>
                            <a:pt x="104" y="44"/>
                            <a:pt x="104" y="44"/>
                          </a:cubicBezTo>
                          <a:cubicBezTo>
                            <a:pt x="104" y="44"/>
                            <a:pt x="104" y="44"/>
                            <a:pt x="104" y="44"/>
                          </a:cubicBezTo>
                          <a:cubicBezTo>
                            <a:pt x="104" y="44"/>
                            <a:pt x="104" y="44"/>
                            <a:pt x="103" y="44"/>
                          </a:cubicBezTo>
                          <a:close/>
                          <a:moveTo>
                            <a:pt x="103" y="45"/>
                          </a:moveTo>
                          <a:cubicBezTo>
                            <a:pt x="103" y="45"/>
                            <a:pt x="103" y="45"/>
                            <a:pt x="103" y="45"/>
                          </a:cubicBezTo>
                          <a:cubicBezTo>
                            <a:pt x="103" y="45"/>
                            <a:pt x="103" y="45"/>
                            <a:pt x="103" y="45"/>
                          </a:cubicBezTo>
                          <a:close/>
                          <a:moveTo>
                            <a:pt x="102" y="44"/>
                          </a:moveTo>
                          <a:cubicBezTo>
                            <a:pt x="103" y="44"/>
                            <a:pt x="103" y="44"/>
                            <a:pt x="103" y="45"/>
                          </a:cubicBezTo>
                          <a:cubicBezTo>
                            <a:pt x="103" y="44"/>
                            <a:pt x="103" y="44"/>
                            <a:pt x="103" y="44"/>
                          </a:cubicBezTo>
                          <a:cubicBezTo>
                            <a:pt x="103" y="44"/>
                            <a:pt x="103" y="44"/>
                            <a:pt x="103" y="44"/>
                          </a:cubicBezTo>
                          <a:cubicBezTo>
                            <a:pt x="103" y="44"/>
                            <a:pt x="103" y="44"/>
                            <a:pt x="102" y="44"/>
                          </a:cubicBezTo>
                          <a:close/>
                          <a:moveTo>
                            <a:pt x="99" y="46"/>
                          </a:moveTo>
                          <a:cubicBezTo>
                            <a:pt x="100" y="46"/>
                            <a:pt x="100" y="46"/>
                            <a:pt x="100" y="46"/>
                          </a:cubicBezTo>
                          <a:cubicBezTo>
                            <a:pt x="100" y="46"/>
                            <a:pt x="99" y="46"/>
                            <a:pt x="99" y="46"/>
                          </a:cubicBezTo>
                          <a:close/>
                          <a:moveTo>
                            <a:pt x="99" y="46"/>
                          </a:moveTo>
                          <a:cubicBezTo>
                            <a:pt x="99" y="46"/>
                            <a:pt x="99" y="46"/>
                            <a:pt x="99" y="46"/>
                          </a:cubicBezTo>
                          <a:cubicBezTo>
                            <a:pt x="99" y="46"/>
                            <a:pt x="99" y="46"/>
                            <a:pt x="99" y="46"/>
                          </a:cubicBezTo>
                          <a:cubicBezTo>
                            <a:pt x="99" y="46"/>
                            <a:pt x="98" y="46"/>
                            <a:pt x="99" y="47"/>
                          </a:cubicBezTo>
                          <a:cubicBezTo>
                            <a:pt x="99" y="46"/>
                            <a:pt x="99" y="47"/>
                            <a:pt x="99" y="46"/>
                          </a:cubicBezTo>
                          <a:cubicBezTo>
                            <a:pt x="99" y="46"/>
                            <a:pt x="99" y="46"/>
                            <a:pt x="99" y="46"/>
                          </a:cubicBezTo>
                          <a:close/>
                          <a:moveTo>
                            <a:pt x="97" y="47"/>
                          </a:moveTo>
                          <a:cubicBezTo>
                            <a:pt x="98" y="47"/>
                            <a:pt x="98" y="47"/>
                            <a:pt x="98" y="46"/>
                          </a:cubicBezTo>
                          <a:cubicBezTo>
                            <a:pt x="98" y="47"/>
                            <a:pt x="98" y="46"/>
                            <a:pt x="99" y="46"/>
                          </a:cubicBezTo>
                          <a:cubicBezTo>
                            <a:pt x="99" y="46"/>
                            <a:pt x="99" y="46"/>
                            <a:pt x="99" y="46"/>
                          </a:cubicBezTo>
                          <a:cubicBezTo>
                            <a:pt x="99" y="46"/>
                            <a:pt x="99" y="46"/>
                            <a:pt x="100" y="46"/>
                          </a:cubicBezTo>
                          <a:cubicBezTo>
                            <a:pt x="99" y="45"/>
                            <a:pt x="99" y="46"/>
                            <a:pt x="99" y="46"/>
                          </a:cubicBezTo>
                          <a:cubicBezTo>
                            <a:pt x="99" y="46"/>
                            <a:pt x="99" y="45"/>
                            <a:pt x="99" y="45"/>
                          </a:cubicBezTo>
                          <a:cubicBezTo>
                            <a:pt x="99" y="45"/>
                            <a:pt x="99" y="46"/>
                            <a:pt x="99" y="46"/>
                          </a:cubicBezTo>
                          <a:cubicBezTo>
                            <a:pt x="99" y="46"/>
                            <a:pt x="99" y="46"/>
                            <a:pt x="99" y="46"/>
                          </a:cubicBezTo>
                          <a:cubicBezTo>
                            <a:pt x="99" y="46"/>
                            <a:pt x="99" y="46"/>
                            <a:pt x="99" y="46"/>
                          </a:cubicBezTo>
                          <a:cubicBezTo>
                            <a:pt x="99" y="46"/>
                            <a:pt x="99" y="46"/>
                            <a:pt x="98" y="46"/>
                          </a:cubicBezTo>
                          <a:cubicBezTo>
                            <a:pt x="98" y="46"/>
                            <a:pt x="98" y="46"/>
                            <a:pt x="98" y="46"/>
                          </a:cubicBezTo>
                          <a:cubicBezTo>
                            <a:pt x="98" y="46"/>
                            <a:pt x="98" y="47"/>
                            <a:pt x="98" y="46"/>
                          </a:cubicBezTo>
                          <a:cubicBezTo>
                            <a:pt x="98" y="46"/>
                            <a:pt x="98" y="46"/>
                            <a:pt x="98" y="46"/>
                          </a:cubicBezTo>
                          <a:cubicBezTo>
                            <a:pt x="98" y="46"/>
                            <a:pt x="98" y="46"/>
                            <a:pt x="98" y="46"/>
                          </a:cubicBezTo>
                          <a:cubicBezTo>
                            <a:pt x="98" y="46"/>
                            <a:pt x="97" y="46"/>
                            <a:pt x="97" y="47"/>
                          </a:cubicBezTo>
                          <a:close/>
                          <a:moveTo>
                            <a:pt x="98" y="47"/>
                          </a:moveTo>
                          <a:cubicBezTo>
                            <a:pt x="98" y="47"/>
                            <a:pt x="98" y="47"/>
                            <a:pt x="98" y="46"/>
                          </a:cubicBezTo>
                          <a:cubicBezTo>
                            <a:pt x="98" y="47"/>
                            <a:pt x="98" y="47"/>
                            <a:pt x="98" y="47"/>
                          </a:cubicBezTo>
                          <a:close/>
                          <a:moveTo>
                            <a:pt x="98" y="47"/>
                          </a:moveTo>
                          <a:cubicBezTo>
                            <a:pt x="98" y="47"/>
                            <a:pt x="97" y="47"/>
                            <a:pt x="97" y="47"/>
                          </a:cubicBezTo>
                          <a:cubicBezTo>
                            <a:pt x="98" y="47"/>
                            <a:pt x="98" y="47"/>
                            <a:pt x="98" y="47"/>
                          </a:cubicBezTo>
                          <a:cubicBezTo>
                            <a:pt x="98" y="47"/>
                            <a:pt x="97" y="47"/>
                            <a:pt x="97" y="47"/>
                          </a:cubicBezTo>
                          <a:cubicBezTo>
                            <a:pt x="98" y="47"/>
                            <a:pt x="98" y="47"/>
                            <a:pt x="98" y="47"/>
                          </a:cubicBezTo>
                          <a:close/>
                          <a:moveTo>
                            <a:pt x="98" y="47"/>
                          </a:moveTo>
                          <a:cubicBezTo>
                            <a:pt x="98" y="48"/>
                            <a:pt x="98" y="48"/>
                            <a:pt x="98" y="48"/>
                          </a:cubicBezTo>
                          <a:cubicBezTo>
                            <a:pt x="98" y="48"/>
                            <a:pt x="98" y="47"/>
                            <a:pt x="98" y="48"/>
                          </a:cubicBezTo>
                          <a:cubicBezTo>
                            <a:pt x="98" y="48"/>
                            <a:pt x="98" y="48"/>
                            <a:pt x="98" y="48"/>
                          </a:cubicBezTo>
                          <a:cubicBezTo>
                            <a:pt x="98" y="48"/>
                            <a:pt x="97" y="48"/>
                            <a:pt x="97" y="49"/>
                          </a:cubicBezTo>
                          <a:cubicBezTo>
                            <a:pt x="97" y="49"/>
                            <a:pt x="97" y="48"/>
                            <a:pt x="97" y="48"/>
                          </a:cubicBezTo>
                          <a:cubicBezTo>
                            <a:pt x="96" y="49"/>
                            <a:pt x="97" y="48"/>
                            <a:pt x="97" y="49"/>
                          </a:cubicBezTo>
                          <a:cubicBezTo>
                            <a:pt x="97" y="49"/>
                            <a:pt x="97" y="48"/>
                            <a:pt x="97" y="48"/>
                          </a:cubicBezTo>
                          <a:cubicBezTo>
                            <a:pt x="97" y="48"/>
                            <a:pt x="98" y="48"/>
                            <a:pt x="98" y="48"/>
                          </a:cubicBezTo>
                          <a:cubicBezTo>
                            <a:pt x="98" y="48"/>
                            <a:pt x="97" y="48"/>
                            <a:pt x="97" y="49"/>
                          </a:cubicBezTo>
                          <a:cubicBezTo>
                            <a:pt x="97" y="48"/>
                            <a:pt x="98" y="48"/>
                            <a:pt x="98" y="48"/>
                          </a:cubicBezTo>
                          <a:cubicBezTo>
                            <a:pt x="98" y="48"/>
                            <a:pt x="98" y="49"/>
                            <a:pt x="98" y="49"/>
                          </a:cubicBezTo>
                          <a:cubicBezTo>
                            <a:pt x="98" y="48"/>
                            <a:pt x="98" y="48"/>
                            <a:pt x="98" y="48"/>
                          </a:cubicBezTo>
                          <a:cubicBezTo>
                            <a:pt x="98" y="48"/>
                            <a:pt x="98" y="48"/>
                            <a:pt x="98" y="48"/>
                          </a:cubicBezTo>
                          <a:cubicBezTo>
                            <a:pt x="98" y="48"/>
                            <a:pt x="98" y="48"/>
                            <a:pt x="98" y="48"/>
                          </a:cubicBezTo>
                          <a:cubicBezTo>
                            <a:pt x="98" y="48"/>
                            <a:pt x="98" y="48"/>
                            <a:pt x="98" y="48"/>
                          </a:cubicBezTo>
                          <a:cubicBezTo>
                            <a:pt x="98" y="48"/>
                            <a:pt x="99" y="47"/>
                            <a:pt x="99" y="47"/>
                          </a:cubicBezTo>
                          <a:cubicBezTo>
                            <a:pt x="99" y="47"/>
                            <a:pt x="98" y="48"/>
                            <a:pt x="98" y="47"/>
                          </a:cubicBezTo>
                          <a:cubicBezTo>
                            <a:pt x="98" y="47"/>
                            <a:pt x="98" y="47"/>
                            <a:pt x="98" y="47"/>
                          </a:cubicBezTo>
                          <a:cubicBezTo>
                            <a:pt x="98" y="47"/>
                            <a:pt x="99" y="47"/>
                            <a:pt x="99" y="47"/>
                          </a:cubicBezTo>
                          <a:cubicBezTo>
                            <a:pt x="98" y="47"/>
                            <a:pt x="99" y="47"/>
                            <a:pt x="99" y="47"/>
                          </a:cubicBezTo>
                          <a:cubicBezTo>
                            <a:pt x="99" y="47"/>
                            <a:pt x="99" y="47"/>
                            <a:pt x="99" y="47"/>
                          </a:cubicBezTo>
                          <a:cubicBezTo>
                            <a:pt x="99" y="47"/>
                            <a:pt x="99" y="47"/>
                            <a:pt x="99" y="47"/>
                          </a:cubicBezTo>
                          <a:cubicBezTo>
                            <a:pt x="99" y="47"/>
                            <a:pt x="99" y="47"/>
                            <a:pt x="99" y="47"/>
                          </a:cubicBezTo>
                          <a:cubicBezTo>
                            <a:pt x="99" y="47"/>
                            <a:pt x="99" y="46"/>
                            <a:pt x="100" y="46"/>
                          </a:cubicBezTo>
                          <a:cubicBezTo>
                            <a:pt x="100" y="46"/>
                            <a:pt x="100" y="46"/>
                            <a:pt x="100" y="46"/>
                          </a:cubicBezTo>
                          <a:cubicBezTo>
                            <a:pt x="100" y="46"/>
                            <a:pt x="101" y="46"/>
                            <a:pt x="101" y="46"/>
                          </a:cubicBezTo>
                          <a:cubicBezTo>
                            <a:pt x="100" y="46"/>
                            <a:pt x="100" y="46"/>
                            <a:pt x="99" y="46"/>
                          </a:cubicBezTo>
                          <a:cubicBezTo>
                            <a:pt x="99" y="47"/>
                            <a:pt x="98" y="47"/>
                            <a:pt x="98" y="47"/>
                          </a:cubicBezTo>
                          <a:cubicBezTo>
                            <a:pt x="98" y="47"/>
                            <a:pt x="97" y="48"/>
                            <a:pt x="97" y="48"/>
                          </a:cubicBezTo>
                          <a:cubicBezTo>
                            <a:pt x="97" y="48"/>
                            <a:pt x="97" y="48"/>
                            <a:pt x="97" y="48"/>
                          </a:cubicBezTo>
                          <a:cubicBezTo>
                            <a:pt x="97" y="48"/>
                            <a:pt x="97" y="48"/>
                            <a:pt x="97" y="48"/>
                          </a:cubicBezTo>
                          <a:cubicBezTo>
                            <a:pt x="97" y="48"/>
                            <a:pt x="97" y="48"/>
                            <a:pt x="97" y="48"/>
                          </a:cubicBezTo>
                          <a:cubicBezTo>
                            <a:pt x="97" y="48"/>
                            <a:pt x="96" y="48"/>
                            <a:pt x="96" y="48"/>
                          </a:cubicBezTo>
                          <a:cubicBezTo>
                            <a:pt x="96" y="48"/>
                            <a:pt x="96" y="48"/>
                            <a:pt x="96" y="48"/>
                          </a:cubicBezTo>
                          <a:cubicBezTo>
                            <a:pt x="97" y="48"/>
                            <a:pt x="97" y="48"/>
                            <a:pt x="98" y="47"/>
                          </a:cubicBezTo>
                          <a:close/>
                          <a:moveTo>
                            <a:pt x="93" y="51"/>
                          </a:moveTo>
                          <a:cubicBezTo>
                            <a:pt x="93" y="51"/>
                            <a:pt x="93" y="51"/>
                            <a:pt x="93" y="51"/>
                          </a:cubicBezTo>
                          <a:cubicBezTo>
                            <a:pt x="93" y="51"/>
                            <a:pt x="93" y="51"/>
                            <a:pt x="93" y="51"/>
                          </a:cubicBezTo>
                          <a:cubicBezTo>
                            <a:pt x="93" y="51"/>
                            <a:pt x="93" y="51"/>
                            <a:pt x="93" y="51"/>
                          </a:cubicBezTo>
                          <a:cubicBezTo>
                            <a:pt x="93" y="51"/>
                            <a:pt x="94" y="51"/>
                            <a:pt x="93" y="51"/>
                          </a:cubicBezTo>
                          <a:cubicBezTo>
                            <a:pt x="93" y="51"/>
                            <a:pt x="93" y="51"/>
                            <a:pt x="93" y="51"/>
                          </a:cubicBezTo>
                          <a:close/>
                          <a:moveTo>
                            <a:pt x="95" y="50"/>
                          </a:moveTo>
                          <a:cubicBezTo>
                            <a:pt x="95" y="50"/>
                            <a:pt x="96" y="49"/>
                            <a:pt x="96" y="49"/>
                          </a:cubicBezTo>
                          <a:cubicBezTo>
                            <a:pt x="96" y="49"/>
                            <a:pt x="96" y="49"/>
                            <a:pt x="96" y="49"/>
                          </a:cubicBezTo>
                          <a:cubicBezTo>
                            <a:pt x="96" y="49"/>
                            <a:pt x="96" y="49"/>
                            <a:pt x="96" y="49"/>
                          </a:cubicBezTo>
                          <a:cubicBezTo>
                            <a:pt x="95" y="49"/>
                            <a:pt x="95" y="49"/>
                            <a:pt x="95" y="49"/>
                          </a:cubicBezTo>
                          <a:cubicBezTo>
                            <a:pt x="95" y="50"/>
                            <a:pt x="95" y="49"/>
                            <a:pt x="95" y="50"/>
                          </a:cubicBezTo>
                          <a:cubicBezTo>
                            <a:pt x="95" y="50"/>
                            <a:pt x="95" y="50"/>
                            <a:pt x="95" y="50"/>
                          </a:cubicBezTo>
                          <a:cubicBezTo>
                            <a:pt x="95" y="50"/>
                            <a:pt x="95" y="50"/>
                            <a:pt x="95" y="50"/>
                          </a:cubicBezTo>
                          <a:cubicBezTo>
                            <a:pt x="95" y="50"/>
                            <a:pt x="95" y="50"/>
                            <a:pt x="95" y="50"/>
                          </a:cubicBezTo>
                          <a:close/>
                          <a:moveTo>
                            <a:pt x="96" y="49"/>
                          </a:moveTo>
                          <a:cubicBezTo>
                            <a:pt x="96" y="49"/>
                            <a:pt x="95" y="49"/>
                            <a:pt x="95" y="50"/>
                          </a:cubicBezTo>
                          <a:cubicBezTo>
                            <a:pt x="95" y="49"/>
                            <a:pt x="95" y="50"/>
                            <a:pt x="95" y="50"/>
                          </a:cubicBezTo>
                          <a:cubicBezTo>
                            <a:pt x="95" y="49"/>
                            <a:pt x="96" y="49"/>
                            <a:pt x="96" y="49"/>
                          </a:cubicBezTo>
                          <a:close/>
                          <a:moveTo>
                            <a:pt x="94" y="50"/>
                          </a:moveTo>
                          <a:cubicBezTo>
                            <a:pt x="93" y="50"/>
                            <a:pt x="93" y="51"/>
                            <a:pt x="92" y="51"/>
                          </a:cubicBezTo>
                          <a:cubicBezTo>
                            <a:pt x="92" y="51"/>
                            <a:pt x="92" y="51"/>
                            <a:pt x="92" y="51"/>
                          </a:cubicBezTo>
                          <a:cubicBezTo>
                            <a:pt x="93" y="51"/>
                            <a:pt x="92" y="51"/>
                            <a:pt x="93" y="51"/>
                          </a:cubicBezTo>
                          <a:cubicBezTo>
                            <a:pt x="93" y="51"/>
                            <a:pt x="93" y="51"/>
                            <a:pt x="93" y="51"/>
                          </a:cubicBezTo>
                          <a:cubicBezTo>
                            <a:pt x="93" y="51"/>
                            <a:pt x="93" y="51"/>
                            <a:pt x="93" y="51"/>
                          </a:cubicBezTo>
                          <a:cubicBezTo>
                            <a:pt x="93" y="51"/>
                            <a:pt x="93" y="50"/>
                            <a:pt x="94" y="50"/>
                          </a:cubicBezTo>
                          <a:cubicBezTo>
                            <a:pt x="94" y="51"/>
                            <a:pt x="94" y="50"/>
                            <a:pt x="94" y="50"/>
                          </a:cubicBezTo>
                          <a:cubicBezTo>
                            <a:pt x="94" y="50"/>
                            <a:pt x="94" y="50"/>
                            <a:pt x="94" y="50"/>
                          </a:cubicBezTo>
                          <a:cubicBezTo>
                            <a:pt x="94" y="50"/>
                            <a:pt x="94" y="50"/>
                            <a:pt x="94" y="50"/>
                          </a:cubicBezTo>
                          <a:cubicBezTo>
                            <a:pt x="94" y="50"/>
                            <a:pt x="94" y="50"/>
                            <a:pt x="94" y="50"/>
                          </a:cubicBezTo>
                          <a:cubicBezTo>
                            <a:pt x="94" y="50"/>
                            <a:pt x="94" y="50"/>
                            <a:pt x="94" y="50"/>
                          </a:cubicBezTo>
                          <a:close/>
                          <a:moveTo>
                            <a:pt x="92" y="51"/>
                          </a:moveTo>
                          <a:cubicBezTo>
                            <a:pt x="92" y="51"/>
                            <a:pt x="91" y="51"/>
                            <a:pt x="91" y="52"/>
                          </a:cubicBezTo>
                          <a:cubicBezTo>
                            <a:pt x="91" y="51"/>
                            <a:pt x="92" y="51"/>
                            <a:pt x="92" y="51"/>
                          </a:cubicBezTo>
                          <a:close/>
                          <a:moveTo>
                            <a:pt x="88" y="53"/>
                          </a:moveTo>
                          <a:cubicBezTo>
                            <a:pt x="87" y="53"/>
                            <a:pt x="87" y="53"/>
                            <a:pt x="87" y="54"/>
                          </a:cubicBezTo>
                          <a:cubicBezTo>
                            <a:pt x="87" y="54"/>
                            <a:pt x="87" y="54"/>
                            <a:pt x="87" y="54"/>
                          </a:cubicBezTo>
                          <a:cubicBezTo>
                            <a:pt x="87" y="54"/>
                            <a:pt x="87" y="54"/>
                            <a:pt x="87" y="54"/>
                          </a:cubicBezTo>
                          <a:cubicBezTo>
                            <a:pt x="87" y="53"/>
                            <a:pt x="87" y="54"/>
                            <a:pt x="88" y="53"/>
                          </a:cubicBezTo>
                          <a:cubicBezTo>
                            <a:pt x="87" y="53"/>
                            <a:pt x="88" y="53"/>
                            <a:pt x="88" y="53"/>
                          </a:cubicBezTo>
                          <a:close/>
                          <a:moveTo>
                            <a:pt x="87" y="54"/>
                          </a:moveTo>
                          <a:cubicBezTo>
                            <a:pt x="87" y="54"/>
                            <a:pt x="86" y="54"/>
                            <a:pt x="87" y="54"/>
                          </a:cubicBezTo>
                          <a:cubicBezTo>
                            <a:pt x="86" y="54"/>
                            <a:pt x="86" y="54"/>
                            <a:pt x="86" y="54"/>
                          </a:cubicBezTo>
                          <a:cubicBezTo>
                            <a:pt x="86" y="54"/>
                            <a:pt x="86" y="54"/>
                            <a:pt x="86" y="54"/>
                          </a:cubicBezTo>
                          <a:cubicBezTo>
                            <a:pt x="87" y="54"/>
                            <a:pt x="87" y="54"/>
                            <a:pt x="87" y="54"/>
                          </a:cubicBezTo>
                          <a:close/>
                          <a:moveTo>
                            <a:pt x="84" y="56"/>
                          </a:moveTo>
                          <a:cubicBezTo>
                            <a:pt x="84" y="56"/>
                            <a:pt x="84" y="56"/>
                            <a:pt x="84" y="56"/>
                          </a:cubicBezTo>
                          <a:cubicBezTo>
                            <a:pt x="84" y="56"/>
                            <a:pt x="84" y="56"/>
                            <a:pt x="85" y="55"/>
                          </a:cubicBezTo>
                          <a:cubicBezTo>
                            <a:pt x="84" y="56"/>
                            <a:pt x="84" y="55"/>
                            <a:pt x="85" y="55"/>
                          </a:cubicBezTo>
                          <a:cubicBezTo>
                            <a:pt x="84" y="55"/>
                            <a:pt x="84" y="55"/>
                            <a:pt x="84" y="56"/>
                          </a:cubicBezTo>
                          <a:close/>
                          <a:moveTo>
                            <a:pt x="87" y="54"/>
                          </a:moveTo>
                          <a:cubicBezTo>
                            <a:pt x="87" y="54"/>
                            <a:pt x="87" y="54"/>
                            <a:pt x="87" y="54"/>
                          </a:cubicBezTo>
                          <a:cubicBezTo>
                            <a:pt x="87" y="54"/>
                            <a:pt x="87" y="54"/>
                            <a:pt x="87" y="54"/>
                          </a:cubicBezTo>
                          <a:close/>
                          <a:moveTo>
                            <a:pt x="84" y="56"/>
                          </a:moveTo>
                          <a:cubicBezTo>
                            <a:pt x="84" y="56"/>
                            <a:pt x="84" y="56"/>
                            <a:pt x="84" y="56"/>
                          </a:cubicBezTo>
                          <a:cubicBezTo>
                            <a:pt x="84" y="56"/>
                            <a:pt x="84" y="56"/>
                            <a:pt x="84" y="56"/>
                          </a:cubicBezTo>
                          <a:cubicBezTo>
                            <a:pt x="84" y="56"/>
                            <a:pt x="83" y="56"/>
                            <a:pt x="83" y="56"/>
                          </a:cubicBezTo>
                          <a:cubicBezTo>
                            <a:pt x="83" y="56"/>
                            <a:pt x="84" y="56"/>
                            <a:pt x="84" y="56"/>
                          </a:cubicBezTo>
                          <a:close/>
                          <a:moveTo>
                            <a:pt x="83" y="56"/>
                          </a:moveTo>
                          <a:cubicBezTo>
                            <a:pt x="83" y="56"/>
                            <a:pt x="83" y="56"/>
                            <a:pt x="83" y="56"/>
                          </a:cubicBezTo>
                          <a:cubicBezTo>
                            <a:pt x="83" y="56"/>
                            <a:pt x="83" y="56"/>
                            <a:pt x="83" y="56"/>
                          </a:cubicBezTo>
                          <a:cubicBezTo>
                            <a:pt x="83" y="56"/>
                            <a:pt x="83" y="56"/>
                            <a:pt x="83" y="57"/>
                          </a:cubicBezTo>
                          <a:cubicBezTo>
                            <a:pt x="83" y="57"/>
                            <a:pt x="83" y="57"/>
                            <a:pt x="83" y="57"/>
                          </a:cubicBezTo>
                          <a:cubicBezTo>
                            <a:pt x="83" y="57"/>
                            <a:pt x="83" y="57"/>
                            <a:pt x="83" y="57"/>
                          </a:cubicBezTo>
                          <a:cubicBezTo>
                            <a:pt x="83" y="56"/>
                            <a:pt x="83" y="56"/>
                            <a:pt x="83" y="56"/>
                          </a:cubicBezTo>
                          <a:close/>
                          <a:moveTo>
                            <a:pt x="85" y="55"/>
                          </a:moveTo>
                          <a:cubicBezTo>
                            <a:pt x="85" y="55"/>
                            <a:pt x="85" y="56"/>
                            <a:pt x="85" y="56"/>
                          </a:cubicBezTo>
                          <a:cubicBezTo>
                            <a:pt x="85" y="56"/>
                            <a:pt x="85" y="55"/>
                            <a:pt x="85" y="55"/>
                          </a:cubicBezTo>
                          <a:close/>
                          <a:moveTo>
                            <a:pt x="89" y="53"/>
                          </a:moveTo>
                          <a:cubicBezTo>
                            <a:pt x="88" y="53"/>
                            <a:pt x="88" y="53"/>
                            <a:pt x="88" y="54"/>
                          </a:cubicBezTo>
                          <a:cubicBezTo>
                            <a:pt x="88" y="54"/>
                            <a:pt x="89" y="53"/>
                            <a:pt x="89" y="53"/>
                          </a:cubicBezTo>
                          <a:close/>
                          <a:moveTo>
                            <a:pt x="92" y="52"/>
                          </a:moveTo>
                          <a:cubicBezTo>
                            <a:pt x="92" y="52"/>
                            <a:pt x="92" y="52"/>
                            <a:pt x="92" y="52"/>
                          </a:cubicBezTo>
                          <a:cubicBezTo>
                            <a:pt x="93" y="51"/>
                            <a:pt x="93" y="51"/>
                            <a:pt x="92" y="51"/>
                          </a:cubicBezTo>
                          <a:cubicBezTo>
                            <a:pt x="92" y="51"/>
                            <a:pt x="93" y="51"/>
                            <a:pt x="92" y="51"/>
                          </a:cubicBezTo>
                          <a:cubicBezTo>
                            <a:pt x="92" y="51"/>
                            <a:pt x="92" y="52"/>
                            <a:pt x="92" y="51"/>
                          </a:cubicBezTo>
                          <a:cubicBezTo>
                            <a:pt x="92" y="52"/>
                            <a:pt x="91" y="52"/>
                            <a:pt x="91" y="52"/>
                          </a:cubicBezTo>
                          <a:cubicBezTo>
                            <a:pt x="91" y="52"/>
                            <a:pt x="91" y="52"/>
                            <a:pt x="91" y="52"/>
                          </a:cubicBezTo>
                          <a:cubicBezTo>
                            <a:pt x="91" y="52"/>
                            <a:pt x="90" y="53"/>
                            <a:pt x="90" y="52"/>
                          </a:cubicBezTo>
                          <a:cubicBezTo>
                            <a:pt x="90" y="52"/>
                            <a:pt x="90" y="52"/>
                            <a:pt x="91" y="52"/>
                          </a:cubicBezTo>
                          <a:cubicBezTo>
                            <a:pt x="91" y="52"/>
                            <a:pt x="91" y="52"/>
                            <a:pt x="91" y="52"/>
                          </a:cubicBezTo>
                          <a:cubicBezTo>
                            <a:pt x="90" y="52"/>
                            <a:pt x="90" y="52"/>
                            <a:pt x="90" y="52"/>
                          </a:cubicBezTo>
                          <a:cubicBezTo>
                            <a:pt x="90" y="52"/>
                            <a:pt x="90" y="52"/>
                            <a:pt x="90" y="52"/>
                          </a:cubicBezTo>
                          <a:cubicBezTo>
                            <a:pt x="90" y="52"/>
                            <a:pt x="90" y="52"/>
                            <a:pt x="91" y="52"/>
                          </a:cubicBezTo>
                          <a:cubicBezTo>
                            <a:pt x="91" y="52"/>
                            <a:pt x="90" y="52"/>
                            <a:pt x="91" y="52"/>
                          </a:cubicBezTo>
                          <a:cubicBezTo>
                            <a:pt x="90" y="52"/>
                            <a:pt x="90" y="52"/>
                            <a:pt x="90" y="52"/>
                          </a:cubicBezTo>
                          <a:cubicBezTo>
                            <a:pt x="90" y="52"/>
                            <a:pt x="90" y="52"/>
                            <a:pt x="89" y="52"/>
                          </a:cubicBezTo>
                          <a:cubicBezTo>
                            <a:pt x="90" y="52"/>
                            <a:pt x="90" y="52"/>
                            <a:pt x="90" y="52"/>
                          </a:cubicBezTo>
                          <a:cubicBezTo>
                            <a:pt x="90" y="52"/>
                            <a:pt x="89" y="52"/>
                            <a:pt x="89" y="53"/>
                          </a:cubicBezTo>
                          <a:cubicBezTo>
                            <a:pt x="89" y="53"/>
                            <a:pt x="89" y="53"/>
                            <a:pt x="89" y="53"/>
                          </a:cubicBezTo>
                          <a:cubicBezTo>
                            <a:pt x="89" y="53"/>
                            <a:pt x="90" y="53"/>
                            <a:pt x="90" y="52"/>
                          </a:cubicBezTo>
                          <a:cubicBezTo>
                            <a:pt x="90" y="52"/>
                            <a:pt x="90" y="53"/>
                            <a:pt x="90" y="52"/>
                          </a:cubicBezTo>
                          <a:cubicBezTo>
                            <a:pt x="90" y="53"/>
                            <a:pt x="90" y="53"/>
                            <a:pt x="90" y="53"/>
                          </a:cubicBezTo>
                          <a:cubicBezTo>
                            <a:pt x="90" y="53"/>
                            <a:pt x="89" y="53"/>
                            <a:pt x="89" y="53"/>
                          </a:cubicBezTo>
                          <a:cubicBezTo>
                            <a:pt x="89" y="53"/>
                            <a:pt x="89" y="53"/>
                            <a:pt x="89" y="53"/>
                          </a:cubicBezTo>
                          <a:cubicBezTo>
                            <a:pt x="89" y="54"/>
                            <a:pt x="89" y="54"/>
                            <a:pt x="89" y="54"/>
                          </a:cubicBezTo>
                          <a:cubicBezTo>
                            <a:pt x="90" y="53"/>
                            <a:pt x="90" y="53"/>
                            <a:pt x="90" y="53"/>
                          </a:cubicBezTo>
                          <a:cubicBezTo>
                            <a:pt x="90" y="52"/>
                            <a:pt x="92" y="52"/>
                            <a:pt x="92" y="52"/>
                          </a:cubicBezTo>
                          <a:close/>
                          <a:moveTo>
                            <a:pt x="94" y="51"/>
                          </a:moveTo>
                          <a:cubicBezTo>
                            <a:pt x="94" y="51"/>
                            <a:pt x="94" y="51"/>
                            <a:pt x="94" y="51"/>
                          </a:cubicBezTo>
                          <a:cubicBezTo>
                            <a:pt x="93" y="51"/>
                            <a:pt x="93" y="51"/>
                            <a:pt x="93" y="51"/>
                          </a:cubicBezTo>
                          <a:cubicBezTo>
                            <a:pt x="93" y="51"/>
                            <a:pt x="93" y="51"/>
                            <a:pt x="94" y="51"/>
                          </a:cubicBezTo>
                          <a:cubicBezTo>
                            <a:pt x="94" y="51"/>
                            <a:pt x="93" y="51"/>
                            <a:pt x="93" y="51"/>
                          </a:cubicBezTo>
                          <a:lnTo>
                            <a:pt x="94" y="51"/>
                          </a:lnTo>
                          <a:close/>
                          <a:moveTo>
                            <a:pt x="95" y="50"/>
                          </a:moveTo>
                          <a:cubicBezTo>
                            <a:pt x="95" y="50"/>
                            <a:pt x="95" y="50"/>
                            <a:pt x="94" y="51"/>
                          </a:cubicBezTo>
                          <a:cubicBezTo>
                            <a:pt x="95" y="51"/>
                            <a:pt x="94" y="51"/>
                            <a:pt x="94" y="51"/>
                          </a:cubicBezTo>
                          <a:cubicBezTo>
                            <a:pt x="95" y="51"/>
                            <a:pt x="95" y="51"/>
                            <a:pt x="95" y="50"/>
                          </a:cubicBezTo>
                          <a:close/>
                          <a:moveTo>
                            <a:pt x="98" y="49"/>
                          </a:moveTo>
                          <a:cubicBezTo>
                            <a:pt x="98" y="49"/>
                            <a:pt x="98" y="49"/>
                            <a:pt x="98" y="49"/>
                          </a:cubicBezTo>
                          <a:cubicBezTo>
                            <a:pt x="98" y="49"/>
                            <a:pt x="98" y="49"/>
                            <a:pt x="98" y="49"/>
                          </a:cubicBezTo>
                          <a:close/>
                          <a:moveTo>
                            <a:pt x="97" y="49"/>
                          </a:moveTo>
                          <a:cubicBezTo>
                            <a:pt x="98" y="49"/>
                            <a:pt x="97" y="50"/>
                            <a:pt x="97" y="50"/>
                          </a:cubicBezTo>
                          <a:cubicBezTo>
                            <a:pt x="97" y="50"/>
                            <a:pt x="97" y="50"/>
                            <a:pt x="97" y="50"/>
                          </a:cubicBezTo>
                          <a:cubicBezTo>
                            <a:pt x="97" y="50"/>
                            <a:pt x="97" y="50"/>
                            <a:pt x="97" y="50"/>
                          </a:cubicBezTo>
                          <a:cubicBezTo>
                            <a:pt x="97" y="50"/>
                            <a:pt x="98" y="50"/>
                            <a:pt x="98" y="50"/>
                          </a:cubicBezTo>
                          <a:cubicBezTo>
                            <a:pt x="98" y="49"/>
                            <a:pt x="99" y="49"/>
                            <a:pt x="98" y="49"/>
                          </a:cubicBezTo>
                          <a:cubicBezTo>
                            <a:pt x="98" y="49"/>
                            <a:pt x="98" y="49"/>
                            <a:pt x="98" y="49"/>
                          </a:cubicBezTo>
                          <a:cubicBezTo>
                            <a:pt x="98" y="49"/>
                            <a:pt x="97" y="49"/>
                            <a:pt x="97" y="49"/>
                          </a:cubicBezTo>
                          <a:cubicBezTo>
                            <a:pt x="97" y="50"/>
                            <a:pt x="97" y="49"/>
                            <a:pt x="97" y="49"/>
                          </a:cubicBezTo>
                          <a:close/>
                          <a:moveTo>
                            <a:pt x="93" y="52"/>
                          </a:moveTo>
                          <a:cubicBezTo>
                            <a:pt x="93" y="52"/>
                            <a:pt x="94" y="51"/>
                            <a:pt x="94" y="51"/>
                          </a:cubicBezTo>
                          <a:cubicBezTo>
                            <a:pt x="94" y="52"/>
                            <a:pt x="93" y="52"/>
                            <a:pt x="93" y="52"/>
                          </a:cubicBezTo>
                          <a:cubicBezTo>
                            <a:pt x="93" y="52"/>
                            <a:pt x="93" y="52"/>
                            <a:pt x="93" y="52"/>
                          </a:cubicBezTo>
                          <a:cubicBezTo>
                            <a:pt x="93" y="52"/>
                            <a:pt x="93" y="52"/>
                            <a:pt x="93" y="52"/>
                          </a:cubicBezTo>
                          <a:close/>
                          <a:moveTo>
                            <a:pt x="97" y="50"/>
                          </a:moveTo>
                          <a:cubicBezTo>
                            <a:pt x="97" y="50"/>
                            <a:pt x="97" y="50"/>
                            <a:pt x="97" y="50"/>
                          </a:cubicBezTo>
                          <a:cubicBezTo>
                            <a:pt x="96" y="50"/>
                            <a:pt x="96" y="50"/>
                            <a:pt x="96" y="50"/>
                          </a:cubicBezTo>
                          <a:cubicBezTo>
                            <a:pt x="96" y="50"/>
                            <a:pt x="96" y="50"/>
                            <a:pt x="96" y="50"/>
                          </a:cubicBezTo>
                          <a:cubicBezTo>
                            <a:pt x="96" y="50"/>
                            <a:pt x="96" y="50"/>
                            <a:pt x="97" y="50"/>
                          </a:cubicBezTo>
                          <a:close/>
                          <a:moveTo>
                            <a:pt x="96" y="51"/>
                          </a:moveTo>
                          <a:cubicBezTo>
                            <a:pt x="95" y="51"/>
                            <a:pt x="95" y="51"/>
                            <a:pt x="95" y="51"/>
                          </a:cubicBezTo>
                          <a:cubicBezTo>
                            <a:pt x="95" y="51"/>
                            <a:pt x="96" y="51"/>
                            <a:pt x="96" y="51"/>
                          </a:cubicBezTo>
                          <a:close/>
                          <a:moveTo>
                            <a:pt x="96" y="50"/>
                          </a:moveTo>
                          <a:cubicBezTo>
                            <a:pt x="96" y="50"/>
                            <a:pt x="96" y="51"/>
                            <a:pt x="96" y="51"/>
                          </a:cubicBezTo>
                          <a:cubicBezTo>
                            <a:pt x="96" y="51"/>
                            <a:pt x="97" y="50"/>
                            <a:pt x="97" y="50"/>
                          </a:cubicBezTo>
                          <a:cubicBezTo>
                            <a:pt x="97" y="50"/>
                            <a:pt x="97" y="50"/>
                            <a:pt x="96" y="50"/>
                          </a:cubicBezTo>
                          <a:close/>
                          <a:moveTo>
                            <a:pt x="100" y="48"/>
                          </a:moveTo>
                          <a:cubicBezTo>
                            <a:pt x="100" y="48"/>
                            <a:pt x="101" y="48"/>
                            <a:pt x="101" y="48"/>
                          </a:cubicBezTo>
                          <a:cubicBezTo>
                            <a:pt x="101" y="48"/>
                            <a:pt x="100" y="48"/>
                            <a:pt x="100" y="48"/>
                          </a:cubicBezTo>
                          <a:close/>
                          <a:moveTo>
                            <a:pt x="103" y="47"/>
                          </a:moveTo>
                          <a:cubicBezTo>
                            <a:pt x="103" y="47"/>
                            <a:pt x="103" y="47"/>
                            <a:pt x="103" y="47"/>
                          </a:cubicBezTo>
                          <a:cubicBezTo>
                            <a:pt x="103" y="47"/>
                            <a:pt x="103" y="47"/>
                            <a:pt x="103" y="47"/>
                          </a:cubicBezTo>
                          <a:cubicBezTo>
                            <a:pt x="103" y="47"/>
                            <a:pt x="102" y="47"/>
                            <a:pt x="102" y="47"/>
                          </a:cubicBezTo>
                          <a:cubicBezTo>
                            <a:pt x="102" y="47"/>
                            <a:pt x="103" y="47"/>
                            <a:pt x="103" y="47"/>
                          </a:cubicBezTo>
                          <a:cubicBezTo>
                            <a:pt x="102" y="47"/>
                            <a:pt x="103" y="47"/>
                            <a:pt x="103" y="47"/>
                          </a:cubicBezTo>
                          <a:cubicBezTo>
                            <a:pt x="103" y="47"/>
                            <a:pt x="103" y="47"/>
                            <a:pt x="103" y="47"/>
                          </a:cubicBezTo>
                          <a:close/>
                          <a:moveTo>
                            <a:pt x="103" y="47"/>
                          </a:moveTo>
                          <a:cubicBezTo>
                            <a:pt x="104" y="47"/>
                            <a:pt x="104" y="47"/>
                            <a:pt x="103" y="47"/>
                          </a:cubicBezTo>
                          <a:cubicBezTo>
                            <a:pt x="103" y="47"/>
                            <a:pt x="103" y="47"/>
                            <a:pt x="103" y="47"/>
                          </a:cubicBezTo>
                          <a:cubicBezTo>
                            <a:pt x="103" y="47"/>
                            <a:pt x="103" y="47"/>
                            <a:pt x="103" y="47"/>
                          </a:cubicBezTo>
                          <a:cubicBezTo>
                            <a:pt x="103" y="47"/>
                            <a:pt x="103" y="47"/>
                            <a:pt x="103" y="47"/>
                          </a:cubicBezTo>
                          <a:close/>
                          <a:moveTo>
                            <a:pt x="104" y="47"/>
                          </a:moveTo>
                          <a:cubicBezTo>
                            <a:pt x="104" y="47"/>
                            <a:pt x="104" y="46"/>
                            <a:pt x="104" y="46"/>
                          </a:cubicBezTo>
                          <a:cubicBezTo>
                            <a:pt x="104" y="47"/>
                            <a:pt x="104" y="47"/>
                            <a:pt x="104" y="47"/>
                          </a:cubicBezTo>
                          <a:cubicBezTo>
                            <a:pt x="104" y="47"/>
                            <a:pt x="104" y="47"/>
                            <a:pt x="104" y="47"/>
                          </a:cubicBezTo>
                          <a:close/>
                          <a:moveTo>
                            <a:pt x="103" y="47"/>
                          </a:moveTo>
                          <a:cubicBezTo>
                            <a:pt x="103" y="48"/>
                            <a:pt x="102" y="48"/>
                            <a:pt x="102" y="48"/>
                          </a:cubicBezTo>
                          <a:cubicBezTo>
                            <a:pt x="102" y="48"/>
                            <a:pt x="103" y="48"/>
                            <a:pt x="103" y="47"/>
                          </a:cubicBezTo>
                          <a:close/>
                          <a:moveTo>
                            <a:pt x="108" y="45"/>
                          </a:moveTo>
                          <a:cubicBezTo>
                            <a:pt x="108" y="45"/>
                            <a:pt x="108" y="45"/>
                            <a:pt x="108" y="45"/>
                          </a:cubicBezTo>
                          <a:cubicBezTo>
                            <a:pt x="108" y="45"/>
                            <a:pt x="108" y="45"/>
                            <a:pt x="108" y="45"/>
                          </a:cubicBezTo>
                          <a:cubicBezTo>
                            <a:pt x="108" y="44"/>
                            <a:pt x="108" y="44"/>
                            <a:pt x="108" y="44"/>
                          </a:cubicBezTo>
                          <a:cubicBezTo>
                            <a:pt x="108" y="44"/>
                            <a:pt x="108" y="44"/>
                            <a:pt x="108" y="44"/>
                          </a:cubicBezTo>
                          <a:cubicBezTo>
                            <a:pt x="108" y="44"/>
                            <a:pt x="107" y="44"/>
                            <a:pt x="107" y="45"/>
                          </a:cubicBezTo>
                          <a:cubicBezTo>
                            <a:pt x="107" y="44"/>
                            <a:pt x="108" y="44"/>
                            <a:pt x="108" y="44"/>
                          </a:cubicBezTo>
                          <a:cubicBezTo>
                            <a:pt x="107" y="45"/>
                            <a:pt x="107" y="45"/>
                            <a:pt x="107" y="45"/>
                          </a:cubicBezTo>
                          <a:cubicBezTo>
                            <a:pt x="107" y="45"/>
                            <a:pt x="107" y="45"/>
                            <a:pt x="107" y="45"/>
                          </a:cubicBezTo>
                          <a:cubicBezTo>
                            <a:pt x="107" y="45"/>
                            <a:pt x="106" y="45"/>
                            <a:pt x="106" y="45"/>
                          </a:cubicBezTo>
                          <a:cubicBezTo>
                            <a:pt x="106" y="45"/>
                            <a:pt x="106" y="45"/>
                            <a:pt x="106" y="45"/>
                          </a:cubicBezTo>
                          <a:cubicBezTo>
                            <a:pt x="106" y="45"/>
                            <a:pt x="106" y="45"/>
                            <a:pt x="106" y="45"/>
                          </a:cubicBezTo>
                          <a:cubicBezTo>
                            <a:pt x="107" y="45"/>
                            <a:pt x="107" y="45"/>
                            <a:pt x="107" y="45"/>
                          </a:cubicBezTo>
                          <a:cubicBezTo>
                            <a:pt x="107" y="45"/>
                            <a:pt x="107" y="45"/>
                            <a:pt x="107" y="45"/>
                          </a:cubicBezTo>
                          <a:cubicBezTo>
                            <a:pt x="108" y="45"/>
                            <a:pt x="108" y="45"/>
                            <a:pt x="108" y="45"/>
                          </a:cubicBezTo>
                          <a:cubicBezTo>
                            <a:pt x="108" y="45"/>
                            <a:pt x="108" y="45"/>
                            <a:pt x="108" y="45"/>
                          </a:cubicBezTo>
                          <a:close/>
                          <a:moveTo>
                            <a:pt x="112" y="43"/>
                          </a:moveTo>
                          <a:cubicBezTo>
                            <a:pt x="112" y="43"/>
                            <a:pt x="112" y="43"/>
                            <a:pt x="112" y="43"/>
                          </a:cubicBezTo>
                          <a:cubicBezTo>
                            <a:pt x="112" y="43"/>
                            <a:pt x="112" y="43"/>
                            <a:pt x="112" y="43"/>
                          </a:cubicBezTo>
                          <a:cubicBezTo>
                            <a:pt x="112" y="43"/>
                            <a:pt x="112" y="43"/>
                            <a:pt x="112" y="43"/>
                          </a:cubicBezTo>
                          <a:cubicBezTo>
                            <a:pt x="112" y="43"/>
                            <a:pt x="112" y="43"/>
                            <a:pt x="112" y="43"/>
                          </a:cubicBezTo>
                          <a:close/>
                          <a:moveTo>
                            <a:pt x="95" y="53"/>
                          </a:moveTo>
                          <a:cubicBezTo>
                            <a:pt x="94" y="53"/>
                            <a:pt x="94" y="53"/>
                            <a:pt x="94" y="53"/>
                          </a:cubicBezTo>
                          <a:cubicBezTo>
                            <a:pt x="94" y="53"/>
                            <a:pt x="95" y="53"/>
                            <a:pt x="95" y="53"/>
                          </a:cubicBezTo>
                          <a:close/>
                          <a:moveTo>
                            <a:pt x="77" y="64"/>
                          </a:moveTo>
                          <a:cubicBezTo>
                            <a:pt x="77" y="64"/>
                            <a:pt x="78" y="64"/>
                            <a:pt x="78" y="64"/>
                          </a:cubicBezTo>
                          <a:cubicBezTo>
                            <a:pt x="78" y="64"/>
                            <a:pt x="78" y="64"/>
                            <a:pt x="77" y="64"/>
                          </a:cubicBezTo>
                          <a:cubicBezTo>
                            <a:pt x="77" y="64"/>
                            <a:pt x="78" y="65"/>
                            <a:pt x="77" y="65"/>
                          </a:cubicBezTo>
                          <a:cubicBezTo>
                            <a:pt x="77" y="64"/>
                            <a:pt x="77" y="64"/>
                            <a:pt x="77" y="64"/>
                          </a:cubicBezTo>
                          <a:close/>
                          <a:moveTo>
                            <a:pt x="80" y="68"/>
                          </a:moveTo>
                          <a:cubicBezTo>
                            <a:pt x="80" y="67"/>
                            <a:pt x="80" y="68"/>
                            <a:pt x="80" y="68"/>
                          </a:cubicBezTo>
                          <a:cubicBezTo>
                            <a:pt x="80" y="67"/>
                            <a:pt x="80" y="67"/>
                            <a:pt x="80" y="67"/>
                          </a:cubicBezTo>
                          <a:cubicBezTo>
                            <a:pt x="80" y="68"/>
                            <a:pt x="80" y="68"/>
                            <a:pt x="80" y="68"/>
                          </a:cubicBezTo>
                          <a:cubicBezTo>
                            <a:pt x="80" y="68"/>
                            <a:pt x="80" y="68"/>
                            <a:pt x="80" y="68"/>
                          </a:cubicBezTo>
                          <a:close/>
                          <a:moveTo>
                            <a:pt x="77" y="62"/>
                          </a:moveTo>
                          <a:cubicBezTo>
                            <a:pt x="77" y="63"/>
                            <a:pt x="77" y="63"/>
                            <a:pt x="77" y="63"/>
                          </a:cubicBezTo>
                          <a:cubicBezTo>
                            <a:pt x="77" y="63"/>
                            <a:pt x="77" y="63"/>
                            <a:pt x="77" y="63"/>
                          </a:cubicBezTo>
                          <a:cubicBezTo>
                            <a:pt x="77" y="63"/>
                            <a:pt x="77" y="63"/>
                            <a:pt x="77" y="63"/>
                          </a:cubicBezTo>
                          <a:cubicBezTo>
                            <a:pt x="77" y="63"/>
                            <a:pt x="77" y="63"/>
                            <a:pt x="77" y="63"/>
                          </a:cubicBezTo>
                          <a:cubicBezTo>
                            <a:pt x="77" y="63"/>
                            <a:pt x="77" y="63"/>
                            <a:pt x="77" y="63"/>
                          </a:cubicBezTo>
                          <a:cubicBezTo>
                            <a:pt x="77" y="63"/>
                            <a:pt x="77" y="63"/>
                            <a:pt x="77" y="63"/>
                          </a:cubicBezTo>
                          <a:cubicBezTo>
                            <a:pt x="77" y="63"/>
                            <a:pt x="77" y="63"/>
                            <a:pt x="77" y="62"/>
                          </a:cubicBezTo>
                          <a:close/>
                          <a:moveTo>
                            <a:pt x="78" y="63"/>
                          </a:moveTo>
                          <a:cubicBezTo>
                            <a:pt x="78" y="63"/>
                            <a:pt x="78" y="63"/>
                            <a:pt x="77" y="64"/>
                          </a:cubicBezTo>
                          <a:cubicBezTo>
                            <a:pt x="77" y="64"/>
                            <a:pt x="77" y="63"/>
                            <a:pt x="77" y="63"/>
                          </a:cubicBezTo>
                          <a:cubicBezTo>
                            <a:pt x="77" y="63"/>
                            <a:pt x="77" y="63"/>
                            <a:pt x="77" y="63"/>
                          </a:cubicBezTo>
                          <a:cubicBezTo>
                            <a:pt x="77" y="63"/>
                            <a:pt x="78" y="63"/>
                            <a:pt x="78" y="63"/>
                          </a:cubicBezTo>
                          <a:cubicBezTo>
                            <a:pt x="77" y="63"/>
                            <a:pt x="77" y="63"/>
                            <a:pt x="77" y="63"/>
                          </a:cubicBezTo>
                          <a:cubicBezTo>
                            <a:pt x="77" y="63"/>
                            <a:pt x="77" y="63"/>
                            <a:pt x="77" y="63"/>
                          </a:cubicBezTo>
                          <a:cubicBezTo>
                            <a:pt x="77" y="63"/>
                            <a:pt x="78" y="63"/>
                            <a:pt x="78" y="63"/>
                          </a:cubicBezTo>
                          <a:cubicBezTo>
                            <a:pt x="78" y="63"/>
                            <a:pt x="78" y="63"/>
                            <a:pt x="78" y="63"/>
                          </a:cubicBezTo>
                          <a:cubicBezTo>
                            <a:pt x="78" y="63"/>
                            <a:pt x="78" y="63"/>
                            <a:pt x="78" y="63"/>
                          </a:cubicBezTo>
                          <a:cubicBezTo>
                            <a:pt x="78" y="63"/>
                            <a:pt x="78" y="63"/>
                            <a:pt x="78" y="63"/>
                          </a:cubicBezTo>
                          <a:cubicBezTo>
                            <a:pt x="79" y="63"/>
                            <a:pt x="79" y="63"/>
                            <a:pt x="79" y="62"/>
                          </a:cubicBezTo>
                          <a:cubicBezTo>
                            <a:pt x="79" y="62"/>
                            <a:pt x="79" y="62"/>
                            <a:pt x="80" y="63"/>
                          </a:cubicBezTo>
                          <a:cubicBezTo>
                            <a:pt x="79" y="63"/>
                            <a:pt x="79" y="63"/>
                            <a:pt x="78" y="63"/>
                          </a:cubicBezTo>
                          <a:close/>
                          <a:moveTo>
                            <a:pt x="76" y="62"/>
                          </a:moveTo>
                          <a:cubicBezTo>
                            <a:pt x="77" y="62"/>
                            <a:pt x="77" y="62"/>
                            <a:pt x="77" y="62"/>
                          </a:cubicBezTo>
                          <a:cubicBezTo>
                            <a:pt x="77" y="62"/>
                            <a:pt x="77" y="62"/>
                            <a:pt x="77" y="62"/>
                          </a:cubicBezTo>
                          <a:cubicBezTo>
                            <a:pt x="76" y="62"/>
                            <a:pt x="77" y="62"/>
                            <a:pt x="76" y="62"/>
                          </a:cubicBezTo>
                          <a:close/>
                          <a:moveTo>
                            <a:pt x="80" y="68"/>
                          </a:moveTo>
                          <a:cubicBezTo>
                            <a:pt x="80" y="68"/>
                            <a:pt x="80" y="68"/>
                            <a:pt x="80" y="68"/>
                          </a:cubicBezTo>
                          <a:cubicBezTo>
                            <a:pt x="80" y="68"/>
                            <a:pt x="80" y="68"/>
                            <a:pt x="80" y="68"/>
                          </a:cubicBezTo>
                          <a:cubicBezTo>
                            <a:pt x="80" y="68"/>
                            <a:pt x="80" y="68"/>
                            <a:pt x="80" y="68"/>
                          </a:cubicBezTo>
                          <a:cubicBezTo>
                            <a:pt x="80" y="68"/>
                            <a:pt x="80" y="68"/>
                            <a:pt x="80" y="68"/>
                          </a:cubicBezTo>
                          <a:close/>
                          <a:moveTo>
                            <a:pt x="81" y="59"/>
                          </a:moveTo>
                          <a:cubicBezTo>
                            <a:pt x="81" y="59"/>
                            <a:pt x="81" y="59"/>
                            <a:pt x="81" y="59"/>
                          </a:cubicBezTo>
                          <a:cubicBezTo>
                            <a:pt x="81" y="59"/>
                            <a:pt x="81" y="59"/>
                            <a:pt x="81" y="59"/>
                          </a:cubicBezTo>
                          <a:cubicBezTo>
                            <a:pt x="81" y="59"/>
                            <a:pt x="81" y="59"/>
                            <a:pt x="81" y="59"/>
                          </a:cubicBezTo>
                          <a:cubicBezTo>
                            <a:pt x="82" y="59"/>
                            <a:pt x="82" y="59"/>
                            <a:pt x="83" y="58"/>
                          </a:cubicBezTo>
                          <a:cubicBezTo>
                            <a:pt x="83" y="58"/>
                            <a:pt x="83" y="58"/>
                            <a:pt x="84" y="58"/>
                          </a:cubicBezTo>
                          <a:cubicBezTo>
                            <a:pt x="83" y="59"/>
                            <a:pt x="83" y="59"/>
                            <a:pt x="82" y="59"/>
                          </a:cubicBezTo>
                          <a:cubicBezTo>
                            <a:pt x="82" y="59"/>
                            <a:pt x="82" y="59"/>
                            <a:pt x="82" y="59"/>
                          </a:cubicBezTo>
                          <a:cubicBezTo>
                            <a:pt x="81" y="59"/>
                            <a:pt x="82" y="59"/>
                            <a:pt x="82" y="59"/>
                          </a:cubicBezTo>
                          <a:cubicBezTo>
                            <a:pt x="81" y="60"/>
                            <a:pt x="81" y="59"/>
                            <a:pt x="81" y="60"/>
                          </a:cubicBezTo>
                          <a:cubicBezTo>
                            <a:pt x="81" y="60"/>
                            <a:pt x="81" y="60"/>
                            <a:pt x="81" y="60"/>
                          </a:cubicBezTo>
                          <a:cubicBezTo>
                            <a:pt x="81" y="60"/>
                            <a:pt x="81" y="60"/>
                            <a:pt x="81" y="60"/>
                          </a:cubicBezTo>
                          <a:cubicBezTo>
                            <a:pt x="81" y="60"/>
                            <a:pt x="81" y="60"/>
                            <a:pt x="80" y="60"/>
                          </a:cubicBezTo>
                          <a:cubicBezTo>
                            <a:pt x="80" y="60"/>
                            <a:pt x="81" y="60"/>
                            <a:pt x="81" y="59"/>
                          </a:cubicBezTo>
                          <a:cubicBezTo>
                            <a:pt x="81" y="60"/>
                            <a:pt x="80" y="60"/>
                            <a:pt x="80" y="60"/>
                          </a:cubicBezTo>
                          <a:cubicBezTo>
                            <a:pt x="80" y="60"/>
                            <a:pt x="79" y="60"/>
                            <a:pt x="79" y="60"/>
                          </a:cubicBezTo>
                          <a:cubicBezTo>
                            <a:pt x="79" y="60"/>
                            <a:pt x="78" y="61"/>
                            <a:pt x="78" y="61"/>
                          </a:cubicBezTo>
                          <a:cubicBezTo>
                            <a:pt x="78" y="61"/>
                            <a:pt x="78" y="61"/>
                            <a:pt x="78" y="61"/>
                          </a:cubicBezTo>
                          <a:cubicBezTo>
                            <a:pt x="77" y="61"/>
                            <a:pt x="77" y="62"/>
                            <a:pt x="77" y="62"/>
                          </a:cubicBezTo>
                          <a:cubicBezTo>
                            <a:pt x="77" y="62"/>
                            <a:pt x="77" y="62"/>
                            <a:pt x="77" y="62"/>
                          </a:cubicBezTo>
                          <a:cubicBezTo>
                            <a:pt x="77" y="62"/>
                            <a:pt x="77" y="61"/>
                            <a:pt x="77" y="61"/>
                          </a:cubicBezTo>
                          <a:cubicBezTo>
                            <a:pt x="77" y="61"/>
                            <a:pt x="77" y="61"/>
                            <a:pt x="77" y="61"/>
                          </a:cubicBezTo>
                          <a:cubicBezTo>
                            <a:pt x="77" y="61"/>
                            <a:pt x="77" y="61"/>
                            <a:pt x="77" y="61"/>
                          </a:cubicBezTo>
                          <a:cubicBezTo>
                            <a:pt x="78" y="61"/>
                            <a:pt x="78" y="61"/>
                            <a:pt x="78" y="61"/>
                          </a:cubicBezTo>
                          <a:cubicBezTo>
                            <a:pt x="78" y="61"/>
                            <a:pt x="77" y="61"/>
                            <a:pt x="77" y="61"/>
                          </a:cubicBezTo>
                          <a:cubicBezTo>
                            <a:pt x="77" y="61"/>
                            <a:pt x="78" y="60"/>
                            <a:pt x="78" y="61"/>
                          </a:cubicBezTo>
                          <a:cubicBezTo>
                            <a:pt x="78" y="61"/>
                            <a:pt x="79" y="60"/>
                            <a:pt x="79" y="60"/>
                          </a:cubicBezTo>
                          <a:cubicBezTo>
                            <a:pt x="79" y="60"/>
                            <a:pt x="79" y="60"/>
                            <a:pt x="79" y="60"/>
                          </a:cubicBezTo>
                          <a:cubicBezTo>
                            <a:pt x="79" y="60"/>
                            <a:pt x="79" y="60"/>
                            <a:pt x="79" y="60"/>
                          </a:cubicBezTo>
                          <a:cubicBezTo>
                            <a:pt x="80" y="60"/>
                            <a:pt x="80" y="59"/>
                            <a:pt x="80" y="59"/>
                          </a:cubicBezTo>
                          <a:cubicBezTo>
                            <a:pt x="80" y="59"/>
                            <a:pt x="80" y="59"/>
                            <a:pt x="80" y="59"/>
                          </a:cubicBezTo>
                          <a:cubicBezTo>
                            <a:pt x="80" y="59"/>
                            <a:pt x="80" y="59"/>
                            <a:pt x="80" y="59"/>
                          </a:cubicBezTo>
                          <a:cubicBezTo>
                            <a:pt x="80" y="59"/>
                            <a:pt x="81" y="59"/>
                            <a:pt x="81" y="59"/>
                          </a:cubicBezTo>
                          <a:cubicBezTo>
                            <a:pt x="81" y="59"/>
                            <a:pt x="81" y="59"/>
                            <a:pt x="81" y="59"/>
                          </a:cubicBezTo>
                          <a:cubicBezTo>
                            <a:pt x="81" y="59"/>
                            <a:pt x="81" y="59"/>
                            <a:pt x="81" y="59"/>
                          </a:cubicBezTo>
                          <a:cubicBezTo>
                            <a:pt x="81" y="59"/>
                            <a:pt x="81" y="59"/>
                            <a:pt x="81" y="59"/>
                          </a:cubicBezTo>
                          <a:cubicBezTo>
                            <a:pt x="81" y="59"/>
                            <a:pt x="82" y="58"/>
                            <a:pt x="82" y="58"/>
                          </a:cubicBezTo>
                          <a:cubicBezTo>
                            <a:pt x="82" y="58"/>
                            <a:pt x="81" y="59"/>
                            <a:pt x="82" y="59"/>
                          </a:cubicBezTo>
                          <a:cubicBezTo>
                            <a:pt x="82" y="59"/>
                            <a:pt x="81" y="59"/>
                            <a:pt x="81" y="59"/>
                          </a:cubicBezTo>
                          <a:close/>
                          <a:moveTo>
                            <a:pt x="79" y="60"/>
                          </a:moveTo>
                          <a:cubicBezTo>
                            <a:pt x="80" y="60"/>
                            <a:pt x="80" y="60"/>
                            <a:pt x="80" y="60"/>
                          </a:cubicBezTo>
                          <a:cubicBezTo>
                            <a:pt x="80" y="60"/>
                            <a:pt x="80" y="60"/>
                            <a:pt x="80" y="60"/>
                          </a:cubicBezTo>
                          <a:cubicBezTo>
                            <a:pt x="80" y="60"/>
                            <a:pt x="80" y="60"/>
                            <a:pt x="80" y="60"/>
                          </a:cubicBezTo>
                          <a:cubicBezTo>
                            <a:pt x="80" y="60"/>
                            <a:pt x="79" y="60"/>
                            <a:pt x="79" y="60"/>
                          </a:cubicBezTo>
                          <a:close/>
                          <a:moveTo>
                            <a:pt x="80" y="65"/>
                          </a:moveTo>
                          <a:cubicBezTo>
                            <a:pt x="80" y="65"/>
                            <a:pt x="80" y="64"/>
                            <a:pt x="80" y="64"/>
                          </a:cubicBezTo>
                          <a:cubicBezTo>
                            <a:pt x="80" y="64"/>
                            <a:pt x="80" y="64"/>
                            <a:pt x="80" y="64"/>
                          </a:cubicBezTo>
                          <a:cubicBezTo>
                            <a:pt x="80" y="64"/>
                            <a:pt x="80" y="64"/>
                            <a:pt x="80" y="64"/>
                          </a:cubicBezTo>
                          <a:cubicBezTo>
                            <a:pt x="80" y="64"/>
                            <a:pt x="80" y="64"/>
                            <a:pt x="81" y="64"/>
                          </a:cubicBezTo>
                          <a:cubicBezTo>
                            <a:pt x="81" y="64"/>
                            <a:pt x="81" y="64"/>
                            <a:pt x="81" y="64"/>
                          </a:cubicBezTo>
                          <a:cubicBezTo>
                            <a:pt x="80" y="64"/>
                            <a:pt x="80" y="64"/>
                            <a:pt x="80" y="65"/>
                          </a:cubicBezTo>
                          <a:close/>
                          <a:moveTo>
                            <a:pt x="81" y="67"/>
                          </a:moveTo>
                          <a:cubicBezTo>
                            <a:pt x="81" y="66"/>
                            <a:pt x="81" y="66"/>
                            <a:pt x="81" y="67"/>
                          </a:cubicBezTo>
                          <a:cubicBezTo>
                            <a:pt x="81" y="67"/>
                            <a:pt x="81" y="66"/>
                            <a:pt x="81" y="66"/>
                          </a:cubicBezTo>
                          <a:cubicBezTo>
                            <a:pt x="81" y="66"/>
                            <a:pt x="81" y="66"/>
                            <a:pt x="81" y="66"/>
                          </a:cubicBezTo>
                          <a:cubicBezTo>
                            <a:pt x="82" y="66"/>
                            <a:pt x="81" y="66"/>
                            <a:pt x="81" y="66"/>
                          </a:cubicBezTo>
                          <a:cubicBezTo>
                            <a:pt x="82" y="66"/>
                            <a:pt x="82" y="66"/>
                            <a:pt x="82" y="65"/>
                          </a:cubicBezTo>
                          <a:cubicBezTo>
                            <a:pt x="82" y="65"/>
                            <a:pt x="82" y="66"/>
                            <a:pt x="82" y="66"/>
                          </a:cubicBezTo>
                          <a:cubicBezTo>
                            <a:pt x="82" y="65"/>
                            <a:pt x="83" y="65"/>
                            <a:pt x="83" y="66"/>
                          </a:cubicBezTo>
                          <a:cubicBezTo>
                            <a:pt x="82" y="66"/>
                            <a:pt x="82" y="66"/>
                            <a:pt x="81" y="67"/>
                          </a:cubicBezTo>
                          <a:close/>
                          <a:moveTo>
                            <a:pt x="81" y="66"/>
                          </a:moveTo>
                          <a:cubicBezTo>
                            <a:pt x="81" y="66"/>
                            <a:pt x="81" y="66"/>
                            <a:pt x="81" y="66"/>
                          </a:cubicBezTo>
                          <a:cubicBezTo>
                            <a:pt x="81" y="66"/>
                            <a:pt x="81" y="65"/>
                            <a:pt x="82" y="65"/>
                          </a:cubicBezTo>
                          <a:cubicBezTo>
                            <a:pt x="82" y="65"/>
                            <a:pt x="81" y="65"/>
                            <a:pt x="81" y="65"/>
                          </a:cubicBezTo>
                          <a:cubicBezTo>
                            <a:pt x="81" y="65"/>
                            <a:pt x="81" y="65"/>
                            <a:pt x="81" y="65"/>
                          </a:cubicBezTo>
                          <a:cubicBezTo>
                            <a:pt x="81" y="65"/>
                            <a:pt x="81" y="65"/>
                            <a:pt x="81" y="65"/>
                          </a:cubicBezTo>
                          <a:cubicBezTo>
                            <a:pt x="81" y="65"/>
                            <a:pt x="81" y="65"/>
                            <a:pt x="81" y="64"/>
                          </a:cubicBezTo>
                          <a:cubicBezTo>
                            <a:pt x="81" y="64"/>
                            <a:pt x="81" y="64"/>
                            <a:pt x="81" y="65"/>
                          </a:cubicBezTo>
                          <a:cubicBezTo>
                            <a:pt x="81" y="64"/>
                            <a:pt x="81" y="64"/>
                            <a:pt x="82" y="64"/>
                          </a:cubicBezTo>
                          <a:cubicBezTo>
                            <a:pt x="82" y="64"/>
                            <a:pt x="81" y="64"/>
                            <a:pt x="81" y="65"/>
                          </a:cubicBezTo>
                          <a:cubicBezTo>
                            <a:pt x="82" y="64"/>
                            <a:pt x="82" y="64"/>
                            <a:pt x="83" y="64"/>
                          </a:cubicBezTo>
                          <a:cubicBezTo>
                            <a:pt x="83" y="64"/>
                            <a:pt x="83" y="64"/>
                            <a:pt x="82" y="64"/>
                          </a:cubicBezTo>
                          <a:cubicBezTo>
                            <a:pt x="82" y="64"/>
                            <a:pt x="82" y="64"/>
                            <a:pt x="83" y="64"/>
                          </a:cubicBezTo>
                          <a:cubicBezTo>
                            <a:pt x="83" y="64"/>
                            <a:pt x="82" y="64"/>
                            <a:pt x="82" y="64"/>
                          </a:cubicBezTo>
                          <a:cubicBezTo>
                            <a:pt x="82" y="64"/>
                            <a:pt x="82" y="65"/>
                            <a:pt x="82" y="65"/>
                          </a:cubicBezTo>
                          <a:cubicBezTo>
                            <a:pt x="82" y="65"/>
                            <a:pt x="82" y="65"/>
                            <a:pt x="82" y="65"/>
                          </a:cubicBezTo>
                          <a:cubicBezTo>
                            <a:pt x="82" y="65"/>
                            <a:pt x="82" y="65"/>
                            <a:pt x="82" y="65"/>
                          </a:cubicBezTo>
                          <a:cubicBezTo>
                            <a:pt x="82" y="65"/>
                            <a:pt x="82" y="65"/>
                            <a:pt x="82" y="65"/>
                          </a:cubicBezTo>
                          <a:cubicBezTo>
                            <a:pt x="82" y="65"/>
                            <a:pt x="82" y="65"/>
                            <a:pt x="82" y="65"/>
                          </a:cubicBezTo>
                          <a:cubicBezTo>
                            <a:pt x="83" y="64"/>
                            <a:pt x="84" y="64"/>
                            <a:pt x="84" y="63"/>
                          </a:cubicBezTo>
                          <a:cubicBezTo>
                            <a:pt x="84" y="63"/>
                            <a:pt x="84" y="64"/>
                            <a:pt x="85" y="64"/>
                          </a:cubicBezTo>
                          <a:cubicBezTo>
                            <a:pt x="84" y="64"/>
                            <a:pt x="83" y="65"/>
                            <a:pt x="82" y="65"/>
                          </a:cubicBezTo>
                          <a:cubicBezTo>
                            <a:pt x="82" y="65"/>
                            <a:pt x="81" y="65"/>
                            <a:pt x="81" y="66"/>
                          </a:cubicBezTo>
                          <a:cubicBezTo>
                            <a:pt x="81" y="66"/>
                            <a:pt x="81" y="66"/>
                            <a:pt x="81" y="66"/>
                          </a:cubicBezTo>
                          <a:cubicBezTo>
                            <a:pt x="81" y="66"/>
                            <a:pt x="81" y="66"/>
                            <a:pt x="81" y="66"/>
                          </a:cubicBezTo>
                          <a:cubicBezTo>
                            <a:pt x="81" y="66"/>
                            <a:pt x="81" y="66"/>
                            <a:pt x="81" y="66"/>
                          </a:cubicBezTo>
                          <a:cubicBezTo>
                            <a:pt x="81" y="66"/>
                            <a:pt x="81" y="66"/>
                            <a:pt x="81" y="66"/>
                          </a:cubicBezTo>
                          <a:close/>
                          <a:moveTo>
                            <a:pt x="81" y="64"/>
                          </a:moveTo>
                          <a:cubicBezTo>
                            <a:pt x="81" y="64"/>
                            <a:pt x="81" y="64"/>
                            <a:pt x="81" y="64"/>
                          </a:cubicBezTo>
                          <a:cubicBezTo>
                            <a:pt x="81" y="64"/>
                            <a:pt x="81" y="64"/>
                            <a:pt x="81" y="64"/>
                          </a:cubicBezTo>
                          <a:cubicBezTo>
                            <a:pt x="81" y="64"/>
                            <a:pt x="81" y="64"/>
                            <a:pt x="81" y="64"/>
                          </a:cubicBezTo>
                          <a:cubicBezTo>
                            <a:pt x="81" y="64"/>
                            <a:pt x="81" y="64"/>
                            <a:pt x="81" y="64"/>
                          </a:cubicBezTo>
                          <a:cubicBezTo>
                            <a:pt x="81" y="64"/>
                            <a:pt x="81" y="64"/>
                            <a:pt x="81" y="64"/>
                          </a:cubicBezTo>
                          <a:cubicBezTo>
                            <a:pt x="81" y="64"/>
                            <a:pt x="81" y="64"/>
                            <a:pt x="81" y="64"/>
                          </a:cubicBezTo>
                          <a:close/>
                          <a:moveTo>
                            <a:pt x="81" y="63"/>
                          </a:moveTo>
                          <a:cubicBezTo>
                            <a:pt x="81" y="63"/>
                            <a:pt x="82" y="63"/>
                            <a:pt x="82" y="63"/>
                          </a:cubicBezTo>
                          <a:cubicBezTo>
                            <a:pt x="82" y="63"/>
                            <a:pt x="81" y="63"/>
                            <a:pt x="81" y="63"/>
                          </a:cubicBezTo>
                          <a:cubicBezTo>
                            <a:pt x="81" y="63"/>
                            <a:pt x="81" y="63"/>
                            <a:pt x="81" y="63"/>
                          </a:cubicBezTo>
                          <a:cubicBezTo>
                            <a:pt x="81" y="63"/>
                            <a:pt x="81" y="63"/>
                            <a:pt x="81" y="63"/>
                          </a:cubicBezTo>
                          <a:cubicBezTo>
                            <a:pt x="81" y="63"/>
                            <a:pt x="81" y="63"/>
                            <a:pt x="81" y="63"/>
                          </a:cubicBezTo>
                          <a:cubicBezTo>
                            <a:pt x="81" y="63"/>
                            <a:pt x="81" y="62"/>
                            <a:pt x="81" y="62"/>
                          </a:cubicBezTo>
                          <a:cubicBezTo>
                            <a:pt x="81" y="62"/>
                            <a:pt x="81" y="62"/>
                            <a:pt x="81" y="62"/>
                          </a:cubicBezTo>
                          <a:cubicBezTo>
                            <a:pt x="81" y="62"/>
                            <a:pt x="81" y="62"/>
                            <a:pt x="82" y="62"/>
                          </a:cubicBezTo>
                          <a:cubicBezTo>
                            <a:pt x="82" y="62"/>
                            <a:pt x="82" y="62"/>
                            <a:pt x="81" y="62"/>
                          </a:cubicBezTo>
                          <a:cubicBezTo>
                            <a:pt x="82" y="62"/>
                            <a:pt x="82" y="62"/>
                            <a:pt x="82" y="62"/>
                          </a:cubicBezTo>
                          <a:cubicBezTo>
                            <a:pt x="82" y="63"/>
                            <a:pt x="82" y="63"/>
                            <a:pt x="81" y="63"/>
                          </a:cubicBezTo>
                          <a:close/>
                          <a:moveTo>
                            <a:pt x="82" y="63"/>
                          </a:moveTo>
                          <a:cubicBezTo>
                            <a:pt x="82" y="63"/>
                            <a:pt x="82" y="63"/>
                            <a:pt x="82" y="63"/>
                          </a:cubicBezTo>
                          <a:cubicBezTo>
                            <a:pt x="82" y="63"/>
                            <a:pt x="82" y="63"/>
                            <a:pt x="82" y="63"/>
                          </a:cubicBezTo>
                          <a:cubicBezTo>
                            <a:pt x="82" y="63"/>
                            <a:pt x="83" y="63"/>
                            <a:pt x="83" y="63"/>
                          </a:cubicBezTo>
                          <a:cubicBezTo>
                            <a:pt x="83" y="63"/>
                            <a:pt x="83" y="63"/>
                            <a:pt x="82" y="63"/>
                          </a:cubicBezTo>
                          <a:close/>
                          <a:moveTo>
                            <a:pt x="81" y="57"/>
                          </a:moveTo>
                          <a:cubicBezTo>
                            <a:pt x="81" y="57"/>
                            <a:pt x="81" y="57"/>
                            <a:pt x="81" y="57"/>
                          </a:cubicBezTo>
                          <a:cubicBezTo>
                            <a:pt x="81" y="57"/>
                            <a:pt x="80" y="58"/>
                            <a:pt x="81" y="58"/>
                          </a:cubicBezTo>
                          <a:cubicBezTo>
                            <a:pt x="80" y="58"/>
                            <a:pt x="80" y="58"/>
                            <a:pt x="80" y="58"/>
                          </a:cubicBezTo>
                          <a:cubicBezTo>
                            <a:pt x="80" y="58"/>
                            <a:pt x="80" y="58"/>
                            <a:pt x="80" y="58"/>
                          </a:cubicBezTo>
                          <a:cubicBezTo>
                            <a:pt x="80" y="58"/>
                            <a:pt x="80" y="58"/>
                            <a:pt x="80" y="58"/>
                          </a:cubicBezTo>
                          <a:cubicBezTo>
                            <a:pt x="80" y="58"/>
                            <a:pt x="80" y="57"/>
                            <a:pt x="80" y="58"/>
                          </a:cubicBezTo>
                          <a:cubicBezTo>
                            <a:pt x="80" y="57"/>
                            <a:pt x="80" y="58"/>
                            <a:pt x="80" y="58"/>
                          </a:cubicBezTo>
                          <a:cubicBezTo>
                            <a:pt x="80" y="57"/>
                            <a:pt x="80" y="57"/>
                            <a:pt x="81" y="57"/>
                          </a:cubicBezTo>
                          <a:close/>
                          <a:moveTo>
                            <a:pt x="83" y="61"/>
                          </a:moveTo>
                          <a:cubicBezTo>
                            <a:pt x="83" y="61"/>
                            <a:pt x="83" y="61"/>
                            <a:pt x="83" y="61"/>
                          </a:cubicBezTo>
                          <a:cubicBezTo>
                            <a:pt x="83" y="61"/>
                            <a:pt x="83" y="61"/>
                            <a:pt x="84" y="61"/>
                          </a:cubicBezTo>
                          <a:cubicBezTo>
                            <a:pt x="84" y="60"/>
                            <a:pt x="83" y="60"/>
                            <a:pt x="83" y="60"/>
                          </a:cubicBezTo>
                          <a:cubicBezTo>
                            <a:pt x="84" y="60"/>
                            <a:pt x="84" y="60"/>
                            <a:pt x="84" y="60"/>
                          </a:cubicBezTo>
                          <a:cubicBezTo>
                            <a:pt x="84" y="60"/>
                            <a:pt x="84" y="60"/>
                            <a:pt x="84" y="60"/>
                          </a:cubicBezTo>
                          <a:cubicBezTo>
                            <a:pt x="84" y="60"/>
                            <a:pt x="84" y="61"/>
                            <a:pt x="83" y="61"/>
                          </a:cubicBezTo>
                          <a:cubicBezTo>
                            <a:pt x="84" y="61"/>
                            <a:pt x="84" y="61"/>
                            <a:pt x="84" y="61"/>
                          </a:cubicBezTo>
                          <a:cubicBezTo>
                            <a:pt x="84" y="61"/>
                            <a:pt x="84" y="61"/>
                            <a:pt x="84" y="61"/>
                          </a:cubicBezTo>
                          <a:cubicBezTo>
                            <a:pt x="84" y="60"/>
                            <a:pt x="84" y="60"/>
                            <a:pt x="84" y="61"/>
                          </a:cubicBezTo>
                          <a:cubicBezTo>
                            <a:pt x="84" y="61"/>
                            <a:pt x="84" y="61"/>
                            <a:pt x="84" y="61"/>
                          </a:cubicBezTo>
                          <a:cubicBezTo>
                            <a:pt x="84" y="61"/>
                            <a:pt x="84" y="61"/>
                            <a:pt x="83" y="61"/>
                          </a:cubicBezTo>
                          <a:cubicBezTo>
                            <a:pt x="83" y="62"/>
                            <a:pt x="84" y="61"/>
                            <a:pt x="84" y="62"/>
                          </a:cubicBezTo>
                          <a:cubicBezTo>
                            <a:pt x="83" y="62"/>
                            <a:pt x="83" y="62"/>
                            <a:pt x="83" y="62"/>
                          </a:cubicBezTo>
                          <a:cubicBezTo>
                            <a:pt x="83" y="62"/>
                            <a:pt x="83" y="62"/>
                            <a:pt x="83" y="62"/>
                          </a:cubicBezTo>
                          <a:cubicBezTo>
                            <a:pt x="83" y="62"/>
                            <a:pt x="83" y="62"/>
                            <a:pt x="83" y="62"/>
                          </a:cubicBezTo>
                          <a:cubicBezTo>
                            <a:pt x="83" y="62"/>
                            <a:pt x="82" y="62"/>
                            <a:pt x="82" y="62"/>
                          </a:cubicBezTo>
                          <a:cubicBezTo>
                            <a:pt x="82" y="62"/>
                            <a:pt x="82" y="62"/>
                            <a:pt x="82" y="62"/>
                          </a:cubicBezTo>
                          <a:cubicBezTo>
                            <a:pt x="82" y="62"/>
                            <a:pt x="82" y="62"/>
                            <a:pt x="82" y="62"/>
                          </a:cubicBezTo>
                          <a:cubicBezTo>
                            <a:pt x="82" y="62"/>
                            <a:pt x="82" y="62"/>
                            <a:pt x="82" y="62"/>
                          </a:cubicBezTo>
                          <a:cubicBezTo>
                            <a:pt x="82" y="62"/>
                            <a:pt x="83" y="61"/>
                            <a:pt x="83" y="61"/>
                          </a:cubicBezTo>
                          <a:close/>
                          <a:moveTo>
                            <a:pt x="84" y="62"/>
                          </a:moveTo>
                          <a:cubicBezTo>
                            <a:pt x="84" y="62"/>
                            <a:pt x="84" y="62"/>
                            <a:pt x="84" y="62"/>
                          </a:cubicBezTo>
                          <a:cubicBezTo>
                            <a:pt x="84" y="62"/>
                            <a:pt x="83" y="62"/>
                            <a:pt x="83" y="62"/>
                          </a:cubicBezTo>
                          <a:cubicBezTo>
                            <a:pt x="83" y="63"/>
                            <a:pt x="83" y="62"/>
                            <a:pt x="83" y="62"/>
                          </a:cubicBezTo>
                          <a:cubicBezTo>
                            <a:pt x="83" y="62"/>
                            <a:pt x="84" y="62"/>
                            <a:pt x="84" y="62"/>
                          </a:cubicBezTo>
                          <a:cubicBezTo>
                            <a:pt x="84" y="62"/>
                            <a:pt x="84" y="62"/>
                            <a:pt x="84" y="62"/>
                          </a:cubicBezTo>
                          <a:close/>
                          <a:moveTo>
                            <a:pt x="88" y="62"/>
                          </a:moveTo>
                          <a:cubicBezTo>
                            <a:pt x="88" y="62"/>
                            <a:pt x="88" y="62"/>
                            <a:pt x="88" y="62"/>
                          </a:cubicBezTo>
                          <a:cubicBezTo>
                            <a:pt x="88" y="62"/>
                            <a:pt x="88" y="62"/>
                            <a:pt x="88" y="62"/>
                          </a:cubicBezTo>
                          <a:close/>
                          <a:moveTo>
                            <a:pt x="88" y="62"/>
                          </a:moveTo>
                          <a:cubicBezTo>
                            <a:pt x="88" y="62"/>
                            <a:pt x="88" y="62"/>
                            <a:pt x="88" y="62"/>
                          </a:cubicBezTo>
                          <a:cubicBezTo>
                            <a:pt x="88" y="62"/>
                            <a:pt x="88" y="62"/>
                            <a:pt x="88" y="62"/>
                          </a:cubicBezTo>
                          <a:close/>
                          <a:moveTo>
                            <a:pt x="89" y="62"/>
                          </a:moveTo>
                          <a:cubicBezTo>
                            <a:pt x="88" y="62"/>
                            <a:pt x="88" y="63"/>
                            <a:pt x="88" y="63"/>
                          </a:cubicBezTo>
                          <a:cubicBezTo>
                            <a:pt x="87" y="63"/>
                            <a:pt x="87" y="63"/>
                            <a:pt x="87" y="63"/>
                          </a:cubicBezTo>
                          <a:cubicBezTo>
                            <a:pt x="87" y="63"/>
                            <a:pt x="87" y="64"/>
                            <a:pt x="87" y="64"/>
                          </a:cubicBezTo>
                          <a:cubicBezTo>
                            <a:pt x="86" y="64"/>
                            <a:pt x="86" y="64"/>
                            <a:pt x="86" y="64"/>
                          </a:cubicBezTo>
                          <a:cubicBezTo>
                            <a:pt x="86" y="64"/>
                            <a:pt x="86" y="64"/>
                            <a:pt x="86" y="64"/>
                          </a:cubicBezTo>
                          <a:cubicBezTo>
                            <a:pt x="86" y="63"/>
                            <a:pt x="86" y="64"/>
                            <a:pt x="86" y="64"/>
                          </a:cubicBezTo>
                          <a:cubicBezTo>
                            <a:pt x="86" y="64"/>
                            <a:pt x="86" y="64"/>
                            <a:pt x="86" y="64"/>
                          </a:cubicBezTo>
                          <a:cubicBezTo>
                            <a:pt x="86" y="64"/>
                            <a:pt x="86" y="63"/>
                            <a:pt x="86" y="63"/>
                          </a:cubicBezTo>
                          <a:cubicBezTo>
                            <a:pt x="86" y="63"/>
                            <a:pt x="87" y="63"/>
                            <a:pt x="87" y="63"/>
                          </a:cubicBezTo>
                          <a:cubicBezTo>
                            <a:pt x="87" y="63"/>
                            <a:pt x="87" y="63"/>
                            <a:pt x="87" y="63"/>
                          </a:cubicBezTo>
                          <a:cubicBezTo>
                            <a:pt x="87" y="63"/>
                            <a:pt x="88" y="63"/>
                            <a:pt x="88" y="62"/>
                          </a:cubicBezTo>
                          <a:cubicBezTo>
                            <a:pt x="88" y="63"/>
                            <a:pt x="88" y="62"/>
                            <a:pt x="89" y="62"/>
                          </a:cubicBezTo>
                          <a:close/>
                          <a:moveTo>
                            <a:pt x="87" y="63"/>
                          </a:moveTo>
                          <a:cubicBezTo>
                            <a:pt x="87" y="63"/>
                            <a:pt x="87" y="63"/>
                            <a:pt x="87" y="63"/>
                          </a:cubicBezTo>
                          <a:cubicBezTo>
                            <a:pt x="87" y="63"/>
                            <a:pt x="87" y="63"/>
                            <a:pt x="87" y="63"/>
                          </a:cubicBezTo>
                          <a:close/>
                          <a:moveTo>
                            <a:pt x="84" y="61"/>
                          </a:moveTo>
                          <a:cubicBezTo>
                            <a:pt x="85" y="61"/>
                            <a:pt x="85" y="61"/>
                            <a:pt x="85" y="61"/>
                          </a:cubicBezTo>
                          <a:cubicBezTo>
                            <a:pt x="85" y="61"/>
                            <a:pt x="85" y="61"/>
                            <a:pt x="85" y="61"/>
                          </a:cubicBezTo>
                          <a:cubicBezTo>
                            <a:pt x="85" y="61"/>
                            <a:pt x="85" y="61"/>
                            <a:pt x="85" y="61"/>
                          </a:cubicBezTo>
                          <a:cubicBezTo>
                            <a:pt x="85" y="61"/>
                            <a:pt x="84" y="61"/>
                            <a:pt x="84" y="61"/>
                          </a:cubicBezTo>
                          <a:close/>
                          <a:moveTo>
                            <a:pt x="86" y="61"/>
                          </a:moveTo>
                          <a:cubicBezTo>
                            <a:pt x="86" y="61"/>
                            <a:pt x="86" y="61"/>
                            <a:pt x="86" y="61"/>
                          </a:cubicBezTo>
                          <a:cubicBezTo>
                            <a:pt x="86" y="61"/>
                            <a:pt x="86" y="61"/>
                            <a:pt x="86" y="61"/>
                          </a:cubicBezTo>
                          <a:cubicBezTo>
                            <a:pt x="85" y="61"/>
                            <a:pt x="85" y="61"/>
                            <a:pt x="85" y="61"/>
                          </a:cubicBezTo>
                          <a:cubicBezTo>
                            <a:pt x="85" y="61"/>
                            <a:pt x="85" y="61"/>
                            <a:pt x="85" y="61"/>
                          </a:cubicBezTo>
                          <a:cubicBezTo>
                            <a:pt x="85" y="61"/>
                            <a:pt x="85" y="61"/>
                            <a:pt x="86" y="61"/>
                          </a:cubicBezTo>
                          <a:cubicBezTo>
                            <a:pt x="86" y="61"/>
                            <a:pt x="85" y="61"/>
                            <a:pt x="85" y="61"/>
                          </a:cubicBezTo>
                          <a:cubicBezTo>
                            <a:pt x="85" y="61"/>
                            <a:pt x="85" y="60"/>
                            <a:pt x="86" y="60"/>
                          </a:cubicBezTo>
                          <a:cubicBezTo>
                            <a:pt x="86" y="60"/>
                            <a:pt x="86" y="61"/>
                            <a:pt x="86" y="61"/>
                          </a:cubicBezTo>
                          <a:cubicBezTo>
                            <a:pt x="86" y="61"/>
                            <a:pt x="86" y="60"/>
                            <a:pt x="86" y="60"/>
                          </a:cubicBezTo>
                          <a:cubicBezTo>
                            <a:pt x="86" y="60"/>
                            <a:pt x="86" y="60"/>
                            <a:pt x="86" y="60"/>
                          </a:cubicBezTo>
                          <a:cubicBezTo>
                            <a:pt x="86" y="60"/>
                            <a:pt x="86" y="61"/>
                            <a:pt x="86" y="60"/>
                          </a:cubicBezTo>
                          <a:cubicBezTo>
                            <a:pt x="86" y="60"/>
                            <a:pt x="86" y="60"/>
                            <a:pt x="86" y="60"/>
                          </a:cubicBezTo>
                          <a:cubicBezTo>
                            <a:pt x="87" y="60"/>
                            <a:pt x="87" y="60"/>
                            <a:pt x="87" y="60"/>
                          </a:cubicBezTo>
                          <a:cubicBezTo>
                            <a:pt x="87" y="60"/>
                            <a:pt x="87" y="60"/>
                            <a:pt x="87" y="60"/>
                          </a:cubicBezTo>
                          <a:cubicBezTo>
                            <a:pt x="87" y="60"/>
                            <a:pt x="87" y="60"/>
                            <a:pt x="87" y="60"/>
                          </a:cubicBezTo>
                          <a:cubicBezTo>
                            <a:pt x="87" y="60"/>
                            <a:pt x="87" y="59"/>
                            <a:pt x="87" y="59"/>
                          </a:cubicBezTo>
                          <a:cubicBezTo>
                            <a:pt x="87" y="59"/>
                            <a:pt x="87" y="59"/>
                            <a:pt x="87" y="59"/>
                          </a:cubicBezTo>
                          <a:cubicBezTo>
                            <a:pt x="87" y="59"/>
                            <a:pt x="88" y="59"/>
                            <a:pt x="88" y="59"/>
                          </a:cubicBezTo>
                          <a:cubicBezTo>
                            <a:pt x="88" y="59"/>
                            <a:pt x="88" y="59"/>
                            <a:pt x="88" y="59"/>
                          </a:cubicBezTo>
                          <a:cubicBezTo>
                            <a:pt x="88" y="59"/>
                            <a:pt x="88" y="59"/>
                            <a:pt x="88" y="59"/>
                          </a:cubicBezTo>
                          <a:cubicBezTo>
                            <a:pt x="89" y="58"/>
                            <a:pt x="89" y="58"/>
                            <a:pt x="89" y="59"/>
                          </a:cubicBezTo>
                          <a:cubicBezTo>
                            <a:pt x="89" y="59"/>
                            <a:pt x="89" y="59"/>
                            <a:pt x="88" y="59"/>
                          </a:cubicBezTo>
                          <a:cubicBezTo>
                            <a:pt x="88" y="59"/>
                            <a:pt x="88" y="59"/>
                            <a:pt x="88" y="59"/>
                          </a:cubicBezTo>
                          <a:cubicBezTo>
                            <a:pt x="88" y="59"/>
                            <a:pt x="88" y="59"/>
                            <a:pt x="88" y="60"/>
                          </a:cubicBezTo>
                          <a:cubicBezTo>
                            <a:pt x="88" y="60"/>
                            <a:pt x="88" y="60"/>
                            <a:pt x="88" y="59"/>
                          </a:cubicBezTo>
                          <a:cubicBezTo>
                            <a:pt x="87" y="60"/>
                            <a:pt x="87" y="60"/>
                            <a:pt x="86" y="60"/>
                          </a:cubicBezTo>
                          <a:cubicBezTo>
                            <a:pt x="86" y="61"/>
                            <a:pt x="86" y="61"/>
                            <a:pt x="86" y="61"/>
                          </a:cubicBezTo>
                          <a:close/>
                          <a:moveTo>
                            <a:pt x="88" y="62"/>
                          </a:moveTo>
                          <a:cubicBezTo>
                            <a:pt x="88" y="62"/>
                            <a:pt x="88" y="62"/>
                            <a:pt x="88" y="62"/>
                          </a:cubicBezTo>
                          <a:cubicBezTo>
                            <a:pt x="88" y="62"/>
                            <a:pt x="88" y="62"/>
                            <a:pt x="88" y="62"/>
                          </a:cubicBezTo>
                          <a:cubicBezTo>
                            <a:pt x="87" y="63"/>
                            <a:pt x="86" y="63"/>
                            <a:pt x="86" y="63"/>
                          </a:cubicBezTo>
                          <a:cubicBezTo>
                            <a:pt x="86" y="63"/>
                            <a:pt x="86" y="63"/>
                            <a:pt x="86" y="63"/>
                          </a:cubicBezTo>
                          <a:cubicBezTo>
                            <a:pt x="86" y="63"/>
                            <a:pt x="86" y="63"/>
                            <a:pt x="86" y="63"/>
                          </a:cubicBezTo>
                          <a:cubicBezTo>
                            <a:pt x="86" y="63"/>
                            <a:pt x="86" y="63"/>
                            <a:pt x="86" y="63"/>
                          </a:cubicBezTo>
                          <a:cubicBezTo>
                            <a:pt x="85" y="63"/>
                            <a:pt x="85" y="63"/>
                            <a:pt x="85" y="63"/>
                          </a:cubicBezTo>
                          <a:cubicBezTo>
                            <a:pt x="85" y="63"/>
                            <a:pt x="85" y="63"/>
                            <a:pt x="86" y="63"/>
                          </a:cubicBezTo>
                          <a:cubicBezTo>
                            <a:pt x="85" y="63"/>
                            <a:pt x="85" y="63"/>
                            <a:pt x="85" y="64"/>
                          </a:cubicBezTo>
                          <a:cubicBezTo>
                            <a:pt x="85" y="63"/>
                            <a:pt x="85" y="63"/>
                            <a:pt x="86" y="63"/>
                          </a:cubicBezTo>
                          <a:cubicBezTo>
                            <a:pt x="86" y="63"/>
                            <a:pt x="86" y="63"/>
                            <a:pt x="86" y="62"/>
                          </a:cubicBezTo>
                          <a:cubicBezTo>
                            <a:pt x="86" y="62"/>
                            <a:pt x="86" y="62"/>
                            <a:pt x="86" y="63"/>
                          </a:cubicBezTo>
                          <a:cubicBezTo>
                            <a:pt x="86" y="62"/>
                            <a:pt x="87" y="62"/>
                            <a:pt x="87" y="62"/>
                          </a:cubicBezTo>
                          <a:cubicBezTo>
                            <a:pt x="87" y="62"/>
                            <a:pt x="87" y="62"/>
                            <a:pt x="87" y="62"/>
                          </a:cubicBezTo>
                          <a:cubicBezTo>
                            <a:pt x="88" y="62"/>
                            <a:pt x="88" y="62"/>
                            <a:pt x="88" y="62"/>
                          </a:cubicBezTo>
                          <a:close/>
                          <a:moveTo>
                            <a:pt x="87" y="62"/>
                          </a:moveTo>
                          <a:cubicBezTo>
                            <a:pt x="87" y="62"/>
                            <a:pt x="87" y="62"/>
                            <a:pt x="87" y="62"/>
                          </a:cubicBezTo>
                          <a:cubicBezTo>
                            <a:pt x="87" y="62"/>
                            <a:pt x="87" y="62"/>
                            <a:pt x="87" y="62"/>
                          </a:cubicBezTo>
                          <a:close/>
                          <a:moveTo>
                            <a:pt x="85" y="57"/>
                          </a:moveTo>
                          <a:cubicBezTo>
                            <a:pt x="85" y="58"/>
                            <a:pt x="84" y="58"/>
                            <a:pt x="84" y="58"/>
                          </a:cubicBezTo>
                          <a:cubicBezTo>
                            <a:pt x="84" y="58"/>
                            <a:pt x="84" y="58"/>
                            <a:pt x="84" y="58"/>
                          </a:cubicBezTo>
                          <a:cubicBezTo>
                            <a:pt x="84" y="58"/>
                            <a:pt x="85" y="58"/>
                            <a:pt x="85" y="57"/>
                          </a:cubicBezTo>
                          <a:cubicBezTo>
                            <a:pt x="85" y="57"/>
                            <a:pt x="85" y="57"/>
                            <a:pt x="85" y="57"/>
                          </a:cubicBezTo>
                          <a:close/>
                          <a:moveTo>
                            <a:pt x="86" y="59"/>
                          </a:moveTo>
                          <a:cubicBezTo>
                            <a:pt x="86" y="59"/>
                            <a:pt x="86" y="59"/>
                            <a:pt x="86" y="59"/>
                          </a:cubicBezTo>
                          <a:cubicBezTo>
                            <a:pt x="86" y="59"/>
                            <a:pt x="86" y="59"/>
                            <a:pt x="85" y="59"/>
                          </a:cubicBezTo>
                          <a:cubicBezTo>
                            <a:pt x="85" y="59"/>
                            <a:pt x="85" y="60"/>
                            <a:pt x="85" y="60"/>
                          </a:cubicBezTo>
                          <a:cubicBezTo>
                            <a:pt x="85" y="60"/>
                            <a:pt x="85" y="60"/>
                            <a:pt x="85" y="60"/>
                          </a:cubicBezTo>
                          <a:cubicBezTo>
                            <a:pt x="85" y="60"/>
                            <a:pt x="85" y="60"/>
                            <a:pt x="85" y="60"/>
                          </a:cubicBezTo>
                          <a:cubicBezTo>
                            <a:pt x="85" y="59"/>
                            <a:pt x="85" y="59"/>
                            <a:pt x="86" y="59"/>
                          </a:cubicBezTo>
                          <a:cubicBezTo>
                            <a:pt x="86" y="59"/>
                            <a:pt x="87" y="58"/>
                            <a:pt x="87" y="58"/>
                          </a:cubicBezTo>
                          <a:cubicBezTo>
                            <a:pt x="87" y="59"/>
                            <a:pt x="87" y="59"/>
                            <a:pt x="86" y="59"/>
                          </a:cubicBezTo>
                          <a:close/>
                          <a:moveTo>
                            <a:pt x="85" y="58"/>
                          </a:moveTo>
                          <a:cubicBezTo>
                            <a:pt x="85" y="58"/>
                            <a:pt x="85" y="58"/>
                            <a:pt x="85" y="58"/>
                          </a:cubicBezTo>
                          <a:cubicBezTo>
                            <a:pt x="85" y="58"/>
                            <a:pt x="84" y="59"/>
                            <a:pt x="84" y="58"/>
                          </a:cubicBezTo>
                          <a:cubicBezTo>
                            <a:pt x="85" y="58"/>
                            <a:pt x="85" y="58"/>
                            <a:pt x="85" y="58"/>
                          </a:cubicBezTo>
                          <a:cubicBezTo>
                            <a:pt x="85" y="58"/>
                            <a:pt x="85" y="58"/>
                            <a:pt x="85" y="58"/>
                          </a:cubicBezTo>
                          <a:cubicBezTo>
                            <a:pt x="85" y="58"/>
                            <a:pt x="85" y="58"/>
                            <a:pt x="86" y="58"/>
                          </a:cubicBezTo>
                          <a:cubicBezTo>
                            <a:pt x="85" y="58"/>
                            <a:pt x="85" y="58"/>
                            <a:pt x="85" y="58"/>
                          </a:cubicBezTo>
                          <a:close/>
                          <a:moveTo>
                            <a:pt x="83" y="57"/>
                          </a:moveTo>
                          <a:cubicBezTo>
                            <a:pt x="83" y="56"/>
                            <a:pt x="84" y="57"/>
                            <a:pt x="84" y="57"/>
                          </a:cubicBezTo>
                          <a:cubicBezTo>
                            <a:pt x="83" y="57"/>
                            <a:pt x="84" y="57"/>
                            <a:pt x="83" y="57"/>
                          </a:cubicBezTo>
                          <a:cubicBezTo>
                            <a:pt x="83" y="57"/>
                            <a:pt x="84" y="57"/>
                            <a:pt x="83" y="57"/>
                          </a:cubicBezTo>
                          <a:close/>
                          <a:moveTo>
                            <a:pt x="87" y="61"/>
                          </a:moveTo>
                          <a:cubicBezTo>
                            <a:pt x="87" y="62"/>
                            <a:pt x="87" y="61"/>
                            <a:pt x="87" y="62"/>
                          </a:cubicBezTo>
                          <a:cubicBezTo>
                            <a:pt x="87" y="62"/>
                            <a:pt x="87" y="62"/>
                            <a:pt x="87" y="62"/>
                          </a:cubicBezTo>
                          <a:cubicBezTo>
                            <a:pt x="86" y="61"/>
                            <a:pt x="87" y="61"/>
                            <a:pt x="87" y="61"/>
                          </a:cubicBezTo>
                          <a:close/>
                          <a:moveTo>
                            <a:pt x="88" y="56"/>
                          </a:moveTo>
                          <a:cubicBezTo>
                            <a:pt x="88" y="56"/>
                            <a:pt x="88" y="56"/>
                            <a:pt x="88" y="56"/>
                          </a:cubicBezTo>
                          <a:cubicBezTo>
                            <a:pt x="88" y="57"/>
                            <a:pt x="88" y="57"/>
                            <a:pt x="87" y="56"/>
                          </a:cubicBezTo>
                          <a:cubicBezTo>
                            <a:pt x="87" y="57"/>
                            <a:pt x="87" y="57"/>
                            <a:pt x="87" y="57"/>
                          </a:cubicBezTo>
                          <a:cubicBezTo>
                            <a:pt x="87" y="57"/>
                            <a:pt x="87" y="57"/>
                            <a:pt x="87" y="57"/>
                          </a:cubicBezTo>
                          <a:cubicBezTo>
                            <a:pt x="86" y="57"/>
                            <a:pt x="86" y="57"/>
                            <a:pt x="86" y="57"/>
                          </a:cubicBezTo>
                          <a:cubicBezTo>
                            <a:pt x="86" y="57"/>
                            <a:pt x="86" y="57"/>
                            <a:pt x="86" y="58"/>
                          </a:cubicBezTo>
                          <a:cubicBezTo>
                            <a:pt x="86" y="58"/>
                            <a:pt x="86" y="58"/>
                            <a:pt x="86" y="58"/>
                          </a:cubicBezTo>
                          <a:cubicBezTo>
                            <a:pt x="86" y="58"/>
                            <a:pt x="86" y="57"/>
                            <a:pt x="86" y="57"/>
                          </a:cubicBezTo>
                          <a:cubicBezTo>
                            <a:pt x="86" y="57"/>
                            <a:pt x="86" y="57"/>
                            <a:pt x="85" y="58"/>
                          </a:cubicBezTo>
                          <a:cubicBezTo>
                            <a:pt x="85" y="57"/>
                            <a:pt x="87" y="57"/>
                            <a:pt x="87" y="56"/>
                          </a:cubicBezTo>
                          <a:cubicBezTo>
                            <a:pt x="88" y="56"/>
                            <a:pt x="88" y="56"/>
                            <a:pt x="88" y="56"/>
                          </a:cubicBezTo>
                          <a:cubicBezTo>
                            <a:pt x="88" y="56"/>
                            <a:pt x="88" y="56"/>
                            <a:pt x="88" y="56"/>
                          </a:cubicBezTo>
                          <a:close/>
                          <a:moveTo>
                            <a:pt x="88" y="61"/>
                          </a:moveTo>
                          <a:cubicBezTo>
                            <a:pt x="88" y="61"/>
                            <a:pt x="88" y="61"/>
                            <a:pt x="88" y="61"/>
                          </a:cubicBezTo>
                          <a:cubicBezTo>
                            <a:pt x="88" y="62"/>
                            <a:pt x="88" y="61"/>
                            <a:pt x="89" y="61"/>
                          </a:cubicBezTo>
                          <a:cubicBezTo>
                            <a:pt x="88" y="61"/>
                            <a:pt x="88" y="61"/>
                            <a:pt x="88" y="61"/>
                          </a:cubicBezTo>
                          <a:cubicBezTo>
                            <a:pt x="89" y="61"/>
                            <a:pt x="89" y="61"/>
                            <a:pt x="90" y="60"/>
                          </a:cubicBezTo>
                          <a:cubicBezTo>
                            <a:pt x="90" y="60"/>
                            <a:pt x="90" y="60"/>
                            <a:pt x="90" y="60"/>
                          </a:cubicBezTo>
                          <a:cubicBezTo>
                            <a:pt x="90" y="60"/>
                            <a:pt x="90" y="60"/>
                            <a:pt x="91" y="60"/>
                          </a:cubicBezTo>
                          <a:cubicBezTo>
                            <a:pt x="91" y="60"/>
                            <a:pt x="91" y="60"/>
                            <a:pt x="91" y="60"/>
                          </a:cubicBezTo>
                          <a:cubicBezTo>
                            <a:pt x="91" y="60"/>
                            <a:pt x="92" y="60"/>
                            <a:pt x="92" y="59"/>
                          </a:cubicBezTo>
                          <a:cubicBezTo>
                            <a:pt x="92" y="60"/>
                            <a:pt x="91" y="60"/>
                            <a:pt x="91" y="60"/>
                          </a:cubicBezTo>
                          <a:cubicBezTo>
                            <a:pt x="90" y="60"/>
                            <a:pt x="89" y="61"/>
                            <a:pt x="89" y="61"/>
                          </a:cubicBezTo>
                          <a:cubicBezTo>
                            <a:pt x="89" y="61"/>
                            <a:pt x="89" y="61"/>
                            <a:pt x="89" y="61"/>
                          </a:cubicBezTo>
                          <a:cubicBezTo>
                            <a:pt x="88" y="62"/>
                            <a:pt x="88" y="62"/>
                            <a:pt x="88" y="62"/>
                          </a:cubicBezTo>
                          <a:cubicBezTo>
                            <a:pt x="88" y="62"/>
                            <a:pt x="88" y="62"/>
                            <a:pt x="88" y="62"/>
                          </a:cubicBezTo>
                          <a:cubicBezTo>
                            <a:pt x="88" y="62"/>
                            <a:pt x="88" y="61"/>
                            <a:pt x="88" y="61"/>
                          </a:cubicBezTo>
                          <a:cubicBezTo>
                            <a:pt x="88" y="61"/>
                            <a:pt x="88" y="61"/>
                            <a:pt x="88" y="61"/>
                          </a:cubicBezTo>
                          <a:close/>
                          <a:moveTo>
                            <a:pt x="88" y="57"/>
                          </a:moveTo>
                          <a:cubicBezTo>
                            <a:pt x="88" y="57"/>
                            <a:pt x="88" y="57"/>
                            <a:pt x="88" y="57"/>
                          </a:cubicBezTo>
                          <a:cubicBezTo>
                            <a:pt x="88" y="57"/>
                            <a:pt x="88" y="57"/>
                            <a:pt x="88" y="57"/>
                          </a:cubicBezTo>
                          <a:cubicBezTo>
                            <a:pt x="88" y="57"/>
                            <a:pt x="87" y="58"/>
                            <a:pt x="86" y="58"/>
                          </a:cubicBezTo>
                          <a:cubicBezTo>
                            <a:pt x="87" y="58"/>
                            <a:pt x="87" y="57"/>
                            <a:pt x="88" y="57"/>
                          </a:cubicBezTo>
                          <a:close/>
                          <a:moveTo>
                            <a:pt x="90" y="61"/>
                          </a:moveTo>
                          <a:cubicBezTo>
                            <a:pt x="89" y="61"/>
                            <a:pt x="89" y="61"/>
                            <a:pt x="89" y="62"/>
                          </a:cubicBezTo>
                          <a:cubicBezTo>
                            <a:pt x="89" y="61"/>
                            <a:pt x="89" y="61"/>
                            <a:pt x="90" y="61"/>
                          </a:cubicBezTo>
                          <a:close/>
                          <a:moveTo>
                            <a:pt x="87" y="55"/>
                          </a:moveTo>
                          <a:cubicBezTo>
                            <a:pt x="87" y="55"/>
                            <a:pt x="87" y="55"/>
                            <a:pt x="87" y="55"/>
                          </a:cubicBezTo>
                          <a:cubicBezTo>
                            <a:pt x="88" y="55"/>
                            <a:pt x="87" y="55"/>
                            <a:pt x="87" y="55"/>
                          </a:cubicBezTo>
                          <a:close/>
                          <a:moveTo>
                            <a:pt x="90" y="58"/>
                          </a:moveTo>
                          <a:cubicBezTo>
                            <a:pt x="90" y="58"/>
                            <a:pt x="90" y="58"/>
                            <a:pt x="91" y="58"/>
                          </a:cubicBezTo>
                          <a:cubicBezTo>
                            <a:pt x="90" y="58"/>
                            <a:pt x="92" y="57"/>
                            <a:pt x="92" y="57"/>
                          </a:cubicBezTo>
                          <a:cubicBezTo>
                            <a:pt x="91" y="57"/>
                            <a:pt x="91" y="58"/>
                            <a:pt x="90" y="58"/>
                          </a:cubicBezTo>
                          <a:cubicBezTo>
                            <a:pt x="90" y="58"/>
                            <a:pt x="90" y="58"/>
                            <a:pt x="90" y="58"/>
                          </a:cubicBezTo>
                          <a:cubicBezTo>
                            <a:pt x="90" y="58"/>
                            <a:pt x="90" y="58"/>
                            <a:pt x="89" y="58"/>
                          </a:cubicBezTo>
                          <a:cubicBezTo>
                            <a:pt x="89" y="58"/>
                            <a:pt x="90" y="58"/>
                            <a:pt x="90" y="58"/>
                          </a:cubicBezTo>
                          <a:cubicBezTo>
                            <a:pt x="90" y="58"/>
                            <a:pt x="89" y="58"/>
                            <a:pt x="89" y="58"/>
                          </a:cubicBezTo>
                          <a:cubicBezTo>
                            <a:pt x="89" y="58"/>
                            <a:pt x="90" y="58"/>
                            <a:pt x="90" y="58"/>
                          </a:cubicBezTo>
                          <a:cubicBezTo>
                            <a:pt x="90" y="58"/>
                            <a:pt x="90" y="58"/>
                            <a:pt x="90" y="58"/>
                          </a:cubicBezTo>
                          <a:close/>
                          <a:moveTo>
                            <a:pt x="87" y="53"/>
                          </a:moveTo>
                          <a:cubicBezTo>
                            <a:pt x="87" y="53"/>
                            <a:pt x="87" y="53"/>
                            <a:pt x="87" y="53"/>
                          </a:cubicBezTo>
                          <a:cubicBezTo>
                            <a:pt x="87" y="53"/>
                            <a:pt x="87" y="53"/>
                            <a:pt x="87" y="53"/>
                          </a:cubicBezTo>
                          <a:cubicBezTo>
                            <a:pt x="87" y="53"/>
                            <a:pt x="88" y="52"/>
                            <a:pt x="87" y="53"/>
                          </a:cubicBezTo>
                          <a:close/>
                          <a:moveTo>
                            <a:pt x="93" y="61"/>
                          </a:moveTo>
                          <a:cubicBezTo>
                            <a:pt x="92" y="61"/>
                            <a:pt x="92" y="61"/>
                            <a:pt x="92" y="61"/>
                          </a:cubicBezTo>
                          <a:cubicBezTo>
                            <a:pt x="92" y="61"/>
                            <a:pt x="93" y="61"/>
                            <a:pt x="93" y="60"/>
                          </a:cubicBezTo>
                          <a:cubicBezTo>
                            <a:pt x="93" y="60"/>
                            <a:pt x="93" y="60"/>
                            <a:pt x="93" y="61"/>
                          </a:cubicBezTo>
                          <a:close/>
                          <a:moveTo>
                            <a:pt x="91" y="58"/>
                          </a:moveTo>
                          <a:cubicBezTo>
                            <a:pt x="91" y="58"/>
                            <a:pt x="91" y="58"/>
                            <a:pt x="91" y="58"/>
                          </a:cubicBezTo>
                          <a:cubicBezTo>
                            <a:pt x="91" y="58"/>
                            <a:pt x="91" y="58"/>
                            <a:pt x="91" y="58"/>
                          </a:cubicBezTo>
                          <a:close/>
                          <a:moveTo>
                            <a:pt x="89" y="51"/>
                          </a:moveTo>
                          <a:cubicBezTo>
                            <a:pt x="89" y="51"/>
                            <a:pt x="90" y="50"/>
                            <a:pt x="90" y="50"/>
                          </a:cubicBezTo>
                          <a:cubicBezTo>
                            <a:pt x="90" y="50"/>
                            <a:pt x="90" y="51"/>
                            <a:pt x="89" y="51"/>
                          </a:cubicBezTo>
                          <a:cubicBezTo>
                            <a:pt x="89" y="51"/>
                            <a:pt x="89" y="51"/>
                            <a:pt x="89" y="51"/>
                          </a:cubicBezTo>
                          <a:cubicBezTo>
                            <a:pt x="89" y="51"/>
                            <a:pt x="89" y="51"/>
                            <a:pt x="89" y="51"/>
                          </a:cubicBezTo>
                          <a:close/>
                          <a:moveTo>
                            <a:pt x="90" y="51"/>
                          </a:moveTo>
                          <a:cubicBezTo>
                            <a:pt x="90" y="51"/>
                            <a:pt x="90" y="51"/>
                            <a:pt x="90" y="51"/>
                          </a:cubicBezTo>
                          <a:cubicBezTo>
                            <a:pt x="90" y="51"/>
                            <a:pt x="90" y="51"/>
                            <a:pt x="90" y="51"/>
                          </a:cubicBezTo>
                          <a:cubicBezTo>
                            <a:pt x="90" y="51"/>
                            <a:pt x="91" y="50"/>
                            <a:pt x="92" y="50"/>
                          </a:cubicBezTo>
                          <a:cubicBezTo>
                            <a:pt x="91" y="50"/>
                            <a:pt x="91" y="51"/>
                            <a:pt x="90" y="51"/>
                          </a:cubicBezTo>
                          <a:cubicBezTo>
                            <a:pt x="91" y="51"/>
                            <a:pt x="90" y="51"/>
                            <a:pt x="90" y="51"/>
                          </a:cubicBezTo>
                          <a:cubicBezTo>
                            <a:pt x="90" y="51"/>
                            <a:pt x="90" y="51"/>
                            <a:pt x="90" y="51"/>
                          </a:cubicBezTo>
                          <a:cubicBezTo>
                            <a:pt x="90" y="51"/>
                            <a:pt x="89" y="51"/>
                            <a:pt x="89" y="51"/>
                          </a:cubicBezTo>
                          <a:cubicBezTo>
                            <a:pt x="89" y="51"/>
                            <a:pt x="90" y="51"/>
                            <a:pt x="90" y="51"/>
                          </a:cubicBezTo>
                          <a:close/>
                          <a:moveTo>
                            <a:pt x="95" y="57"/>
                          </a:moveTo>
                          <a:cubicBezTo>
                            <a:pt x="95" y="57"/>
                            <a:pt x="95" y="57"/>
                            <a:pt x="95" y="58"/>
                          </a:cubicBezTo>
                          <a:cubicBezTo>
                            <a:pt x="95" y="58"/>
                            <a:pt x="95" y="58"/>
                            <a:pt x="94" y="58"/>
                          </a:cubicBezTo>
                          <a:cubicBezTo>
                            <a:pt x="94" y="58"/>
                            <a:pt x="94" y="58"/>
                            <a:pt x="95" y="58"/>
                          </a:cubicBezTo>
                          <a:cubicBezTo>
                            <a:pt x="95" y="58"/>
                            <a:pt x="95" y="58"/>
                            <a:pt x="95" y="58"/>
                          </a:cubicBezTo>
                          <a:cubicBezTo>
                            <a:pt x="95" y="57"/>
                            <a:pt x="95" y="57"/>
                            <a:pt x="95" y="57"/>
                          </a:cubicBezTo>
                          <a:close/>
                          <a:moveTo>
                            <a:pt x="96" y="59"/>
                          </a:moveTo>
                          <a:cubicBezTo>
                            <a:pt x="96" y="59"/>
                            <a:pt x="96" y="59"/>
                            <a:pt x="96" y="59"/>
                          </a:cubicBezTo>
                          <a:cubicBezTo>
                            <a:pt x="96" y="59"/>
                            <a:pt x="96" y="59"/>
                            <a:pt x="96" y="59"/>
                          </a:cubicBezTo>
                          <a:cubicBezTo>
                            <a:pt x="96" y="59"/>
                            <a:pt x="95" y="59"/>
                            <a:pt x="95" y="59"/>
                          </a:cubicBezTo>
                          <a:cubicBezTo>
                            <a:pt x="95" y="59"/>
                            <a:pt x="95" y="59"/>
                            <a:pt x="95" y="59"/>
                          </a:cubicBezTo>
                          <a:cubicBezTo>
                            <a:pt x="95" y="59"/>
                            <a:pt x="96" y="59"/>
                            <a:pt x="96" y="59"/>
                          </a:cubicBezTo>
                          <a:close/>
                          <a:moveTo>
                            <a:pt x="98" y="57"/>
                          </a:moveTo>
                          <a:cubicBezTo>
                            <a:pt x="98" y="57"/>
                            <a:pt x="98" y="57"/>
                            <a:pt x="98" y="57"/>
                          </a:cubicBezTo>
                          <a:cubicBezTo>
                            <a:pt x="98" y="57"/>
                            <a:pt x="99" y="57"/>
                            <a:pt x="99" y="57"/>
                          </a:cubicBezTo>
                          <a:cubicBezTo>
                            <a:pt x="98" y="58"/>
                            <a:pt x="97" y="58"/>
                            <a:pt x="96" y="59"/>
                          </a:cubicBezTo>
                          <a:cubicBezTo>
                            <a:pt x="96" y="58"/>
                            <a:pt x="96" y="58"/>
                            <a:pt x="97" y="58"/>
                          </a:cubicBezTo>
                          <a:cubicBezTo>
                            <a:pt x="97" y="58"/>
                            <a:pt x="96" y="58"/>
                            <a:pt x="96" y="58"/>
                          </a:cubicBezTo>
                          <a:cubicBezTo>
                            <a:pt x="96" y="58"/>
                            <a:pt x="97" y="58"/>
                            <a:pt x="97" y="58"/>
                          </a:cubicBezTo>
                          <a:cubicBezTo>
                            <a:pt x="97" y="58"/>
                            <a:pt x="97" y="58"/>
                            <a:pt x="97" y="58"/>
                          </a:cubicBezTo>
                          <a:cubicBezTo>
                            <a:pt x="97" y="58"/>
                            <a:pt x="98" y="57"/>
                            <a:pt x="98" y="57"/>
                          </a:cubicBezTo>
                          <a:cubicBezTo>
                            <a:pt x="98" y="57"/>
                            <a:pt x="98" y="57"/>
                            <a:pt x="98" y="57"/>
                          </a:cubicBezTo>
                          <a:cubicBezTo>
                            <a:pt x="98" y="57"/>
                            <a:pt x="98" y="57"/>
                            <a:pt x="98" y="57"/>
                          </a:cubicBezTo>
                          <a:close/>
                          <a:moveTo>
                            <a:pt x="96" y="57"/>
                          </a:moveTo>
                          <a:cubicBezTo>
                            <a:pt x="95" y="57"/>
                            <a:pt x="96" y="57"/>
                            <a:pt x="96" y="57"/>
                          </a:cubicBezTo>
                          <a:cubicBezTo>
                            <a:pt x="96" y="57"/>
                            <a:pt x="96" y="57"/>
                            <a:pt x="96" y="57"/>
                          </a:cubicBezTo>
                          <a:cubicBezTo>
                            <a:pt x="95" y="57"/>
                            <a:pt x="96" y="57"/>
                            <a:pt x="96" y="57"/>
                          </a:cubicBezTo>
                          <a:close/>
                          <a:moveTo>
                            <a:pt x="99" y="55"/>
                          </a:moveTo>
                          <a:cubicBezTo>
                            <a:pt x="98" y="55"/>
                            <a:pt x="97" y="56"/>
                            <a:pt x="96" y="56"/>
                          </a:cubicBezTo>
                          <a:cubicBezTo>
                            <a:pt x="96" y="56"/>
                            <a:pt x="96" y="56"/>
                            <a:pt x="97" y="56"/>
                          </a:cubicBezTo>
                          <a:cubicBezTo>
                            <a:pt x="97" y="56"/>
                            <a:pt x="97" y="56"/>
                            <a:pt x="97" y="56"/>
                          </a:cubicBezTo>
                          <a:cubicBezTo>
                            <a:pt x="96" y="56"/>
                            <a:pt x="96" y="56"/>
                            <a:pt x="95" y="56"/>
                          </a:cubicBezTo>
                          <a:cubicBezTo>
                            <a:pt x="95" y="56"/>
                            <a:pt x="96" y="56"/>
                            <a:pt x="96" y="56"/>
                          </a:cubicBezTo>
                          <a:cubicBezTo>
                            <a:pt x="96" y="56"/>
                            <a:pt x="96" y="56"/>
                            <a:pt x="97" y="55"/>
                          </a:cubicBezTo>
                          <a:cubicBezTo>
                            <a:pt x="96" y="55"/>
                            <a:pt x="96" y="56"/>
                            <a:pt x="96" y="55"/>
                          </a:cubicBezTo>
                          <a:cubicBezTo>
                            <a:pt x="96" y="56"/>
                            <a:pt x="96" y="56"/>
                            <a:pt x="96" y="56"/>
                          </a:cubicBezTo>
                          <a:cubicBezTo>
                            <a:pt x="95" y="56"/>
                            <a:pt x="95" y="56"/>
                            <a:pt x="95" y="56"/>
                          </a:cubicBezTo>
                          <a:cubicBezTo>
                            <a:pt x="95" y="56"/>
                            <a:pt x="95" y="55"/>
                            <a:pt x="95" y="55"/>
                          </a:cubicBezTo>
                          <a:cubicBezTo>
                            <a:pt x="95" y="56"/>
                            <a:pt x="96" y="56"/>
                            <a:pt x="96" y="55"/>
                          </a:cubicBezTo>
                          <a:cubicBezTo>
                            <a:pt x="96" y="55"/>
                            <a:pt x="96" y="55"/>
                            <a:pt x="95" y="55"/>
                          </a:cubicBezTo>
                          <a:cubicBezTo>
                            <a:pt x="96" y="55"/>
                            <a:pt x="96" y="55"/>
                            <a:pt x="96" y="55"/>
                          </a:cubicBezTo>
                          <a:cubicBezTo>
                            <a:pt x="96" y="55"/>
                            <a:pt x="96" y="55"/>
                            <a:pt x="96" y="55"/>
                          </a:cubicBezTo>
                          <a:cubicBezTo>
                            <a:pt x="97" y="55"/>
                            <a:pt x="97" y="55"/>
                            <a:pt x="97" y="54"/>
                          </a:cubicBezTo>
                          <a:cubicBezTo>
                            <a:pt x="97" y="54"/>
                            <a:pt x="97" y="55"/>
                            <a:pt x="97" y="55"/>
                          </a:cubicBezTo>
                          <a:cubicBezTo>
                            <a:pt x="97" y="55"/>
                            <a:pt x="97" y="55"/>
                            <a:pt x="97" y="55"/>
                          </a:cubicBezTo>
                          <a:cubicBezTo>
                            <a:pt x="97" y="55"/>
                            <a:pt x="97" y="55"/>
                            <a:pt x="97" y="54"/>
                          </a:cubicBezTo>
                          <a:cubicBezTo>
                            <a:pt x="97" y="54"/>
                            <a:pt x="97" y="54"/>
                            <a:pt x="98" y="54"/>
                          </a:cubicBezTo>
                          <a:cubicBezTo>
                            <a:pt x="98" y="54"/>
                            <a:pt x="97" y="55"/>
                            <a:pt x="97" y="55"/>
                          </a:cubicBezTo>
                          <a:cubicBezTo>
                            <a:pt x="97" y="55"/>
                            <a:pt x="97" y="55"/>
                            <a:pt x="97" y="55"/>
                          </a:cubicBezTo>
                          <a:cubicBezTo>
                            <a:pt x="97" y="55"/>
                            <a:pt x="98" y="54"/>
                            <a:pt x="98" y="54"/>
                          </a:cubicBezTo>
                          <a:cubicBezTo>
                            <a:pt x="98" y="54"/>
                            <a:pt x="98" y="54"/>
                            <a:pt x="98" y="54"/>
                          </a:cubicBezTo>
                          <a:cubicBezTo>
                            <a:pt x="98" y="54"/>
                            <a:pt x="98" y="54"/>
                            <a:pt x="99" y="53"/>
                          </a:cubicBezTo>
                          <a:cubicBezTo>
                            <a:pt x="99" y="54"/>
                            <a:pt x="99" y="54"/>
                            <a:pt x="99" y="54"/>
                          </a:cubicBezTo>
                          <a:cubicBezTo>
                            <a:pt x="99" y="54"/>
                            <a:pt x="100" y="53"/>
                            <a:pt x="101" y="53"/>
                          </a:cubicBezTo>
                          <a:cubicBezTo>
                            <a:pt x="101" y="53"/>
                            <a:pt x="100" y="53"/>
                            <a:pt x="100" y="53"/>
                          </a:cubicBezTo>
                          <a:cubicBezTo>
                            <a:pt x="100" y="54"/>
                            <a:pt x="99" y="54"/>
                            <a:pt x="99" y="53"/>
                          </a:cubicBezTo>
                          <a:cubicBezTo>
                            <a:pt x="99" y="54"/>
                            <a:pt x="99" y="54"/>
                            <a:pt x="99" y="54"/>
                          </a:cubicBezTo>
                          <a:cubicBezTo>
                            <a:pt x="99" y="54"/>
                            <a:pt x="98" y="54"/>
                            <a:pt x="98" y="55"/>
                          </a:cubicBezTo>
                          <a:cubicBezTo>
                            <a:pt x="97" y="55"/>
                            <a:pt x="97" y="55"/>
                            <a:pt x="97" y="55"/>
                          </a:cubicBezTo>
                          <a:cubicBezTo>
                            <a:pt x="97" y="55"/>
                            <a:pt x="97" y="55"/>
                            <a:pt x="97" y="55"/>
                          </a:cubicBezTo>
                          <a:cubicBezTo>
                            <a:pt x="98" y="55"/>
                            <a:pt x="97" y="55"/>
                            <a:pt x="98" y="55"/>
                          </a:cubicBezTo>
                          <a:cubicBezTo>
                            <a:pt x="98" y="55"/>
                            <a:pt x="98" y="55"/>
                            <a:pt x="99" y="55"/>
                          </a:cubicBezTo>
                          <a:cubicBezTo>
                            <a:pt x="99" y="55"/>
                            <a:pt x="99" y="54"/>
                            <a:pt x="99" y="54"/>
                          </a:cubicBezTo>
                          <a:cubicBezTo>
                            <a:pt x="99" y="55"/>
                            <a:pt x="99" y="54"/>
                            <a:pt x="99" y="55"/>
                          </a:cubicBezTo>
                          <a:close/>
                          <a:moveTo>
                            <a:pt x="97" y="56"/>
                          </a:moveTo>
                          <a:cubicBezTo>
                            <a:pt x="97" y="56"/>
                            <a:pt x="97" y="57"/>
                            <a:pt x="97" y="57"/>
                          </a:cubicBezTo>
                          <a:cubicBezTo>
                            <a:pt x="97" y="57"/>
                            <a:pt x="97" y="57"/>
                            <a:pt x="97" y="57"/>
                          </a:cubicBezTo>
                          <a:cubicBezTo>
                            <a:pt x="97" y="57"/>
                            <a:pt x="97" y="57"/>
                            <a:pt x="97" y="57"/>
                          </a:cubicBezTo>
                          <a:cubicBezTo>
                            <a:pt x="97" y="57"/>
                            <a:pt x="97" y="57"/>
                            <a:pt x="97" y="57"/>
                          </a:cubicBezTo>
                          <a:cubicBezTo>
                            <a:pt x="97" y="57"/>
                            <a:pt x="96" y="57"/>
                            <a:pt x="96" y="57"/>
                          </a:cubicBezTo>
                          <a:cubicBezTo>
                            <a:pt x="96" y="57"/>
                            <a:pt x="96" y="57"/>
                            <a:pt x="96" y="57"/>
                          </a:cubicBezTo>
                          <a:cubicBezTo>
                            <a:pt x="97" y="57"/>
                            <a:pt x="96" y="57"/>
                            <a:pt x="96" y="57"/>
                          </a:cubicBezTo>
                          <a:cubicBezTo>
                            <a:pt x="96" y="57"/>
                            <a:pt x="97" y="57"/>
                            <a:pt x="97" y="56"/>
                          </a:cubicBezTo>
                          <a:close/>
                          <a:moveTo>
                            <a:pt x="98" y="54"/>
                          </a:moveTo>
                          <a:cubicBezTo>
                            <a:pt x="98" y="54"/>
                            <a:pt x="97" y="54"/>
                            <a:pt x="97" y="54"/>
                          </a:cubicBezTo>
                          <a:cubicBezTo>
                            <a:pt x="97" y="54"/>
                            <a:pt x="98" y="54"/>
                            <a:pt x="97" y="54"/>
                          </a:cubicBezTo>
                          <a:cubicBezTo>
                            <a:pt x="98" y="54"/>
                            <a:pt x="98" y="53"/>
                            <a:pt x="99" y="53"/>
                          </a:cubicBezTo>
                          <a:cubicBezTo>
                            <a:pt x="98" y="54"/>
                            <a:pt x="98" y="54"/>
                            <a:pt x="98" y="54"/>
                          </a:cubicBezTo>
                          <a:close/>
                          <a:moveTo>
                            <a:pt x="100" y="49"/>
                          </a:moveTo>
                          <a:cubicBezTo>
                            <a:pt x="100" y="49"/>
                            <a:pt x="100" y="49"/>
                            <a:pt x="100" y="48"/>
                          </a:cubicBezTo>
                          <a:cubicBezTo>
                            <a:pt x="100" y="49"/>
                            <a:pt x="100" y="49"/>
                            <a:pt x="100" y="49"/>
                          </a:cubicBezTo>
                          <a:cubicBezTo>
                            <a:pt x="100" y="49"/>
                            <a:pt x="100" y="49"/>
                            <a:pt x="100" y="49"/>
                          </a:cubicBezTo>
                          <a:close/>
                          <a:moveTo>
                            <a:pt x="105" y="52"/>
                          </a:moveTo>
                          <a:cubicBezTo>
                            <a:pt x="105" y="52"/>
                            <a:pt x="104" y="52"/>
                            <a:pt x="104" y="53"/>
                          </a:cubicBezTo>
                          <a:cubicBezTo>
                            <a:pt x="104" y="53"/>
                            <a:pt x="105" y="52"/>
                            <a:pt x="105" y="52"/>
                          </a:cubicBezTo>
                          <a:cubicBezTo>
                            <a:pt x="105" y="53"/>
                            <a:pt x="106" y="52"/>
                            <a:pt x="106" y="52"/>
                          </a:cubicBezTo>
                          <a:cubicBezTo>
                            <a:pt x="106" y="52"/>
                            <a:pt x="106" y="52"/>
                            <a:pt x="106" y="52"/>
                          </a:cubicBezTo>
                          <a:cubicBezTo>
                            <a:pt x="106" y="52"/>
                            <a:pt x="105" y="53"/>
                            <a:pt x="104" y="53"/>
                          </a:cubicBezTo>
                          <a:cubicBezTo>
                            <a:pt x="104" y="53"/>
                            <a:pt x="104" y="53"/>
                            <a:pt x="104" y="53"/>
                          </a:cubicBezTo>
                          <a:cubicBezTo>
                            <a:pt x="104" y="53"/>
                            <a:pt x="104" y="53"/>
                            <a:pt x="104" y="53"/>
                          </a:cubicBezTo>
                          <a:cubicBezTo>
                            <a:pt x="104" y="53"/>
                            <a:pt x="104" y="53"/>
                            <a:pt x="105" y="53"/>
                          </a:cubicBezTo>
                          <a:cubicBezTo>
                            <a:pt x="104" y="53"/>
                            <a:pt x="104" y="53"/>
                            <a:pt x="104" y="53"/>
                          </a:cubicBezTo>
                          <a:cubicBezTo>
                            <a:pt x="104" y="53"/>
                            <a:pt x="104" y="53"/>
                            <a:pt x="104" y="53"/>
                          </a:cubicBezTo>
                          <a:cubicBezTo>
                            <a:pt x="104" y="53"/>
                            <a:pt x="104" y="53"/>
                            <a:pt x="103" y="53"/>
                          </a:cubicBezTo>
                          <a:cubicBezTo>
                            <a:pt x="103" y="53"/>
                            <a:pt x="104" y="53"/>
                            <a:pt x="103" y="53"/>
                          </a:cubicBezTo>
                          <a:cubicBezTo>
                            <a:pt x="104" y="53"/>
                            <a:pt x="104" y="52"/>
                            <a:pt x="105" y="52"/>
                          </a:cubicBezTo>
                          <a:close/>
                          <a:moveTo>
                            <a:pt x="105" y="53"/>
                          </a:moveTo>
                          <a:cubicBezTo>
                            <a:pt x="105" y="52"/>
                            <a:pt x="104" y="53"/>
                            <a:pt x="105" y="53"/>
                          </a:cubicBezTo>
                          <a:cubicBezTo>
                            <a:pt x="105" y="53"/>
                            <a:pt x="105" y="52"/>
                            <a:pt x="105" y="52"/>
                          </a:cubicBezTo>
                          <a:cubicBezTo>
                            <a:pt x="105" y="52"/>
                            <a:pt x="105" y="52"/>
                            <a:pt x="105" y="53"/>
                          </a:cubicBezTo>
                          <a:close/>
                          <a:moveTo>
                            <a:pt x="101" y="44"/>
                          </a:moveTo>
                          <a:cubicBezTo>
                            <a:pt x="101" y="44"/>
                            <a:pt x="101" y="44"/>
                            <a:pt x="101" y="44"/>
                          </a:cubicBezTo>
                          <a:cubicBezTo>
                            <a:pt x="101" y="44"/>
                            <a:pt x="101" y="44"/>
                            <a:pt x="101" y="44"/>
                          </a:cubicBezTo>
                          <a:close/>
                          <a:moveTo>
                            <a:pt x="105" y="48"/>
                          </a:moveTo>
                          <a:cubicBezTo>
                            <a:pt x="106" y="48"/>
                            <a:pt x="105" y="48"/>
                            <a:pt x="105" y="48"/>
                          </a:cubicBezTo>
                          <a:cubicBezTo>
                            <a:pt x="105" y="48"/>
                            <a:pt x="106" y="47"/>
                            <a:pt x="106" y="47"/>
                          </a:cubicBezTo>
                          <a:cubicBezTo>
                            <a:pt x="105" y="47"/>
                            <a:pt x="104" y="48"/>
                            <a:pt x="105" y="48"/>
                          </a:cubicBezTo>
                          <a:cubicBezTo>
                            <a:pt x="104" y="48"/>
                            <a:pt x="104" y="48"/>
                            <a:pt x="105" y="48"/>
                          </a:cubicBezTo>
                          <a:cubicBezTo>
                            <a:pt x="105" y="48"/>
                            <a:pt x="105" y="47"/>
                            <a:pt x="105" y="47"/>
                          </a:cubicBezTo>
                          <a:cubicBezTo>
                            <a:pt x="105" y="47"/>
                            <a:pt x="106" y="47"/>
                            <a:pt x="106" y="47"/>
                          </a:cubicBezTo>
                          <a:cubicBezTo>
                            <a:pt x="106" y="47"/>
                            <a:pt x="106" y="47"/>
                            <a:pt x="106" y="47"/>
                          </a:cubicBezTo>
                          <a:cubicBezTo>
                            <a:pt x="106" y="47"/>
                            <a:pt x="106" y="47"/>
                            <a:pt x="106" y="47"/>
                          </a:cubicBezTo>
                          <a:cubicBezTo>
                            <a:pt x="106" y="47"/>
                            <a:pt x="106" y="47"/>
                            <a:pt x="106" y="47"/>
                          </a:cubicBezTo>
                          <a:cubicBezTo>
                            <a:pt x="106" y="47"/>
                            <a:pt x="107" y="47"/>
                            <a:pt x="108" y="46"/>
                          </a:cubicBezTo>
                          <a:cubicBezTo>
                            <a:pt x="107" y="47"/>
                            <a:pt x="107" y="47"/>
                            <a:pt x="107" y="47"/>
                          </a:cubicBezTo>
                          <a:cubicBezTo>
                            <a:pt x="107" y="47"/>
                            <a:pt x="106" y="47"/>
                            <a:pt x="105" y="48"/>
                          </a:cubicBezTo>
                          <a:close/>
                          <a:moveTo>
                            <a:pt x="103" y="48"/>
                          </a:moveTo>
                          <a:cubicBezTo>
                            <a:pt x="103" y="48"/>
                            <a:pt x="103" y="48"/>
                            <a:pt x="104" y="48"/>
                          </a:cubicBezTo>
                          <a:cubicBezTo>
                            <a:pt x="104" y="48"/>
                            <a:pt x="104" y="48"/>
                            <a:pt x="103" y="48"/>
                          </a:cubicBezTo>
                          <a:cubicBezTo>
                            <a:pt x="103" y="48"/>
                            <a:pt x="104" y="48"/>
                            <a:pt x="104" y="48"/>
                          </a:cubicBezTo>
                          <a:cubicBezTo>
                            <a:pt x="104" y="48"/>
                            <a:pt x="104" y="48"/>
                            <a:pt x="104" y="48"/>
                          </a:cubicBezTo>
                          <a:cubicBezTo>
                            <a:pt x="104" y="48"/>
                            <a:pt x="104" y="48"/>
                            <a:pt x="104" y="48"/>
                          </a:cubicBezTo>
                          <a:cubicBezTo>
                            <a:pt x="104" y="48"/>
                            <a:pt x="104" y="48"/>
                            <a:pt x="103" y="48"/>
                          </a:cubicBezTo>
                          <a:close/>
                          <a:moveTo>
                            <a:pt x="103" y="44"/>
                          </a:moveTo>
                          <a:cubicBezTo>
                            <a:pt x="102" y="44"/>
                            <a:pt x="102" y="44"/>
                            <a:pt x="102" y="44"/>
                          </a:cubicBezTo>
                          <a:cubicBezTo>
                            <a:pt x="102" y="44"/>
                            <a:pt x="102" y="44"/>
                            <a:pt x="102" y="44"/>
                          </a:cubicBezTo>
                          <a:cubicBezTo>
                            <a:pt x="102" y="44"/>
                            <a:pt x="102" y="44"/>
                            <a:pt x="102" y="44"/>
                          </a:cubicBezTo>
                          <a:cubicBezTo>
                            <a:pt x="102" y="44"/>
                            <a:pt x="102" y="43"/>
                            <a:pt x="102" y="44"/>
                          </a:cubicBezTo>
                          <a:cubicBezTo>
                            <a:pt x="103" y="43"/>
                            <a:pt x="103" y="43"/>
                            <a:pt x="103" y="43"/>
                          </a:cubicBezTo>
                          <a:cubicBezTo>
                            <a:pt x="103" y="43"/>
                            <a:pt x="103" y="43"/>
                            <a:pt x="104" y="43"/>
                          </a:cubicBezTo>
                          <a:cubicBezTo>
                            <a:pt x="103" y="43"/>
                            <a:pt x="103" y="43"/>
                            <a:pt x="103" y="44"/>
                          </a:cubicBezTo>
                          <a:close/>
                          <a:moveTo>
                            <a:pt x="107" y="51"/>
                          </a:moveTo>
                          <a:cubicBezTo>
                            <a:pt x="107" y="51"/>
                            <a:pt x="108" y="51"/>
                            <a:pt x="108" y="50"/>
                          </a:cubicBezTo>
                          <a:cubicBezTo>
                            <a:pt x="108" y="50"/>
                            <a:pt x="108" y="51"/>
                            <a:pt x="108" y="51"/>
                          </a:cubicBezTo>
                          <a:cubicBezTo>
                            <a:pt x="108" y="51"/>
                            <a:pt x="108" y="51"/>
                            <a:pt x="108" y="51"/>
                          </a:cubicBezTo>
                          <a:cubicBezTo>
                            <a:pt x="108" y="51"/>
                            <a:pt x="108" y="51"/>
                            <a:pt x="108" y="51"/>
                          </a:cubicBezTo>
                          <a:cubicBezTo>
                            <a:pt x="109" y="51"/>
                            <a:pt x="109" y="51"/>
                            <a:pt x="109" y="51"/>
                          </a:cubicBezTo>
                          <a:cubicBezTo>
                            <a:pt x="109" y="51"/>
                            <a:pt x="108" y="51"/>
                            <a:pt x="108" y="51"/>
                          </a:cubicBezTo>
                          <a:cubicBezTo>
                            <a:pt x="108" y="51"/>
                            <a:pt x="108" y="51"/>
                            <a:pt x="107" y="51"/>
                          </a:cubicBezTo>
                          <a:cubicBezTo>
                            <a:pt x="107" y="52"/>
                            <a:pt x="107" y="51"/>
                            <a:pt x="108" y="51"/>
                          </a:cubicBezTo>
                          <a:cubicBezTo>
                            <a:pt x="107" y="52"/>
                            <a:pt x="107" y="51"/>
                            <a:pt x="107" y="52"/>
                          </a:cubicBezTo>
                          <a:cubicBezTo>
                            <a:pt x="107" y="52"/>
                            <a:pt x="107" y="51"/>
                            <a:pt x="108" y="51"/>
                          </a:cubicBezTo>
                          <a:cubicBezTo>
                            <a:pt x="108" y="51"/>
                            <a:pt x="107" y="51"/>
                            <a:pt x="107" y="51"/>
                          </a:cubicBezTo>
                          <a:close/>
                          <a:moveTo>
                            <a:pt x="103" y="42"/>
                          </a:moveTo>
                          <a:cubicBezTo>
                            <a:pt x="103" y="42"/>
                            <a:pt x="103" y="42"/>
                            <a:pt x="103" y="42"/>
                          </a:cubicBezTo>
                          <a:cubicBezTo>
                            <a:pt x="102" y="42"/>
                            <a:pt x="102" y="42"/>
                            <a:pt x="102" y="43"/>
                          </a:cubicBezTo>
                          <a:cubicBezTo>
                            <a:pt x="102" y="42"/>
                            <a:pt x="103" y="42"/>
                            <a:pt x="103" y="42"/>
                          </a:cubicBezTo>
                          <a:close/>
                          <a:moveTo>
                            <a:pt x="110" y="40"/>
                          </a:moveTo>
                          <a:cubicBezTo>
                            <a:pt x="110" y="40"/>
                            <a:pt x="110" y="40"/>
                            <a:pt x="111" y="40"/>
                          </a:cubicBezTo>
                          <a:cubicBezTo>
                            <a:pt x="111" y="40"/>
                            <a:pt x="111" y="40"/>
                            <a:pt x="111" y="40"/>
                          </a:cubicBezTo>
                          <a:cubicBezTo>
                            <a:pt x="111" y="40"/>
                            <a:pt x="110" y="41"/>
                            <a:pt x="110" y="41"/>
                          </a:cubicBezTo>
                          <a:cubicBezTo>
                            <a:pt x="110" y="41"/>
                            <a:pt x="110" y="41"/>
                            <a:pt x="110" y="41"/>
                          </a:cubicBezTo>
                          <a:cubicBezTo>
                            <a:pt x="109" y="41"/>
                            <a:pt x="109" y="41"/>
                            <a:pt x="109" y="41"/>
                          </a:cubicBezTo>
                          <a:cubicBezTo>
                            <a:pt x="110" y="41"/>
                            <a:pt x="109" y="41"/>
                            <a:pt x="109" y="41"/>
                          </a:cubicBezTo>
                          <a:cubicBezTo>
                            <a:pt x="109" y="41"/>
                            <a:pt x="110" y="41"/>
                            <a:pt x="110" y="40"/>
                          </a:cubicBezTo>
                          <a:close/>
                          <a:moveTo>
                            <a:pt x="115" y="39"/>
                          </a:moveTo>
                          <a:cubicBezTo>
                            <a:pt x="115" y="39"/>
                            <a:pt x="115" y="39"/>
                            <a:pt x="115" y="39"/>
                          </a:cubicBezTo>
                          <a:cubicBezTo>
                            <a:pt x="115" y="39"/>
                            <a:pt x="114" y="39"/>
                            <a:pt x="114" y="39"/>
                          </a:cubicBezTo>
                          <a:cubicBezTo>
                            <a:pt x="113" y="39"/>
                            <a:pt x="114" y="39"/>
                            <a:pt x="114" y="39"/>
                          </a:cubicBezTo>
                          <a:cubicBezTo>
                            <a:pt x="114" y="39"/>
                            <a:pt x="114" y="39"/>
                            <a:pt x="114" y="39"/>
                          </a:cubicBezTo>
                          <a:cubicBezTo>
                            <a:pt x="114" y="39"/>
                            <a:pt x="115" y="38"/>
                            <a:pt x="116" y="38"/>
                          </a:cubicBezTo>
                          <a:cubicBezTo>
                            <a:pt x="115" y="38"/>
                            <a:pt x="115" y="38"/>
                            <a:pt x="115" y="39"/>
                          </a:cubicBezTo>
                          <a:close/>
                          <a:moveTo>
                            <a:pt x="111" y="40"/>
                          </a:moveTo>
                          <a:cubicBezTo>
                            <a:pt x="111" y="39"/>
                            <a:pt x="111" y="40"/>
                            <a:pt x="111" y="39"/>
                          </a:cubicBezTo>
                          <a:cubicBezTo>
                            <a:pt x="111" y="40"/>
                            <a:pt x="111" y="40"/>
                            <a:pt x="111" y="40"/>
                          </a:cubicBezTo>
                          <a:cubicBezTo>
                            <a:pt x="111" y="40"/>
                            <a:pt x="111" y="40"/>
                            <a:pt x="111" y="40"/>
                          </a:cubicBezTo>
                          <a:cubicBezTo>
                            <a:pt x="111" y="40"/>
                            <a:pt x="111" y="40"/>
                            <a:pt x="111" y="40"/>
                          </a:cubicBezTo>
                          <a:close/>
                          <a:moveTo>
                            <a:pt x="115" y="40"/>
                          </a:moveTo>
                          <a:cubicBezTo>
                            <a:pt x="115" y="40"/>
                            <a:pt x="115" y="40"/>
                            <a:pt x="114" y="40"/>
                          </a:cubicBezTo>
                          <a:cubicBezTo>
                            <a:pt x="114" y="40"/>
                            <a:pt x="115" y="40"/>
                            <a:pt x="115" y="40"/>
                          </a:cubicBezTo>
                          <a:cubicBezTo>
                            <a:pt x="115" y="40"/>
                            <a:pt x="115" y="40"/>
                            <a:pt x="114" y="40"/>
                          </a:cubicBezTo>
                          <a:cubicBezTo>
                            <a:pt x="114" y="40"/>
                            <a:pt x="115" y="40"/>
                            <a:pt x="115" y="40"/>
                          </a:cubicBezTo>
                          <a:close/>
                          <a:moveTo>
                            <a:pt x="117" y="38"/>
                          </a:moveTo>
                          <a:cubicBezTo>
                            <a:pt x="117" y="38"/>
                            <a:pt x="117" y="38"/>
                            <a:pt x="117" y="38"/>
                          </a:cubicBezTo>
                          <a:cubicBezTo>
                            <a:pt x="117" y="38"/>
                            <a:pt x="117" y="38"/>
                            <a:pt x="117" y="38"/>
                          </a:cubicBezTo>
                          <a:cubicBezTo>
                            <a:pt x="117" y="38"/>
                            <a:pt x="117" y="38"/>
                            <a:pt x="117" y="38"/>
                          </a:cubicBezTo>
                          <a:cubicBezTo>
                            <a:pt x="117" y="38"/>
                            <a:pt x="117" y="38"/>
                            <a:pt x="117" y="38"/>
                          </a:cubicBezTo>
                          <a:cubicBezTo>
                            <a:pt x="117" y="38"/>
                            <a:pt x="117" y="38"/>
                            <a:pt x="117" y="39"/>
                          </a:cubicBezTo>
                          <a:cubicBezTo>
                            <a:pt x="117" y="38"/>
                            <a:pt x="118" y="38"/>
                            <a:pt x="118" y="38"/>
                          </a:cubicBezTo>
                          <a:cubicBezTo>
                            <a:pt x="118" y="38"/>
                            <a:pt x="118" y="38"/>
                            <a:pt x="117" y="39"/>
                          </a:cubicBezTo>
                          <a:cubicBezTo>
                            <a:pt x="117" y="39"/>
                            <a:pt x="117" y="39"/>
                            <a:pt x="118" y="38"/>
                          </a:cubicBezTo>
                          <a:cubicBezTo>
                            <a:pt x="117" y="39"/>
                            <a:pt x="117" y="39"/>
                            <a:pt x="116" y="39"/>
                          </a:cubicBezTo>
                          <a:cubicBezTo>
                            <a:pt x="116" y="39"/>
                            <a:pt x="117" y="39"/>
                            <a:pt x="117" y="39"/>
                          </a:cubicBezTo>
                          <a:cubicBezTo>
                            <a:pt x="116" y="39"/>
                            <a:pt x="116" y="39"/>
                            <a:pt x="116" y="39"/>
                          </a:cubicBezTo>
                          <a:cubicBezTo>
                            <a:pt x="116" y="39"/>
                            <a:pt x="117" y="39"/>
                            <a:pt x="117" y="39"/>
                          </a:cubicBezTo>
                          <a:cubicBezTo>
                            <a:pt x="116" y="39"/>
                            <a:pt x="116" y="39"/>
                            <a:pt x="116" y="39"/>
                          </a:cubicBezTo>
                          <a:cubicBezTo>
                            <a:pt x="116" y="39"/>
                            <a:pt x="116" y="39"/>
                            <a:pt x="116" y="39"/>
                          </a:cubicBezTo>
                          <a:cubicBezTo>
                            <a:pt x="115" y="39"/>
                            <a:pt x="115" y="39"/>
                            <a:pt x="115" y="39"/>
                          </a:cubicBezTo>
                          <a:cubicBezTo>
                            <a:pt x="115" y="39"/>
                            <a:pt x="115" y="39"/>
                            <a:pt x="115" y="39"/>
                          </a:cubicBezTo>
                          <a:cubicBezTo>
                            <a:pt x="115" y="40"/>
                            <a:pt x="115" y="40"/>
                            <a:pt x="115" y="40"/>
                          </a:cubicBezTo>
                          <a:cubicBezTo>
                            <a:pt x="115" y="40"/>
                            <a:pt x="116" y="39"/>
                            <a:pt x="116" y="39"/>
                          </a:cubicBezTo>
                          <a:cubicBezTo>
                            <a:pt x="116" y="39"/>
                            <a:pt x="116" y="39"/>
                            <a:pt x="116" y="39"/>
                          </a:cubicBezTo>
                          <a:cubicBezTo>
                            <a:pt x="116" y="39"/>
                            <a:pt x="116" y="40"/>
                            <a:pt x="115" y="40"/>
                          </a:cubicBezTo>
                          <a:cubicBezTo>
                            <a:pt x="115" y="40"/>
                            <a:pt x="115" y="40"/>
                            <a:pt x="115" y="40"/>
                          </a:cubicBezTo>
                          <a:cubicBezTo>
                            <a:pt x="115" y="40"/>
                            <a:pt x="115" y="40"/>
                            <a:pt x="115" y="40"/>
                          </a:cubicBezTo>
                          <a:cubicBezTo>
                            <a:pt x="115" y="39"/>
                            <a:pt x="115" y="40"/>
                            <a:pt x="114" y="40"/>
                          </a:cubicBezTo>
                          <a:cubicBezTo>
                            <a:pt x="114" y="40"/>
                            <a:pt x="115" y="40"/>
                            <a:pt x="114" y="40"/>
                          </a:cubicBezTo>
                          <a:cubicBezTo>
                            <a:pt x="114" y="40"/>
                            <a:pt x="114" y="40"/>
                            <a:pt x="114" y="40"/>
                          </a:cubicBezTo>
                          <a:cubicBezTo>
                            <a:pt x="114" y="40"/>
                            <a:pt x="114" y="40"/>
                            <a:pt x="114" y="40"/>
                          </a:cubicBezTo>
                          <a:cubicBezTo>
                            <a:pt x="114" y="40"/>
                            <a:pt x="113" y="40"/>
                            <a:pt x="113" y="40"/>
                          </a:cubicBezTo>
                          <a:cubicBezTo>
                            <a:pt x="113" y="41"/>
                            <a:pt x="113" y="41"/>
                            <a:pt x="113" y="41"/>
                          </a:cubicBezTo>
                          <a:cubicBezTo>
                            <a:pt x="113" y="41"/>
                            <a:pt x="112" y="41"/>
                            <a:pt x="112" y="41"/>
                          </a:cubicBezTo>
                          <a:cubicBezTo>
                            <a:pt x="112" y="41"/>
                            <a:pt x="112" y="41"/>
                            <a:pt x="112" y="41"/>
                          </a:cubicBezTo>
                          <a:cubicBezTo>
                            <a:pt x="112" y="41"/>
                            <a:pt x="112" y="41"/>
                            <a:pt x="113" y="41"/>
                          </a:cubicBezTo>
                          <a:cubicBezTo>
                            <a:pt x="112" y="41"/>
                            <a:pt x="112" y="41"/>
                            <a:pt x="112" y="41"/>
                          </a:cubicBezTo>
                          <a:cubicBezTo>
                            <a:pt x="112" y="40"/>
                            <a:pt x="112" y="40"/>
                            <a:pt x="113" y="40"/>
                          </a:cubicBezTo>
                          <a:cubicBezTo>
                            <a:pt x="113" y="40"/>
                            <a:pt x="113" y="40"/>
                            <a:pt x="113" y="40"/>
                          </a:cubicBezTo>
                          <a:cubicBezTo>
                            <a:pt x="113" y="40"/>
                            <a:pt x="113" y="40"/>
                            <a:pt x="113" y="40"/>
                          </a:cubicBezTo>
                          <a:cubicBezTo>
                            <a:pt x="113" y="40"/>
                            <a:pt x="113" y="40"/>
                            <a:pt x="114" y="40"/>
                          </a:cubicBezTo>
                          <a:cubicBezTo>
                            <a:pt x="114" y="40"/>
                            <a:pt x="114" y="40"/>
                            <a:pt x="114" y="40"/>
                          </a:cubicBezTo>
                          <a:cubicBezTo>
                            <a:pt x="114" y="39"/>
                            <a:pt x="114" y="39"/>
                            <a:pt x="114" y="40"/>
                          </a:cubicBezTo>
                          <a:cubicBezTo>
                            <a:pt x="114" y="40"/>
                            <a:pt x="114" y="39"/>
                            <a:pt x="114" y="39"/>
                          </a:cubicBezTo>
                          <a:cubicBezTo>
                            <a:pt x="114" y="39"/>
                            <a:pt x="114" y="39"/>
                            <a:pt x="114" y="39"/>
                          </a:cubicBezTo>
                          <a:cubicBezTo>
                            <a:pt x="114" y="39"/>
                            <a:pt x="115" y="39"/>
                            <a:pt x="115" y="39"/>
                          </a:cubicBezTo>
                          <a:cubicBezTo>
                            <a:pt x="115" y="39"/>
                            <a:pt x="115" y="39"/>
                            <a:pt x="115" y="39"/>
                          </a:cubicBezTo>
                          <a:cubicBezTo>
                            <a:pt x="115" y="39"/>
                            <a:pt x="115" y="39"/>
                            <a:pt x="115" y="39"/>
                          </a:cubicBezTo>
                          <a:cubicBezTo>
                            <a:pt x="115" y="39"/>
                            <a:pt x="115" y="39"/>
                            <a:pt x="115" y="39"/>
                          </a:cubicBezTo>
                          <a:cubicBezTo>
                            <a:pt x="115" y="39"/>
                            <a:pt x="116" y="39"/>
                            <a:pt x="116" y="39"/>
                          </a:cubicBezTo>
                          <a:cubicBezTo>
                            <a:pt x="116" y="39"/>
                            <a:pt x="116" y="38"/>
                            <a:pt x="117" y="38"/>
                          </a:cubicBezTo>
                          <a:close/>
                          <a:moveTo>
                            <a:pt x="114" y="39"/>
                          </a:moveTo>
                          <a:cubicBezTo>
                            <a:pt x="114" y="39"/>
                            <a:pt x="114" y="40"/>
                            <a:pt x="114" y="40"/>
                          </a:cubicBezTo>
                          <a:cubicBezTo>
                            <a:pt x="114" y="40"/>
                            <a:pt x="114" y="40"/>
                            <a:pt x="114" y="40"/>
                          </a:cubicBezTo>
                          <a:cubicBezTo>
                            <a:pt x="114" y="40"/>
                            <a:pt x="114" y="40"/>
                            <a:pt x="114" y="39"/>
                          </a:cubicBezTo>
                          <a:close/>
                          <a:moveTo>
                            <a:pt x="111" y="40"/>
                          </a:moveTo>
                          <a:cubicBezTo>
                            <a:pt x="111" y="40"/>
                            <a:pt x="111" y="40"/>
                            <a:pt x="111" y="40"/>
                          </a:cubicBezTo>
                          <a:cubicBezTo>
                            <a:pt x="111" y="40"/>
                            <a:pt x="111" y="40"/>
                            <a:pt x="111" y="40"/>
                          </a:cubicBezTo>
                          <a:close/>
                          <a:moveTo>
                            <a:pt x="113" y="41"/>
                          </a:moveTo>
                          <a:cubicBezTo>
                            <a:pt x="113" y="41"/>
                            <a:pt x="114" y="41"/>
                            <a:pt x="114" y="41"/>
                          </a:cubicBezTo>
                          <a:cubicBezTo>
                            <a:pt x="114" y="41"/>
                            <a:pt x="114" y="41"/>
                            <a:pt x="114" y="41"/>
                          </a:cubicBezTo>
                          <a:cubicBezTo>
                            <a:pt x="115" y="41"/>
                            <a:pt x="114" y="41"/>
                            <a:pt x="114" y="41"/>
                          </a:cubicBezTo>
                          <a:cubicBezTo>
                            <a:pt x="114" y="41"/>
                            <a:pt x="113" y="41"/>
                            <a:pt x="113" y="41"/>
                          </a:cubicBezTo>
                          <a:cubicBezTo>
                            <a:pt x="113" y="41"/>
                            <a:pt x="113" y="41"/>
                            <a:pt x="113" y="41"/>
                          </a:cubicBezTo>
                          <a:cubicBezTo>
                            <a:pt x="113" y="41"/>
                            <a:pt x="113" y="41"/>
                            <a:pt x="113" y="41"/>
                          </a:cubicBezTo>
                          <a:close/>
                          <a:moveTo>
                            <a:pt x="112" y="38"/>
                          </a:moveTo>
                          <a:cubicBezTo>
                            <a:pt x="112" y="38"/>
                            <a:pt x="112" y="38"/>
                            <a:pt x="112" y="38"/>
                          </a:cubicBezTo>
                          <a:cubicBezTo>
                            <a:pt x="112" y="38"/>
                            <a:pt x="112" y="38"/>
                            <a:pt x="112" y="38"/>
                          </a:cubicBezTo>
                          <a:cubicBezTo>
                            <a:pt x="112" y="38"/>
                            <a:pt x="112" y="38"/>
                            <a:pt x="112" y="38"/>
                          </a:cubicBezTo>
                          <a:cubicBezTo>
                            <a:pt x="112" y="38"/>
                            <a:pt x="112" y="38"/>
                            <a:pt x="112" y="38"/>
                          </a:cubicBezTo>
                          <a:cubicBezTo>
                            <a:pt x="112" y="38"/>
                            <a:pt x="112" y="38"/>
                            <a:pt x="112" y="38"/>
                          </a:cubicBezTo>
                          <a:cubicBezTo>
                            <a:pt x="112" y="38"/>
                            <a:pt x="112" y="38"/>
                            <a:pt x="112" y="38"/>
                          </a:cubicBezTo>
                          <a:cubicBezTo>
                            <a:pt x="112" y="38"/>
                            <a:pt x="112" y="38"/>
                            <a:pt x="112" y="38"/>
                          </a:cubicBezTo>
                          <a:close/>
                          <a:moveTo>
                            <a:pt x="116" y="43"/>
                          </a:moveTo>
                          <a:cubicBezTo>
                            <a:pt x="116" y="43"/>
                            <a:pt x="116" y="43"/>
                            <a:pt x="116" y="43"/>
                          </a:cubicBezTo>
                          <a:cubicBezTo>
                            <a:pt x="115" y="43"/>
                            <a:pt x="115" y="43"/>
                            <a:pt x="115" y="43"/>
                          </a:cubicBezTo>
                          <a:cubicBezTo>
                            <a:pt x="115" y="43"/>
                            <a:pt x="116" y="42"/>
                            <a:pt x="116" y="43"/>
                          </a:cubicBezTo>
                          <a:close/>
                          <a:moveTo>
                            <a:pt x="112" y="38"/>
                          </a:moveTo>
                          <a:cubicBezTo>
                            <a:pt x="112" y="38"/>
                            <a:pt x="112" y="38"/>
                            <a:pt x="112" y="38"/>
                          </a:cubicBezTo>
                          <a:cubicBezTo>
                            <a:pt x="112" y="38"/>
                            <a:pt x="112" y="37"/>
                            <a:pt x="113" y="37"/>
                          </a:cubicBezTo>
                          <a:cubicBezTo>
                            <a:pt x="113" y="38"/>
                            <a:pt x="113" y="38"/>
                            <a:pt x="112" y="38"/>
                          </a:cubicBezTo>
                          <a:cubicBezTo>
                            <a:pt x="112" y="38"/>
                            <a:pt x="112" y="38"/>
                            <a:pt x="112" y="38"/>
                          </a:cubicBezTo>
                          <a:cubicBezTo>
                            <a:pt x="112" y="38"/>
                            <a:pt x="112" y="38"/>
                            <a:pt x="112" y="38"/>
                          </a:cubicBezTo>
                          <a:close/>
                          <a:moveTo>
                            <a:pt x="114" y="38"/>
                          </a:moveTo>
                          <a:cubicBezTo>
                            <a:pt x="114" y="38"/>
                            <a:pt x="114" y="38"/>
                            <a:pt x="114" y="38"/>
                          </a:cubicBezTo>
                          <a:cubicBezTo>
                            <a:pt x="114" y="38"/>
                            <a:pt x="114" y="38"/>
                            <a:pt x="114" y="38"/>
                          </a:cubicBezTo>
                          <a:cubicBezTo>
                            <a:pt x="114" y="38"/>
                            <a:pt x="114" y="38"/>
                            <a:pt x="114" y="38"/>
                          </a:cubicBezTo>
                          <a:cubicBezTo>
                            <a:pt x="114" y="38"/>
                            <a:pt x="114" y="38"/>
                            <a:pt x="114" y="38"/>
                          </a:cubicBezTo>
                          <a:cubicBezTo>
                            <a:pt x="114" y="38"/>
                            <a:pt x="114" y="38"/>
                            <a:pt x="114" y="38"/>
                          </a:cubicBezTo>
                          <a:cubicBezTo>
                            <a:pt x="114" y="38"/>
                            <a:pt x="114" y="38"/>
                            <a:pt x="113" y="38"/>
                          </a:cubicBezTo>
                          <a:cubicBezTo>
                            <a:pt x="113" y="38"/>
                            <a:pt x="113" y="38"/>
                            <a:pt x="114" y="38"/>
                          </a:cubicBezTo>
                          <a:close/>
                          <a:moveTo>
                            <a:pt x="117" y="36"/>
                          </a:moveTo>
                          <a:cubicBezTo>
                            <a:pt x="117" y="36"/>
                            <a:pt x="117" y="36"/>
                            <a:pt x="117" y="36"/>
                          </a:cubicBezTo>
                          <a:cubicBezTo>
                            <a:pt x="116" y="36"/>
                            <a:pt x="116" y="37"/>
                            <a:pt x="115" y="37"/>
                          </a:cubicBezTo>
                          <a:cubicBezTo>
                            <a:pt x="115" y="37"/>
                            <a:pt x="114" y="38"/>
                            <a:pt x="114" y="37"/>
                          </a:cubicBezTo>
                          <a:cubicBezTo>
                            <a:pt x="114" y="37"/>
                            <a:pt x="115" y="37"/>
                            <a:pt x="115" y="37"/>
                          </a:cubicBezTo>
                          <a:cubicBezTo>
                            <a:pt x="115" y="37"/>
                            <a:pt x="116" y="37"/>
                            <a:pt x="116" y="36"/>
                          </a:cubicBezTo>
                          <a:cubicBezTo>
                            <a:pt x="116" y="36"/>
                            <a:pt x="116" y="36"/>
                            <a:pt x="117" y="36"/>
                          </a:cubicBezTo>
                          <a:cubicBezTo>
                            <a:pt x="117" y="36"/>
                            <a:pt x="117" y="36"/>
                            <a:pt x="117" y="36"/>
                          </a:cubicBezTo>
                          <a:cubicBezTo>
                            <a:pt x="117" y="36"/>
                            <a:pt x="116" y="36"/>
                            <a:pt x="116" y="36"/>
                          </a:cubicBezTo>
                          <a:cubicBezTo>
                            <a:pt x="116" y="36"/>
                            <a:pt x="117" y="36"/>
                            <a:pt x="117" y="35"/>
                          </a:cubicBezTo>
                          <a:cubicBezTo>
                            <a:pt x="117" y="35"/>
                            <a:pt x="118" y="35"/>
                            <a:pt x="118" y="35"/>
                          </a:cubicBezTo>
                          <a:cubicBezTo>
                            <a:pt x="118" y="35"/>
                            <a:pt x="119" y="35"/>
                            <a:pt x="119" y="35"/>
                          </a:cubicBezTo>
                          <a:cubicBezTo>
                            <a:pt x="118" y="35"/>
                            <a:pt x="117" y="35"/>
                            <a:pt x="117" y="36"/>
                          </a:cubicBezTo>
                          <a:cubicBezTo>
                            <a:pt x="117" y="36"/>
                            <a:pt x="117" y="36"/>
                            <a:pt x="117" y="36"/>
                          </a:cubicBezTo>
                          <a:cubicBezTo>
                            <a:pt x="117" y="36"/>
                            <a:pt x="117" y="36"/>
                            <a:pt x="117" y="36"/>
                          </a:cubicBezTo>
                          <a:cubicBezTo>
                            <a:pt x="117" y="36"/>
                            <a:pt x="117" y="36"/>
                            <a:pt x="117" y="36"/>
                          </a:cubicBezTo>
                          <a:cubicBezTo>
                            <a:pt x="117" y="36"/>
                            <a:pt x="117" y="36"/>
                            <a:pt x="117" y="36"/>
                          </a:cubicBezTo>
                          <a:cubicBezTo>
                            <a:pt x="117" y="36"/>
                            <a:pt x="117" y="36"/>
                            <a:pt x="117" y="36"/>
                          </a:cubicBezTo>
                          <a:cubicBezTo>
                            <a:pt x="118" y="35"/>
                            <a:pt x="118" y="36"/>
                            <a:pt x="118" y="35"/>
                          </a:cubicBezTo>
                          <a:cubicBezTo>
                            <a:pt x="118" y="36"/>
                            <a:pt x="117" y="36"/>
                            <a:pt x="117" y="36"/>
                          </a:cubicBezTo>
                          <a:close/>
                          <a:moveTo>
                            <a:pt x="118" y="37"/>
                          </a:moveTo>
                          <a:cubicBezTo>
                            <a:pt x="118" y="37"/>
                            <a:pt x="118" y="37"/>
                            <a:pt x="118" y="36"/>
                          </a:cubicBezTo>
                          <a:cubicBezTo>
                            <a:pt x="118" y="36"/>
                            <a:pt x="118" y="36"/>
                            <a:pt x="118" y="36"/>
                          </a:cubicBezTo>
                          <a:cubicBezTo>
                            <a:pt x="118" y="36"/>
                            <a:pt x="118" y="36"/>
                            <a:pt x="118" y="36"/>
                          </a:cubicBezTo>
                          <a:cubicBezTo>
                            <a:pt x="118" y="36"/>
                            <a:pt x="118" y="36"/>
                            <a:pt x="118" y="36"/>
                          </a:cubicBezTo>
                          <a:cubicBezTo>
                            <a:pt x="118" y="36"/>
                            <a:pt x="118" y="36"/>
                            <a:pt x="118" y="36"/>
                          </a:cubicBezTo>
                          <a:cubicBezTo>
                            <a:pt x="118" y="36"/>
                            <a:pt x="118" y="36"/>
                            <a:pt x="118" y="36"/>
                          </a:cubicBezTo>
                          <a:cubicBezTo>
                            <a:pt x="118" y="36"/>
                            <a:pt x="118" y="36"/>
                            <a:pt x="118" y="36"/>
                          </a:cubicBezTo>
                          <a:cubicBezTo>
                            <a:pt x="118" y="37"/>
                            <a:pt x="118" y="37"/>
                            <a:pt x="118" y="37"/>
                          </a:cubicBezTo>
                          <a:close/>
                          <a:moveTo>
                            <a:pt x="116" y="38"/>
                          </a:moveTo>
                          <a:cubicBezTo>
                            <a:pt x="116" y="38"/>
                            <a:pt x="116" y="38"/>
                            <a:pt x="116" y="37"/>
                          </a:cubicBezTo>
                          <a:cubicBezTo>
                            <a:pt x="117" y="37"/>
                            <a:pt x="116" y="38"/>
                            <a:pt x="117" y="38"/>
                          </a:cubicBezTo>
                          <a:cubicBezTo>
                            <a:pt x="117" y="38"/>
                            <a:pt x="116" y="38"/>
                            <a:pt x="116" y="38"/>
                          </a:cubicBezTo>
                          <a:close/>
                          <a:moveTo>
                            <a:pt x="118" y="37"/>
                          </a:moveTo>
                          <a:cubicBezTo>
                            <a:pt x="118" y="37"/>
                            <a:pt x="117" y="37"/>
                            <a:pt x="117" y="37"/>
                          </a:cubicBezTo>
                          <a:cubicBezTo>
                            <a:pt x="117" y="37"/>
                            <a:pt x="117" y="37"/>
                            <a:pt x="117" y="37"/>
                          </a:cubicBezTo>
                          <a:cubicBezTo>
                            <a:pt x="117" y="37"/>
                            <a:pt x="117" y="37"/>
                            <a:pt x="118" y="37"/>
                          </a:cubicBezTo>
                          <a:close/>
                          <a:moveTo>
                            <a:pt x="117" y="38"/>
                          </a:moveTo>
                          <a:cubicBezTo>
                            <a:pt x="117" y="38"/>
                            <a:pt x="117" y="38"/>
                            <a:pt x="117" y="37"/>
                          </a:cubicBezTo>
                          <a:cubicBezTo>
                            <a:pt x="117" y="37"/>
                            <a:pt x="117" y="38"/>
                            <a:pt x="117" y="37"/>
                          </a:cubicBezTo>
                          <a:cubicBezTo>
                            <a:pt x="117" y="38"/>
                            <a:pt x="117" y="38"/>
                            <a:pt x="117" y="38"/>
                          </a:cubicBezTo>
                          <a:cubicBezTo>
                            <a:pt x="117" y="38"/>
                            <a:pt x="117" y="38"/>
                            <a:pt x="117" y="38"/>
                          </a:cubicBezTo>
                          <a:close/>
                          <a:moveTo>
                            <a:pt x="117" y="37"/>
                          </a:moveTo>
                          <a:cubicBezTo>
                            <a:pt x="117" y="37"/>
                            <a:pt x="116" y="37"/>
                            <a:pt x="116" y="37"/>
                          </a:cubicBezTo>
                          <a:cubicBezTo>
                            <a:pt x="116" y="37"/>
                            <a:pt x="117" y="37"/>
                            <a:pt x="117" y="37"/>
                          </a:cubicBezTo>
                          <a:close/>
                          <a:moveTo>
                            <a:pt x="119" y="37"/>
                          </a:moveTo>
                          <a:cubicBezTo>
                            <a:pt x="119" y="37"/>
                            <a:pt x="119" y="36"/>
                            <a:pt x="120" y="36"/>
                          </a:cubicBezTo>
                          <a:cubicBezTo>
                            <a:pt x="120" y="36"/>
                            <a:pt x="119" y="37"/>
                            <a:pt x="119" y="37"/>
                          </a:cubicBezTo>
                          <a:cubicBezTo>
                            <a:pt x="119" y="37"/>
                            <a:pt x="119" y="37"/>
                            <a:pt x="119" y="37"/>
                          </a:cubicBezTo>
                          <a:cubicBezTo>
                            <a:pt x="118" y="37"/>
                            <a:pt x="119" y="37"/>
                            <a:pt x="119" y="37"/>
                          </a:cubicBezTo>
                          <a:close/>
                          <a:moveTo>
                            <a:pt x="120" y="34"/>
                          </a:moveTo>
                          <a:cubicBezTo>
                            <a:pt x="120" y="34"/>
                            <a:pt x="120" y="34"/>
                            <a:pt x="120" y="34"/>
                          </a:cubicBezTo>
                          <a:cubicBezTo>
                            <a:pt x="120" y="34"/>
                            <a:pt x="120" y="34"/>
                            <a:pt x="120" y="34"/>
                          </a:cubicBezTo>
                          <a:cubicBezTo>
                            <a:pt x="120" y="34"/>
                            <a:pt x="120" y="34"/>
                            <a:pt x="120" y="34"/>
                          </a:cubicBezTo>
                          <a:cubicBezTo>
                            <a:pt x="120" y="34"/>
                            <a:pt x="120" y="34"/>
                            <a:pt x="120" y="34"/>
                          </a:cubicBezTo>
                          <a:close/>
                          <a:moveTo>
                            <a:pt x="120" y="33"/>
                          </a:moveTo>
                          <a:cubicBezTo>
                            <a:pt x="120" y="33"/>
                            <a:pt x="120" y="33"/>
                            <a:pt x="119" y="33"/>
                          </a:cubicBezTo>
                          <a:cubicBezTo>
                            <a:pt x="120" y="33"/>
                            <a:pt x="120" y="33"/>
                            <a:pt x="120" y="33"/>
                          </a:cubicBezTo>
                          <a:close/>
                          <a:moveTo>
                            <a:pt x="125" y="34"/>
                          </a:moveTo>
                          <a:cubicBezTo>
                            <a:pt x="125" y="34"/>
                            <a:pt x="125" y="34"/>
                            <a:pt x="125" y="34"/>
                          </a:cubicBezTo>
                          <a:cubicBezTo>
                            <a:pt x="125" y="34"/>
                            <a:pt x="125" y="34"/>
                            <a:pt x="125" y="34"/>
                          </a:cubicBezTo>
                          <a:cubicBezTo>
                            <a:pt x="125" y="35"/>
                            <a:pt x="125" y="34"/>
                            <a:pt x="124" y="34"/>
                          </a:cubicBezTo>
                          <a:cubicBezTo>
                            <a:pt x="124" y="34"/>
                            <a:pt x="125" y="34"/>
                            <a:pt x="125" y="34"/>
                          </a:cubicBezTo>
                          <a:close/>
                          <a:moveTo>
                            <a:pt x="125" y="34"/>
                          </a:moveTo>
                          <a:cubicBezTo>
                            <a:pt x="125" y="34"/>
                            <a:pt x="126" y="34"/>
                            <a:pt x="126" y="34"/>
                          </a:cubicBezTo>
                          <a:cubicBezTo>
                            <a:pt x="126" y="34"/>
                            <a:pt x="126" y="34"/>
                            <a:pt x="126" y="33"/>
                          </a:cubicBezTo>
                          <a:cubicBezTo>
                            <a:pt x="126" y="34"/>
                            <a:pt x="126" y="34"/>
                            <a:pt x="126" y="34"/>
                          </a:cubicBezTo>
                          <a:cubicBezTo>
                            <a:pt x="126" y="34"/>
                            <a:pt x="125" y="34"/>
                            <a:pt x="125" y="34"/>
                          </a:cubicBezTo>
                          <a:cubicBezTo>
                            <a:pt x="125" y="34"/>
                            <a:pt x="126" y="34"/>
                            <a:pt x="125" y="34"/>
                          </a:cubicBezTo>
                          <a:cubicBezTo>
                            <a:pt x="125" y="34"/>
                            <a:pt x="125" y="34"/>
                            <a:pt x="125" y="34"/>
                          </a:cubicBezTo>
                          <a:cubicBezTo>
                            <a:pt x="125" y="34"/>
                            <a:pt x="125" y="34"/>
                            <a:pt x="125" y="34"/>
                          </a:cubicBezTo>
                          <a:cubicBezTo>
                            <a:pt x="125" y="34"/>
                            <a:pt x="125" y="34"/>
                            <a:pt x="125" y="34"/>
                          </a:cubicBezTo>
                          <a:cubicBezTo>
                            <a:pt x="125" y="34"/>
                            <a:pt x="125" y="34"/>
                            <a:pt x="125" y="34"/>
                          </a:cubicBezTo>
                          <a:cubicBezTo>
                            <a:pt x="125" y="34"/>
                            <a:pt x="125" y="34"/>
                            <a:pt x="125" y="34"/>
                          </a:cubicBezTo>
                          <a:close/>
                          <a:moveTo>
                            <a:pt x="129" y="30"/>
                          </a:moveTo>
                          <a:cubicBezTo>
                            <a:pt x="129" y="30"/>
                            <a:pt x="129" y="30"/>
                            <a:pt x="130" y="29"/>
                          </a:cubicBezTo>
                          <a:cubicBezTo>
                            <a:pt x="130" y="29"/>
                            <a:pt x="131" y="28"/>
                            <a:pt x="130" y="29"/>
                          </a:cubicBezTo>
                          <a:cubicBezTo>
                            <a:pt x="130" y="29"/>
                            <a:pt x="130" y="29"/>
                            <a:pt x="130" y="29"/>
                          </a:cubicBezTo>
                          <a:cubicBezTo>
                            <a:pt x="130" y="29"/>
                            <a:pt x="129" y="30"/>
                            <a:pt x="129" y="30"/>
                          </a:cubicBezTo>
                          <a:cubicBezTo>
                            <a:pt x="129" y="30"/>
                            <a:pt x="129" y="30"/>
                            <a:pt x="129" y="30"/>
                          </a:cubicBezTo>
                          <a:cubicBezTo>
                            <a:pt x="129" y="30"/>
                            <a:pt x="129" y="30"/>
                            <a:pt x="129" y="30"/>
                          </a:cubicBezTo>
                          <a:cubicBezTo>
                            <a:pt x="129" y="30"/>
                            <a:pt x="129" y="30"/>
                            <a:pt x="129" y="30"/>
                          </a:cubicBezTo>
                          <a:close/>
                          <a:moveTo>
                            <a:pt x="129" y="30"/>
                          </a:moveTo>
                          <a:cubicBezTo>
                            <a:pt x="130" y="30"/>
                            <a:pt x="130" y="29"/>
                            <a:pt x="130" y="29"/>
                          </a:cubicBezTo>
                          <a:cubicBezTo>
                            <a:pt x="130" y="29"/>
                            <a:pt x="129" y="30"/>
                            <a:pt x="129" y="30"/>
                          </a:cubicBezTo>
                          <a:close/>
                          <a:moveTo>
                            <a:pt x="130" y="29"/>
                          </a:moveTo>
                          <a:cubicBezTo>
                            <a:pt x="129" y="29"/>
                            <a:pt x="129" y="29"/>
                            <a:pt x="128" y="29"/>
                          </a:cubicBezTo>
                          <a:cubicBezTo>
                            <a:pt x="128" y="29"/>
                            <a:pt x="129" y="29"/>
                            <a:pt x="129" y="29"/>
                          </a:cubicBezTo>
                          <a:cubicBezTo>
                            <a:pt x="129" y="29"/>
                            <a:pt x="129" y="29"/>
                            <a:pt x="129" y="29"/>
                          </a:cubicBezTo>
                          <a:cubicBezTo>
                            <a:pt x="129" y="29"/>
                            <a:pt x="129" y="29"/>
                            <a:pt x="129" y="29"/>
                          </a:cubicBezTo>
                          <a:cubicBezTo>
                            <a:pt x="129" y="29"/>
                            <a:pt x="130" y="29"/>
                            <a:pt x="130" y="29"/>
                          </a:cubicBezTo>
                          <a:close/>
                          <a:moveTo>
                            <a:pt x="130" y="28"/>
                          </a:moveTo>
                          <a:cubicBezTo>
                            <a:pt x="131" y="28"/>
                            <a:pt x="130" y="28"/>
                            <a:pt x="130" y="29"/>
                          </a:cubicBezTo>
                          <a:cubicBezTo>
                            <a:pt x="130" y="28"/>
                            <a:pt x="131" y="28"/>
                            <a:pt x="131" y="28"/>
                          </a:cubicBezTo>
                          <a:cubicBezTo>
                            <a:pt x="131" y="28"/>
                            <a:pt x="131" y="28"/>
                            <a:pt x="131" y="28"/>
                          </a:cubicBezTo>
                          <a:cubicBezTo>
                            <a:pt x="131" y="28"/>
                            <a:pt x="131" y="28"/>
                            <a:pt x="130" y="28"/>
                          </a:cubicBezTo>
                          <a:close/>
                          <a:moveTo>
                            <a:pt x="135" y="26"/>
                          </a:moveTo>
                          <a:cubicBezTo>
                            <a:pt x="135" y="26"/>
                            <a:pt x="136" y="26"/>
                            <a:pt x="136" y="25"/>
                          </a:cubicBezTo>
                          <a:cubicBezTo>
                            <a:pt x="136" y="26"/>
                            <a:pt x="136" y="26"/>
                            <a:pt x="136" y="26"/>
                          </a:cubicBezTo>
                          <a:cubicBezTo>
                            <a:pt x="137" y="25"/>
                            <a:pt x="138" y="25"/>
                            <a:pt x="139" y="24"/>
                          </a:cubicBezTo>
                          <a:cubicBezTo>
                            <a:pt x="139" y="24"/>
                            <a:pt x="139" y="24"/>
                            <a:pt x="139" y="24"/>
                          </a:cubicBezTo>
                          <a:cubicBezTo>
                            <a:pt x="139" y="24"/>
                            <a:pt x="139" y="24"/>
                            <a:pt x="139" y="24"/>
                          </a:cubicBezTo>
                          <a:cubicBezTo>
                            <a:pt x="139" y="24"/>
                            <a:pt x="139" y="24"/>
                            <a:pt x="139" y="24"/>
                          </a:cubicBezTo>
                          <a:cubicBezTo>
                            <a:pt x="139" y="24"/>
                            <a:pt x="139" y="24"/>
                            <a:pt x="140" y="24"/>
                          </a:cubicBezTo>
                          <a:cubicBezTo>
                            <a:pt x="140" y="24"/>
                            <a:pt x="140" y="24"/>
                            <a:pt x="140" y="23"/>
                          </a:cubicBezTo>
                          <a:cubicBezTo>
                            <a:pt x="140" y="23"/>
                            <a:pt x="140" y="23"/>
                            <a:pt x="140" y="23"/>
                          </a:cubicBezTo>
                          <a:cubicBezTo>
                            <a:pt x="140" y="23"/>
                            <a:pt x="141" y="23"/>
                            <a:pt x="141" y="23"/>
                          </a:cubicBezTo>
                          <a:cubicBezTo>
                            <a:pt x="140" y="23"/>
                            <a:pt x="140" y="24"/>
                            <a:pt x="140" y="24"/>
                          </a:cubicBezTo>
                          <a:cubicBezTo>
                            <a:pt x="140" y="24"/>
                            <a:pt x="140" y="24"/>
                            <a:pt x="140" y="24"/>
                          </a:cubicBezTo>
                          <a:cubicBezTo>
                            <a:pt x="139" y="24"/>
                            <a:pt x="139" y="24"/>
                            <a:pt x="138" y="25"/>
                          </a:cubicBezTo>
                          <a:cubicBezTo>
                            <a:pt x="138" y="25"/>
                            <a:pt x="138" y="25"/>
                            <a:pt x="138" y="25"/>
                          </a:cubicBezTo>
                          <a:cubicBezTo>
                            <a:pt x="138" y="25"/>
                            <a:pt x="138" y="25"/>
                            <a:pt x="138" y="25"/>
                          </a:cubicBezTo>
                          <a:cubicBezTo>
                            <a:pt x="138" y="25"/>
                            <a:pt x="138" y="25"/>
                            <a:pt x="138" y="25"/>
                          </a:cubicBezTo>
                          <a:cubicBezTo>
                            <a:pt x="138" y="25"/>
                            <a:pt x="137" y="25"/>
                            <a:pt x="137" y="25"/>
                          </a:cubicBezTo>
                          <a:cubicBezTo>
                            <a:pt x="136" y="26"/>
                            <a:pt x="135" y="26"/>
                            <a:pt x="135" y="27"/>
                          </a:cubicBezTo>
                          <a:cubicBezTo>
                            <a:pt x="134" y="27"/>
                            <a:pt x="134" y="27"/>
                            <a:pt x="133" y="27"/>
                          </a:cubicBezTo>
                          <a:cubicBezTo>
                            <a:pt x="133" y="27"/>
                            <a:pt x="133" y="27"/>
                            <a:pt x="133" y="27"/>
                          </a:cubicBezTo>
                          <a:cubicBezTo>
                            <a:pt x="132" y="28"/>
                            <a:pt x="131" y="28"/>
                            <a:pt x="130" y="29"/>
                          </a:cubicBezTo>
                          <a:cubicBezTo>
                            <a:pt x="131" y="28"/>
                            <a:pt x="134" y="27"/>
                            <a:pt x="135" y="26"/>
                          </a:cubicBezTo>
                          <a:cubicBezTo>
                            <a:pt x="135" y="26"/>
                            <a:pt x="135" y="26"/>
                            <a:pt x="135" y="26"/>
                          </a:cubicBezTo>
                          <a:close/>
                          <a:moveTo>
                            <a:pt x="131" y="29"/>
                          </a:moveTo>
                          <a:cubicBezTo>
                            <a:pt x="131" y="29"/>
                            <a:pt x="131" y="29"/>
                            <a:pt x="131" y="29"/>
                          </a:cubicBezTo>
                          <a:cubicBezTo>
                            <a:pt x="131" y="29"/>
                            <a:pt x="131" y="29"/>
                            <a:pt x="131" y="29"/>
                          </a:cubicBezTo>
                          <a:cubicBezTo>
                            <a:pt x="131" y="29"/>
                            <a:pt x="131" y="29"/>
                            <a:pt x="131" y="29"/>
                          </a:cubicBezTo>
                          <a:cubicBezTo>
                            <a:pt x="131" y="29"/>
                            <a:pt x="131" y="29"/>
                            <a:pt x="131" y="29"/>
                          </a:cubicBezTo>
                          <a:close/>
                          <a:moveTo>
                            <a:pt x="142" y="22"/>
                          </a:moveTo>
                          <a:cubicBezTo>
                            <a:pt x="141" y="23"/>
                            <a:pt x="139" y="23"/>
                            <a:pt x="138" y="24"/>
                          </a:cubicBezTo>
                          <a:cubicBezTo>
                            <a:pt x="139" y="23"/>
                            <a:pt x="141" y="22"/>
                            <a:pt x="142" y="22"/>
                          </a:cubicBezTo>
                          <a:close/>
                          <a:moveTo>
                            <a:pt x="147" y="20"/>
                          </a:moveTo>
                          <a:cubicBezTo>
                            <a:pt x="147" y="20"/>
                            <a:pt x="147" y="20"/>
                            <a:pt x="147" y="20"/>
                          </a:cubicBezTo>
                          <a:cubicBezTo>
                            <a:pt x="146" y="21"/>
                            <a:pt x="146" y="21"/>
                            <a:pt x="146" y="21"/>
                          </a:cubicBezTo>
                          <a:cubicBezTo>
                            <a:pt x="146" y="20"/>
                            <a:pt x="147" y="20"/>
                            <a:pt x="147" y="20"/>
                          </a:cubicBezTo>
                          <a:cubicBezTo>
                            <a:pt x="147" y="20"/>
                            <a:pt x="146" y="20"/>
                            <a:pt x="146" y="20"/>
                          </a:cubicBezTo>
                          <a:cubicBezTo>
                            <a:pt x="146" y="20"/>
                            <a:pt x="146" y="20"/>
                            <a:pt x="146" y="20"/>
                          </a:cubicBezTo>
                          <a:cubicBezTo>
                            <a:pt x="146" y="21"/>
                            <a:pt x="146" y="20"/>
                            <a:pt x="146" y="20"/>
                          </a:cubicBezTo>
                          <a:cubicBezTo>
                            <a:pt x="147" y="20"/>
                            <a:pt x="147" y="20"/>
                            <a:pt x="147" y="20"/>
                          </a:cubicBezTo>
                          <a:close/>
                          <a:moveTo>
                            <a:pt x="152" y="16"/>
                          </a:moveTo>
                          <a:cubicBezTo>
                            <a:pt x="152" y="15"/>
                            <a:pt x="153" y="15"/>
                            <a:pt x="153" y="15"/>
                          </a:cubicBezTo>
                          <a:cubicBezTo>
                            <a:pt x="153" y="15"/>
                            <a:pt x="153" y="15"/>
                            <a:pt x="153" y="15"/>
                          </a:cubicBezTo>
                          <a:cubicBezTo>
                            <a:pt x="153" y="15"/>
                            <a:pt x="153" y="16"/>
                            <a:pt x="152" y="16"/>
                          </a:cubicBezTo>
                          <a:cubicBezTo>
                            <a:pt x="152" y="16"/>
                            <a:pt x="152" y="16"/>
                            <a:pt x="152" y="16"/>
                          </a:cubicBezTo>
                          <a:cubicBezTo>
                            <a:pt x="152" y="16"/>
                            <a:pt x="152" y="16"/>
                            <a:pt x="152" y="16"/>
                          </a:cubicBezTo>
                          <a:cubicBezTo>
                            <a:pt x="152" y="16"/>
                            <a:pt x="152" y="16"/>
                            <a:pt x="152" y="16"/>
                          </a:cubicBezTo>
                          <a:cubicBezTo>
                            <a:pt x="152" y="16"/>
                            <a:pt x="152" y="16"/>
                            <a:pt x="151" y="16"/>
                          </a:cubicBezTo>
                          <a:cubicBezTo>
                            <a:pt x="152" y="16"/>
                            <a:pt x="152" y="16"/>
                            <a:pt x="152" y="16"/>
                          </a:cubicBezTo>
                          <a:cubicBezTo>
                            <a:pt x="152" y="15"/>
                            <a:pt x="152" y="16"/>
                            <a:pt x="152" y="16"/>
                          </a:cubicBezTo>
                          <a:close/>
                          <a:moveTo>
                            <a:pt x="163" y="10"/>
                          </a:moveTo>
                          <a:cubicBezTo>
                            <a:pt x="162" y="10"/>
                            <a:pt x="161" y="10"/>
                            <a:pt x="161" y="10"/>
                          </a:cubicBezTo>
                          <a:cubicBezTo>
                            <a:pt x="161" y="10"/>
                            <a:pt x="161" y="10"/>
                            <a:pt x="161" y="10"/>
                          </a:cubicBezTo>
                          <a:cubicBezTo>
                            <a:pt x="161" y="11"/>
                            <a:pt x="161" y="11"/>
                            <a:pt x="161" y="11"/>
                          </a:cubicBezTo>
                          <a:cubicBezTo>
                            <a:pt x="161" y="11"/>
                            <a:pt x="161" y="11"/>
                            <a:pt x="161" y="11"/>
                          </a:cubicBezTo>
                          <a:cubicBezTo>
                            <a:pt x="160" y="11"/>
                            <a:pt x="160" y="11"/>
                            <a:pt x="160" y="11"/>
                          </a:cubicBezTo>
                          <a:cubicBezTo>
                            <a:pt x="160" y="11"/>
                            <a:pt x="161" y="11"/>
                            <a:pt x="161" y="11"/>
                          </a:cubicBezTo>
                          <a:cubicBezTo>
                            <a:pt x="159" y="11"/>
                            <a:pt x="159" y="12"/>
                            <a:pt x="158" y="13"/>
                          </a:cubicBezTo>
                          <a:cubicBezTo>
                            <a:pt x="158" y="13"/>
                            <a:pt x="158" y="12"/>
                            <a:pt x="158" y="12"/>
                          </a:cubicBezTo>
                          <a:cubicBezTo>
                            <a:pt x="159" y="12"/>
                            <a:pt x="158" y="12"/>
                            <a:pt x="159" y="12"/>
                          </a:cubicBezTo>
                          <a:cubicBezTo>
                            <a:pt x="158" y="12"/>
                            <a:pt x="158" y="13"/>
                            <a:pt x="157" y="12"/>
                          </a:cubicBezTo>
                          <a:cubicBezTo>
                            <a:pt x="157" y="13"/>
                            <a:pt x="157" y="13"/>
                            <a:pt x="157" y="13"/>
                          </a:cubicBezTo>
                          <a:cubicBezTo>
                            <a:pt x="157" y="13"/>
                            <a:pt x="157" y="13"/>
                            <a:pt x="157" y="13"/>
                          </a:cubicBezTo>
                          <a:cubicBezTo>
                            <a:pt x="156" y="13"/>
                            <a:pt x="157" y="13"/>
                            <a:pt x="157" y="12"/>
                          </a:cubicBezTo>
                          <a:cubicBezTo>
                            <a:pt x="157" y="12"/>
                            <a:pt x="157" y="12"/>
                            <a:pt x="157" y="12"/>
                          </a:cubicBezTo>
                          <a:cubicBezTo>
                            <a:pt x="158" y="12"/>
                            <a:pt x="158" y="12"/>
                            <a:pt x="158" y="12"/>
                          </a:cubicBezTo>
                          <a:cubicBezTo>
                            <a:pt x="158" y="12"/>
                            <a:pt x="158" y="12"/>
                            <a:pt x="158" y="12"/>
                          </a:cubicBezTo>
                          <a:cubicBezTo>
                            <a:pt x="159" y="12"/>
                            <a:pt x="158" y="12"/>
                            <a:pt x="158" y="12"/>
                          </a:cubicBezTo>
                          <a:cubicBezTo>
                            <a:pt x="159" y="11"/>
                            <a:pt x="159" y="11"/>
                            <a:pt x="159" y="11"/>
                          </a:cubicBezTo>
                          <a:cubicBezTo>
                            <a:pt x="159" y="12"/>
                            <a:pt x="159" y="12"/>
                            <a:pt x="159" y="12"/>
                          </a:cubicBezTo>
                          <a:cubicBezTo>
                            <a:pt x="159" y="11"/>
                            <a:pt x="159" y="12"/>
                            <a:pt x="159" y="12"/>
                          </a:cubicBezTo>
                          <a:cubicBezTo>
                            <a:pt x="159" y="12"/>
                            <a:pt x="159" y="11"/>
                            <a:pt x="159" y="11"/>
                          </a:cubicBezTo>
                          <a:cubicBezTo>
                            <a:pt x="159" y="12"/>
                            <a:pt x="159" y="11"/>
                            <a:pt x="160" y="11"/>
                          </a:cubicBezTo>
                          <a:cubicBezTo>
                            <a:pt x="160" y="11"/>
                            <a:pt x="159" y="11"/>
                            <a:pt x="159" y="11"/>
                          </a:cubicBezTo>
                          <a:cubicBezTo>
                            <a:pt x="160" y="11"/>
                            <a:pt x="160" y="11"/>
                            <a:pt x="160" y="11"/>
                          </a:cubicBezTo>
                          <a:cubicBezTo>
                            <a:pt x="160" y="11"/>
                            <a:pt x="160" y="11"/>
                            <a:pt x="160" y="11"/>
                          </a:cubicBezTo>
                          <a:cubicBezTo>
                            <a:pt x="160" y="10"/>
                            <a:pt x="160" y="10"/>
                            <a:pt x="161" y="10"/>
                          </a:cubicBezTo>
                          <a:cubicBezTo>
                            <a:pt x="161" y="10"/>
                            <a:pt x="161" y="10"/>
                            <a:pt x="161" y="10"/>
                          </a:cubicBezTo>
                          <a:cubicBezTo>
                            <a:pt x="161" y="10"/>
                            <a:pt x="162" y="10"/>
                            <a:pt x="162" y="10"/>
                          </a:cubicBezTo>
                          <a:cubicBezTo>
                            <a:pt x="162" y="10"/>
                            <a:pt x="161" y="10"/>
                            <a:pt x="161" y="10"/>
                          </a:cubicBezTo>
                          <a:cubicBezTo>
                            <a:pt x="161" y="10"/>
                            <a:pt x="162" y="10"/>
                            <a:pt x="162" y="10"/>
                          </a:cubicBezTo>
                          <a:cubicBezTo>
                            <a:pt x="162" y="9"/>
                            <a:pt x="161" y="10"/>
                            <a:pt x="161" y="10"/>
                          </a:cubicBezTo>
                          <a:cubicBezTo>
                            <a:pt x="162" y="9"/>
                            <a:pt x="163" y="9"/>
                            <a:pt x="163" y="9"/>
                          </a:cubicBezTo>
                          <a:cubicBezTo>
                            <a:pt x="163" y="9"/>
                            <a:pt x="163" y="9"/>
                            <a:pt x="163" y="9"/>
                          </a:cubicBezTo>
                          <a:cubicBezTo>
                            <a:pt x="163" y="9"/>
                            <a:pt x="162" y="9"/>
                            <a:pt x="162" y="9"/>
                          </a:cubicBezTo>
                          <a:cubicBezTo>
                            <a:pt x="163" y="9"/>
                            <a:pt x="163" y="9"/>
                            <a:pt x="163" y="9"/>
                          </a:cubicBezTo>
                          <a:cubicBezTo>
                            <a:pt x="163" y="9"/>
                            <a:pt x="163" y="9"/>
                            <a:pt x="163" y="9"/>
                          </a:cubicBezTo>
                          <a:cubicBezTo>
                            <a:pt x="163" y="10"/>
                            <a:pt x="162" y="9"/>
                            <a:pt x="162" y="10"/>
                          </a:cubicBezTo>
                          <a:cubicBezTo>
                            <a:pt x="162" y="10"/>
                            <a:pt x="163" y="9"/>
                            <a:pt x="163" y="10"/>
                          </a:cubicBezTo>
                          <a:close/>
                          <a:moveTo>
                            <a:pt x="157" y="14"/>
                          </a:moveTo>
                          <a:cubicBezTo>
                            <a:pt x="158" y="13"/>
                            <a:pt x="158" y="13"/>
                            <a:pt x="158" y="13"/>
                          </a:cubicBezTo>
                          <a:cubicBezTo>
                            <a:pt x="158" y="13"/>
                            <a:pt x="158" y="13"/>
                            <a:pt x="157" y="14"/>
                          </a:cubicBezTo>
                          <a:close/>
                          <a:moveTo>
                            <a:pt x="159" y="13"/>
                          </a:moveTo>
                          <a:cubicBezTo>
                            <a:pt x="159" y="13"/>
                            <a:pt x="159" y="13"/>
                            <a:pt x="159" y="12"/>
                          </a:cubicBezTo>
                          <a:cubicBezTo>
                            <a:pt x="159" y="13"/>
                            <a:pt x="158" y="13"/>
                            <a:pt x="159" y="13"/>
                          </a:cubicBezTo>
                          <a:close/>
                          <a:moveTo>
                            <a:pt x="159" y="13"/>
                          </a:moveTo>
                          <a:cubicBezTo>
                            <a:pt x="160" y="13"/>
                            <a:pt x="160" y="12"/>
                            <a:pt x="160" y="12"/>
                          </a:cubicBezTo>
                          <a:cubicBezTo>
                            <a:pt x="160" y="12"/>
                            <a:pt x="159" y="13"/>
                            <a:pt x="159" y="13"/>
                          </a:cubicBezTo>
                          <a:close/>
                          <a:moveTo>
                            <a:pt x="166" y="7"/>
                          </a:moveTo>
                          <a:cubicBezTo>
                            <a:pt x="166" y="7"/>
                            <a:pt x="166" y="7"/>
                            <a:pt x="166" y="7"/>
                          </a:cubicBezTo>
                          <a:cubicBezTo>
                            <a:pt x="166" y="7"/>
                            <a:pt x="166" y="7"/>
                            <a:pt x="166" y="7"/>
                          </a:cubicBezTo>
                          <a:close/>
                          <a:moveTo>
                            <a:pt x="169" y="8"/>
                          </a:moveTo>
                          <a:cubicBezTo>
                            <a:pt x="169" y="8"/>
                            <a:pt x="169" y="8"/>
                            <a:pt x="169" y="8"/>
                          </a:cubicBezTo>
                          <a:cubicBezTo>
                            <a:pt x="169" y="8"/>
                            <a:pt x="169" y="8"/>
                            <a:pt x="168" y="8"/>
                          </a:cubicBezTo>
                          <a:cubicBezTo>
                            <a:pt x="168" y="8"/>
                            <a:pt x="168" y="8"/>
                            <a:pt x="168" y="8"/>
                          </a:cubicBezTo>
                          <a:cubicBezTo>
                            <a:pt x="168" y="8"/>
                            <a:pt x="169" y="8"/>
                            <a:pt x="169" y="8"/>
                          </a:cubicBezTo>
                          <a:close/>
                          <a:moveTo>
                            <a:pt x="169" y="7"/>
                          </a:moveTo>
                          <a:cubicBezTo>
                            <a:pt x="169" y="7"/>
                            <a:pt x="169" y="7"/>
                            <a:pt x="169" y="7"/>
                          </a:cubicBezTo>
                          <a:cubicBezTo>
                            <a:pt x="169" y="8"/>
                            <a:pt x="169" y="7"/>
                            <a:pt x="170" y="7"/>
                          </a:cubicBezTo>
                          <a:cubicBezTo>
                            <a:pt x="170" y="7"/>
                            <a:pt x="169" y="8"/>
                            <a:pt x="169" y="8"/>
                          </a:cubicBezTo>
                          <a:cubicBezTo>
                            <a:pt x="169" y="8"/>
                            <a:pt x="169" y="7"/>
                            <a:pt x="169" y="7"/>
                          </a:cubicBezTo>
                          <a:close/>
                          <a:moveTo>
                            <a:pt x="178" y="5"/>
                          </a:moveTo>
                          <a:cubicBezTo>
                            <a:pt x="178" y="5"/>
                            <a:pt x="178" y="5"/>
                            <a:pt x="178" y="5"/>
                          </a:cubicBezTo>
                          <a:cubicBezTo>
                            <a:pt x="178" y="5"/>
                            <a:pt x="178" y="5"/>
                            <a:pt x="179" y="5"/>
                          </a:cubicBezTo>
                          <a:cubicBezTo>
                            <a:pt x="179" y="5"/>
                            <a:pt x="178" y="5"/>
                            <a:pt x="178" y="5"/>
                          </a:cubicBezTo>
                          <a:close/>
                          <a:moveTo>
                            <a:pt x="179" y="1"/>
                          </a:moveTo>
                          <a:cubicBezTo>
                            <a:pt x="179" y="1"/>
                            <a:pt x="179" y="1"/>
                            <a:pt x="180" y="1"/>
                          </a:cubicBezTo>
                          <a:cubicBezTo>
                            <a:pt x="179" y="1"/>
                            <a:pt x="179" y="1"/>
                            <a:pt x="179" y="1"/>
                          </a:cubicBezTo>
                          <a:close/>
                          <a:moveTo>
                            <a:pt x="22" y="103"/>
                          </a:moveTo>
                          <a:cubicBezTo>
                            <a:pt x="22" y="103"/>
                            <a:pt x="21" y="103"/>
                            <a:pt x="21" y="103"/>
                          </a:cubicBezTo>
                          <a:cubicBezTo>
                            <a:pt x="21" y="103"/>
                            <a:pt x="21" y="103"/>
                            <a:pt x="22" y="103"/>
                          </a:cubicBezTo>
                          <a:cubicBezTo>
                            <a:pt x="22" y="103"/>
                            <a:pt x="22" y="103"/>
                            <a:pt x="22" y="103"/>
                          </a:cubicBezTo>
                          <a:close/>
                          <a:moveTo>
                            <a:pt x="44" y="87"/>
                          </a:moveTo>
                          <a:cubicBezTo>
                            <a:pt x="44" y="87"/>
                            <a:pt x="44" y="87"/>
                            <a:pt x="44" y="87"/>
                          </a:cubicBezTo>
                          <a:cubicBezTo>
                            <a:pt x="44" y="87"/>
                            <a:pt x="44" y="87"/>
                            <a:pt x="44" y="87"/>
                          </a:cubicBezTo>
                          <a:cubicBezTo>
                            <a:pt x="44" y="87"/>
                            <a:pt x="44" y="87"/>
                            <a:pt x="44" y="87"/>
                          </a:cubicBezTo>
                          <a:close/>
                          <a:moveTo>
                            <a:pt x="43" y="86"/>
                          </a:moveTo>
                          <a:cubicBezTo>
                            <a:pt x="43" y="86"/>
                            <a:pt x="43" y="86"/>
                            <a:pt x="43" y="85"/>
                          </a:cubicBezTo>
                          <a:cubicBezTo>
                            <a:pt x="43" y="85"/>
                            <a:pt x="43" y="85"/>
                            <a:pt x="43" y="85"/>
                          </a:cubicBezTo>
                          <a:cubicBezTo>
                            <a:pt x="43" y="85"/>
                            <a:pt x="43" y="86"/>
                            <a:pt x="43" y="86"/>
                          </a:cubicBezTo>
                          <a:close/>
                          <a:moveTo>
                            <a:pt x="45" y="85"/>
                          </a:moveTo>
                          <a:cubicBezTo>
                            <a:pt x="45" y="85"/>
                            <a:pt x="45" y="85"/>
                            <a:pt x="46" y="84"/>
                          </a:cubicBezTo>
                          <a:cubicBezTo>
                            <a:pt x="46" y="85"/>
                            <a:pt x="46" y="85"/>
                            <a:pt x="46" y="85"/>
                          </a:cubicBezTo>
                          <a:cubicBezTo>
                            <a:pt x="46" y="85"/>
                            <a:pt x="45" y="85"/>
                            <a:pt x="46" y="85"/>
                          </a:cubicBezTo>
                          <a:cubicBezTo>
                            <a:pt x="45" y="85"/>
                            <a:pt x="45" y="85"/>
                            <a:pt x="45" y="85"/>
                          </a:cubicBezTo>
                          <a:cubicBezTo>
                            <a:pt x="45" y="85"/>
                            <a:pt x="45" y="85"/>
                            <a:pt x="45" y="85"/>
                          </a:cubicBezTo>
                          <a:close/>
                          <a:moveTo>
                            <a:pt x="44" y="82"/>
                          </a:moveTo>
                          <a:cubicBezTo>
                            <a:pt x="44" y="82"/>
                            <a:pt x="44" y="82"/>
                            <a:pt x="44" y="82"/>
                          </a:cubicBezTo>
                          <a:cubicBezTo>
                            <a:pt x="44" y="81"/>
                            <a:pt x="44" y="81"/>
                            <a:pt x="44" y="81"/>
                          </a:cubicBezTo>
                          <a:cubicBezTo>
                            <a:pt x="44" y="81"/>
                            <a:pt x="44" y="82"/>
                            <a:pt x="44" y="82"/>
                          </a:cubicBezTo>
                          <a:cubicBezTo>
                            <a:pt x="44" y="82"/>
                            <a:pt x="45" y="81"/>
                            <a:pt x="45" y="81"/>
                          </a:cubicBezTo>
                          <a:cubicBezTo>
                            <a:pt x="45" y="82"/>
                            <a:pt x="44" y="82"/>
                            <a:pt x="44" y="82"/>
                          </a:cubicBezTo>
                          <a:cubicBezTo>
                            <a:pt x="44" y="82"/>
                            <a:pt x="44" y="82"/>
                            <a:pt x="44" y="82"/>
                          </a:cubicBezTo>
                          <a:cubicBezTo>
                            <a:pt x="44" y="82"/>
                            <a:pt x="44" y="82"/>
                            <a:pt x="44" y="82"/>
                          </a:cubicBezTo>
                          <a:close/>
                          <a:moveTo>
                            <a:pt x="50" y="74"/>
                          </a:moveTo>
                          <a:cubicBezTo>
                            <a:pt x="50" y="74"/>
                            <a:pt x="50" y="74"/>
                            <a:pt x="50" y="74"/>
                          </a:cubicBezTo>
                          <a:cubicBezTo>
                            <a:pt x="50" y="74"/>
                            <a:pt x="50" y="74"/>
                            <a:pt x="50" y="74"/>
                          </a:cubicBezTo>
                          <a:cubicBezTo>
                            <a:pt x="50" y="75"/>
                            <a:pt x="50" y="75"/>
                            <a:pt x="49" y="75"/>
                          </a:cubicBezTo>
                          <a:cubicBezTo>
                            <a:pt x="49" y="75"/>
                            <a:pt x="49" y="75"/>
                            <a:pt x="49" y="75"/>
                          </a:cubicBezTo>
                          <a:cubicBezTo>
                            <a:pt x="49" y="75"/>
                            <a:pt x="50" y="75"/>
                            <a:pt x="50" y="74"/>
                          </a:cubicBezTo>
                          <a:close/>
                          <a:moveTo>
                            <a:pt x="55" y="79"/>
                          </a:moveTo>
                          <a:cubicBezTo>
                            <a:pt x="56" y="78"/>
                            <a:pt x="56" y="78"/>
                            <a:pt x="57" y="78"/>
                          </a:cubicBezTo>
                          <a:cubicBezTo>
                            <a:pt x="56" y="78"/>
                            <a:pt x="56" y="78"/>
                            <a:pt x="55" y="79"/>
                          </a:cubicBezTo>
                          <a:cubicBezTo>
                            <a:pt x="55" y="79"/>
                            <a:pt x="56" y="79"/>
                            <a:pt x="55" y="79"/>
                          </a:cubicBezTo>
                          <a:close/>
                          <a:moveTo>
                            <a:pt x="62" y="67"/>
                          </a:moveTo>
                          <a:cubicBezTo>
                            <a:pt x="62" y="67"/>
                            <a:pt x="62" y="67"/>
                            <a:pt x="62" y="67"/>
                          </a:cubicBezTo>
                          <a:cubicBezTo>
                            <a:pt x="62" y="67"/>
                            <a:pt x="62" y="67"/>
                            <a:pt x="62" y="67"/>
                          </a:cubicBezTo>
                          <a:cubicBezTo>
                            <a:pt x="62" y="67"/>
                            <a:pt x="62" y="67"/>
                            <a:pt x="61" y="67"/>
                          </a:cubicBezTo>
                          <a:cubicBezTo>
                            <a:pt x="61" y="67"/>
                            <a:pt x="62" y="67"/>
                            <a:pt x="62" y="67"/>
                          </a:cubicBezTo>
                          <a:close/>
                          <a:moveTo>
                            <a:pt x="67" y="63"/>
                          </a:moveTo>
                          <a:cubicBezTo>
                            <a:pt x="67" y="63"/>
                            <a:pt x="67" y="63"/>
                            <a:pt x="67" y="63"/>
                          </a:cubicBezTo>
                          <a:cubicBezTo>
                            <a:pt x="67" y="63"/>
                            <a:pt x="68" y="63"/>
                            <a:pt x="68" y="63"/>
                          </a:cubicBezTo>
                          <a:cubicBezTo>
                            <a:pt x="68" y="63"/>
                            <a:pt x="68" y="62"/>
                            <a:pt x="69" y="62"/>
                          </a:cubicBezTo>
                          <a:cubicBezTo>
                            <a:pt x="68" y="63"/>
                            <a:pt x="67" y="63"/>
                            <a:pt x="67" y="63"/>
                          </a:cubicBezTo>
                          <a:close/>
                          <a:moveTo>
                            <a:pt x="71" y="68"/>
                          </a:moveTo>
                          <a:cubicBezTo>
                            <a:pt x="71" y="68"/>
                            <a:pt x="71" y="67"/>
                            <a:pt x="71" y="68"/>
                          </a:cubicBezTo>
                          <a:cubicBezTo>
                            <a:pt x="71" y="67"/>
                            <a:pt x="71" y="67"/>
                            <a:pt x="71" y="67"/>
                          </a:cubicBezTo>
                          <a:cubicBezTo>
                            <a:pt x="71" y="67"/>
                            <a:pt x="71" y="67"/>
                            <a:pt x="71" y="67"/>
                          </a:cubicBezTo>
                          <a:cubicBezTo>
                            <a:pt x="71" y="67"/>
                            <a:pt x="71" y="67"/>
                            <a:pt x="71" y="68"/>
                          </a:cubicBezTo>
                          <a:close/>
                          <a:moveTo>
                            <a:pt x="76" y="63"/>
                          </a:moveTo>
                          <a:cubicBezTo>
                            <a:pt x="76" y="63"/>
                            <a:pt x="76" y="63"/>
                            <a:pt x="76" y="64"/>
                          </a:cubicBezTo>
                          <a:cubicBezTo>
                            <a:pt x="76" y="63"/>
                            <a:pt x="76" y="63"/>
                            <a:pt x="76" y="63"/>
                          </a:cubicBezTo>
                          <a:cubicBezTo>
                            <a:pt x="75" y="63"/>
                            <a:pt x="76" y="63"/>
                            <a:pt x="76" y="63"/>
                          </a:cubicBezTo>
                          <a:close/>
                          <a:moveTo>
                            <a:pt x="83" y="65"/>
                          </a:moveTo>
                          <a:cubicBezTo>
                            <a:pt x="83" y="65"/>
                            <a:pt x="82" y="65"/>
                            <a:pt x="82" y="66"/>
                          </a:cubicBezTo>
                          <a:cubicBezTo>
                            <a:pt x="82" y="66"/>
                            <a:pt x="82" y="66"/>
                            <a:pt x="82" y="65"/>
                          </a:cubicBezTo>
                          <a:cubicBezTo>
                            <a:pt x="82" y="66"/>
                            <a:pt x="82" y="66"/>
                            <a:pt x="81" y="66"/>
                          </a:cubicBezTo>
                          <a:cubicBezTo>
                            <a:pt x="82" y="65"/>
                            <a:pt x="82" y="65"/>
                            <a:pt x="83" y="65"/>
                          </a:cubicBezTo>
                          <a:close/>
                          <a:moveTo>
                            <a:pt x="84" y="59"/>
                          </a:moveTo>
                          <a:cubicBezTo>
                            <a:pt x="83" y="60"/>
                            <a:pt x="83" y="60"/>
                            <a:pt x="82" y="60"/>
                          </a:cubicBezTo>
                          <a:cubicBezTo>
                            <a:pt x="82" y="60"/>
                            <a:pt x="82" y="60"/>
                            <a:pt x="82" y="61"/>
                          </a:cubicBezTo>
                          <a:cubicBezTo>
                            <a:pt x="82" y="61"/>
                            <a:pt x="82" y="60"/>
                            <a:pt x="82" y="60"/>
                          </a:cubicBezTo>
                          <a:cubicBezTo>
                            <a:pt x="82" y="61"/>
                            <a:pt x="82" y="61"/>
                            <a:pt x="82" y="61"/>
                          </a:cubicBezTo>
                          <a:cubicBezTo>
                            <a:pt x="82" y="61"/>
                            <a:pt x="82" y="61"/>
                            <a:pt x="82" y="61"/>
                          </a:cubicBezTo>
                          <a:cubicBezTo>
                            <a:pt x="82" y="61"/>
                            <a:pt x="81" y="61"/>
                            <a:pt x="81" y="61"/>
                          </a:cubicBezTo>
                          <a:cubicBezTo>
                            <a:pt x="81" y="61"/>
                            <a:pt x="81" y="61"/>
                            <a:pt x="81" y="61"/>
                          </a:cubicBezTo>
                          <a:cubicBezTo>
                            <a:pt x="81" y="61"/>
                            <a:pt x="81" y="61"/>
                            <a:pt x="82" y="61"/>
                          </a:cubicBezTo>
                          <a:cubicBezTo>
                            <a:pt x="81" y="61"/>
                            <a:pt x="81" y="61"/>
                            <a:pt x="81" y="61"/>
                          </a:cubicBezTo>
                          <a:cubicBezTo>
                            <a:pt x="80" y="61"/>
                            <a:pt x="81" y="61"/>
                            <a:pt x="80" y="61"/>
                          </a:cubicBezTo>
                          <a:cubicBezTo>
                            <a:pt x="81" y="61"/>
                            <a:pt x="81" y="61"/>
                            <a:pt x="81" y="61"/>
                          </a:cubicBezTo>
                          <a:cubicBezTo>
                            <a:pt x="82" y="60"/>
                            <a:pt x="81" y="61"/>
                            <a:pt x="82" y="60"/>
                          </a:cubicBezTo>
                          <a:cubicBezTo>
                            <a:pt x="81" y="60"/>
                            <a:pt x="81" y="60"/>
                            <a:pt x="81" y="61"/>
                          </a:cubicBezTo>
                          <a:cubicBezTo>
                            <a:pt x="81" y="60"/>
                            <a:pt x="81" y="60"/>
                            <a:pt x="81" y="60"/>
                          </a:cubicBezTo>
                          <a:cubicBezTo>
                            <a:pt x="81" y="60"/>
                            <a:pt x="82" y="60"/>
                            <a:pt x="82" y="59"/>
                          </a:cubicBezTo>
                          <a:cubicBezTo>
                            <a:pt x="82" y="59"/>
                            <a:pt x="83" y="59"/>
                            <a:pt x="83" y="59"/>
                          </a:cubicBezTo>
                          <a:cubicBezTo>
                            <a:pt x="83" y="59"/>
                            <a:pt x="83" y="59"/>
                            <a:pt x="83" y="59"/>
                          </a:cubicBezTo>
                          <a:cubicBezTo>
                            <a:pt x="83" y="59"/>
                            <a:pt x="83" y="59"/>
                            <a:pt x="84" y="59"/>
                          </a:cubicBezTo>
                          <a:close/>
                          <a:moveTo>
                            <a:pt x="84" y="59"/>
                          </a:moveTo>
                          <a:cubicBezTo>
                            <a:pt x="85" y="59"/>
                            <a:pt x="85" y="59"/>
                            <a:pt x="85" y="59"/>
                          </a:cubicBezTo>
                          <a:cubicBezTo>
                            <a:pt x="85" y="59"/>
                            <a:pt x="85" y="59"/>
                            <a:pt x="85" y="59"/>
                          </a:cubicBezTo>
                          <a:cubicBezTo>
                            <a:pt x="85" y="59"/>
                            <a:pt x="85" y="59"/>
                            <a:pt x="85" y="59"/>
                          </a:cubicBezTo>
                          <a:cubicBezTo>
                            <a:pt x="85" y="59"/>
                            <a:pt x="85" y="59"/>
                            <a:pt x="85" y="59"/>
                          </a:cubicBezTo>
                          <a:cubicBezTo>
                            <a:pt x="84" y="59"/>
                            <a:pt x="84" y="59"/>
                            <a:pt x="84" y="60"/>
                          </a:cubicBezTo>
                          <a:cubicBezTo>
                            <a:pt x="84" y="59"/>
                            <a:pt x="84" y="59"/>
                            <a:pt x="84" y="59"/>
                          </a:cubicBezTo>
                          <a:cubicBezTo>
                            <a:pt x="84" y="59"/>
                            <a:pt x="84" y="59"/>
                            <a:pt x="84" y="59"/>
                          </a:cubicBezTo>
                          <a:close/>
                          <a:moveTo>
                            <a:pt x="89" y="58"/>
                          </a:moveTo>
                          <a:cubicBezTo>
                            <a:pt x="88" y="58"/>
                            <a:pt x="89" y="58"/>
                            <a:pt x="88" y="58"/>
                          </a:cubicBezTo>
                          <a:cubicBezTo>
                            <a:pt x="88" y="58"/>
                            <a:pt x="88" y="58"/>
                            <a:pt x="88" y="58"/>
                          </a:cubicBezTo>
                          <a:cubicBezTo>
                            <a:pt x="88" y="58"/>
                            <a:pt x="88" y="58"/>
                            <a:pt x="88" y="59"/>
                          </a:cubicBezTo>
                          <a:cubicBezTo>
                            <a:pt x="88" y="59"/>
                            <a:pt x="88" y="59"/>
                            <a:pt x="88" y="59"/>
                          </a:cubicBezTo>
                          <a:cubicBezTo>
                            <a:pt x="88" y="59"/>
                            <a:pt x="87" y="59"/>
                            <a:pt x="87" y="59"/>
                          </a:cubicBezTo>
                          <a:cubicBezTo>
                            <a:pt x="87" y="59"/>
                            <a:pt x="87" y="59"/>
                            <a:pt x="87" y="59"/>
                          </a:cubicBezTo>
                          <a:cubicBezTo>
                            <a:pt x="87" y="59"/>
                            <a:pt x="87" y="59"/>
                            <a:pt x="87" y="59"/>
                          </a:cubicBezTo>
                          <a:cubicBezTo>
                            <a:pt x="87" y="59"/>
                            <a:pt x="87" y="59"/>
                            <a:pt x="87" y="59"/>
                          </a:cubicBezTo>
                          <a:cubicBezTo>
                            <a:pt x="87" y="59"/>
                            <a:pt x="87" y="59"/>
                            <a:pt x="87" y="58"/>
                          </a:cubicBezTo>
                          <a:cubicBezTo>
                            <a:pt x="87" y="59"/>
                            <a:pt x="88" y="58"/>
                            <a:pt x="89" y="58"/>
                          </a:cubicBezTo>
                          <a:cubicBezTo>
                            <a:pt x="89" y="58"/>
                            <a:pt x="89" y="58"/>
                            <a:pt x="89" y="58"/>
                          </a:cubicBezTo>
                          <a:close/>
                          <a:moveTo>
                            <a:pt x="92" y="60"/>
                          </a:moveTo>
                          <a:cubicBezTo>
                            <a:pt x="92" y="61"/>
                            <a:pt x="91" y="61"/>
                            <a:pt x="90" y="61"/>
                          </a:cubicBezTo>
                          <a:cubicBezTo>
                            <a:pt x="90" y="61"/>
                            <a:pt x="90" y="61"/>
                            <a:pt x="90" y="61"/>
                          </a:cubicBezTo>
                          <a:cubicBezTo>
                            <a:pt x="90" y="61"/>
                            <a:pt x="90" y="61"/>
                            <a:pt x="91" y="60"/>
                          </a:cubicBezTo>
                          <a:cubicBezTo>
                            <a:pt x="91" y="61"/>
                            <a:pt x="91" y="61"/>
                            <a:pt x="91" y="61"/>
                          </a:cubicBezTo>
                          <a:cubicBezTo>
                            <a:pt x="91" y="61"/>
                            <a:pt x="92" y="60"/>
                            <a:pt x="92" y="60"/>
                          </a:cubicBezTo>
                          <a:cubicBezTo>
                            <a:pt x="92" y="60"/>
                            <a:pt x="92" y="60"/>
                            <a:pt x="92" y="60"/>
                          </a:cubicBezTo>
                          <a:close/>
                          <a:moveTo>
                            <a:pt x="90" y="55"/>
                          </a:moveTo>
                          <a:cubicBezTo>
                            <a:pt x="90" y="55"/>
                            <a:pt x="90" y="55"/>
                            <a:pt x="90" y="55"/>
                          </a:cubicBezTo>
                          <a:cubicBezTo>
                            <a:pt x="91" y="55"/>
                            <a:pt x="90" y="55"/>
                            <a:pt x="90" y="55"/>
                          </a:cubicBezTo>
                          <a:cubicBezTo>
                            <a:pt x="90" y="55"/>
                            <a:pt x="90" y="55"/>
                            <a:pt x="90" y="56"/>
                          </a:cubicBezTo>
                          <a:cubicBezTo>
                            <a:pt x="90" y="55"/>
                            <a:pt x="90" y="55"/>
                            <a:pt x="90" y="55"/>
                          </a:cubicBezTo>
                          <a:close/>
                          <a:moveTo>
                            <a:pt x="112" y="42"/>
                          </a:moveTo>
                          <a:cubicBezTo>
                            <a:pt x="112" y="42"/>
                            <a:pt x="112" y="42"/>
                            <a:pt x="111" y="42"/>
                          </a:cubicBezTo>
                          <a:cubicBezTo>
                            <a:pt x="111" y="42"/>
                            <a:pt x="111" y="42"/>
                            <a:pt x="111" y="42"/>
                          </a:cubicBezTo>
                          <a:cubicBezTo>
                            <a:pt x="111" y="42"/>
                            <a:pt x="111" y="42"/>
                            <a:pt x="112" y="42"/>
                          </a:cubicBezTo>
                          <a:cubicBezTo>
                            <a:pt x="112" y="42"/>
                            <a:pt x="112" y="42"/>
                            <a:pt x="112" y="42"/>
                          </a:cubicBezTo>
                          <a:cubicBezTo>
                            <a:pt x="111" y="42"/>
                            <a:pt x="111" y="42"/>
                            <a:pt x="111" y="42"/>
                          </a:cubicBezTo>
                          <a:cubicBezTo>
                            <a:pt x="111" y="42"/>
                            <a:pt x="112" y="42"/>
                            <a:pt x="112" y="42"/>
                          </a:cubicBezTo>
                          <a:cubicBezTo>
                            <a:pt x="112" y="42"/>
                            <a:pt x="112" y="42"/>
                            <a:pt x="112" y="42"/>
                          </a:cubicBezTo>
                          <a:cubicBezTo>
                            <a:pt x="112" y="42"/>
                            <a:pt x="112" y="42"/>
                            <a:pt x="112" y="42"/>
                          </a:cubicBezTo>
                          <a:cubicBezTo>
                            <a:pt x="112" y="42"/>
                            <a:pt x="112" y="42"/>
                            <a:pt x="112" y="42"/>
                          </a:cubicBezTo>
                          <a:cubicBezTo>
                            <a:pt x="112" y="41"/>
                            <a:pt x="112" y="41"/>
                            <a:pt x="113" y="41"/>
                          </a:cubicBezTo>
                          <a:cubicBezTo>
                            <a:pt x="113" y="41"/>
                            <a:pt x="112" y="41"/>
                            <a:pt x="113" y="41"/>
                          </a:cubicBezTo>
                          <a:cubicBezTo>
                            <a:pt x="112" y="42"/>
                            <a:pt x="112" y="42"/>
                            <a:pt x="112" y="42"/>
                          </a:cubicBezTo>
                          <a:close/>
                          <a:moveTo>
                            <a:pt x="119" y="36"/>
                          </a:moveTo>
                          <a:cubicBezTo>
                            <a:pt x="119" y="36"/>
                            <a:pt x="119" y="36"/>
                            <a:pt x="119" y="36"/>
                          </a:cubicBezTo>
                          <a:cubicBezTo>
                            <a:pt x="119" y="36"/>
                            <a:pt x="119" y="36"/>
                            <a:pt x="119" y="36"/>
                          </a:cubicBezTo>
                          <a:cubicBezTo>
                            <a:pt x="119" y="36"/>
                            <a:pt x="119" y="36"/>
                            <a:pt x="119" y="36"/>
                          </a:cubicBezTo>
                          <a:cubicBezTo>
                            <a:pt x="119" y="36"/>
                            <a:pt x="118" y="36"/>
                            <a:pt x="118" y="36"/>
                          </a:cubicBezTo>
                          <a:cubicBezTo>
                            <a:pt x="118" y="36"/>
                            <a:pt x="118" y="36"/>
                            <a:pt x="119" y="36"/>
                          </a:cubicBezTo>
                          <a:cubicBezTo>
                            <a:pt x="119" y="36"/>
                            <a:pt x="119" y="36"/>
                            <a:pt x="119" y="36"/>
                          </a:cubicBezTo>
                          <a:cubicBezTo>
                            <a:pt x="119" y="36"/>
                            <a:pt x="119" y="36"/>
                            <a:pt x="120" y="36"/>
                          </a:cubicBezTo>
                          <a:cubicBezTo>
                            <a:pt x="120" y="36"/>
                            <a:pt x="119" y="36"/>
                            <a:pt x="119" y="36"/>
                          </a:cubicBezTo>
                          <a:cubicBezTo>
                            <a:pt x="119" y="36"/>
                            <a:pt x="119" y="36"/>
                            <a:pt x="119" y="36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</p:grpSp>
              <p:sp>
                <p:nvSpPr>
                  <p:cNvPr id="203" name="任意多边形: 形状 202">
                    <a:extLst>
                      <a:ext uri="{FF2B5EF4-FFF2-40B4-BE49-F238E27FC236}">
                        <a16:creationId xmlns:a16="http://schemas.microsoft.com/office/drawing/2014/main" id="{07D32FEA-B975-4DAD-89FB-FF1A56404813}"/>
                      </a:ext>
                    </a:extLst>
                  </p:cNvPr>
                  <p:cNvSpPr/>
                  <p:nvPr/>
                </p:nvSpPr>
                <p:spPr bwMode="auto">
                  <a:xfrm rot="846821">
                    <a:off x="9153243" y="2283460"/>
                    <a:ext cx="458805" cy="374650"/>
                  </a:xfrm>
                  <a:custGeom>
                    <a:avLst/>
                    <a:gdLst>
                      <a:gd name="connsiteX0" fmla="*/ 1084317 w 2051014"/>
                      <a:gd name="connsiteY0" fmla="*/ 1449027 h 1674813"/>
                      <a:gd name="connsiteX1" fmla="*/ 1106021 w 2051014"/>
                      <a:gd name="connsiteY1" fmla="*/ 1452707 h 1674813"/>
                      <a:gd name="connsiteX2" fmla="*/ 1083697 w 2051014"/>
                      <a:gd name="connsiteY2" fmla="*/ 1464974 h 1674813"/>
                      <a:gd name="connsiteX3" fmla="*/ 1066333 w 2051014"/>
                      <a:gd name="connsiteY3" fmla="*/ 1452707 h 1674813"/>
                      <a:gd name="connsiteX4" fmla="*/ 1084317 w 2051014"/>
                      <a:gd name="connsiteY4" fmla="*/ 1449027 h 1674813"/>
                      <a:gd name="connsiteX5" fmla="*/ 1105026 w 2051014"/>
                      <a:gd name="connsiteY5" fmla="*/ 1235113 h 1674813"/>
                      <a:gd name="connsiteX6" fmla="*/ 1057882 w 2051014"/>
                      <a:gd name="connsiteY6" fmla="*/ 1250172 h 1674813"/>
                      <a:gd name="connsiteX7" fmla="*/ 1059197 w 2051014"/>
                      <a:gd name="connsiteY7" fmla="*/ 1259916 h 1674813"/>
                      <a:gd name="connsiteX8" fmla="*/ 1057943 w 2051014"/>
                      <a:gd name="connsiteY8" fmla="*/ 1264099 h 1674813"/>
                      <a:gd name="connsiteX9" fmla="*/ 1062955 w 2051014"/>
                      <a:gd name="connsiteY9" fmla="*/ 1267226 h 1674813"/>
                      <a:gd name="connsiteX10" fmla="*/ 1102551 w 2051014"/>
                      <a:gd name="connsiteY10" fmla="*/ 1279577 h 1674813"/>
                      <a:gd name="connsiteX11" fmla="*/ 1105026 w 2051014"/>
                      <a:gd name="connsiteY11" fmla="*/ 1235113 h 1674813"/>
                      <a:gd name="connsiteX12" fmla="*/ 879820 w 2051014"/>
                      <a:gd name="connsiteY12" fmla="*/ 1148655 h 1674813"/>
                      <a:gd name="connsiteX13" fmla="*/ 892194 w 2051014"/>
                      <a:gd name="connsiteY13" fmla="*/ 1195589 h 1674813"/>
                      <a:gd name="connsiteX14" fmla="*/ 907043 w 2051014"/>
                      <a:gd name="connsiteY14" fmla="*/ 1183238 h 1674813"/>
                      <a:gd name="connsiteX15" fmla="*/ 879820 w 2051014"/>
                      <a:gd name="connsiteY15" fmla="*/ 1148655 h 1674813"/>
                      <a:gd name="connsiteX16" fmla="*/ 1540589 w 2051014"/>
                      <a:gd name="connsiteY16" fmla="*/ 1106661 h 1674813"/>
                      <a:gd name="connsiteX17" fmla="*/ 1508417 w 2051014"/>
                      <a:gd name="connsiteY17" fmla="*/ 1116542 h 1674813"/>
                      <a:gd name="connsiteX18" fmla="*/ 1406950 w 2051014"/>
                      <a:gd name="connsiteY18" fmla="*/ 1148655 h 1674813"/>
                      <a:gd name="connsiteX19" fmla="*/ 1340131 w 2051014"/>
                      <a:gd name="connsiteY19" fmla="*/ 1173357 h 1674813"/>
                      <a:gd name="connsiteX20" fmla="*/ 1330232 w 2051014"/>
                      <a:gd name="connsiteY20" fmla="*/ 1188179 h 1674813"/>
                      <a:gd name="connsiteX21" fmla="*/ 1332707 w 2051014"/>
                      <a:gd name="connsiteY21" fmla="*/ 1249934 h 1674813"/>
                      <a:gd name="connsiteX22" fmla="*/ 1337656 w 2051014"/>
                      <a:gd name="connsiteY22" fmla="*/ 1284518 h 1674813"/>
                      <a:gd name="connsiteX23" fmla="*/ 1345081 w 2051014"/>
                      <a:gd name="connsiteY23" fmla="*/ 1343803 h 1674813"/>
                      <a:gd name="connsiteX24" fmla="*/ 1540589 w 2051014"/>
                      <a:gd name="connsiteY24" fmla="*/ 1106661 h 1674813"/>
                      <a:gd name="connsiteX25" fmla="*/ 371323 w 2051014"/>
                      <a:gd name="connsiteY25" fmla="*/ 983024 h 1674813"/>
                      <a:gd name="connsiteX26" fmla="*/ 467817 w 2051014"/>
                      <a:gd name="connsiteY26" fmla="*/ 1074471 h 1674813"/>
                      <a:gd name="connsiteX27" fmla="*/ 217922 w 2051014"/>
                      <a:gd name="connsiteY27" fmla="*/ 1353753 h 1674813"/>
                      <a:gd name="connsiteX28" fmla="*/ 517301 w 2051014"/>
                      <a:gd name="connsiteY28" fmla="*/ 1198047 h 1674813"/>
                      <a:gd name="connsiteX29" fmla="*/ 490085 w 2051014"/>
                      <a:gd name="connsiteY29" fmla="*/ 1566303 h 1674813"/>
                      <a:gd name="connsiteX30" fmla="*/ 282251 w 2051014"/>
                      <a:gd name="connsiteY30" fmla="*/ 1450142 h 1674813"/>
                      <a:gd name="connsiteX31" fmla="*/ 262458 w 2051014"/>
                      <a:gd name="connsiteY31" fmla="*/ 1603376 h 1674813"/>
                      <a:gd name="connsiteX32" fmla="*/ 86789 w 2051014"/>
                      <a:gd name="connsiteY32" fmla="*/ 1413069 h 1674813"/>
                      <a:gd name="connsiteX33" fmla="*/ 257509 w 2051014"/>
                      <a:gd name="connsiteY33" fmla="*/ 1153559 h 1674813"/>
                      <a:gd name="connsiteX34" fmla="*/ 101634 w 2051014"/>
                      <a:gd name="connsiteY34" fmla="*/ 1254892 h 1674813"/>
                      <a:gd name="connsiteX35" fmla="*/ 39779 w 2051014"/>
                      <a:gd name="connsiteY35" fmla="*/ 1205461 h 1674813"/>
                      <a:gd name="connsiteX36" fmla="*/ 106582 w 2051014"/>
                      <a:gd name="connsiteY36" fmla="*/ 1111543 h 1674813"/>
                      <a:gd name="connsiteX37" fmla="*/ 371323 w 2051014"/>
                      <a:gd name="connsiteY37" fmla="*/ 983024 h 1674813"/>
                      <a:gd name="connsiteX38" fmla="*/ 1072854 w 2051014"/>
                      <a:gd name="connsiteY38" fmla="*/ 958448 h 1674813"/>
                      <a:gd name="connsiteX39" fmla="*/ 872396 w 2051014"/>
                      <a:gd name="connsiteY39" fmla="*/ 1094310 h 1674813"/>
                      <a:gd name="connsiteX40" fmla="*/ 902093 w 2051014"/>
                      <a:gd name="connsiteY40" fmla="*/ 1148655 h 1674813"/>
                      <a:gd name="connsiteX41" fmla="*/ 909518 w 2051014"/>
                      <a:gd name="connsiteY41" fmla="*/ 1156066 h 1674813"/>
                      <a:gd name="connsiteX42" fmla="*/ 951589 w 2051014"/>
                      <a:gd name="connsiteY42" fmla="*/ 1156066 h 1674813"/>
                      <a:gd name="connsiteX43" fmla="*/ 1020883 w 2051014"/>
                      <a:gd name="connsiteY43" fmla="*/ 1116542 h 1674813"/>
                      <a:gd name="connsiteX44" fmla="*/ 1087703 w 2051014"/>
                      <a:gd name="connsiteY44" fmla="*/ 1079489 h 1674813"/>
                      <a:gd name="connsiteX45" fmla="*/ 1072854 w 2051014"/>
                      <a:gd name="connsiteY45" fmla="*/ 958448 h 1674813"/>
                      <a:gd name="connsiteX46" fmla="*/ 294376 w 2051014"/>
                      <a:gd name="connsiteY46" fmla="*/ 654981 h 1674813"/>
                      <a:gd name="connsiteX47" fmla="*/ 385303 w 2051014"/>
                      <a:gd name="connsiteY47" fmla="*/ 692078 h 1674813"/>
                      <a:gd name="connsiteX48" fmla="*/ 516603 w 2051014"/>
                      <a:gd name="connsiteY48" fmla="*/ 805488 h 1674813"/>
                      <a:gd name="connsiteX49" fmla="*/ 541376 w 2051014"/>
                      <a:gd name="connsiteY49" fmla="*/ 840004 h 1674813"/>
                      <a:gd name="connsiteX50" fmla="*/ 526512 w 2051014"/>
                      <a:gd name="connsiteY50" fmla="*/ 869590 h 1674813"/>
                      <a:gd name="connsiteX51" fmla="*/ 496784 w 2051014"/>
                      <a:gd name="connsiteY51" fmla="*/ 879451 h 1674813"/>
                      <a:gd name="connsiteX52" fmla="*/ 372916 w 2051014"/>
                      <a:gd name="connsiteY52" fmla="*/ 911502 h 1674813"/>
                      <a:gd name="connsiteX53" fmla="*/ 338233 w 2051014"/>
                      <a:gd name="connsiteY53" fmla="*/ 936157 h 1674813"/>
                      <a:gd name="connsiteX54" fmla="*/ 382825 w 2051014"/>
                      <a:gd name="connsiteY54" fmla="*/ 946018 h 1674813"/>
                      <a:gd name="connsiteX55" fmla="*/ 360529 w 2051014"/>
                      <a:gd name="connsiteY55" fmla="*/ 963276 h 1674813"/>
                      <a:gd name="connsiteX56" fmla="*/ 251526 w 2051014"/>
                      <a:gd name="connsiteY56" fmla="*/ 943553 h 1674813"/>
                      <a:gd name="connsiteX57" fmla="*/ 73156 w 2051014"/>
                      <a:gd name="connsiteY57" fmla="*/ 807954 h 1674813"/>
                      <a:gd name="connsiteX58" fmla="*/ 6268 w 2051014"/>
                      <a:gd name="connsiteY58" fmla="*/ 729060 h 1674813"/>
                      <a:gd name="connsiteX59" fmla="*/ 3790 w 2051014"/>
                      <a:gd name="connsiteY59" fmla="*/ 699474 h 1674813"/>
                      <a:gd name="connsiteX60" fmla="*/ 21132 w 2051014"/>
                      <a:gd name="connsiteY60" fmla="*/ 692078 h 1674813"/>
                      <a:gd name="connsiteX61" fmla="*/ 157386 w 2051014"/>
                      <a:gd name="connsiteY61" fmla="*/ 664958 h 1674813"/>
                      <a:gd name="connsiteX62" fmla="*/ 236662 w 2051014"/>
                      <a:gd name="connsiteY62" fmla="*/ 660027 h 1674813"/>
                      <a:gd name="connsiteX63" fmla="*/ 258958 w 2051014"/>
                      <a:gd name="connsiteY63" fmla="*/ 657562 h 1674813"/>
                      <a:gd name="connsiteX64" fmla="*/ 294376 w 2051014"/>
                      <a:gd name="connsiteY64" fmla="*/ 654981 h 1674813"/>
                      <a:gd name="connsiteX65" fmla="*/ 1033257 w 2051014"/>
                      <a:gd name="connsiteY65" fmla="*/ 195148 h 1674813"/>
                      <a:gd name="connsiteX66" fmla="*/ 1038207 w 2051014"/>
                      <a:gd name="connsiteY66" fmla="*/ 402647 h 1674813"/>
                      <a:gd name="connsiteX67" fmla="*/ 1050581 w 2051014"/>
                      <a:gd name="connsiteY67" fmla="*/ 343361 h 1674813"/>
                      <a:gd name="connsiteX68" fmla="*/ 1050581 w 2051014"/>
                      <a:gd name="connsiteY68" fmla="*/ 335951 h 1674813"/>
                      <a:gd name="connsiteX69" fmla="*/ 1040682 w 2051014"/>
                      <a:gd name="connsiteY69" fmla="*/ 212439 h 1674813"/>
                      <a:gd name="connsiteX70" fmla="*/ 1033257 w 2051014"/>
                      <a:gd name="connsiteY70" fmla="*/ 195148 h 1674813"/>
                      <a:gd name="connsiteX71" fmla="*/ 1040682 w 2051014"/>
                      <a:gd name="connsiteY71" fmla="*/ 0 h 1674813"/>
                      <a:gd name="connsiteX72" fmla="*/ 1053055 w 2051014"/>
                      <a:gd name="connsiteY72" fmla="*/ 2470 h 1674813"/>
                      <a:gd name="connsiteX73" fmla="*/ 1152047 w 2051014"/>
                      <a:gd name="connsiteY73" fmla="*/ 61756 h 1674813"/>
                      <a:gd name="connsiteX74" fmla="*/ 1278261 w 2051014"/>
                      <a:gd name="connsiteY74" fmla="*/ 153154 h 1674813"/>
                      <a:gd name="connsiteX75" fmla="*/ 1332707 w 2051014"/>
                      <a:gd name="connsiteY75" fmla="*/ 182797 h 1674813"/>
                      <a:gd name="connsiteX76" fmla="*/ 1476244 w 2051014"/>
                      <a:gd name="connsiteY76" fmla="*/ 293957 h 1674813"/>
                      <a:gd name="connsiteX77" fmla="*/ 1491093 w 2051014"/>
                      <a:gd name="connsiteY77" fmla="*/ 316189 h 1674813"/>
                      <a:gd name="connsiteX78" fmla="*/ 1488618 w 2051014"/>
                      <a:gd name="connsiteY78" fmla="*/ 321129 h 1674813"/>
                      <a:gd name="connsiteX79" fmla="*/ 1444072 w 2051014"/>
                      <a:gd name="connsiteY79" fmla="*/ 306308 h 1674813"/>
                      <a:gd name="connsiteX80" fmla="*/ 1421799 w 2051014"/>
                      <a:gd name="connsiteY80" fmla="*/ 345831 h 1674813"/>
                      <a:gd name="connsiteX81" fmla="*/ 1409425 w 2051014"/>
                      <a:gd name="connsiteY81" fmla="*/ 370534 h 1674813"/>
                      <a:gd name="connsiteX82" fmla="*/ 1394576 w 2051014"/>
                      <a:gd name="connsiteY82" fmla="*/ 419938 h 1674813"/>
                      <a:gd name="connsiteX83" fmla="*/ 1392102 w 2051014"/>
                      <a:gd name="connsiteY83" fmla="*/ 429819 h 1674813"/>
                      <a:gd name="connsiteX84" fmla="*/ 1382202 w 2051014"/>
                      <a:gd name="connsiteY84" fmla="*/ 489105 h 1674813"/>
                      <a:gd name="connsiteX85" fmla="*/ 1374778 w 2051014"/>
                      <a:gd name="connsiteY85" fmla="*/ 543449 h 1674813"/>
                      <a:gd name="connsiteX86" fmla="*/ 1503467 w 2051014"/>
                      <a:gd name="connsiteY86" fmla="*/ 595324 h 1674813"/>
                      <a:gd name="connsiteX87" fmla="*/ 1788068 w 2051014"/>
                      <a:gd name="connsiteY87" fmla="*/ 758359 h 1674813"/>
                      <a:gd name="connsiteX88" fmla="*/ 1983576 w 2051014"/>
                      <a:gd name="connsiteY88" fmla="*/ 943626 h 1674813"/>
                      <a:gd name="connsiteX89" fmla="*/ 2040496 w 2051014"/>
                      <a:gd name="connsiteY89" fmla="*/ 1025144 h 1674813"/>
                      <a:gd name="connsiteX90" fmla="*/ 2042971 w 2051014"/>
                      <a:gd name="connsiteY90" fmla="*/ 1096780 h 1674813"/>
                      <a:gd name="connsiteX91" fmla="*/ 2045446 w 2051014"/>
                      <a:gd name="connsiteY91" fmla="*/ 1114072 h 1674813"/>
                      <a:gd name="connsiteX92" fmla="*/ 2042971 w 2051014"/>
                      <a:gd name="connsiteY92" fmla="*/ 1126423 h 1674813"/>
                      <a:gd name="connsiteX93" fmla="*/ 1934080 w 2051014"/>
                      <a:gd name="connsiteY93" fmla="*/ 1353684 h 1674813"/>
                      <a:gd name="connsiteX94" fmla="*/ 1815291 w 2051014"/>
                      <a:gd name="connsiteY94" fmla="*/ 1551302 h 1674813"/>
                      <a:gd name="connsiteX95" fmla="*/ 1721249 w 2051014"/>
                      <a:gd name="connsiteY95" fmla="*/ 1669873 h 1674813"/>
                      <a:gd name="connsiteX96" fmla="*/ 1713824 w 2051014"/>
                      <a:gd name="connsiteY96" fmla="*/ 1674813 h 1674813"/>
                      <a:gd name="connsiteX97" fmla="*/ 1763320 w 2051014"/>
                      <a:gd name="connsiteY97" fmla="*/ 1578474 h 1674813"/>
                      <a:gd name="connsiteX98" fmla="*/ 1708875 w 2051014"/>
                      <a:gd name="connsiteY98" fmla="*/ 1650111 h 1674813"/>
                      <a:gd name="connsiteX99" fmla="*/ 1731148 w 2051014"/>
                      <a:gd name="connsiteY99" fmla="*/ 1561183 h 1674813"/>
                      <a:gd name="connsiteX100" fmla="*/ 1671753 w 2051014"/>
                      <a:gd name="connsiteY100" fmla="*/ 1613058 h 1674813"/>
                      <a:gd name="connsiteX101" fmla="*/ 1686602 w 2051014"/>
                      <a:gd name="connsiteY101" fmla="*/ 1524129 h 1674813"/>
                      <a:gd name="connsiteX102" fmla="*/ 1671753 w 2051014"/>
                      <a:gd name="connsiteY102" fmla="*/ 1536481 h 1674813"/>
                      <a:gd name="connsiteX103" fmla="*/ 1595034 w 2051014"/>
                      <a:gd name="connsiteY103" fmla="*/ 1620468 h 1674813"/>
                      <a:gd name="connsiteX104" fmla="*/ 1548013 w 2051014"/>
                      <a:gd name="connsiteY104" fmla="*/ 1642700 h 1674813"/>
                      <a:gd name="connsiteX105" fmla="*/ 1471295 w 2051014"/>
                      <a:gd name="connsiteY105" fmla="*/ 1640230 h 1674813"/>
                      <a:gd name="connsiteX106" fmla="*/ 1426749 w 2051014"/>
                      <a:gd name="connsiteY106" fmla="*/ 1632819 h 1674813"/>
                      <a:gd name="connsiteX107" fmla="*/ 1354980 w 2051014"/>
                      <a:gd name="connsiteY107" fmla="*/ 1610587 h 1674813"/>
                      <a:gd name="connsiteX108" fmla="*/ 1295585 w 2051014"/>
                      <a:gd name="connsiteY108" fmla="*/ 1583415 h 1674813"/>
                      <a:gd name="connsiteX109" fmla="*/ 1288160 w 2051014"/>
                      <a:gd name="connsiteY109" fmla="*/ 1561183 h 1674813"/>
                      <a:gd name="connsiteX110" fmla="*/ 1305484 w 2051014"/>
                      <a:gd name="connsiteY110" fmla="*/ 1536481 h 1674813"/>
                      <a:gd name="connsiteX111" fmla="*/ 1342606 w 2051014"/>
                      <a:gd name="connsiteY111" fmla="*/ 1457433 h 1674813"/>
                      <a:gd name="connsiteX112" fmla="*/ 1340131 w 2051014"/>
                      <a:gd name="connsiteY112" fmla="*/ 1447552 h 1674813"/>
                      <a:gd name="connsiteX113" fmla="*/ 1295585 w 2051014"/>
                      <a:gd name="connsiteY113" fmla="*/ 1477195 h 1674813"/>
                      <a:gd name="connsiteX114" fmla="*/ 1260938 w 2051014"/>
                      <a:gd name="connsiteY114" fmla="*/ 1487076 h 1674813"/>
                      <a:gd name="connsiteX115" fmla="*/ 1196593 w 2051014"/>
                      <a:gd name="connsiteY115" fmla="*/ 1496957 h 1674813"/>
                      <a:gd name="connsiteX116" fmla="*/ 1152047 w 2051014"/>
                      <a:gd name="connsiteY116" fmla="*/ 1501897 h 1674813"/>
                      <a:gd name="connsiteX117" fmla="*/ 1137198 w 2051014"/>
                      <a:gd name="connsiteY117" fmla="*/ 1484606 h 1674813"/>
                      <a:gd name="connsiteX118" fmla="*/ 1142148 w 2051014"/>
                      <a:gd name="connsiteY118" fmla="*/ 1447552 h 1674813"/>
                      <a:gd name="connsiteX119" fmla="*/ 1186694 w 2051014"/>
                      <a:gd name="connsiteY119" fmla="*/ 1435201 h 1674813"/>
                      <a:gd name="connsiteX120" fmla="*/ 1154522 w 2051014"/>
                      <a:gd name="connsiteY120" fmla="*/ 1408029 h 1674813"/>
                      <a:gd name="connsiteX121" fmla="*/ 1010984 w 2051014"/>
                      <a:gd name="connsiteY121" fmla="*/ 1277107 h 1674813"/>
                      <a:gd name="connsiteX122" fmla="*/ 997992 w 2051014"/>
                      <a:gd name="connsiteY122" fmla="*/ 1261668 h 1674813"/>
                      <a:gd name="connsiteX123" fmla="*/ 997474 w 2051014"/>
                      <a:gd name="connsiteY123" fmla="*/ 1256324 h 1674813"/>
                      <a:gd name="connsiteX124" fmla="*/ 994895 w 2051014"/>
                      <a:gd name="connsiteY124" fmla="*/ 1254703 h 1674813"/>
                      <a:gd name="connsiteX125" fmla="*/ 997243 w 2051014"/>
                      <a:gd name="connsiteY125" fmla="*/ 1253947 h 1674813"/>
                      <a:gd name="connsiteX126" fmla="*/ 996135 w 2051014"/>
                      <a:gd name="connsiteY126" fmla="*/ 1242524 h 1674813"/>
                      <a:gd name="connsiteX127" fmla="*/ 996135 w 2051014"/>
                      <a:gd name="connsiteY127" fmla="*/ 1227702 h 1674813"/>
                      <a:gd name="connsiteX128" fmla="*/ 978812 w 2051014"/>
                      <a:gd name="connsiteY128" fmla="*/ 1207941 h 1674813"/>
                      <a:gd name="connsiteX129" fmla="*/ 956539 w 2051014"/>
                      <a:gd name="connsiteY129" fmla="*/ 1230173 h 1674813"/>
                      <a:gd name="connsiteX130" fmla="*/ 919417 w 2051014"/>
                      <a:gd name="connsiteY130" fmla="*/ 1264756 h 1674813"/>
                      <a:gd name="connsiteX131" fmla="*/ 902093 w 2051014"/>
                      <a:gd name="connsiteY131" fmla="*/ 1267226 h 1674813"/>
                      <a:gd name="connsiteX132" fmla="*/ 902093 w 2051014"/>
                      <a:gd name="connsiteY132" fmla="*/ 1316630 h 1674813"/>
                      <a:gd name="connsiteX133" fmla="*/ 897144 w 2051014"/>
                      <a:gd name="connsiteY133" fmla="*/ 1375916 h 1674813"/>
                      <a:gd name="connsiteX134" fmla="*/ 894669 w 2051014"/>
                      <a:gd name="connsiteY134" fmla="*/ 1405559 h 1674813"/>
                      <a:gd name="connsiteX135" fmla="*/ 889719 w 2051014"/>
                      <a:gd name="connsiteY135" fmla="*/ 1427791 h 1674813"/>
                      <a:gd name="connsiteX136" fmla="*/ 862497 w 2051014"/>
                      <a:gd name="connsiteY136" fmla="*/ 1452493 h 1674813"/>
                      <a:gd name="connsiteX137" fmla="*/ 845173 w 2051014"/>
                      <a:gd name="connsiteY137" fmla="*/ 1445082 h 1674813"/>
                      <a:gd name="connsiteX138" fmla="*/ 803102 w 2051014"/>
                      <a:gd name="connsiteY138" fmla="*/ 1417910 h 1674813"/>
                      <a:gd name="connsiteX139" fmla="*/ 778354 w 2051014"/>
                      <a:gd name="connsiteY139" fmla="*/ 1432731 h 1674813"/>
                      <a:gd name="connsiteX140" fmla="*/ 780829 w 2051014"/>
                      <a:gd name="connsiteY140" fmla="*/ 1454963 h 1674813"/>
                      <a:gd name="connsiteX141" fmla="*/ 785778 w 2051014"/>
                      <a:gd name="connsiteY141" fmla="*/ 1472255 h 1674813"/>
                      <a:gd name="connsiteX142" fmla="*/ 763505 w 2051014"/>
                      <a:gd name="connsiteY142" fmla="*/ 1487076 h 1674813"/>
                      <a:gd name="connsiteX143" fmla="*/ 716484 w 2051014"/>
                      <a:gd name="connsiteY143" fmla="*/ 1482136 h 1674813"/>
                      <a:gd name="connsiteX144" fmla="*/ 610068 w 2051014"/>
                      <a:gd name="connsiteY144" fmla="*/ 1361095 h 1674813"/>
                      <a:gd name="connsiteX145" fmla="*/ 590270 w 2051014"/>
                      <a:gd name="connsiteY145" fmla="*/ 1296869 h 1674813"/>
                      <a:gd name="connsiteX146" fmla="*/ 595219 w 2051014"/>
                      <a:gd name="connsiteY146" fmla="*/ 1175828 h 1674813"/>
                      <a:gd name="connsiteX147" fmla="*/ 607593 w 2051014"/>
                      <a:gd name="connsiteY147" fmla="*/ 1158536 h 1674813"/>
                      <a:gd name="connsiteX148" fmla="*/ 654614 w 2051014"/>
                      <a:gd name="connsiteY148" fmla="*/ 1131364 h 1674813"/>
                      <a:gd name="connsiteX149" fmla="*/ 669463 w 2051014"/>
                      <a:gd name="connsiteY149" fmla="*/ 1104191 h 1674813"/>
                      <a:gd name="connsiteX150" fmla="*/ 679362 w 2051014"/>
                      <a:gd name="connsiteY150" fmla="*/ 1010322 h 1674813"/>
                      <a:gd name="connsiteX151" fmla="*/ 681837 w 2051014"/>
                      <a:gd name="connsiteY151" fmla="*/ 886811 h 1674813"/>
                      <a:gd name="connsiteX152" fmla="*/ 679362 w 2051014"/>
                      <a:gd name="connsiteY152" fmla="*/ 847288 h 1674813"/>
                      <a:gd name="connsiteX153" fmla="*/ 674413 w 2051014"/>
                      <a:gd name="connsiteY153" fmla="*/ 800353 h 1674813"/>
                      <a:gd name="connsiteX154" fmla="*/ 657089 w 2051014"/>
                      <a:gd name="connsiteY154" fmla="*/ 681782 h 1674813"/>
                      <a:gd name="connsiteX155" fmla="*/ 639766 w 2051014"/>
                      <a:gd name="connsiteY155" fmla="*/ 560741 h 1674813"/>
                      <a:gd name="connsiteX156" fmla="*/ 644715 w 2051014"/>
                      <a:gd name="connsiteY156" fmla="*/ 518747 h 1674813"/>
                      <a:gd name="connsiteX157" fmla="*/ 676887 w 2051014"/>
                      <a:gd name="connsiteY157" fmla="*/ 526158 h 1674813"/>
                      <a:gd name="connsiteX158" fmla="*/ 822900 w 2051014"/>
                      <a:gd name="connsiteY158" fmla="*/ 644729 h 1674813"/>
                      <a:gd name="connsiteX159" fmla="*/ 872396 w 2051014"/>
                      <a:gd name="connsiteY159" fmla="*/ 706485 h 1674813"/>
                      <a:gd name="connsiteX160" fmla="*/ 882295 w 2051014"/>
                      <a:gd name="connsiteY160" fmla="*/ 743538 h 1674813"/>
                      <a:gd name="connsiteX161" fmla="*/ 862497 w 2051014"/>
                      <a:gd name="connsiteY161" fmla="*/ 748479 h 1674813"/>
                      <a:gd name="connsiteX162" fmla="*/ 867446 w 2051014"/>
                      <a:gd name="connsiteY162" fmla="*/ 768240 h 1674813"/>
                      <a:gd name="connsiteX163" fmla="*/ 864971 w 2051014"/>
                      <a:gd name="connsiteY163" fmla="*/ 770711 h 1674813"/>
                      <a:gd name="connsiteX164" fmla="*/ 850123 w 2051014"/>
                      <a:gd name="connsiteY164" fmla="*/ 750949 h 1674813"/>
                      <a:gd name="connsiteX165" fmla="*/ 845173 w 2051014"/>
                      <a:gd name="connsiteY165" fmla="*/ 753419 h 1674813"/>
                      <a:gd name="connsiteX166" fmla="*/ 850123 w 2051014"/>
                      <a:gd name="connsiteY166" fmla="*/ 785532 h 1674813"/>
                      <a:gd name="connsiteX167" fmla="*/ 860022 w 2051014"/>
                      <a:gd name="connsiteY167" fmla="*/ 891752 h 1674813"/>
                      <a:gd name="connsiteX168" fmla="*/ 852598 w 2051014"/>
                      <a:gd name="connsiteY168" fmla="*/ 936216 h 1674813"/>
                      <a:gd name="connsiteX169" fmla="*/ 867446 w 2051014"/>
                      <a:gd name="connsiteY169" fmla="*/ 928805 h 1674813"/>
                      <a:gd name="connsiteX170" fmla="*/ 941690 w 2051014"/>
                      <a:gd name="connsiteY170" fmla="*/ 874460 h 1674813"/>
                      <a:gd name="connsiteX171" fmla="*/ 1030782 w 2051014"/>
                      <a:gd name="connsiteY171" fmla="*/ 807764 h 1674813"/>
                      <a:gd name="connsiteX172" fmla="*/ 1045631 w 2051014"/>
                      <a:gd name="connsiteY172" fmla="*/ 775651 h 1674813"/>
                      <a:gd name="connsiteX173" fmla="*/ 1025833 w 2051014"/>
                      <a:gd name="connsiteY173" fmla="*/ 595324 h 1674813"/>
                      <a:gd name="connsiteX174" fmla="*/ 991186 w 2051014"/>
                      <a:gd name="connsiteY174" fmla="*/ 368063 h 1674813"/>
                      <a:gd name="connsiteX175" fmla="*/ 976337 w 2051014"/>
                      <a:gd name="connsiteY175" fmla="*/ 224790 h 1674813"/>
                      <a:gd name="connsiteX176" fmla="*/ 986236 w 2051014"/>
                      <a:gd name="connsiteY176" fmla="*/ 83988 h 1674813"/>
                      <a:gd name="connsiteX177" fmla="*/ 988711 w 2051014"/>
                      <a:gd name="connsiteY177" fmla="*/ 61756 h 1674813"/>
                      <a:gd name="connsiteX178" fmla="*/ 1035732 w 2051014"/>
                      <a:gd name="connsiteY178" fmla="*/ 12351 h 1674813"/>
                      <a:gd name="connsiteX179" fmla="*/ 1040682 w 2051014"/>
                      <a:gd name="connsiteY179" fmla="*/ 0 h 1674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</a:cxnLst>
                    <a:rect l="l" t="t" r="r" b="b"/>
                    <a:pathLst>
                      <a:path w="2051014" h="1674813">
                        <a:moveTo>
                          <a:pt x="1084317" y="1449027"/>
                        </a:moveTo>
                        <a:cubicBezTo>
                          <a:pt x="1089278" y="1449027"/>
                          <a:pt x="1094859" y="1450254"/>
                          <a:pt x="1106021" y="1452707"/>
                        </a:cubicBezTo>
                        <a:cubicBezTo>
                          <a:pt x="1101060" y="1469881"/>
                          <a:pt x="1098580" y="1474788"/>
                          <a:pt x="1083697" y="1464974"/>
                        </a:cubicBezTo>
                        <a:cubicBezTo>
                          <a:pt x="1078736" y="1462521"/>
                          <a:pt x="1073775" y="1457614"/>
                          <a:pt x="1066333" y="1452707"/>
                        </a:cubicBezTo>
                        <a:cubicBezTo>
                          <a:pt x="1075015" y="1450254"/>
                          <a:pt x="1079356" y="1449027"/>
                          <a:pt x="1084317" y="1449027"/>
                        </a:cubicBezTo>
                        <a:close/>
                        <a:moveTo>
                          <a:pt x="1105026" y="1235113"/>
                        </a:moveTo>
                        <a:lnTo>
                          <a:pt x="1057882" y="1250172"/>
                        </a:lnTo>
                        <a:lnTo>
                          <a:pt x="1059197" y="1259916"/>
                        </a:lnTo>
                        <a:lnTo>
                          <a:pt x="1057943" y="1264099"/>
                        </a:lnTo>
                        <a:lnTo>
                          <a:pt x="1062955" y="1267226"/>
                        </a:lnTo>
                        <a:cubicBezTo>
                          <a:pt x="1075329" y="1274637"/>
                          <a:pt x="1090177" y="1289458"/>
                          <a:pt x="1102551" y="1279577"/>
                        </a:cubicBezTo>
                        <a:cubicBezTo>
                          <a:pt x="1112450" y="1269696"/>
                          <a:pt x="1109976" y="1252405"/>
                          <a:pt x="1105026" y="1235113"/>
                        </a:cubicBezTo>
                        <a:close/>
                        <a:moveTo>
                          <a:pt x="879820" y="1148655"/>
                        </a:moveTo>
                        <a:cubicBezTo>
                          <a:pt x="877345" y="1170887"/>
                          <a:pt x="879820" y="1183238"/>
                          <a:pt x="892194" y="1195589"/>
                        </a:cubicBezTo>
                        <a:cubicBezTo>
                          <a:pt x="897144" y="1190649"/>
                          <a:pt x="904568" y="1185709"/>
                          <a:pt x="907043" y="1183238"/>
                        </a:cubicBezTo>
                        <a:cubicBezTo>
                          <a:pt x="897144" y="1170887"/>
                          <a:pt x="889719" y="1163476"/>
                          <a:pt x="879820" y="1148655"/>
                        </a:cubicBezTo>
                        <a:close/>
                        <a:moveTo>
                          <a:pt x="1540589" y="1106661"/>
                        </a:moveTo>
                        <a:cubicBezTo>
                          <a:pt x="1525740" y="1111602"/>
                          <a:pt x="1518316" y="1114072"/>
                          <a:pt x="1508417" y="1116542"/>
                        </a:cubicBezTo>
                        <a:cubicBezTo>
                          <a:pt x="1476244" y="1128893"/>
                          <a:pt x="1444072" y="1143715"/>
                          <a:pt x="1406950" y="1148655"/>
                        </a:cubicBezTo>
                        <a:cubicBezTo>
                          <a:pt x="1384677" y="1153596"/>
                          <a:pt x="1362404" y="1163476"/>
                          <a:pt x="1340131" y="1173357"/>
                        </a:cubicBezTo>
                        <a:cubicBezTo>
                          <a:pt x="1335181" y="1175828"/>
                          <a:pt x="1330232" y="1183238"/>
                          <a:pt x="1330232" y="1188179"/>
                        </a:cubicBezTo>
                        <a:cubicBezTo>
                          <a:pt x="1330232" y="1210411"/>
                          <a:pt x="1330232" y="1230173"/>
                          <a:pt x="1332707" y="1249934"/>
                        </a:cubicBezTo>
                        <a:cubicBezTo>
                          <a:pt x="1332707" y="1262286"/>
                          <a:pt x="1335181" y="1272166"/>
                          <a:pt x="1337656" y="1284518"/>
                        </a:cubicBezTo>
                        <a:cubicBezTo>
                          <a:pt x="1340131" y="1304279"/>
                          <a:pt x="1342606" y="1324041"/>
                          <a:pt x="1345081" y="1343803"/>
                        </a:cubicBezTo>
                        <a:cubicBezTo>
                          <a:pt x="1424274" y="1277107"/>
                          <a:pt x="1486144" y="1198060"/>
                          <a:pt x="1540589" y="1106661"/>
                        </a:cubicBezTo>
                        <a:close/>
                        <a:moveTo>
                          <a:pt x="371323" y="983024"/>
                        </a:moveTo>
                        <a:cubicBezTo>
                          <a:pt x="440601" y="973138"/>
                          <a:pt x="472766" y="1039869"/>
                          <a:pt x="467817" y="1074471"/>
                        </a:cubicBezTo>
                        <a:cubicBezTo>
                          <a:pt x="462869" y="1111543"/>
                          <a:pt x="212973" y="1309265"/>
                          <a:pt x="217922" y="1353753"/>
                        </a:cubicBezTo>
                        <a:cubicBezTo>
                          <a:pt x="225344" y="1400711"/>
                          <a:pt x="457920" y="1188161"/>
                          <a:pt x="517301" y="1198047"/>
                        </a:cubicBezTo>
                        <a:cubicBezTo>
                          <a:pt x="574208" y="1207933"/>
                          <a:pt x="544518" y="1541588"/>
                          <a:pt x="490085" y="1566303"/>
                        </a:cubicBezTo>
                        <a:cubicBezTo>
                          <a:pt x="438127" y="1588547"/>
                          <a:pt x="306993" y="1514401"/>
                          <a:pt x="282251" y="1450142"/>
                        </a:cubicBezTo>
                        <a:cubicBezTo>
                          <a:pt x="255035" y="1385882"/>
                          <a:pt x="262458" y="1603376"/>
                          <a:pt x="262458" y="1603376"/>
                        </a:cubicBezTo>
                        <a:cubicBezTo>
                          <a:pt x="262458" y="1603376"/>
                          <a:pt x="66995" y="1519344"/>
                          <a:pt x="86789" y="1413069"/>
                        </a:cubicBezTo>
                        <a:cubicBezTo>
                          <a:pt x="89263" y="1403183"/>
                          <a:pt x="158541" y="1262306"/>
                          <a:pt x="257509" y="1153559"/>
                        </a:cubicBezTo>
                        <a:cubicBezTo>
                          <a:pt x="257509" y="1153559"/>
                          <a:pt x="148644" y="1269721"/>
                          <a:pt x="101634" y="1254892"/>
                        </a:cubicBezTo>
                        <a:cubicBezTo>
                          <a:pt x="89263" y="1252420"/>
                          <a:pt x="54624" y="1254892"/>
                          <a:pt x="39779" y="1205461"/>
                        </a:cubicBezTo>
                        <a:cubicBezTo>
                          <a:pt x="24933" y="1158502"/>
                          <a:pt x="106582" y="1111543"/>
                          <a:pt x="106582" y="1111543"/>
                        </a:cubicBezTo>
                        <a:cubicBezTo>
                          <a:pt x="106582" y="1111543"/>
                          <a:pt x="299571" y="992910"/>
                          <a:pt x="371323" y="983024"/>
                        </a:cubicBezTo>
                        <a:close/>
                        <a:moveTo>
                          <a:pt x="1072854" y="958448"/>
                        </a:moveTo>
                        <a:cubicBezTo>
                          <a:pt x="1003560" y="1005382"/>
                          <a:pt x="936740" y="1049846"/>
                          <a:pt x="872396" y="1094310"/>
                        </a:cubicBezTo>
                        <a:cubicBezTo>
                          <a:pt x="869921" y="1121483"/>
                          <a:pt x="879820" y="1138774"/>
                          <a:pt x="902093" y="1148655"/>
                        </a:cubicBezTo>
                        <a:cubicBezTo>
                          <a:pt x="904568" y="1151125"/>
                          <a:pt x="907043" y="1153596"/>
                          <a:pt x="909518" y="1156066"/>
                        </a:cubicBezTo>
                        <a:cubicBezTo>
                          <a:pt x="929316" y="1168417"/>
                          <a:pt x="931791" y="1168417"/>
                          <a:pt x="951589" y="1156066"/>
                        </a:cubicBezTo>
                        <a:cubicBezTo>
                          <a:pt x="973862" y="1141244"/>
                          <a:pt x="993661" y="1123953"/>
                          <a:pt x="1020883" y="1116542"/>
                        </a:cubicBezTo>
                        <a:cubicBezTo>
                          <a:pt x="1045631" y="1106661"/>
                          <a:pt x="1062955" y="1089370"/>
                          <a:pt x="1087703" y="1079489"/>
                        </a:cubicBezTo>
                        <a:cubicBezTo>
                          <a:pt x="1082753" y="1039965"/>
                          <a:pt x="1080278" y="1002912"/>
                          <a:pt x="1072854" y="958448"/>
                        </a:cubicBezTo>
                        <a:close/>
                        <a:moveTo>
                          <a:pt x="294376" y="654981"/>
                        </a:moveTo>
                        <a:cubicBezTo>
                          <a:pt x="328169" y="656946"/>
                          <a:pt x="357433" y="671738"/>
                          <a:pt x="385303" y="692078"/>
                        </a:cubicBezTo>
                        <a:cubicBezTo>
                          <a:pt x="434850" y="724129"/>
                          <a:pt x="479442" y="761110"/>
                          <a:pt x="516603" y="805488"/>
                        </a:cubicBezTo>
                        <a:cubicBezTo>
                          <a:pt x="526512" y="815350"/>
                          <a:pt x="533944" y="827677"/>
                          <a:pt x="541376" y="840004"/>
                        </a:cubicBezTo>
                        <a:cubicBezTo>
                          <a:pt x="548808" y="857262"/>
                          <a:pt x="546331" y="864659"/>
                          <a:pt x="526512" y="869590"/>
                        </a:cubicBezTo>
                        <a:cubicBezTo>
                          <a:pt x="516603" y="874521"/>
                          <a:pt x="506693" y="876986"/>
                          <a:pt x="496784" y="879451"/>
                        </a:cubicBezTo>
                        <a:cubicBezTo>
                          <a:pt x="454669" y="889313"/>
                          <a:pt x="415031" y="899175"/>
                          <a:pt x="372916" y="911502"/>
                        </a:cubicBezTo>
                        <a:cubicBezTo>
                          <a:pt x="358052" y="913968"/>
                          <a:pt x="348143" y="923829"/>
                          <a:pt x="338233" y="936157"/>
                        </a:cubicBezTo>
                        <a:cubicBezTo>
                          <a:pt x="355575" y="941087"/>
                          <a:pt x="367961" y="943553"/>
                          <a:pt x="382825" y="946018"/>
                        </a:cubicBezTo>
                        <a:cubicBezTo>
                          <a:pt x="377871" y="958346"/>
                          <a:pt x="370439" y="960811"/>
                          <a:pt x="360529" y="963276"/>
                        </a:cubicBezTo>
                        <a:cubicBezTo>
                          <a:pt x="323369" y="973138"/>
                          <a:pt x="286209" y="960811"/>
                          <a:pt x="251526" y="943553"/>
                        </a:cubicBezTo>
                        <a:cubicBezTo>
                          <a:pt x="184637" y="909037"/>
                          <a:pt x="127658" y="859728"/>
                          <a:pt x="73156" y="807954"/>
                        </a:cubicBezTo>
                        <a:cubicBezTo>
                          <a:pt x="48383" y="783299"/>
                          <a:pt x="23609" y="758645"/>
                          <a:pt x="6268" y="729060"/>
                        </a:cubicBezTo>
                        <a:cubicBezTo>
                          <a:pt x="1313" y="719198"/>
                          <a:pt x="-3642" y="711802"/>
                          <a:pt x="3790" y="699474"/>
                        </a:cubicBezTo>
                        <a:cubicBezTo>
                          <a:pt x="8745" y="697009"/>
                          <a:pt x="13700" y="692078"/>
                          <a:pt x="21132" y="692078"/>
                        </a:cubicBezTo>
                        <a:cubicBezTo>
                          <a:pt x="65724" y="682216"/>
                          <a:pt x="112794" y="672355"/>
                          <a:pt x="157386" y="664958"/>
                        </a:cubicBezTo>
                        <a:cubicBezTo>
                          <a:pt x="184637" y="660027"/>
                          <a:pt x="209411" y="662493"/>
                          <a:pt x="236662" y="660027"/>
                        </a:cubicBezTo>
                        <a:cubicBezTo>
                          <a:pt x="244094" y="660027"/>
                          <a:pt x="251526" y="660027"/>
                          <a:pt x="258958" y="657562"/>
                        </a:cubicBezTo>
                        <a:cubicBezTo>
                          <a:pt x="271345" y="655096"/>
                          <a:pt x="283112" y="654326"/>
                          <a:pt x="294376" y="654981"/>
                        </a:cubicBezTo>
                        <a:close/>
                        <a:moveTo>
                          <a:pt x="1033257" y="195148"/>
                        </a:moveTo>
                        <a:cubicBezTo>
                          <a:pt x="1028308" y="247022"/>
                          <a:pt x="1015934" y="370534"/>
                          <a:pt x="1038207" y="402647"/>
                        </a:cubicBezTo>
                        <a:cubicBezTo>
                          <a:pt x="1043156" y="382885"/>
                          <a:pt x="1048106" y="363123"/>
                          <a:pt x="1050581" y="343361"/>
                        </a:cubicBezTo>
                        <a:cubicBezTo>
                          <a:pt x="1050581" y="340891"/>
                          <a:pt x="1050581" y="338421"/>
                          <a:pt x="1050581" y="335951"/>
                        </a:cubicBezTo>
                        <a:cubicBezTo>
                          <a:pt x="1048106" y="293957"/>
                          <a:pt x="1043156" y="254433"/>
                          <a:pt x="1040682" y="212439"/>
                        </a:cubicBezTo>
                        <a:cubicBezTo>
                          <a:pt x="1040682" y="207499"/>
                          <a:pt x="1035732" y="205029"/>
                          <a:pt x="1033257" y="195148"/>
                        </a:cubicBezTo>
                        <a:close/>
                        <a:moveTo>
                          <a:pt x="1040682" y="0"/>
                        </a:moveTo>
                        <a:cubicBezTo>
                          <a:pt x="1045631" y="0"/>
                          <a:pt x="1050581" y="0"/>
                          <a:pt x="1053055" y="2470"/>
                        </a:cubicBezTo>
                        <a:cubicBezTo>
                          <a:pt x="1085228" y="22232"/>
                          <a:pt x="1119875" y="39523"/>
                          <a:pt x="1152047" y="61756"/>
                        </a:cubicBezTo>
                        <a:cubicBezTo>
                          <a:pt x="1194118" y="88928"/>
                          <a:pt x="1236190" y="123511"/>
                          <a:pt x="1278261" y="153154"/>
                        </a:cubicBezTo>
                        <a:cubicBezTo>
                          <a:pt x="1295585" y="165505"/>
                          <a:pt x="1315383" y="175386"/>
                          <a:pt x="1332707" y="182797"/>
                        </a:cubicBezTo>
                        <a:cubicBezTo>
                          <a:pt x="1389627" y="209969"/>
                          <a:pt x="1436648" y="247022"/>
                          <a:pt x="1476244" y="293957"/>
                        </a:cubicBezTo>
                        <a:cubicBezTo>
                          <a:pt x="1483669" y="301367"/>
                          <a:pt x="1486144" y="308778"/>
                          <a:pt x="1491093" y="316189"/>
                        </a:cubicBezTo>
                        <a:cubicBezTo>
                          <a:pt x="1491093" y="318659"/>
                          <a:pt x="1488618" y="321129"/>
                          <a:pt x="1488618" y="321129"/>
                        </a:cubicBezTo>
                        <a:cubicBezTo>
                          <a:pt x="1476244" y="316189"/>
                          <a:pt x="1461396" y="311248"/>
                          <a:pt x="1444072" y="306308"/>
                        </a:cubicBezTo>
                        <a:cubicBezTo>
                          <a:pt x="1436648" y="318659"/>
                          <a:pt x="1429223" y="331010"/>
                          <a:pt x="1421799" y="345831"/>
                        </a:cubicBezTo>
                        <a:cubicBezTo>
                          <a:pt x="1416850" y="353242"/>
                          <a:pt x="1414375" y="363123"/>
                          <a:pt x="1409425" y="370534"/>
                        </a:cubicBezTo>
                        <a:cubicBezTo>
                          <a:pt x="1397051" y="385355"/>
                          <a:pt x="1389627" y="400176"/>
                          <a:pt x="1394576" y="419938"/>
                        </a:cubicBezTo>
                        <a:cubicBezTo>
                          <a:pt x="1394576" y="422408"/>
                          <a:pt x="1394576" y="427349"/>
                          <a:pt x="1392102" y="429819"/>
                        </a:cubicBezTo>
                        <a:cubicBezTo>
                          <a:pt x="1382202" y="447111"/>
                          <a:pt x="1382202" y="469343"/>
                          <a:pt x="1382202" y="489105"/>
                        </a:cubicBezTo>
                        <a:cubicBezTo>
                          <a:pt x="1379728" y="508866"/>
                          <a:pt x="1377253" y="526158"/>
                          <a:pt x="1374778" y="543449"/>
                        </a:cubicBezTo>
                        <a:cubicBezTo>
                          <a:pt x="1419324" y="560741"/>
                          <a:pt x="1461396" y="578033"/>
                          <a:pt x="1503467" y="595324"/>
                        </a:cubicBezTo>
                        <a:cubicBezTo>
                          <a:pt x="1604934" y="634848"/>
                          <a:pt x="1701450" y="689193"/>
                          <a:pt x="1788068" y="758359"/>
                        </a:cubicBezTo>
                        <a:cubicBezTo>
                          <a:pt x="1857362" y="815175"/>
                          <a:pt x="1924181" y="874460"/>
                          <a:pt x="1983576" y="943626"/>
                        </a:cubicBezTo>
                        <a:cubicBezTo>
                          <a:pt x="2005849" y="968329"/>
                          <a:pt x="2023173" y="995501"/>
                          <a:pt x="2040496" y="1025144"/>
                        </a:cubicBezTo>
                        <a:cubicBezTo>
                          <a:pt x="2055345" y="1047376"/>
                          <a:pt x="2052870" y="1072078"/>
                          <a:pt x="2042971" y="1096780"/>
                        </a:cubicBezTo>
                        <a:cubicBezTo>
                          <a:pt x="2040496" y="1101721"/>
                          <a:pt x="2030597" y="1109132"/>
                          <a:pt x="2045446" y="1114072"/>
                        </a:cubicBezTo>
                        <a:cubicBezTo>
                          <a:pt x="2045446" y="1114072"/>
                          <a:pt x="2042971" y="1121483"/>
                          <a:pt x="2042971" y="1126423"/>
                        </a:cubicBezTo>
                        <a:cubicBezTo>
                          <a:pt x="2005849" y="1203000"/>
                          <a:pt x="1971202" y="1279577"/>
                          <a:pt x="1934080" y="1353684"/>
                        </a:cubicBezTo>
                        <a:cubicBezTo>
                          <a:pt x="1899433" y="1422850"/>
                          <a:pt x="1862312" y="1489546"/>
                          <a:pt x="1815291" y="1551302"/>
                        </a:cubicBezTo>
                        <a:cubicBezTo>
                          <a:pt x="1785593" y="1590826"/>
                          <a:pt x="1753421" y="1630349"/>
                          <a:pt x="1721249" y="1669873"/>
                        </a:cubicBezTo>
                        <a:cubicBezTo>
                          <a:pt x="1718774" y="1672343"/>
                          <a:pt x="1716299" y="1672343"/>
                          <a:pt x="1713824" y="1674813"/>
                        </a:cubicBezTo>
                        <a:cubicBezTo>
                          <a:pt x="1728673" y="1640230"/>
                          <a:pt x="1750946" y="1613058"/>
                          <a:pt x="1763320" y="1578474"/>
                        </a:cubicBezTo>
                        <a:cubicBezTo>
                          <a:pt x="1736097" y="1595766"/>
                          <a:pt x="1728673" y="1627879"/>
                          <a:pt x="1708875" y="1650111"/>
                        </a:cubicBezTo>
                        <a:cubicBezTo>
                          <a:pt x="1711349" y="1620468"/>
                          <a:pt x="1733623" y="1595766"/>
                          <a:pt x="1731148" y="1561183"/>
                        </a:cubicBezTo>
                        <a:cubicBezTo>
                          <a:pt x="1703925" y="1568593"/>
                          <a:pt x="1698975" y="1603177"/>
                          <a:pt x="1671753" y="1613058"/>
                        </a:cubicBezTo>
                        <a:cubicBezTo>
                          <a:pt x="1664328" y="1580945"/>
                          <a:pt x="1694026" y="1558713"/>
                          <a:pt x="1686602" y="1524129"/>
                        </a:cubicBezTo>
                        <a:cubicBezTo>
                          <a:pt x="1679177" y="1529070"/>
                          <a:pt x="1674228" y="1534010"/>
                          <a:pt x="1671753" y="1536481"/>
                        </a:cubicBezTo>
                        <a:cubicBezTo>
                          <a:pt x="1649480" y="1568593"/>
                          <a:pt x="1624732" y="1595766"/>
                          <a:pt x="1595034" y="1620468"/>
                        </a:cubicBezTo>
                        <a:cubicBezTo>
                          <a:pt x="1580186" y="1632819"/>
                          <a:pt x="1565337" y="1640230"/>
                          <a:pt x="1548013" y="1642700"/>
                        </a:cubicBezTo>
                        <a:cubicBezTo>
                          <a:pt x="1523265" y="1642700"/>
                          <a:pt x="1496043" y="1645170"/>
                          <a:pt x="1471295" y="1640230"/>
                        </a:cubicBezTo>
                        <a:cubicBezTo>
                          <a:pt x="1456446" y="1635290"/>
                          <a:pt x="1441597" y="1635290"/>
                          <a:pt x="1426749" y="1632819"/>
                        </a:cubicBezTo>
                        <a:cubicBezTo>
                          <a:pt x="1399526" y="1632819"/>
                          <a:pt x="1377253" y="1625409"/>
                          <a:pt x="1354980" y="1610587"/>
                        </a:cubicBezTo>
                        <a:cubicBezTo>
                          <a:pt x="1335181" y="1600706"/>
                          <a:pt x="1320333" y="1585885"/>
                          <a:pt x="1295585" y="1583415"/>
                        </a:cubicBezTo>
                        <a:cubicBezTo>
                          <a:pt x="1280736" y="1583415"/>
                          <a:pt x="1280736" y="1573534"/>
                          <a:pt x="1288160" y="1561183"/>
                        </a:cubicBezTo>
                        <a:cubicBezTo>
                          <a:pt x="1293110" y="1553772"/>
                          <a:pt x="1300534" y="1546361"/>
                          <a:pt x="1305484" y="1536481"/>
                        </a:cubicBezTo>
                        <a:cubicBezTo>
                          <a:pt x="1325282" y="1514249"/>
                          <a:pt x="1335181" y="1487076"/>
                          <a:pt x="1342606" y="1457433"/>
                        </a:cubicBezTo>
                        <a:cubicBezTo>
                          <a:pt x="1342606" y="1457433"/>
                          <a:pt x="1340131" y="1454963"/>
                          <a:pt x="1340131" y="1447552"/>
                        </a:cubicBezTo>
                        <a:cubicBezTo>
                          <a:pt x="1325282" y="1457433"/>
                          <a:pt x="1310434" y="1467314"/>
                          <a:pt x="1295585" y="1477195"/>
                        </a:cubicBezTo>
                        <a:cubicBezTo>
                          <a:pt x="1285686" y="1484606"/>
                          <a:pt x="1275787" y="1489546"/>
                          <a:pt x="1260938" y="1487076"/>
                        </a:cubicBezTo>
                        <a:cubicBezTo>
                          <a:pt x="1238665" y="1487076"/>
                          <a:pt x="1218866" y="1487076"/>
                          <a:pt x="1196593" y="1496957"/>
                        </a:cubicBezTo>
                        <a:cubicBezTo>
                          <a:pt x="1184219" y="1504368"/>
                          <a:pt x="1166896" y="1501897"/>
                          <a:pt x="1152047" y="1501897"/>
                        </a:cubicBezTo>
                        <a:cubicBezTo>
                          <a:pt x="1139673" y="1501897"/>
                          <a:pt x="1137198" y="1496957"/>
                          <a:pt x="1137198" y="1484606"/>
                        </a:cubicBezTo>
                        <a:cubicBezTo>
                          <a:pt x="1137198" y="1472255"/>
                          <a:pt x="1139673" y="1462374"/>
                          <a:pt x="1142148" y="1447552"/>
                        </a:cubicBezTo>
                        <a:cubicBezTo>
                          <a:pt x="1154522" y="1445082"/>
                          <a:pt x="1169371" y="1440142"/>
                          <a:pt x="1186694" y="1435201"/>
                        </a:cubicBezTo>
                        <a:cubicBezTo>
                          <a:pt x="1174320" y="1422850"/>
                          <a:pt x="1164421" y="1415439"/>
                          <a:pt x="1154522" y="1408029"/>
                        </a:cubicBezTo>
                        <a:cubicBezTo>
                          <a:pt x="1107501" y="1363565"/>
                          <a:pt x="1058005" y="1321571"/>
                          <a:pt x="1010984" y="1277107"/>
                        </a:cubicBezTo>
                        <a:cubicBezTo>
                          <a:pt x="1004797" y="1272167"/>
                          <a:pt x="1000467" y="1267226"/>
                          <a:pt x="997992" y="1261668"/>
                        </a:cubicBezTo>
                        <a:lnTo>
                          <a:pt x="997474" y="1256324"/>
                        </a:lnTo>
                        <a:lnTo>
                          <a:pt x="994895" y="1254703"/>
                        </a:lnTo>
                        <a:lnTo>
                          <a:pt x="997243" y="1253947"/>
                        </a:lnTo>
                        <a:lnTo>
                          <a:pt x="996135" y="1242524"/>
                        </a:lnTo>
                        <a:cubicBezTo>
                          <a:pt x="996135" y="1237583"/>
                          <a:pt x="996135" y="1232643"/>
                          <a:pt x="996135" y="1227702"/>
                        </a:cubicBezTo>
                        <a:cubicBezTo>
                          <a:pt x="993661" y="1220292"/>
                          <a:pt x="991186" y="1207941"/>
                          <a:pt x="978812" y="1207941"/>
                        </a:cubicBezTo>
                        <a:cubicBezTo>
                          <a:pt x="966438" y="1210411"/>
                          <a:pt x="956539" y="1217821"/>
                          <a:pt x="956539" y="1230173"/>
                        </a:cubicBezTo>
                        <a:cubicBezTo>
                          <a:pt x="951589" y="1264756"/>
                          <a:pt x="951589" y="1264756"/>
                          <a:pt x="919417" y="1264756"/>
                        </a:cubicBezTo>
                        <a:cubicBezTo>
                          <a:pt x="914467" y="1264756"/>
                          <a:pt x="907043" y="1264756"/>
                          <a:pt x="902093" y="1267226"/>
                        </a:cubicBezTo>
                        <a:cubicBezTo>
                          <a:pt x="892194" y="1284518"/>
                          <a:pt x="897144" y="1301809"/>
                          <a:pt x="902093" y="1316630"/>
                        </a:cubicBezTo>
                        <a:cubicBezTo>
                          <a:pt x="907043" y="1338862"/>
                          <a:pt x="911992" y="1356154"/>
                          <a:pt x="897144" y="1375916"/>
                        </a:cubicBezTo>
                        <a:cubicBezTo>
                          <a:pt x="892194" y="1383327"/>
                          <a:pt x="894669" y="1395678"/>
                          <a:pt x="894669" y="1405559"/>
                        </a:cubicBezTo>
                        <a:cubicBezTo>
                          <a:pt x="892194" y="1412969"/>
                          <a:pt x="894669" y="1422850"/>
                          <a:pt x="889719" y="1427791"/>
                        </a:cubicBezTo>
                        <a:cubicBezTo>
                          <a:pt x="882295" y="1437672"/>
                          <a:pt x="872396" y="1445082"/>
                          <a:pt x="862497" y="1452493"/>
                        </a:cubicBezTo>
                        <a:cubicBezTo>
                          <a:pt x="857547" y="1452493"/>
                          <a:pt x="850123" y="1447552"/>
                          <a:pt x="845173" y="1445082"/>
                        </a:cubicBezTo>
                        <a:cubicBezTo>
                          <a:pt x="830324" y="1435201"/>
                          <a:pt x="817950" y="1425320"/>
                          <a:pt x="803102" y="1417910"/>
                        </a:cubicBezTo>
                        <a:cubicBezTo>
                          <a:pt x="788253" y="1410499"/>
                          <a:pt x="778354" y="1415439"/>
                          <a:pt x="778354" y="1432731"/>
                        </a:cubicBezTo>
                        <a:cubicBezTo>
                          <a:pt x="778354" y="1440142"/>
                          <a:pt x="778354" y="1447552"/>
                          <a:pt x="780829" y="1454963"/>
                        </a:cubicBezTo>
                        <a:cubicBezTo>
                          <a:pt x="780829" y="1459904"/>
                          <a:pt x="783303" y="1464844"/>
                          <a:pt x="785778" y="1472255"/>
                        </a:cubicBezTo>
                        <a:cubicBezTo>
                          <a:pt x="778354" y="1477195"/>
                          <a:pt x="770929" y="1484606"/>
                          <a:pt x="763505" y="1487076"/>
                        </a:cubicBezTo>
                        <a:cubicBezTo>
                          <a:pt x="741232" y="1499427"/>
                          <a:pt x="736282" y="1499427"/>
                          <a:pt x="716484" y="1482136"/>
                        </a:cubicBezTo>
                        <a:cubicBezTo>
                          <a:pt x="676887" y="1445082"/>
                          <a:pt x="642240" y="1405559"/>
                          <a:pt x="610068" y="1361095"/>
                        </a:cubicBezTo>
                        <a:cubicBezTo>
                          <a:pt x="595219" y="1341333"/>
                          <a:pt x="595219" y="1319101"/>
                          <a:pt x="590270" y="1296869"/>
                        </a:cubicBezTo>
                        <a:cubicBezTo>
                          <a:pt x="585320" y="1254875"/>
                          <a:pt x="587795" y="1215351"/>
                          <a:pt x="595219" y="1175828"/>
                        </a:cubicBezTo>
                        <a:cubicBezTo>
                          <a:pt x="597694" y="1168417"/>
                          <a:pt x="602644" y="1163476"/>
                          <a:pt x="607593" y="1158536"/>
                        </a:cubicBezTo>
                        <a:cubicBezTo>
                          <a:pt x="622442" y="1148655"/>
                          <a:pt x="637291" y="1138774"/>
                          <a:pt x="654614" y="1131364"/>
                        </a:cubicBezTo>
                        <a:cubicBezTo>
                          <a:pt x="664514" y="1123953"/>
                          <a:pt x="669463" y="1116542"/>
                          <a:pt x="669463" y="1104191"/>
                        </a:cubicBezTo>
                        <a:cubicBezTo>
                          <a:pt x="671938" y="1072078"/>
                          <a:pt x="676887" y="1039965"/>
                          <a:pt x="679362" y="1010322"/>
                        </a:cubicBezTo>
                        <a:cubicBezTo>
                          <a:pt x="681837" y="968329"/>
                          <a:pt x="681837" y="928805"/>
                          <a:pt x="681837" y="886811"/>
                        </a:cubicBezTo>
                        <a:cubicBezTo>
                          <a:pt x="681837" y="874460"/>
                          <a:pt x="681837" y="859639"/>
                          <a:pt x="679362" y="847288"/>
                        </a:cubicBezTo>
                        <a:cubicBezTo>
                          <a:pt x="679362" y="832466"/>
                          <a:pt x="674413" y="815175"/>
                          <a:pt x="674413" y="800353"/>
                        </a:cubicBezTo>
                        <a:cubicBezTo>
                          <a:pt x="666988" y="760830"/>
                          <a:pt x="662039" y="721306"/>
                          <a:pt x="657089" y="681782"/>
                        </a:cubicBezTo>
                        <a:cubicBezTo>
                          <a:pt x="652140" y="639788"/>
                          <a:pt x="644715" y="600265"/>
                          <a:pt x="639766" y="560741"/>
                        </a:cubicBezTo>
                        <a:cubicBezTo>
                          <a:pt x="637291" y="545920"/>
                          <a:pt x="634816" y="531098"/>
                          <a:pt x="644715" y="518747"/>
                        </a:cubicBezTo>
                        <a:cubicBezTo>
                          <a:pt x="657089" y="513807"/>
                          <a:pt x="666988" y="521217"/>
                          <a:pt x="676887" y="526158"/>
                        </a:cubicBezTo>
                        <a:cubicBezTo>
                          <a:pt x="731333" y="558271"/>
                          <a:pt x="780829" y="597794"/>
                          <a:pt x="822900" y="644729"/>
                        </a:cubicBezTo>
                        <a:cubicBezTo>
                          <a:pt x="840224" y="664491"/>
                          <a:pt x="852598" y="686723"/>
                          <a:pt x="872396" y="706485"/>
                        </a:cubicBezTo>
                        <a:cubicBezTo>
                          <a:pt x="882295" y="718836"/>
                          <a:pt x="877345" y="733657"/>
                          <a:pt x="882295" y="743538"/>
                        </a:cubicBezTo>
                        <a:cubicBezTo>
                          <a:pt x="877345" y="746008"/>
                          <a:pt x="869921" y="748479"/>
                          <a:pt x="862497" y="748479"/>
                        </a:cubicBezTo>
                        <a:cubicBezTo>
                          <a:pt x="862497" y="755889"/>
                          <a:pt x="864971" y="760830"/>
                          <a:pt x="867446" y="768240"/>
                        </a:cubicBezTo>
                        <a:cubicBezTo>
                          <a:pt x="867446" y="768240"/>
                          <a:pt x="867446" y="768240"/>
                          <a:pt x="864971" y="770711"/>
                        </a:cubicBezTo>
                        <a:cubicBezTo>
                          <a:pt x="860022" y="763300"/>
                          <a:pt x="855072" y="758359"/>
                          <a:pt x="850123" y="750949"/>
                        </a:cubicBezTo>
                        <a:cubicBezTo>
                          <a:pt x="847648" y="750949"/>
                          <a:pt x="847648" y="750949"/>
                          <a:pt x="845173" y="753419"/>
                        </a:cubicBezTo>
                        <a:cubicBezTo>
                          <a:pt x="847648" y="763300"/>
                          <a:pt x="850123" y="775651"/>
                          <a:pt x="850123" y="785532"/>
                        </a:cubicBezTo>
                        <a:cubicBezTo>
                          <a:pt x="855072" y="820115"/>
                          <a:pt x="857547" y="857168"/>
                          <a:pt x="860022" y="891752"/>
                        </a:cubicBezTo>
                        <a:cubicBezTo>
                          <a:pt x="860022" y="904103"/>
                          <a:pt x="855072" y="918924"/>
                          <a:pt x="852598" y="936216"/>
                        </a:cubicBezTo>
                        <a:cubicBezTo>
                          <a:pt x="860022" y="933745"/>
                          <a:pt x="864971" y="931275"/>
                          <a:pt x="867446" y="928805"/>
                        </a:cubicBezTo>
                        <a:cubicBezTo>
                          <a:pt x="892194" y="911513"/>
                          <a:pt x="916942" y="891752"/>
                          <a:pt x="941690" y="874460"/>
                        </a:cubicBezTo>
                        <a:cubicBezTo>
                          <a:pt x="971387" y="852228"/>
                          <a:pt x="1001085" y="829996"/>
                          <a:pt x="1030782" y="807764"/>
                        </a:cubicBezTo>
                        <a:cubicBezTo>
                          <a:pt x="1045631" y="800353"/>
                          <a:pt x="1048106" y="790472"/>
                          <a:pt x="1045631" y="775651"/>
                        </a:cubicBezTo>
                        <a:cubicBezTo>
                          <a:pt x="1040682" y="716366"/>
                          <a:pt x="1033257" y="654610"/>
                          <a:pt x="1025833" y="595324"/>
                        </a:cubicBezTo>
                        <a:cubicBezTo>
                          <a:pt x="1015934" y="521217"/>
                          <a:pt x="1001085" y="444640"/>
                          <a:pt x="991186" y="368063"/>
                        </a:cubicBezTo>
                        <a:cubicBezTo>
                          <a:pt x="983761" y="321129"/>
                          <a:pt x="973862" y="271725"/>
                          <a:pt x="976337" y="224790"/>
                        </a:cubicBezTo>
                        <a:cubicBezTo>
                          <a:pt x="978812" y="177856"/>
                          <a:pt x="976337" y="130922"/>
                          <a:pt x="986236" y="83988"/>
                        </a:cubicBezTo>
                        <a:cubicBezTo>
                          <a:pt x="988711" y="76577"/>
                          <a:pt x="988711" y="69166"/>
                          <a:pt x="988711" y="61756"/>
                        </a:cubicBezTo>
                        <a:cubicBezTo>
                          <a:pt x="991186" y="32113"/>
                          <a:pt x="1003560" y="17291"/>
                          <a:pt x="1035732" y="12351"/>
                        </a:cubicBezTo>
                        <a:cubicBezTo>
                          <a:pt x="1035732" y="9881"/>
                          <a:pt x="1038207" y="4940"/>
                          <a:pt x="1040682" y="0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84000">
                        <a:schemeClr val="accent2">
                          <a:lumMod val="40000"/>
                          <a:lumOff val="60000"/>
                        </a:schemeClr>
                      </a:gs>
                      <a:gs pos="0">
                        <a:schemeClr val="accent2"/>
                      </a:gs>
                    </a:gsLst>
                    <a:lin ang="135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lvl="0" algn="ctr"/>
                    <a:endParaRPr>
                      <a:gradFill flip="none" rotWithShape="1">
                        <a:gsLst>
                          <a:gs pos="89000">
                            <a:schemeClr val="bg1"/>
                          </a:gs>
                          <a:gs pos="0">
                            <a:schemeClr val="accent2"/>
                          </a:gs>
                        </a:gsLst>
                        <a:lin ang="13500000" scaled="1"/>
                        <a:tileRect/>
                      </a:gradFill>
                    </a:endParaRPr>
                  </a:p>
                </p:txBody>
              </p:sp>
            </p:grpSp>
          </p:grpSp>
          <p:grpSp>
            <p:nvGrpSpPr>
              <p:cNvPr id="228" name="组合 22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<p:cNvGrpSpPr>
                <a:grpSpLocks noChangeAspect="1"/>
              </p:cNvGrpSpPr>
              <p:nvPr userDrawn="1">
                <p:custDataLst>
                  <p:tags r:id="rId1"/>
                </p:custDataLst>
              </p:nvPr>
            </p:nvGrpSpPr>
            <p:grpSpPr>
              <a:xfrm>
                <a:off x="8163086" y="3661931"/>
                <a:ext cx="703258" cy="599510"/>
                <a:chOff x="3038763" y="1028700"/>
                <a:chExt cx="6114474" cy="5212444"/>
              </a:xfrm>
            </p:grpSpPr>
            <p:sp>
              <p:nvSpPr>
                <p:cNvPr id="229" name="任意多边形: 形状 228">
                  <a:extLst>
                    <a:ext uri="{FF2B5EF4-FFF2-40B4-BE49-F238E27FC236}">
                      <a16:creationId xmlns:a16="http://schemas.microsoft.com/office/drawing/2014/main" id="{F50F64CE-F66D-42A7-BBCB-C4A130B939CA}"/>
                    </a:ext>
                  </a:extLst>
                </p:cNvPr>
                <p:cNvSpPr/>
                <p:nvPr/>
              </p:nvSpPr>
              <p:spPr bwMode="auto">
                <a:xfrm>
                  <a:off x="3038763" y="1326692"/>
                  <a:ext cx="3931884" cy="3730538"/>
                </a:xfrm>
                <a:custGeom>
                  <a:avLst/>
                  <a:gdLst>
                    <a:gd name="T0" fmla="*/ 32 w 1175"/>
                    <a:gd name="T1" fmla="*/ 1103 h 1116"/>
                    <a:gd name="T2" fmla="*/ 29 w 1175"/>
                    <a:gd name="T3" fmla="*/ 1050 h 1116"/>
                    <a:gd name="T4" fmla="*/ 432 w 1175"/>
                    <a:gd name="T5" fmla="*/ 862 h 1116"/>
                    <a:gd name="T6" fmla="*/ 650 w 1175"/>
                    <a:gd name="T7" fmla="*/ 532 h 1116"/>
                    <a:gd name="T8" fmla="*/ 751 w 1175"/>
                    <a:gd name="T9" fmla="*/ 223 h 1116"/>
                    <a:gd name="T10" fmla="*/ 1079 w 1175"/>
                    <a:gd name="T11" fmla="*/ 132 h 1116"/>
                    <a:gd name="T12" fmla="*/ 1082 w 1175"/>
                    <a:gd name="T13" fmla="*/ 500 h 1116"/>
                    <a:gd name="T14" fmla="*/ 553 w 1175"/>
                    <a:gd name="T15" fmla="*/ 1048 h 1116"/>
                    <a:gd name="T16" fmla="*/ 32 w 1175"/>
                    <a:gd name="T17" fmla="*/ 1103 h 1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75" h="1116">
                      <a:moveTo>
                        <a:pt x="32" y="1103"/>
                      </a:moveTo>
                      <a:cubicBezTo>
                        <a:pt x="2" y="1100"/>
                        <a:pt x="0" y="1057"/>
                        <a:pt x="29" y="1050"/>
                      </a:cubicBezTo>
                      <a:cubicBezTo>
                        <a:pt x="173" y="1016"/>
                        <a:pt x="339" y="931"/>
                        <a:pt x="432" y="862"/>
                      </a:cubicBezTo>
                      <a:cubicBezTo>
                        <a:pt x="543" y="779"/>
                        <a:pt x="605" y="644"/>
                        <a:pt x="650" y="532"/>
                      </a:cubicBezTo>
                      <a:cubicBezTo>
                        <a:pt x="679" y="460"/>
                        <a:pt x="722" y="295"/>
                        <a:pt x="751" y="223"/>
                      </a:cubicBezTo>
                      <a:cubicBezTo>
                        <a:pt x="792" y="123"/>
                        <a:pt x="930" y="0"/>
                        <a:pt x="1079" y="132"/>
                      </a:cubicBezTo>
                      <a:cubicBezTo>
                        <a:pt x="1175" y="217"/>
                        <a:pt x="1116" y="420"/>
                        <a:pt x="1082" y="500"/>
                      </a:cubicBezTo>
                      <a:cubicBezTo>
                        <a:pt x="987" y="723"/>
                        <a:pt x="801" y="977"/>
                        <a:pt x="553" y="1048"/>
                      </a:cubicBezTo>
                      <a:cubicBezTo>
                        <a:pt x="325" y="1113"/>
                        <a:pt x="151" y="1116"/>
                        <a:pt x="32" y="1103"/>
                      </a:cubicBezTo>
                      <a:close/>
                    </a:path>
                  </a:pathLst>
                </a:custGeom>
                <a:solidFill>
                  <a:srgbClr val="E127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30" name="任意多边形: 形状 229">
                  <a:extLst>
                    <a:ext uri="{FF2B5EF4-FFF2-40B4-BE49-F238E27FC236}">
                      <a16:creationId xmlns:a16="http://schemas.microsoft.com/office/drawing/2014/main" id="{2153FFA2-5024-4857-A14D-8923CD426280}"/>
                    </a:ext>
                  </a:extLst>
                </p:cNvPr>
                <p:cNvSpPr/>
                <p:nvPr/>
              </p:nvSpPr>
              <p:spPr bwMode="auto">
                <a:xfrm>
                  <a:off x="3871530" y="1737438"/>
                  <a:ext cx="2356553" cy="2915489"/>
                </a:xfrm>
                <a:custGeom>
                  <a:avLst/>
                  <a:gdLst>
                    <a:gd name="T0" fmla="*/ 295 w 704"/>
                    <a:gd name="T1" fmla="*/ 743 h 872"/>
                    <a:gd name="T2" fmla="*/ 532 w 704"/>
                    <a:gd name="T3" fmla="*/ 412 h 872"/>
                    <a:gd name="T4" fmla="*/ 584 w 704"/>
                    <a:gd name="T5" fmla="*/ 255 h 872"/>
                    <a:gd name="T6" fmla="*/ 633 w 704"/>
                    <a:gd name="T7" fmla="*/ 104 h 872"/>
                    <a:gd name="T8" fmla="*/ 704 w 704"/>
                    <a:gd name="T9" fmla="*/ 5 h 872"/>
                    <a:gd name="T10" fmla="*/ 552 w 704"/>
                    <a:gd name="T11" fmla="*/ 120 h 872"/>
                    <a:gd name="T12" fmla="*/ 502 w 704"/>
                    <a:gd name="T13" fmla="*/ 272 h 872"/>
                    <a:gd name="T14" fmla="*/ 451 w 704"/>
                    <a:gd name="T15" fmla="*/ 429 h 872"/>
                    <a:gd name="T16" fmla="*/ 0 w 704"/>
                    <a:gd name="T17" fmla="*/ 872 h 872"/>
                    <a:gd name="T18" fmla="*/ 295 w 704"/>
                    <a:gd name="T19" fmla="*/ 743 h 8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04" h="872">
                      <a:moveTo>
                        <a:pt x="295" y="743"/>
                      </a:moveTo>
                      <a:cubicBezTo>
                        <a:pt x="392" y="665"/>
                        <a:pt x="477" y="548"/>
                        <a:pt x="532" y="412"/>
                      </a:cubicBezTo>
                      <a:cubicBezTo>
                        <a:pt x="547" y="374"/>
                        <a:pt x="565" y="316"/>
                        <a:pt x="584" y="255"/>
                      </a:cubicBezTo>
                      <a:cubicBezTo>
                        <a:pt x="601" y="197"/>
                        <a:pt x="618" y="137"/>
                        <a:pt x="633" y="104"/>
                      </a:cubicBezTo>
                      <a:cubicBezTo>
                        <a:pt x="671" y="18"/>
                        <a:pt x="704" y="5"/>
                        <a:pt x="704" y="5"/>
                      </a:cubicBezTo>
                      <a:cubicBezTo>
                        <a:pt x="629" y="0"/>
                        <a:pt x="571" y="73"/>
                        <a:pt x="552" y="120"/>
                      </a:cubicBezTo>
                      <a:cubicBezTo>
                        <a:pt x="538" y="155"/>
                        <a:pt x="520" y="214"/>
                        <a:pt x="502" y="272"/>
                      </a:cubicBezTo>
                      <a:cubicBezTo>
                        <a:pt x="483" y="333"/>
                        <a:pt x="465" y="391"/>
                        <a:pt x="451" y="429"/>
                      </a:cubicBezTo>
                      <a:cubicBezTo>
                        <a:pt x="332" y="750"/>
                        <a:pt x="66" y="855"/>
                        <a:pt x="0" y="872"/>
                      </a:cubicBezTo>
                      <a:cubicBezTo>
                        <a:pt x="99" y="857"/>
                        <a:pt x="207" y="815"/>
                        <a:pt x="295" y="743"/>
                      </a:cubicBezTo>
                      <a:close/>
                    </a:path>
                  </a:pathLst>
                </a:custGeom>
                <a:solidFill>
                  <a:srgbClr val="E65D4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31" name="任意多边形: 形状 230">
                  <a:extLst>
                    <a:ext uri="{FF2B5EF4-FFF2-40B4-BE49-F238E27FC236}">
                      <a16:creationId xmlns:a16="http://schemas.microsoft.com/office/drawing/2014/main" id="{1087E211-5003-41CF-B69F-C9C51167BB13}"/>
                    </a:ext>
                  </a:extLst>
                </p:cNvPr>
                <p:cNvSpPr/>
                <p:nvPr/>
              </p:nvSpPr>
              <p:spPr bwMode="auto">
                <a:xfrm>
                  <a:off x="3064535" y="1577972"/>
                  <a:ext cx="3906112" cy="3479258"/>
                </a:xfrm>
                <a:custGeom>
                  <a:avLst/>
                  <a:gdLst>
                    <a:gd name="T0" fmla="*/ 1074 w 1167"/>
                    <a:gd name="T1" fmla="*/ 425 h 1041"/>
                    <a:gd name="T2" fmla="*/ 1071 w 1167"/>
                    <a:gd name="T3" fmla="*/ 57 h 1041"/>
                    <a:gd name="T4" fmla="*/ 953 w 1167"/>
                    <a:gd name="T5" fmla="*/ 0 h 1041"/>
                    <a:gd name="T6" fmla="*/ 953 w 1167"/>
                    <a:gd name="T7" fmla="*/ 0 h 1041"/>
                    <a:gd name="T8" fmla="*/ 924 w 1167"/>
                    <a:gd name="T9" fmla="*/ 491 h 1041"/>
                    <a:gd name="T10" fmla="*/ 0 w 1167"/>
                    <a:gd name="T11" fmla="*/ 1004 h 1041"/>
                    <a:gd name="T12" fmla="*/ 24 w 1167"/>
                    <a:gd name="T13" fmla="*/ 1028 h 1041"/>
                    <a:gd name="T14" fmla="*/ 545 w 1167"/>
                    <a:gd name="T15" fmla="*/ 973 h 1041"/>
                    <a:gd name="T16" fmla="*/ 1074 w 1167"/>
                    <a:gd name="T17" fmla="*/ 425 h 10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67" h="1041">
                      <a:moveTo>
                        <a:pt x="1074" y="425"/>
                      </a:moveTo>
                      <a:cubicBezTo>
                        <a:pt x="1108" y="345"/>
                        <a:pt x="1167" y="142"/>
                        <a:pt x="1071" y="57"/>
                      </a:cubicBezTo>
                      <a:cubicBezTo>
                        <a:pt x="1031" y="21"/>
                        <a:pt x="991" y="4"/>
                        <a:pt x="953" y="0"/>
                      </a:cubicBezTo>
                      <a:cubicBezTo>
                        <a:pt x="953" y="0"/>
                        <a:pt x="953" y="0"/>
                        <a:pt x="953" y="0"/>
                      </a:cubicBezTo>
                      <a:cubicBezTo>
                        <a:pt x="1076" y="36"/>
                        <a:pt x="1022" y="292"/>
                        <a:pt x="924" y="491"/>
                      </a:cubicBezTo>
                      <a:cubicBezTo>
                        <a:pt x="759" y="828"/>
                        <a:pt x="371" y="1039"/>
                        <a:pt x="0" y="1004"/>
                      </a:cubicBezTo>
                      <a:cubicBezTo>
                        <a:pt x="2" y="1016"/>
                        <a:pt x="10" y="1026"/>
                        <a:pt x="24" y="1028"/>
                      </a:cubicBezTo>
                      <a:cubicBezTo>
                        <a:pt x="143" y="1041"/>
                        <a:pt x="317" y="1038"/>
                        <a:pt x="545" y="973"/>
                      </a:cubicBezTo>
                      <a:cubicBezTo>
                        <a:pt x="793" y="902"/>
                        <a:pt x="979" y="648"/>
                        <a:pt x="1074" y="425"/>
                      </a:cubicBezTo>
                      <a:close/>
                    </a:path>
                  </a:pathLst>
                </a:custGeom>
                <a:solidFill>
                  <a:srgbClr val="CC222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32" name="任意多边形: 形状 231">
                  <a:extLst>
                    <a:ext uri="{FF2B5EF4-FFF2-40B4-BE49-F238E27FC236}">
                      <a16:creationId xmlns:a16="http://schemas.microsoft.com/office/drawing/2014/main" id="{E9A93259-29C7-446A-9E33-1F28F9A6C90A}"/>
                    </a:ext>
                  </a:extLst>
                </p:cNvPr>
                <p:cNvSpPr/>
                <p:nvPr/>
              </p:nvSpPr>
              <p:spPr bwMode="auto">
                <a:xfrm>
                  <a:off x="5769014" y="1486158"/>
                  <a:ext cx="1030891" cy="512224"/>
                </a:xfrm>
                <a:custGeom>
                  <a:avLst/>
                  <a:gdLst>
                    <a:gd name="T0" fmla="*/ 229 w 308"/>
                    <a:gd name="T1" fmla="*/ 153 h 153"/>
                    <a:gd name="T2" fmla="*/ 197 w 308"/>
                    <a:gd name="T3" fmla="*/ 109 h 153"/>
                    <a:gd name="T4" fmla="*/ 166 w 308"/>
                    <a:gd name="T5" fmla="*/ 69 h 153"/>
                    <a:gd name="T6" fmla="*/ 77 w 308"/>
                    <a:gd name="T7" fmla="*/ 125 h 153"/>
                    <a:gd name="T8" fmla="*/ 87 w 308"/>
                    <a:gd name="T9" fmla="*/ 85 h 153"/>
                    <a:gd name="T10" fmla="*/ 96 w 308"/>
                    <a:gd name="T11" fmla="*/ 50 h 153"/>
                    <a:gd name="T12" fmla="*/ 59 w 308"/>
                    <a:gd name="T13" fmla="*/ 53 h 153"/>
                    <a:gd name="T14" fmla="*/ 0 w 308"/>
                    <a:gd name="T15" fmla="*/ 35 h 153"/>
                    <a:gd name="T16" fmla="*/ 45 w 308"/>
                    <a:gd name="T17" fmla="*/ 29 h 153"/>
                    <a:gd name="T18" fmla="*/ 171 w 308"/>
                    <a:gd name="T19" fmla="*/ 3 h 153"/>
                    <a:gd name="T20" fmla="*/ 308 w 308"/>
                    <a:gd name="T21" fmla="*/ 124 h 153"/>
                    <a:gd name="T22" fmla="*/ 261 w 308"/>
                    <a:gd name="T23" fmla="*/ 105 h 153"/>
                    <a:gd name="T24" fmla="*/ 234 w 308"/>
                    <a:gd name="T25" fmla="*/ 83 h 153"/>
                    <a:gd name="T26" fmla="*/ 229 w 308"/>
                    <a:gd name="T27" fmla="*/ 153 h 1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08" h="153">
                      <a:moveTo>
                        <a:pt x="229" y="153"/>
                      </a:moveTo>
                      <a:cubicBezTo>
                        <a:pt x="229" y="153"/>
                        <a:pt x="220" y="122"/>
                        <a:pt x="197" y="109"/>
                      </a:cubicBezTo>
                      <a:cubicBezTo>
                        <a:pt x="174" y="95"/>
                        <a:pt x="166" y="69"/>
                        <a:pt x="166" y="69"/>
                      </a:cubicBezTo>
                      <a:cubicBezTo>
                        <a:pt x="170" y="120"/>
                        <a:pt x="77" y="125"/>
                        <a:pt x="77" y="125"/>
                      </a:cubicBezTo>
                      <a:cubicBezTo>
                        <a:pt x="77" y="125"/>
                        <a:pt x="90" y="112"/>
                        <a:pt x="87" y="85"/>
                      </a:cubicBezTo>
                      <a:cubicBezTo>
                        <a:pt x="84" y="57"/>
                        <a:pt x="96" y="50"/>
                        <a:pt x="96" y="50"/>
                      </a:cubicBezTo>
                      <a:cubicBezTo>
                        <a:pt x="96" y="50"/>
                        <a:pt x="96" y="50"/>
                        <a:pt x="59" y="53"/>
                      </a:cubicBezTo>
                      <a:cubicBezTo>
                        <a:pt x="23" y="56"/>
                        <a:pt x="0" y="35"/>
                        <a:pt x="0" y="35"/>
                      </a:cubicBezTo>
                      <a:cubicBezTo>
                        <a:pt x="0" y="35"/>
                        <a:pt x="18" y="38"/>
                        <a:pt x="45" y="29"/>
                      </a:cubicBezTo>
                      <a:cubicBezTo>
                        <a:pt x="88" y="13"/>
                        <a:pt x="115" y="0"/>
                        <a:pt x="171" y="3"/>
                      </a:cubicBezTo>
                      <a:cubicBezTo>
                        <a:pt x="220" y="6"/>
                        <a:pt x="285" y="47"/>
                        <a:pt x="308" y="124"/>
                      </a:cubicBezTo>
                      <a:cubicBezTo>
                        <a:pt x="301" y="113"/>
                        <a:pt x="281" y="113"/>
                        <a:pt x="261" y="105"/>
                      </a:cubicBezTo>
                      <a:cubicBezTo>
                        <a:pt x="249" y="100"/>
                        <a:pt x="234" y="83"/>
                        <a:pt x="234" y="83"/>
                      </a:cubicBezTo>
                      <a:cubicBezTo>
                        <a:pt x="234" y="83"/>
                        <a:pt x="247" y="110"/>
                        <a:pt x="229" y="153"/>
                      </a:cubicBezTo>
                      <a:close/>
                    </a:path>
                  </a:pathLst>
                </a:custGeom>
                <a:solidFill>
                  <a:srgbClr val="38B5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33" name="任意多边形: 形状 232">
                  <a:extLst>
                    <a:ext uri="{FF2B5EF4-FFF2-40B4-BE49-F238E27FC236}">
                      <a16:creationId xmlns:a16="http://schemas.microsoft.com/office/drawing/2014/main" id="{6AD1CD86-2833-411F-A94D-1B13BCE5BC7E}"/>
                    </a:ext>
                  </a:extLst>
                </p:cNvPr>
                <p:cNvSpPr/>
                <p:nvPr/>
              </p:nvSpPr>
              <p:spPr bwMode="auto">
                <a:xfrm>
                  <a:off x="6026737" y="1028700"/>
                  <a:ext cx="773168" cy="969682"/>
                </a:xfrm>
                <a:custGeom>
                  <a:avLst/>
                  <a:gdLst>
                    <a:gd name="T0" fmla="*/ 231 w 231"/>
                    <a:gd name="T1" fmla="*/ 261 h 290"/>
                    <a:gd name="T2" fmla="*/ 106 w 231"/>
                    <a:gd name="T3" fmla="*/ 142 h 290"/>
                    <a:gd name="T4" fmla="*/ 106 w 231"/>
                    <a:gd name="T5" fmla="*/ 141 h 290"/>
                    <a:gd name="T6" fmla="*/ 130 w 231"/>
                    <a:gd name="T7" fmla="*/ 60 h 290"/>
                    <a:gd name="T8" fmla="*/ 176 w 231"/>
                    <a:gd name="T9" fmla="*/ 29 h 290"/>
                    <a:gd name="T10" fmla="*/ 159 w 231"/>
                    <a:gd name="T11" fmla="*/ 0 h 290"/>
                    <a:gd name="T12" fmla="*/ 82 w 231"/>
                    <a:gd name="T13" fmla="*/ 139 h 290"/>
                    <a:gd name="T14" fmla="*/ 82 w 231"/>
                    <a:gd name="T15" fmla="*/ 140 h 290"/>
                    <a:gd name="T16" fmla="*/ 29 w 231"/>
                    <a:gd name="T17" fmla="*/ 229 h 290"/>
                    <a:gd name="T18" fmla="*/ 19 w 231"/>
                    <a:gd name="T19" fmla="*/ 187 h 290"/>
                    <a:gd name="T20" fmla="*/ 14 w 231"/>
                    <a:gd name="T21" fmla="*/ 193 h 290"/>
                    <a:gd name="T22" fmla="*/ 10 w 231"/>
                    <a:gd name="T23" fmla="*/ 222 h 290"/>
                    <a:gd name="T24" fmla="*/ 0 w 231"/>
                    <a:gd name="T25" fmla="*/ 262 h 290"/>
                    <a:gd name="T26" fmla="*/ 89 w 231"/>
                    <a:gd name="T27" fmla="*/ 206 h 290"/>
                    <a:gd name="T28" fmla="*/ 120 w 231"/>
                    <a:gd name="T29" fmla="*/ 246 h 290"/>
                    <a:gd name="T30" fmla="*/ 152 w 231"/>
                    <a:gd name="T31" fmla="*/ 290 h 290"/>
                    <a:gd name="T32" fmla="*/ 157 w 231"/>
                    <a:gd name="T33" fmla="*/ 220 h 290"/>
                    <a:gd name="T34" fmla="*/ 184 w 231"/>
                    <a:gd name="T35" fmla="*/ 242 h 290"/>
                    <a:gd name="T36" fmla="*/ 231 w 231"/>
                    <a:gd name="T37" fmla="*/ 261 h 2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31" h="290">
                      <a:moveTo>
                        <a:pt x="231" y="261"/>
                      </a:moveTo>
                      <a:cubicBezTo>
                        <a:pt x="210" y="190"/>
                        <a:pt x="153" y="150"/>
                        <a:pt x="106" y="142"/>
                      </a:cubicBezTo>
                      <a:cubicBezTo>
                        <a:pt x="106" y="141"/>
                        <a:pt x="106" y="141"/>
                        <a:pt x="106" y="141"/>
                      </a:cubicBezTo>
                      <a:cubicBezTo>
                        <a:pt x="106" y="141"/>
                        <a:pt x="94" y="96"/>
                        <a:pt x="130" y="60"/>
                      </a:cubicBezTo>
                      <a:cubicBezTo>
                        <a:pt x="156" y="34"/>
                        <a:pt x="176" y="29"/>
                        <a:pt x="176" y="29"/>
                      </a:cubicBezTo>
                      <a:cubicBezTo>
                        <a:pt x="176" y="29"/>
                        <a:pt x="190" y="10"/>
                        <a:pt x="159" y="0"/>
                      </a:cubicBezTo>
                      <a:cubicBezTo>
                        <a:pt x="68" y="35"/>
                        <a:pt x="82" y="139"/>
                        <a:pt x="82" y="139"/>
                      </a:cubicBezTo>
                      <a:cubicBezTo>
                        <a:pt x="82" y="139"/>
                        <a:pt x="82" y="139"/>
                        <a:pt x="82" y="140"/>
                      </a:cubicBezTo>
                      <a:cubicBezTo>
                        <a:pt x="104" y="205"/>
                        <a:pt x="29" y="229"/>
                        <a:pt x="29" y="229"/>
                      </a:cubicBezTo>
                      <a:cubicBezTo>
                        <a:pt x="29" y="229"/>
                        <a:pt x="15" y="209"/>
                        <a:pt x="19" y="187"/>
                      </a:cubicBezTo>
                      <a:cubicBezTo>
                        <a:pt x="19" y="187"/>
                        <a:pt x="17" y="189"/>
                        <a:pt x="14" y="193"/>
                      </a:cubicBezTo>
                      <a:cubicBezTo>
                        <a:pt x="11" y="198"/>
                        <a:pt x="8" y="207"/>
                        <a:pt x="10" y="222"/>
                      </a:cubicBezTo>
                      <a:cubicBezTo>
                        <a:pt x="13" y="249"/>
                        <a:pt x="0" y="262"/>
                        <a:pt x="0" y="262"/>
                      </a:cubicBezTo>
                      <a:cubicBezTo>
                        <a:pt x="0" y="262"/>
                        <a:pt x="93" y="257"/>
                        <a:pt x="89" y="206"/>
                      </a:cubicBezTo>
                      <a:cubicBezTo>
                        <a:pt x="89" y="206"/>
                        <a:pt x="97" y="232"/>
                        <a:pt x="120" y="246"/>
                      </a:cubicBezTo>
                      <a:cubicBezTo>
                        <a:pt x="143" y="259"/>
                        <a:pt x="152" y="290"/>
                        <a:pt x="152" y="290"/>
                      </a:cubicBezTo>
                      <a:cubicBezTo>
                        <a:pt x="170" y="247"/>
                        <a:pt x="157" y="220"/>
                        <a:pt x="157" y="220"/>
                      </a:cubicBezTo>
                      <a:cubicBezTo>
                        <a:pt x="157" y="220"/>
                        <a:pt x="172" y="237"/>
                        <a:pt x="184" y="242"/>
                      </a:cubicBezTo>
                      <a:cubicBezTo>
                        <a:pt x="204" y="250"/>
                        <a:pt x="224" y="250"/>
                        <a:pt x="231" y="261"/>
                      </a:cubicBezTo>
                      <a:close/>
                    </a:path>
                  </a:pathLst>
                </a:custGeom>
                <a:solidFill>
                  <a:srgbClr val="32A54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34" name="任意多边形: 形状 233">
                  <a:extLst>
                    <a:ext uri="{FF2B5EF4-FFF2-40B4-BE49-F238E27FC236}">
                      <a16:creationId xmlns:a16="http://schemas.microsoft.com/office/drawing/2014/main" id="{BAEB5607-7303-4069-A830-67C69C5D9DAA}"/>
                    </a:ext>
                  </a:extLst>
                </p:cNvPr>
                <p:cNvSpPr/>
                <p:nvPr/>
              </p:nvSpPr>
              <p:spPr bwMode="auto">
                <a:xfrm>
                  <a:off x="3322258" y="1961334"/>
                  <a:ext cx="5830979" cy="4226654"/>
                </a:xfrm>
                <a:custGeom>
                  <a:avLst/>
                  <a:gdLst>
                    <a:gd name="T0" fmla="*/ 37 w 1742"/>
                    <a:gd name="T1" fmla="*/ 1172 h 1264"/>
                    <a:gd name="T2" fmla="*/ 47 w 1742"/>
                    <a:gd name="T3" fmla="*/ 1104 h 1264"/>
                    <a:gd name="T4" fmla="*/ 616 w 1742"/>
                    <a:gd name="T5" fmla="*/ 971 h 1264"/>
                    <a:gd name="T6" fmla="*/ 983 w 1742"/>
                    <a:gd name="T7" fmla="*/ 607 h 1264"/>
                    <a:gd name="T8" fmla="*/ 1196 w 1742"/>
                    <a:gd name="T9" fmla="*/ 239 h 1264"/>
                    <a:gd name="T10" fmla="*/ 1642 w 1742"/>
                    <a:gd name="T11" fmla="*/ 210 h 1264"/>
                    <a:gd name="T12" fmla="*/ 1546 w 1742"/>
                    <a:gd name="T13" fmla="*/ 683 h 1264"/>
                    <a:gd name="T14" fmla="*/ 720 w 1742"/>
                    <a:gd name="T15" fmla="*/ 1242 h 1264"/>
                    <a:gd name="T16" fmla="*/ 37 w 1742"/>
                    <a:gd name="T17" fmla="*/ 1172 h 12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42" h="1264">
                      <a:moveTo>
                        <a:pt x="37" y="1172"/>
                      </a:moveTo>
                      <a:cubicBezTo>
                        <a:pt x="0" y="1160"/>
                        <a:pt x="8" y="1105"/>
                        <a:pt x="47" y="1104"/>
                      </a:cubicBezTo>
                      <a:cubicBezTo>
                        <a:pt x="241" y="1099"/>
                        <a:pt x="477" y="1035"/>
                        <a:pt x="616" y="971"/>
                      </a:cubicBezTo>
                      <a:cubicBezTo>
                        <a:pt x="779" y="895"/>
                        <a:pt x="895" y="739"/>
                        <a:pt x="983" y="607"/>
                      </a:cubicBezTo>
                      <a:cubicBezTo>
                        <a:pt x="1040" y="523"/>
                        <a:pt x="1140" y="323"/>
                        <a:pt x="1196" y="239"/>
                      </a:cubicBezTo>
                      <a:cubicBezTo>
                        <a:pt x="1276" y="121"/>
                        <a:pt x="1486" y="0"/>
                        <a:pt x="1642" y="210"/>
                      </a:cubicBezTo>
                      <a:cubicBezTo>
                        <a:pt x="1742" y="345"/>
                        <a:pt x="1612" y="590"/>
                        <a:pt x="1546" y="683"/>
                      </a:cubicBezTo>
                      <a:cubicBezTo>
                        <a:pt x="1363" y="943"/>
                        <a:pt x="1057" y="1219"/>
                        <a:pt x="720" y="1242"/>
                      </a:cubicBezTo>
                      <a:cubicBezTo>
                        <a:pt x="410" y="1264"/>
                        <a:pt x="185" y="1221"/>
                        <a:pt x="37" y="1172"/>
                      </a:cubicBezTo>
                      <a:close/>
                    </a:path>
                  </a:pathLst>
                </a:custGeom>
                <a:solidFill>
                  <a:srgbClr val="E127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35" name="任意多边形: 形状 234">
                  <a:extLst>
                    <a:ext uri="{FF2B5EF4-FFF2-40B4-BE49-F238E27FC236}">
                      <a16:creationId xmlns:a16="http://schemas.microsoft.com/office/drawing/2014/main" id="{809A253E-529A-4E2D-8333-6D0E2BC97AF0}"/>
                    </a:ext>
                  </a:extLst>
                </p:cNvPr>
                <p:cNvSpPr/>
                <p:nvPr/>
              </p:nvSpPr>
              <p:spPr bwMode="auto">
                <a:xfrm>
                  <a:off x="4473957" y="2446176"/>
                  <a:ext cx="3803022" cy="3194152"/>
                </a:xfrm>
                <a:custGeom>
                  <a:avLst/>
                  <a:gdLst>
                    <a:gd name="T0" fmla="*/ 414 w 1136"/>
                    <a:gd name="T1" fmla="*/ 862 h 955"/>
                    <a:gd name="T2" fmla="*/ 807 w 1136"/>
                    <a:gd name="T3" fmla="*/ 501 h 955"/>
                    <a:gd name="T4" fmla="*/ 915 w 1136"/>
                    <a:gd name="T5" fmla="*/ 314 h 955"/>
                    <a:gd name="T6" fmla="*/ 1020 w 1136"/>
                    <a:gd name="T7" fmla="*/ 133 h 955"/>
                    <a:gd name="T8" fmla="*/ 1136 w 1136"/>
                    <a:gd name="T9" fmla="*/ 26 h 955"/>
                    <a:gd name="T10" fmla="*/ 911 w 1136"/>
                    <a:gd name="T11" fmla="*/ 133 h 955"/>
                    <a:gd name="T12" fmla="*/ 806 w 1136"/>
                    <a:gd name="T13" fmla="*/ 313 h 955"/>
                    <a:gd name="T14" fmla="*/ 698 w 1136"/>
                    <a:gd name="T15" fmla="*/ 501 h 955"/>
                    <a:gd name="T16" fmla="*/ 0 w 1136"/>
                    <a:gd name="T17" fmla="*/ 948 h 955"/>
                    <a:gd name="T18" fmla="*/ 414 w 1136"/>
                    <a:gd name="T19" fmla="*/ 862 h 9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36" h="955">
                      <a:moveTo>
                        <a:pt x="414" y="862"/>
                      </a:moveTo>
                      <a:cubicBezTo>
                        <a:pt x="558" y="788"/>
                        <a:pt x="700" y="661"/>
                        <a:pt x="807" y="501"/>
                      </a:cubicBezTo>
                      <a:cubicBezTo>
                        <a:pt x="836" y="457"/>
                        <a:pt x="875" y="387"/>
                        <a:pt x="915" y="314"/>
                      </a:cubicBezTo>
                      <a:cubicBezTo>
                        <a:pt x="953" y="245"/>
                        <a:pt x="992" y="172"/>
                        <a:pt x="1020" y="133"/>
                      </a:cubicBezTo>
                      <a:cubicBezTo>
                        <a:pt x="1091" y="34"/>
                        <a:pt x="1136" y="26"/>
                        <a:pt x="1136" y="26"/>
                      </a:cubicBezTo>
                      <a:cubicBezTo>
                        <a:pt x="1042" y="0"/>
                        <a:pt x="948" y="77"/>
                        <a:pt x="911" y="133"/>
                      </a:cubicBezTo>
                      <a:cubicBezTo>
                        <a:pt x="884" y="173"/>
                        <a:pt x="844" y="244"/>
                        <a:pt x="806" y="313"/>
                      </a:cubicBezTo>
                      <a:cubicBezTo>
                        <a:pt x="766" y="387"/>
                        <a:pt x="726" y="456"/>
                        <a:pt x="698" y="501"/>
                      </a:cubicBezTo>
                      <a:cubicBezTo>
                        <a:pt x="458" y="881"/>
                        <a:pt x="89" y="943"/>
                        <a:pt x="0" y="948"/>
                      </a:cubicBezTo>
                      <a:cubicBezTo>
                        <a:pt x="131" y="955"/>
                        <a:pt x="281" y="930"/>
                        <a:pt x="414" y="862"/>
                      </a:cubicBezTo>
                      <a:close/>
                    </a:path>
                  </a:pathLst>
                </a:custGeom>
                <a:solidFill>
                  <a:srgbClr val="E65D4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36" name="任意多边形: 形状 235">
                  <a:extLst>
                    <a:ext uri="{FF2B5EF4-FFF2-40B4-BE49-F238E27FC236}">
                      <a16:creationId xmlns:a16="http://schemas.microsoft.com/office/drawing/2014/main" id="{688C816A-C5A3-4371-A6F4-84D58A3DC2A7}"/>
                    </a:ext>
                  </a:extLst>
                </p:cNvPr>
                <p:cNvSpPr/>
                <p:nvPr/>
              </p:nvSpPr>
              <p:spPr bwMode="auto">
                <a:xfrm>
                  <a:off x="3362527" y="2315703"/>
                  <a:ext cx="5790710" cy="3925441"/>
                </a:xfrm>
                <a:custGeom>
                  <a:avLst/>
                  <a:gdLst>
                    <a:gd name="T0" fmla="*/ 1534 w 1730"/>
                    <a:gd name="T1" fmla="*/ 577 h 1174"/>
                    <a:gd name="T2" fmla="*/ 1630 w 1730"/>
                    <a:gd name="T3" fmla="*/ 104 h 1174"/>
                    <a:gd name="T4" fmla="*/ 1494 w 1730"/>
                    <a:gd name="T5" fmla="*/ 0 h 1174"/>
                    <a:gd name="T6" fmla="*/ 1494 w 1730"/>
                    <a:gd name="T7" fmla="*/ 0 h 1174"/>
                    <a:gd name="T8" fmla="*/ 1324 w 1730"/>
                    <a:gd name="T9" fmla="*/ 621 h 1174"/>
                    <a:gd name="T10" fmla="*/ 1 w 1730"/>
                    <a:gd name="T11" fmla="*/ 1030 h 1174"/>
                    <a:gd name="T12" fmla="*/ 25 w 1730"/>
                    <a:gd name="T13" fmla="*/ 1066 h 1174"/>
                    <a:gd name="T14" fmla="*/ 708 w 1730"/>
                    <a:gd name="T15" fmla="*/ 1136 h 1174"/>
                    <a:gd name="T16" fmla="*/ 1534 w 1730"/>
                    <a:gd name="T17" fmla="*/ 577 h 1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30" h="1174">
                      <a:moveTo>
                        <a:pt x="1534" y="577"/>
                      </a:moveTo>
                      <a:cubicBezTo>
                        <a:pt x="1600" y="484"/>
                        <a:pt x="1730" y="239"/>
                        <a:pt x="1630" y="104"/>
                      </a:cubicBezTo>
                      <a:cubicBezTo>
                        <a:pt x="1587" y="47"/>
                        <a:pt x="1541" y="14"/>
                        <a:pt x="1494" y="0"/>
                      </a:cubicBezTo>
                      <a:cubicBezTo>
                        <a:pt x="1494" y="0"/>
                        <a:pt x="1494" y="0"/>
                        <a:pt x="1494" y="0"/>
                      </a:cubicBezTo>
                      <a:cubicBezTo>
                        <a:pt x="1641" y="78"/>
                        <a:pt x="1503" y="392"/>
                        <a:pt x="1324" y="621"/>
                      </a:cubicBezTo>
                      <a:cubicBezTo>
                        <a:pt x="1021" y="1009"/>
                        <a:pt x="466" y="1174"/>
                        <a:pt x="1" y="1030"/>
                      </a:cubicBezTo>
                      <a:cubicBezTo>
                        <a:pt x="0" y="1045"/>
                        <a:pt x="7" y="1060"/>
                        <a:pt x="25" y="1066"/>
                      </a:cubicBezTo>
                      <a:cubicBezTo>
                        <a:pt x="173" y="1115"/>
                        <a:pt x="398" y="1158"/>
                        <a:pt x="708" y="1136"/>
                      </a:cubicBezTo>
                      <a:cubicBezTo>
                        <a:pt x="1045" y="1113"/>
                        <a:pt x="1351" y="837"/>
                        <a:pt x="1534" y="577"/>
                      </a:cubicBezTo>
                      <a:close/>
                    </a:path>
                  </a:pathLst>
                </a:custGeom>
                <a:solidFill>
                  <a:srgbClr val="CC222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37" name="任意多边形: 形状 236">
                  <a:extLst>
                    <a:ext uri="{FF2B5EF4-FFF2-40B4-BE49-F238E27FC236}">
                      <a16:creationId xmlns:a16="http://schemas.microsoft.com/office/drawing/2014/main" id="{0AD04D5B-4E38-4B82-90ED-5F080397CD12}"/>
                    </a:ext>
                  </a:extLst>
                </p:cNvPr>
                <p:cNvSpPr/>
                <p:nvPr/>
              </p:nvSpPr>
              <p:spPr bwMode="auto">
                <a:xfrm>
                  <a:off x="7734151" y="2169123"/>
                  <a:ext cx="1241902" cy="758672"/>
                </a:xfrm>
                <a:custGeom>
                  <a:avLst/>
                  <a:gdLst>
                    <a:gd name="T0" fmla="*/ 261 w 371"/>
                    <a:gd name="T1" fmla="*/ 227 h 227"/>
                    <a:gd name="T2" fmla="*/ 232 w 371"/>
                    <a:gd name="T3" fmla="*/ 162 h 227"/>
                    <a:gd name="T4" fmla="*/ 204 w 371"/>
                    <a:gd name="T5" fmla="*/ 102 h 227"/>
                    <a:gd name="T6" fmla="*/ 74 w 371"/>
                    <a:gd name="T7" fmla="*/ 150 h 227"/>
                    <a:gd name="T8" fmla="*/ 98 w 371"/>
                    <a:gd name="T9" fmla="*/ 101 h 227"/>
                    <a:gd name="T10" fmla="*/ 119 w 371"/>
                    <a:gd name="T11" fmla="*/ 60 h 227"/>
                    <a:gd name="T12" fmla="*/ 71 w 371"/>
                    <a:gd name="T13" fmla="*/ 53 h 227"/>
                    <a:gd name="T14" fmla="*/ 0 w 371"/>
                    <a:gd name="T15" fmla="*/ 14 h 227"/>
                    <a:gd name="T16" fmla="*/ 59 w 371"/>
                    <a:gd name="T17" fmla="*/ 18 h 227"/>
                    <a:gd name="T18" fmla="*/ 227 w 371"/>
                    <a:gd name="T19" fmla="*/ 19 h 227"/>
                    <a:gd name="T20" fmla="*/ 371 w 371"/>
                    <a:gd name="T21" fmla="*/ 211 h 227"/>
                    <a:gd name="T22" fmla="*/ 316 w 371"/>
                    <a:gd name="T23" fmla="*/ 174 h 227"/>
                    <a:gd name="T24" fmla="*/ 287 w 371"/>
                    <a:gd name="T25" fmla="*/ 139 h 227"/>
                    <a:gd name="T26" fmla="*/ 261 w 371"/>
                    <a:gd name="T27" fmla="*/ 227 h 2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71" h="227">
                      <a:moveTo>
                        <a:pt x="261" y="227"/>
                      </a:moveTo>
                      <a:cubicBezTo>
                        <a:pt x="261" y="227"/>
                        <a:pt x="258" y="186"/>
                        <a:pt x="232" y="162"/>
                      </a:cubicBezTo>
                      <a:cubicBezTo>
                        <a:pt x="206" y="138"/>
                        <a:pt x="204" y="102"/>
                        <a:pt x="204" y="102"/>
                      </a:cubicBezTo>
                      <a:cubicBezTo>
                        <a:pt x="195" y="170"/>
                        <a:pt x="74" y="150"/>
                        <a:pt x="74" y="150"/>
                      </a:cubicBezTo>
                      <a:cubicBezTo>
                        <a:pt x="74" y="150"/>
                        <a:pt x="94" y="137"/>
                        <a:pt x="98" y="101"/>
                      </a:cubicBezTo>
                      <a:cubicBezTo>
                        <a:pt x="101" y="65"/>
                        <a:pt x="119" y="60"/>
                        <a:pt x="119" y="60"/>
                      </a:cubicBezTo>
                      <a:cubicBezTo>
                        <a:pt x="119" y="60"/>
                        <a:pt x="119" y="60"/>
                        <a:pt x="71" y="53"/>
                      </a:cubicBezTo>
                      <a:cubicBezTo>
                        <a:pt x="23" y="47"/>
                        <a:pt x="0" y="14"/>
                        <a:pt x="0" y="14"/>
                      </a:cubicBezTo>
                      <a:cubicBezTo>
                        <a:pt x="0" y="14"/>
                        <a:pt x="21" y="23"/>
                        <a:pt x="59" y="18"/>
                      </a:cubicBezTo>
                      <a:cubicBezTo>
                        <a:pt x="118" y="10"/>
                        <a:pt x="156" y="0"/>
                        <a:pt x="227" y="19"/>
                      </a:cubicBezTo>
                      <a:cubicBezTo>
                        <a:pt x="289" y="36"/>
                        <a:pt x="362" y="107"/>
                        <a:pt x="371" y="211"/>
                      </a:cubicBezTo>
                      <a:cubicBezTo>
                        <a:pt x="365" y="196"/>
                        <a:pt x="338" y="190"/>
                        <a:pt x="316" y="174"/>
                      </a:cubicBezTo>
                      <a:cubicBezTo>
                        <a:pt x="302" y="164"/>
                        <a:pt x="287" y="139"/>
                        <a:pt x="287" y="139"/>
                      </a:cubicBezTo>
                      <a:cubicBezTo>
                        <a:pt x="287" y="139"/>
                        <a:pt x="296" y="177"/>
                        <a:pt x="261" y="227"/>
                      </a:cubicBezTo>
                      <a:close/>
                    </a:path>
                  </a:pathLst>
                </a:custGeom>
                <a:solidFill>
                  <a:srgbClr val="38B5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38" name="任意多边形: 形状 237">
                  <a:extLst>
                    <a:ext uri="{FF2B5EF4-FFF2-40B4-BE49-F238E27FC236}">
                      <a16:creationId xmlns:a16="http://schemas.microsoft.com/office/drawing/2014/main" id="{10A1BB08-4B02-445C-9F77-BB1B09909A82}"/>
                    </a:ext>
                  </a:extLst>
                </p:cNvPr>
                <p:cNvSpPr/>
                <p:nvPr/>
              </p:nvSpPr>
              <p:spPr bwMode="auto">
                <a:xfrm>
                  <a:off x="7982209" y="1690725"/>
                  <a:ext cx="1040556" cy="1237070"/>
                </a:xfrm>
                <a:custGeom>
                  <a:avLst/>
                  <a:gdLst>
                    <a:gd name="T0" fmla="*/ 297 w 311"/>
                    <a:gd name="T1" fmla="*/ 354 h 370"/>
                    <a:gd name="T2" fmla="*/ 168 w 311"/>
                    <a:gd name="T3" fmla="*/ 168 h 370"/>
                    <a:gd name="T4" fmla="*/ 168 w 311"/>
                    <a:gd name="T5" fmla="*/ 167 h 370"/>
                    <a:gd name="T6" fmla="*/ 221 w 311"/>
                    <a:gd name="T7" fmla="*/ 69 h 370"/>
                    <a:gd name="T8" fmla="*/ 288 w 311"/>
                    <a:gd name="T9" fmla="*/ 43 h 370"/>
                    <a:gd name="T10" fmla="*/ 275 w 311"/>
                    <a:gd name="T11" fmla="*/ 0 h 370"/>
                    <a:gd name="T12" fmla="*/ 139 w 311"/>
                    <a:gd name="T13" fmla="*/ 158 h 370"/>
                    <a:gd name="T14" fmla="*/ 139 w 311"/>
                    <a:gd name="T15" fmla="*/ 159 h 370"/>
                    <a:gd name="T16" fmla="*/ 46 w 311"/>
                    <a:gd name="T17" fmla="*/ 259 h 370"/>
                    <a:gd name="T18" fmla="*/ 45 w 311"/>
                    <a:gd name="T19" fmla="*/ 203 h 370"/>
                    <a:gd name="T20" fmla="*/ 37 w 311"/>
                    <a:gd name="T21" fmla="*/ 209 h 370"/>
                    <a:gd name="T22" fmla="*/ 24 w 311"/>
                    <a:gd name="T23" fmla="*/ 244 h 370"/>
                    <a:gd name="T24" fmla="*/ 0 w 311"/>
                    <a:gd name="T25" fmla="*/ 293 h 370"/>
                    <a:gd name="T26" fmla="*/ 130 w 311"/>
                    <a:gd name="T27" fmla="*/ 245 h 370"/>
                    <a:gd name="T28" fmla="*/ 158 w 311"/>
                    <a:gd name="T29" fmla="*/ 305 h 370"/>
                    <a:gd name="T30" fmla="*/ 187 w 311"/>
                    <a:gd name="T31" fmla="*/ 370 h 370"/>
                    <a:gd name="T32" fmla="*/ 213 w 311"/>
                    <a:gd name="T33" fmla="*/ 282 h 370"/>
                    <a:gd name="T34" fmla="*/ 242 w 311"/>
                    <a:gd name="T35" fmla="*/ 317 h 370"/>
                    <a:gd name="T36" fmla="*/ 297 w 311"/>
                    <a:gd name="T37" fmla="*/ 354 h 3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1" h="370">
                      <a:moveTo>
                        <a:pt x="297" y="354"/>
                      </a:moveTo>
                      <a:cubicBezTo>
                        <a:pt x="289" y="258"/>
                        <a:pt x="226" y="190"/>
                        <a:pt x="168" y="168"/>
                      </a:cubicBezTo>
                      <a:cubicBezTo>
                        <a:pt x="168" y="167"/>
                        <a:pt x="168" y="167"/>
                        <a:pt x="168" y="167"/>
                      </a:cubicBezTo>
                      <a:cubicBezTo>
                        <a:pt x="168" y="167"/>
                        <a:pt x="166" y="106"/>
                        <a:pt x="221" y="69"/>
                      </a:cubicBezTo>
                      <a:cubicBezTo>
                        <a:pt x="261" y="43"/>
                        <a:pt x="288" y="43"/>
                        <a:pt x="288" y="43"/>
                      </a:cubicBezTo>
                      <a:cubicBezTo>
                        <a:pt x="288" y="43"/>
                        <a:pt x="311" y="21"/>
                        <a:pt x="275" y="0"/>
                      </a:cubicBezTo>
                      <a:cubicBezTo>
                        <a:pt x="149" y="21"/>
                        <a:pt x="139" y="158"/>
                        <a:pt x="139" y="158"/>
                      </a:cubicBezTo>
                      <a:cubicBezTo>
                        <a:pt x="139" y="158"/>
                        <a:pt x="139" y="158"/>
                        <a:pt x="139" y="159"/>
                      </a:cubicBezTo>
                      <a:cubicBezTo>
                        <a:pt x="148" y="249"/>
                        <a:pt x="46" y="259"/>
                        <a:pt x="46" y="259"/>
                      </a:cubicBezTo>
                      <a:cubicBezTo>
                        <a:pt x="46" y="259"/>
                        <a:pt x="34" y="229"/>
                        <a:pt x="45" y="203"/>
                      </a:cubicBezTo>
                      <a:cubicBezTo>
                        <a:pt x="45" y="203"/>
                        <a:pt x="41" y="204"/>
                        <a:pt x="37" y="209"/>
                      </a:cubicBezTo>
                      <a:cubicBezTo>
                        <a:pt x="32" y="214"/>
                        <a:pt x="26" y="225"/>
                        <a:pt x="24" y="244"/>
                      </a:cubicBezTo>
                      <a:cubicBezTo>
                        <a:pt x="20" y="280"/>
                        <a:pt x="0" y="293"/>
                        <a:pt x="0" y="293"/>
                      </a:cubicBezTo>
                      <a:cubicBezTo>
                        <a:pt x="0" y="293"/>
                        <a:pt x="121" y="313"/>
                        <a:pt x="130" y="245"/>
                      </a:cubicBezTo>
                      <a:cubicBezTo>
                        <a:pt x="130" y="245"/>
                        <a:pt x="132" y="281"/>
                        <a:pt x="158" y="305"/>
                      </a:cubicBezTo>
                      <a:cubicBezTo>
                        <a:pt x="184" y="329"/>
                        <a:pt x="187" y="370"/>
                        <a:pt x="187" y="370"/>
                      </a:cubicBezTo>
                      <a:cubicBezTo>
                        <a:pt x="222" y="320"/>
                        <a:pt x="213" y="282"/>
                        <a:pt x="213" y="282"/>
                      </a:cubicBezTo>
                      <a:cubicBezTo>
                        <a:pt x="213" y="282"/>
                        <a:pt x="228" y="307"/>
                        <a:pt x="242" y="317"/>
                      </a:cubicBezTo>
                      <a:cubicBezTo>
                        <a:pt x="264" y="333"/>
                        <a:pt x="291" y="339"/>
                        <a:pt x="297" y="354"/>
                      </a:cubicBezTo>
                      <a:close/>
                    </a:path>
                  </a:pathLst>
                </a:custGeom>
                <a:solidFill>
                  <a:srgbClr val="32A54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239" name="组合 23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<p:cNvGrpSpPr>
                <a:grpSpLocks noChangeAspect="1"/>
              </p:cNvGrpSpPr>
              <p:nvPr userDrawn="1">
                <p:custDataLst>
                  <p:tags r:id="rId2"/>
                </p:custDataLst>
              </p:nvPr>
            </p:nvGrpSpPr>
            <p:grpSpPr>
              <a:xfrm>
                <a:off x="8970669" y="3530322"/>
                <a:ext cx="488306" cy="416269"/>
                <a:chOff x="3038763" y="1028700"/>
                <a:chExt cx="6114474" cy="5212444"/>
              </a:xfrm>
            </p:grpSpPr>
            <p:sp>
              <p:nvSpPr>
                <p:cNvPr id="240" name="任意多边形: 形状 239">
                  <a:extLst>
                    <a:ext uri="{FF2B5EF4-FFF2-40B4-BE49-F238E27FC236}">
                      <a16:creationId xmlns:a16="http://schemas.microsoft.com/office/drawing/2014/main" id="{F50F64CE-F66D-42A7-BBCB-C4A130B939CA}"/>
                    </a:ext>
                  </a:extLst>
                </p:cNvPr>
                <p:cNvSpPr/>
                <p:nvPr/>
              </p:nvSpPr>
              <p:spPr bwMode="auto">
                <a:xfrm>
                  <a:off x="3038763" y="1326692"/>
                  <a:ext cx="3931884" cy="3730538"/>
                </a:xfrm>
                <a:custGeom>
                  <a:avLst/>
                  <a:gdLst>
                    <a:gd name="T0" fmla="*/ 32 w 1175"/>
                    <a:gd name="T1" fmla="*/ 1103 h 1116"/>
                    <a:gd name="T2" fmla="*/ 29 w 1175"/>
                    <a:gd name="T3" fmla="*/ 1050 h 1116"/>
                    <a:gd name="T4" fmla="*/ 432 w 1175"/>
                    <a:gd name="T5" fmla="*/ 862 h 1116"/>
                    <a:gd name="T6" fmla="*/ 650 w 1175"/>
                    <a:gd name="T7" fmla="*/ 532 h 1116"/>
                    <a:gd name="T8" fmla="*/ 751 w 1175"/>
                    <a:gd name="T9" fmla="*/ 223 h 1116"/>
                    <a:gd name="T10" fmla="*/ 1079 w 1175"/>
                    <a:gd name="T11" fmla="*/ 132 h 1116"/>
                    <a:gd name="T12" fmla="*/ 1082 w 1175"/>
                    <a:gd name="T13" fmla="*/ 500 h 1116"/>
                    <a:gd name="T14" fmla="*/ 553 w 1175"/>
                    <a:gd name="T15" fmla="*/ 1048 h 1116"/>
                    <a:gd name="T16" fmla="*/ 32 w 1175"/>
                    <a:gd name="T17" fmla="*/ 1103 h 1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75" h="1116">
                      <a:moveTo>
                        <a:pt x="32" y="1103"/>
                      </a:moveTo>
                      <a:cubicBezTo>
                        <a:pt x="2" y="1100"/>
                        <a:pt x="0" y="1057"/>
                        <a:pt x="29" y="1050"/>
                      </a:cubicBezTo>
                      <a:cubicBezTo>
                        <a:pt x="173" y="1016"/>
                        <a:pt x="339" y="931"/>
                        <a:pt x="432" y="862"/>
                      </a:cubicBezTo>
                      <a:cubicBezTo>
                        <a:pt x="543" y="779"/>
                        <a:pt x="605" y="644"/>
                        <a:pt x="650" y="532"/>
                      </a:cubicBezTo>
                      <a:cubicBezTo>
                        <a:pt x="679" y="460"/>
                        <a:pt x="722" y="295"/>
                        <a:pt x="751" y="223"/>
                      </a:cubicBezTo>
                      <a:cubicBezTo>
                        <a:pt x="792" y="123"/>
                        <a:pt x="930" y="0"/>
                        <a:pt x="1079" y="132"/>
                      </a:cubicBezTo>
                      <a:cubicBezTo>
                        <a:pt x="1175" y="217"/>
                        <a:pt x="1116" y="420"/>
                        <a:pt x="1082" y="500"/>
                      </a:cubicBezTo>
                      <a:cubicBezTo>
                        <a:pt x="987" y="723"/>
                        <a:pt x="801" y="977"/>
                        <a:pt x="553" y="1048"/>
                      </a:cubicBezTo>
                      <a:cubicBezTo>
                        <a:pt x="325" y="1113"/>
                        <a:pt x="151" y="1116"/>
                        <a:pt x="32" y="1103"/>
                      </a:cubicBezTo>
                      <a:close/>
                    </a:path>
                  </a:pathLst>
                </a:custGeom>
                <a:solidFill>
                  <a:srgbClr val="E127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41" name="任意多边形: 形状 240">
                  <a:extLst>
                    <a:ext uri="{FF2B5EF4-FFF2-40B4-BE49-F238E27FC236}">
                      <a16:creationId xmlns:a16="http://schemas.microsoft.com/office/drawing/2014/main" id="{2153FFA2-5024-4857-A14D-8923CD426280}"/>
                    </a:ext>
                  </a:extLst>
                </p:cNvPr>
                <p:cNvSpPr/>
                <p:nvPr/>
              </p:nvSpPr>
              <p:spPr bwMode="auto">
                <a:xfrm>
                  <a:off x="3871530" y="1737438"/>
                  <a:ext cx="2356553" cy="2915489"/>
                </a:xfrm>
                <a:custGeom>
                  <a:avLst/>
                  <a:gdLst>
                    <a:gd name="T0" fmla="*/ 295 w 704"/>
                    <a:gd name="T1" fmla="*/ 743 h 872"/>
                    <a:gd name="T2" fmla="*/ 532 w 704"/>
                    <a:gd name="T3" fmla="*/ 412 h 872"/>
                    <a:gd name="T4" fmla="*/ 584 w 704"/>
                    <a:gd name="T5" fmla="*/ 255 h 872"/>
                    <a:gd name="T6" fmla="*/ 633 w 704"/>
                    <a:gd name="T7" fmla="*/ 104 h 872"/>
                    <a:gd name="T8" fmla="*/ 704 w 704"/>
                    <a:gd name="T9" fmla="*/ 5 h 872"/>
                    <a:gd name="T10" fmla="*/ 552 w 704"/>
                    <a:gd name="T11" fmla="*/ 120 h 872"/>
                    <a:gd name="T12" fmla="*/ 502 w 704"/>
                    <a:gd name="T13" fmla="*/ 272 h 872"/>
                    <a:gd name="T14" fmla="*/ 451 w 704"/>
                    <a:gd name="T15" fmla="*/ 429 h 872"/>
                    <a:gd name="T16" fmla="*/ 0 w 704"/>
                    <a:gd name="T17" fmla="*/ 872 h 872"/>
                    <a:gd name="T18" fmla="*/ 295 w 704"/>
                    <a:gd name="T19" fmla="*/ 743 h 8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04" h="872">
                      <a:moveTo>
                        <a:pt x="295" y="743"/>
                      </a:moveTo>
                      <a:cubicBezTo>
                        <a:pt x="392" y="665"/>
                        <a:pt x="477" y="548"/>
                        <a:pt x="532" y="412"/>
                      </a:cubicBezTo>
                      <a:cubicBezTo>
                        <a:pt x="547" y="374"/>
                        <a:pt x="565" y="316"/>
                        <a:pt x="584" y="255"/>
                      </a:cubicBezTo>
                      <a:cubicBezTo>
                        <a:pt x="601" y="197"/>
                        <a:pt x="618" y="137"/>
                        <a:pt x="633" y="104"/>
                      </a:cubicBezTo>
                      <a:cubicBezTo>
                        <a:pt x="671" y="18"/>
                        <a:pt x="704" y="5"/>
                        <a:pt x="704" y="5"/>
                      </a:cubicBezTo>
                      <a:cubicBezTo>
                        <a:pt x="629" y="0"/>
                        <a:pt x="571" y="73"/>
                        <a:pt x="552" y="120"/>
                      </a:cubicBezTo>
                      <a:cubicBezTo>
                        <a:pt x="538" y="155"/>
                        <a:pt x="520" y="214"/>
                        <a:pt x="502" y="272"/>
                      </a:cubicBezTo>
                      <a:cubicBezTo>
                        <a:pt x="483" y="333"/>
                        <a:pt x="465" y="391"/>
                        <a:pt x="451" y="429"/>
                      </a:cubicBezTo>
                      <a:cubicBezTo>
                        <a:pt x="332" y="750"/>
                        <a:pt x="66" y="855"/>
                        <a:pt x="0" y="872"/>
                      </a:cubicBezTo>
                      <a:cubicBezTo>
                        <a:pt x="99" y="857"/>
                        <a:pt x="207" y="815"/>
                        <a:pt x="295" y="743"/>
                      </a:cubicBezTo>
                      <a:close/>
                    </a:path>
                  </a:pathLst>
                </a:custGeom>
                <a:solidFill>
                  <a:srgbClr val="E65D4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42" name="任意多边形: 形状 241">
                  <a:extLst>
                    <a:ext uri="{FF2B5EF4-FFF2-40B4-BE49-F238E27FC236}">
                      <a16:creationId xmlns:a16="http://schemas.microsoft.com/office/drawing/2014/main" id="{1087E211-5003-41CF-B69F-C9C51167BB13}"/>
                    </a:ext>
                  </a:extLst>
                </p:cNvPr>
                <p:cNvSpPr/>
                <p:nvPr/>
              </p:nvSpPr>
              <p:spPr bwMode="auto">
                <a:xfrm>
                  <a:off x="3064535" y="1577972"/>
                  <a:ext cx="3906112" cy="3479258"/>
                </a:xfrm>
                <a:custGeom>
                  <a:avLst/>
                  <a:gdLst>
                    <a:gd name="T0" fmla="*/ 1074 w 1167"/>
                    <a:gd name="T1" fmla="*/ 425 h 1041"/>
                    <a:gd name="T2" fmla="*/ 1071 w 1167"/>
                    <a:gd name="T3" fmla="*/ 57 h 1041"/>
                    <a:gd name="T4" fmla="*/ 953 w 1167"/>
                    <a:gd name="T5" fmla="*/ 0 h 1041"/>
                    <a:gd name="T6" fmla="*/ 953 w 1167"/>
                    <a:gd name="T7" fmla="*/ 0 h 1041"/>
                    <a:gd name="T8" fmla="*/ 924 w 1167"/>
                    <a:gd name="T9" fmla="*/ 491 h 1041"/>
                    <a:gd name="T10" fmla="*/ 0 w 1167"/>
                    <a:gd name="T11" fmla="*/ 1004 h 1041"/>
                    <a:gd name="T12" fmla="*/ 24 w 1167"/>
                    <a:gd name="T13" fmla="*/ 1028 h 1041"/>
                    <a:gd name="T14" fmla="*/ 545 w 1167"/>
                    <a:gd name="T15" fmla="*/ 973 h 1041"/>
                    <a:gd name="T16" fmla="*/ 1074 w 1167"/>
                    <a:gd name="T17" fmla="*/ 425 h 10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67" h="1041">
                      <a:moveTo>
                        <a:pt x="1074" y="425"/>
                      </a:moveTo>
                      <a:cubicBezTo>
                        <a:pt x="1108" y="345"/>
                        <a:pt x="1167" y="142"/>
                        <a:pt x="1071" y="57"/>
                      </a:cubicBezTo>
                      <a:cubicBezTo>
                        <a:pt x="1031" y="21"/>
                        <a:pt x="991" y="4"/>
                        <a:pt x="953" y="0"/>
                      </a:cubicBezTo>
                      <a:cubicBezTo>
                        <a:pt x="953" y="0"/>
                        <a:pt x="953" y="0"/>
                        <a:pt x="953" y="0"/>
                      </a:cubicBezTo>
                      <a:cubicBezTo>
                        <a:pt x="1076" y="36"/>
                        <a:pt x="1022" y="292"/>
                        <a:pt x="924" y="491"/>
                      </a:cubicBezTo>
                      <a:cubicBezTo>
                        <a:pt x="759" y="828"/>
                        <a:pt x="371" y="1039"/>
                        <a:pt x="0" y="1004"/>
                      </a:cubicBezTo>
                      <a:cubicBezTo>
                        <a:pt x="2" y="1016"/>
                        <a:pt x="10" y="1026"/>
                        <a:pt x="24" y="1028"/>
                      </a:cubicBezTo>
                      <a:cubicBezTo>
                        <a:pt x="143" y="1041"/>
                        <a:pt x="317" y="1038"/>
                        <a:pt x="545" y="973"/>
                      </a:cubicBezTo>
                      <a:cubicBezTo>
                        <a:pt x="793" y="902"/>
                        <a:pt x="979" y="648"/>
                        <a:pt x="1074" y="425"/>
                      </a:cubicBezTo>
                      <a:close/>
                    </a:path>
                  </a:pathLst>
                </a:custGeom>
                <a:solidFill>
                  <a:srgbClr val="CC222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43" name="任意多边形: 形状 242">
                  <a:extLst>
                    <a:ext uri="{FF2B5EF4-FFF2-40B4-BE49-F238E27FC236}">
                      <a16:creationId xmlns:a16="http://schemas.microsoft.com/office/drawing/2014/main" id="{E9A93259-29C7-446A-9E33-1F28F9A6C90A}"/>
                    </a:ext>
                  </a:extLst>
                </p:cNvPr>
                <p:cNvSpPr/>
                <p:nvPr/>
              </p:nvSpPr>
              <p:spPr bwMode="auto">
                <a:xfrm>
                  <a:off x="5769014" y="1486158"/>
                  <a:ext cx="1030891" cy="512224"/>
                </a:xfrm>
                <a:custGeom>
                  <a:avLst/>
                  <a:gdLst>
                    <a:gd name="T0" fmla="*/ 229 w 308"/>
                    <a:gd name="T1" fmla="*/ 153 h 153"/>
                    <a:gd name="T2" fmla="*/ 197 w 308"/>
                    <a:gd name="T3" fmla="*/ 109 h 153"/>
                    <a:gd name="T4" fmla="*/ 166 w 308"/>
                    <a:gd name="T5" fmla="*/ 69 h 153"/>
                    <a:gd name="T6" fmla="*/ 77 w 308"/>
                    <a:gd name="T7" fmla="*/ 125 h 153"/>
                    <a:gd name="T8" fmla="*/ 87 w 308"/>
                    <a:gd name="T9" fmla="*/ 85 h 153"/>
                    <a:gd name="T10" fmla="*/ 96 w 308"/>
                    <a:gd name="T11" fmla="*/ 50 h 153"/>
                    <a:gd name="T12" fmla="*/ 59 w 308"/>
                    <a:gd name="T13" fmla="*/ 53 h 153"/>
                    <a:gd name="T14" fmla="*/ 0 w 308"/>
                    <a:gd name="T15" fmla="*/ 35 h 153"/>
                    <a:gd name="T16" fmla="*/ 45 w 308"/>
                    <a:gd name="T17" fmla="*/ 29 h 153"/>
                    <a:gd name="T18" fmla="*/ 171 w 308"/>
                    <a:gd name="T19" fmla="*/ 3 h 153"/>
                    <a:gd name="T20" fmla="*/ 308 w 308"/>
                    <a:gd name="T21" fmla="*/ 124 h 153"/>
                    <a:gd name="T22" fmla="*/ 261 w 308"/>
                    <a:gd name="T23" fmla="*/ 105 h 153"/>
                    <a:gd name="T24" fmla="*/ 234 w 308"/>
                    <a:gd name="T25" fmla="*/ 83 h 153"/>
                    <a:gd name="T26" fmla="*/ 229 w 308"/>
                    <a:gd name="T27" fmla="*/ 153 h 1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08" h="153">
                      <a:moveTo>
                        <a:pt x="229" y="153"/>
                      </a:moveTo>
                      <a:cubicBezTo>
                        <a:pt x="229" y="153"/>
                        <a:pt x="220" y="122"/>
                        <a:pt x="197" y="109"/>
                      </a:cubicBezTo>
                      <a:cubicBezTo>
                        <a:pt x="174" y="95"/>
                        <a:pt x="166" y="69"/>
                        <a:pt x="166" y="69"/>
                      </a:cubicBezTo>
                      <a:cubicBezTo>
                        <a:pt x="170" y="120"/>
                        <a:pt x="77" y="125"/>
                        <a:pt x="77" y="125"/>
                      </a:cubicBezTo>
                      <a:cubicBezTo>
                        <a:pt x="77" y="125"/>
                        <a:pt x="90" y="112"/>
                        <a:pt x="87" y="85"/>
                      </a:cubicBezTo>
                      <a:cubicBezTo>
                        <a:pt x="84" y="57"/>
                        <a:pt x="96" y="50"/>
                        <a:pt x="96" y="50"/>
                      </a:cubicBezTo>
                      <a:cubicBezTo>
                        <a:pt x="96" y="50"/>
                        <a:pt x="96" y="50"/>
                        <a:pt x="59" y="53"/>
                      </a:cubicBezTo>
                      <a:cubicBezTo>
                        <a:pt x="23" y="56"/>
                        <a:pt x="0" y="35"/>
                        <a:pt x="0" y="35"/>
                      </a:cubicBezTo>
                      <a:cubicBezTo>
                        <a:pt x="0" y="35"/>
                        <a:pt x="18" y="38"/>
                        <a:pt x="45" y="29"/>
                      </a:cubicBezTo>
                      <a:cubicBezTo>
                        <a:pt x="88" y="13"/>
                        <a:pt x="115" y="0"/>
                        <a:pt x="171" y="3"/>
                      </a:cubicBezTo>
                      <a:cubicBezTo>
                        <a:pt x="220" y="6"/>
                        <a:pt x="285" y="47"/>
                        <a:pt x="308" y="124"/>
                      </a:cubicBezTo>
                      <a:cubicBezTo>
                        <a:pt x="301" y="113"/>
                        <a:pt x="281" y="113"/>
                        <a:pt x="261" y="105"/>
                      </a:cubicBezTo>
                      <a:cubicBezTo>
                        <a:pt x="249" y="100"/>
                        <a:pt x="234" y="83"/>
                        <a:pt x="234" y="83"/>
                      </a:cubicBezTo>
                      <a:cubicBezTo>
                        <a:pt x="234" y="83"/>
                        <a:pt x="247" y="110"/>
                        <a:pt x="229" y="153"/>
                      </a:cubicBezTo>
                      <a:close/>
                    </a:path>
                  </a:pathLst>
                </a:custGeom>
                <a:solidFill>
                  <a:srgbClr val="38B5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44" name="任意多边形: 形状 243">
                  <a:extLst>
                    <a:ext uri="{FF2B5EF4-FFF2-40B4-BE49-F238E27FC236}">
                      <a16:creationId xmlns:a16="http://schemas.microsoft.com/office/drawing/2014/main" id="{6AD1CD86-2833-411F-A94D-1B13BCE5BC7E}"/>
                    </a:ext>
                  </a:extLst>
                </p:cNvPr>
                <p:cNvSpPr/>
                <p:nvPr/>
              </p:nvSpPr>
              <p:spPr bwMode="auto">
                <a:xfrm>
                  <a:off x="6026737" y="1028700"/>
                  <a:ext cx="773168" cy="969682"/>
                </a:xfrm>
                <a:custGeom>
                  <a:avLst/>
                  <a:gdLst>
                    <a:gd name="T0" fmla="*/ 231 w 231"/>
                    <a:gd name="T1" fmla="*/ 261 h 290"/>
                    <a:gd name="T2" fmla="*/ 106 w 231"/>
                    <a:gd name="T3" fmla="*/ 142 h 290"/>
                    <a:gd name="T4" fmla="*/ 106 w 231"/>
                    <a:gd name="T5" fmla="*/ 141 h 290"/>
                    <a:gd name="T6" fmla="*/ 130 w 231"/>
                    <a:gd name="T7" fmla="*/ 60 h 290"/>
                    <a:gd name="T8" fmla="*/ 176 w 231"/>
                    <a:gd name="T9" fmla="*/ 29 h 290"/>
                    <a:gd name="T10" fmla="*/ 159 w 231"/>
                    <a:gd name="T11" fmla="*/ 0 h 290"/>
                    <a:gd name="T12" fmla="*/ 82 w 231"/>
                    <a:gd name="T13" fmla="*/ 139 h 290"/>
                    <a:gd name="T14" fmla="*/ 82 w 231"/>
                    <a:gd name="T15" fmla="*/ 140 h 290"/>
                    <a:gd name="T16" fmla="*/ 29 w 231"/>
                    <a:gd name="T17" fmla="*/ 229 h 290"/>
                    <a:gd name="T18" fmla="*/ 19 w 231"/>
                    <a:gd name="T19" fmla="*/ 187 h 290"/>
                    <a:gd name="T20" fmla="*/ 14 w 231"/>
                    <a:gd name="T21" fmla="*/ 193 h 290"/>
                    <a:gd name="T22" fmla="*/ 10 w 231"/>
                    <a:gd name="T23" fmla="*/ 222 h 290"/>
                    <a:gd name="T24" fmla="*/ 0 w 231"/>
                    <a:gd name="T25" fmla="*/ 262 h 290"/>
                    <a:gd name="T26" fmla="*/ 89 w 231"/>
                    <a:gd name="T27" fmla="*/ 206 h 290"/>
                    <a:gd name="T28" fmla="*/ 120 w 231"/>
                    <a:gd name="T29" fmla="*/ 246 h 290"/>
                    <a:gd name="T30" fmla="*/ 152 w 231"/>
                    <a:gd name="T31" fmla="*/ 290 h 290"/>
                    <a:gd name="T32" fmla="*/ 157 w 231"/>
                    <a:gd name="T33" fmla="*/ 220 h 290"/>
                    <a:gd name="T34" fmla="*/ 184 w 231"/>
                    <a:gd name="T35" fmla="*/ 242 h 290"/>
                    <a:gd name="T36" fmla="*/ 231 w 231"/>
                    <a:gd name="T37" fmla="*/ 261 h 2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31" h="290">
                      <a:moveTo>
                        <a:pt x="231" y="261"/>
                      </a:moveTo>
                      <a:cubicBezTo>
                        <a:pt x="210" y="190"/>
                        <a:pt x="153" y="150"/>
                        <a:pt x="106" y="142"/>
                      </a:cubicBezTo>
                      <a:cubicBezTo>
                        <a:pt x="106" y="141"/>
                        <a:pt x="106" y="141"/>
                        <a:pt x="106" y="141"/>
                      </a:cubicBezTo>
                      <a:cubicBezTo>
                        <a:pt x="106" y="141"/>
                        <a:pt x="94" y="96"/>
                        <a:pt x="130" y="60"/>
                      </a:cubicBezTo>
                      <a:cubicBezTo>
                        <a:pt x="156" y="34"/>
                        <a:pt x="176" y="29"/>
                        <a:pt x="176" y="29"/>
                      </a:cubicBezTo>
                      <a:cubicBezTo>
                        <a:pt x="176" y="29"/>
                        <a:pt x="190" y="10"/>
                        <a:pt x="159" y="0"/>
                      </a:cubicBezTo>
                      <a:cubicBezTo>
                        <a:pt x="68" y="35"/>
                        <a:pt x="82" y="139"/>
                        <a:pt x="82" y="139"/>
                      </a:cubicBezTo>
                      <a:cubicBezTo>
                        <a:pt x="82" y="139"/>
                        <a:pt x="82" y="139"/>
                        <a:pt x="82" y="140"/>
                      </a:cubicBezTo>
                      <a:cubicBezTo>
                        <a:pt x="104" y="205"/>
                        <a:pt x="29" y="229"/>
                        <a:pt x="29" y="229"/>
                      </a:cubicBezTo>
                      <a:cubicBezTo>
                        <a:pt x="29" y="229"/>
                        <a:pt x="15" y="209"/>
                        <a:pt x="19" y="187"/>
                      </a:cubicBezTo>
                      <a:cubicBezTo>
                        <a:pt x="19" y="187"/>
                        <a:pt x="17" y="189"/>
                        <a:pt x="14" y="193"/>
                      </a:cubicBezTo>
                      <a:cubicBezTo>
                        <a:pt x="11" y="198"/>
                        <a:pt x="8" y="207"/>
                        <a:pt x="10" y="222"/>
                      </a:cubicBezTo>
                      <a:cubicBezTo>
                        <a:pt x="13" y="249"/>
                        <a:pt x="0" y="262"/>
                        <a:pt x="0" y="262"/>
                      </a:cubicBezTo>
                      <a:cubicBezTo>
                        <a:pt x="0" y="262"/>
                        <a:pt x="93" y="257"/>
                        <a:pt x="89" y="206"/>
                      </a:cubicBezTo>
                      <a:cubicBezTo>
                        <a:pt x="89" y="206"/>
                        <a:pt x="97" y="232"/>
                        <a:pt x="120" y="246"/>
                      </a:cubicBezTo>
                      <a:cubicBezTo>
                        <a:pt x="143" y="259"/>
                        <a:pt x="152" y="290"/>
                        <a:pt x="152" y="290"/>
                      </a:cubicBezTo>
                      <a:cubicBezTo>
                        <a:pt x="170" y="247"/>
                        <a:pt x="157" y="220"/>
                        <a:pt x="157" y="220"/>
                      </a:cubicBezTo>
                      <a:cubicBezTo>
                        <a:pt x="157" y="220"/>
                        <a:pt x="172" y="237"/>
                        <a:pt x="184" y="242"/>
                      </a:cubicBezTo>
                      <a:cubicBezTo>
                        <a:pt x="204" y="250"/>
                        <a:pt x="224" y="250"/>
                        <a:pt x="231" y="261"/>
                      </a:cubicBezTo>
                      <a:close/>
                    </a:path>
                  </a:pathLst>
                </a:custGeom>
                <a:solidFill>
                  <a:srgbClr val="32A54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45" name="任意多边形: 形状 244">
                  <a:extLst>
                    <a:ext uri="{FF2B5EF4-FFF2-40B4-BE49-F238E27FC236}">
                      <a16:creationId xmlns:a16="http://schemas.microsoft.com/office/drawing/2014/main" id="{BAEB5607-7303-4069-A830-67C69C5D9DAA}"/>
                    </a:ext>
                  </a:extLst>
                </p:cNvPr>
                <p:cNvSpPr/>
                <p:nvPr/>
              </p:nvSpPr>
              <p:spPr bwMode="auto">
                <a:xfrm>
                  <a:off x="3322258" y="1961334"/>
                  <a:ext cx="5830979" cy="4226654"/>
                </a:xfrm>
                <a:custGeom>
                  <a:avLst/>
                  <a:gdLst>
                    <a:gd name="T0" fmla="*/ 37 w 1742"/>
                    <a:gd name="T1" fmla="*/ 1172 h 1264"/>
                    <a:gd name="T2" fmla="*/ 47 w 1742"/>
                    <a:gd name="T3" fmla="*/ 1104 h 1264"/>
                    <a:gd name="T4" fmla="*/ 616 w 1742"/>
                    <a:gd name="T5" fmla="*/ 971 h 1264"/>
                    <a:gd name="T6" fmla="*/ 983 w 1742"/>
                    <a:gd name="T7" fmla="*/ 607 h 1264"/>
                    <a:gd name="T8" fmla="*/ 1196 w 1742"/>
                    <a:gd name="T9" fmla="*/ 239 h 1264"/>
                    <a:gd name="T10" fmla="*/ 1642 w 1742"/>
                    <a:gd name="T11" fmla="*/ 210 h 1264"/>
                    <a:gd name="T12" fmla="*/ 1546 w 1742"/>
                    <a:gd name="T13" fmla="*/ 683 h 1264"/>
                    <a:gd name="T14" fmla="*/ 720 w 1742"/>
                    <a:gd name="T15" fmla="*/ 1242 h 1264"/>
                    <a:gd name="T16" fmla="*/ 37 w 1742"/>
                    <a:gd name="T17" fmla="*/ 1172 h 12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42" h="1264">
                      <a:moveTo>
                        <a:pt x="37" y="1172"/>
                      </a:moveTo>
                      <a:cubicBezTo>
                        <a:pt x="0" y="1160"/>
                        <a:pt x="8" y="1105"/>
                        <a:pt x="47" y="1104"/>
                      </a:cubicBezTo>
                      <a:cubicBezTo>
                        <a:pt x="241" y="1099"/>
                        <a:pt x="477" y="1035"/>
                        <a:pt x="616" y="971"/>
                      </a:cubicBezTo>
                      <a:cubicBezTo>
                        <a:pt x="779" y="895"/>
                        <a:pt x="895" y="739"/>
                        <a:pt x="983" y="607"/>
                      </a:cubicBezTo>
                      <a:cubicBezTo>
                        <a:pt x="1040" y="523"/>
                        <a:pt x="1140" y="323"/>
                        <a:pt x="1196" y="239"/>
                      </a:cubicBezTo>
                      <a:cubicBezTo>
                        <a:pt x="1276" y="121"/>
                        <a:pt x="1486" y="0"/>
                        <a:pt x="1642" y="210"/>
                      </a:cubicBezTo>
                      <a:cubicBezTo>
                        <a:pt x="1742" y="345"/>
                        <a:pt x="1612" y="590"/>
                        <a:pt x="1546" y="683"/>
                      </a:cubicBezTo>
                      <a:cubicBezTo>
                        <a:pt x="1363" y="943"/>
                        <a:pt x="1057" y="1219"/>
                        <a:pt x="720" y="1242"/>
                      </a:cubicBezTo>
                      <a:cubicBezTo>
                        <a:pt x="410" y="1264"/>
                        <a:pt x="185" y="1221"/>
                        <a:pt x="37" y="1172"/>
                      </a:cubicBezTo>
                      <a:close/>
                    </a:path>
                  </a:pathLst>
                </a:custGeom>
                <a:solidFill>
                  <a:srgbClr val="E127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46" name="任意多边形: 形状 245">
                  <a:extLst>
                    <a:ext uri="{FF2B5EF4-FFF2-40B4-BE49-F238E27FC236}">
                      <a16:creationId xmlns:a16="http://schemas.microsoft.com/office/drawing/2014/main" id="{809A253E-529A-4E2D-8333-6D0E2BC97AF0}"/>
                    </a:ext>
                  </a:extLst>
                </p:cNvPr>
                <p:cNvSpPr/>
                <p:nvPr/>
              </p:nvSpPr>
              <p:spPr bwMode="auto">
                <a:xfrm>
                  <a:off x="4473957" y="2446176"/>
                  <a:ext cx="3803022" cy="3194152"/>
                </a:xfrm>
                <a:custGeom>
                  <a:avLst/>
                  <a:gdLst>
                    <a:gd name="T0" fmla="*/ 414 w 1136"/>
                    <a:gd name="T1" fmla="*/ 862 h 955"/>
                    <a:gd name="T2" fmla="*/ 807 w 1136"/>
                    <a:gd name="T3" fmla="*/ 501 h 955"/>
                    <a:gd name="T4" fmla="*/ 915 w 1136"/>
                    <a:gd name="T5" fmla="*/ 314 h 955"/>
                    <a:gd name="T6" fmla="*/ 1020 w 1136"/>
                    <a:gd name="T7" fmla="*/ 133 h 955"/>
                    <a:gd name="T8" fmla="*/ 1136 w 1136"/>
                    <a:gd name="T9" fmla="*/ 26 h 955"/>
                    <a:gd name="T10" fmla="*/ 911 w 1136"/>
                    <a:gd name="T11" fmla="*/ 133 h 955"/>
                    <a:gd name="T12" fmla="*/ 806 w 1136"/>
                    <a:gd name="T13" fmla="*/ 313 h 955"/>
                    <a:gd name="T14" fmla="*/ 698 w 1136"/>
                    <a:gd name="T15" fmla="*/ 501 h 955"/>
                    <a:gd name="T16" fmla="*/ 0 w 1136"/>
                    <a:gd name="T17" fmla="*/ 948 h 955"/>
                    <a:gd name="T18" fmla="*/ 414 w 1136"/>
                    <a:gd name="T19" fmla="*/ 862 h 9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36" h="955">
                      <a:moveTo>
                        <a:pt x="414" y="862"/>
                      </a:moveTo>
                      <a:cubicBezTo>
                        <a:pt x="558" y="788"/>
                        <a:pt x="700" y="661"/>
                        <a:pt x="807" y="501"/>
                      </a:cubicBezTo>
                      <a:cubicBezTo>
                        <a:pt x="836" y="457"/>
                        <a:pt x="875" y="387"/>
                        <a:pt x="915" y="314"/>
                      </a:cubicBezTo>
                      <a:cubicBezTo>
                        <a:pt x="953" y="245"/>
                        <a:pt x="992" y="172"/>
                        <a:pt x="1020" y="133"/>
                      </a:cubicBezTo>
                      <a:cubicBezTo>
                        <a:pt x="1091" y="34"/>
                        <a:pt x="1136" y="26"/>
                        <a:pt x="1136" y="26"/>
                      </a:cubicBezTo>
                      <a:cubicBezTo>
                        <a:pt x="1042" y="0"/>
                        <a:pt x="948" y="77"/>
                        <a:pt x="911" y="133"/>
                      </a:cubicBezTo>
                      <a:cubicBezTo>
                        <a:pt x="884" y="173"/>
                        <a:pt x="844" y="244"/>
                        <a:pt x="806" y="313"/>
                      </a:cubicBezTo>
                      <a:cubicBezTo>
                        <a:pt x="766" y="387"/>
                        <a:pt x="726" y="456"/>
                        <a:pt x="698" y="501"/>
                      </a:cubicBezTo>
                      <a:cubicBezTo>
                        <a:pt x="458" y="881"/>
                        <a:pt x="89" y="943"/>
                        <a:pt x="0" y="948"/>
                      </a:cubicBezTo>
                      <a:cubicBezTo>
                        <a:pt x="131" y="955"/>
                        <a:pt x="281" y="930"/>
                        <a:pt x="414" y="862"/>
                      </a:cubicBezTo>
                      <a:close/>
                    </a:path>
                  </a:pathLst>
                </a:custGeom>
                <a:solidFill>
                  <a:srgbClr val="E65D4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47" name="任意多边形: 形状 246">
                  <a:extLst>
                    <a:ext uri="{FF2B5EF4-FFF2-40B4-BE49-F238E27FC236}">
                      <a16:creationId xmlns:a16="http://schemas.microsoft.com/office/drawing/2014/main" id="{688C816A-C5A3-4371-A6F4-84D58A3DC2A7}"/>
                    </a:ext>
                  </a:extLst>
                </p:cNvPr>
                <p:cNvSpPr/>
                <p:nvPr/>
              </p:nvSpPr>
              <p:spPr bwMode="auto">
                <a:xfrm>
                  <a:off x="3362527" y="2315703"/>
                  <a:ext cx="5790710" cy="3925441"/>
                </a:xfrm>
                <a:custGeom>
                  <a:avLst/>
                  <a:gdLst>
                    <a:gd name="T0" fmla="*/ 1534 w 1730"/>
                    <a:gd name="T1" fmla="*/ 577 h 1174"/>
                    <a:gd name="T2" fmla="*/ 1630 w 1730"/>
                    <a:gd name="T3" fmla="*/ 104 h 1174"/>
                    <a:gd name="T4" fmla="*/ 1494 w 1730"/>
                    <a:gd name="T5" fmla="*/ 0 h 1174"/>
                    <a:gd name="T6" fmla="*/ 1494 w 1730"/>
                    <a:gd name="T7" fmla="*/ 0 h 1174"/>
                    <a:gd name="T8" fmla="*/ 1324 w 1730"/>
                    <a:gd name="T9" fmla="*/ 621 h 1174"/>
                    <a:gd name="T10" fmla="*/ 1 w 1730"/>
                    <a:gd name="T11" fmla="*/ 1030 h 1174"/>
                    <a:gd name="T12" fmla="*/ 25 w 1730"/>
                    <a:gd name="T13" fmla="*/ 1066 h 1174"/>
                    <a:gd name="T14" fmla="*/ 708 w 1730"/>
                    <a:gd name="T15" fmla="*/ 1136 h 1174"/>
                    <a:gd name="T16" fmla="*/ 1534 w 1730"/>
                    <a:gd name="T17" fmla="*/ 577 h 1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30" h="1174">
                      <a:moveTo>
                        <a:pt x="1534" y="577"/>
                      </a:moveTo>
                      <a:cubicBezTo>
                        <a:pt x="1600" y="484"/>
                        <a:pt x="1730" y="239"/>
                        <a:pt x="1630" y="104"/>
                      </a:cubicBezTo>
                      <a:cubicBezTo>
                        <a:pt x="1587" y="47"/>
                        <a:pt x="1541" y="14"/>
                        <a:pt x="1494" y="0"/>
                      </a:cubicBezTo>
                      <a:cubicBezTo>
                        <a:pt x="1494" y="0"/>
                        <a:pt x="1494" y="0"/>
                        <a:pt x="1494" y="0"/>
                      </a:cubicBezTo>
                      <a:cubicBezTo>
                        <a:pt x="1641" y="78"/>
                        <a:pt x="1503" y="392"/>
                        <a:pt x="1324" y="621"/>
                      </a:cubicBezTo>
                      <a:cubicBezTo>
                        <a:pt x="1021" y="1009"/>
                        <a:pt x="466" y="1174"/>
                        <a:pt x="1" y="1030"/>
                      </a:cubicBezTo>
                      <a:cubicBezTo>
                        <a:pt x="0" y="1045"/>
                        <a:pt x="7" y="1060"/>
                        <a:pt x="25" y="1066"/>
                      </a:cubicBezTo>
                      <a:cubicBezTo>
                        <a:pt x="173" y="1115"/>
                        <a:pt x="398" y="1158"/>
                        <a:pt x="708" y="1136"/>
                      </a:cubicBezTo>
                      <a:cubicBezTo>
                        <a:pt x="1045" y="1113"/>
                        <a:pt x="1351" y="837"/>
                        <a:pt x="1534" y="577"/>
                      </a:cubicBezTo>
                      <a:close/>
                    </a:path>
                  </a:pathLst>
                </a:custGeom>
                <a:solidFill>
                  <a:srgbClr val="CC222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48" name="任意多边形: 形状 247">
                  <a:extLst>
                    <a:ext uri="{FF2B5EF4-FFF2-40B4-BE49-F238E27FC236}">
                      <a16:creationId xmlns:a16="http://schemas.microsoft.com/office/drawing/2014/main" id="{0AD04D5B-4E38-4B82-90ED-5F080397CD12}"/>
                    </a:ext>
                  </a:extLst>
                </p:cNvPr>
                <p:cNvSpPr/>
                <p:nvPr/>
              </p:nvSpPr>
              <p:spPr bwMode="auto">
                <a:xfrm>
                  <a:off x="7734151" y="2169123"/>
                  <a:ext cx="1241902" cy="758672"/>
                </a:xfrm>
                <a:custGeom>
                  <a:avLst/>
                  <a:gdLst>
                    <a:gd name="T0" fmla="*/ 261 w 371"/>
                    <a:gd name="T1" fmla="*/ 227 h 227"/>
                    <a:gd name="T2" fmla="*/ 232 w 371"/>
                    <a:gd name="T3" fmla="*/ 162 h 227"/>
                    <a:gd name="T4" fmla="*/ 204 w 371"/>
                    <a:gd name="T5" fmla="*/ 102 h 227"/>
                    <a:gd name="T6" fmla="*/ 74 w 371"/>
                    <a:gd name="T7" fmla="*/ 150 h 227"/>
                    <a:gd name="T8" fmla="*/ 98 w 371"/>
                    <a:gd name="T9" fmla="*/ 101 h 227"/>
                    <a:gd name="T10" fmla="*/ 119 w 371"/>
                    <a:gd name="T11" fmla="*/ 60 h 227"/>
                    <a:gd name="T12" fmla="*/ 71 w 371"/>
                    <a:gd name="T13" fmla="*/ 53 h 227"/>
                    <a:gd name="T14" fmla="*/ 0 w 371"/>
                    <a:gd name="T15" fmla="*/ 14 h 227"/>
                    <a:gd name="T16" fmla="*/ 59 w 371"/>
                    <a:gd name="T17" fmla="*/ 18 h 227"/>
                    <a:gd name="T18" fmla="*/ 227 w 371"/>
                    <a:gd name="T19" fmla="*/ 19 h 227"/>
                    <a:gd name="T20" fmla="*/ 371 w 371"/>
                    <a:gd name="T21" fmla="*/ 211 h 227"/>
                    <a:gd name="T22" fmla="*/ 316 w 371"/>
                    <a:gd name="T23" fmla="*/ 174 h 227"/>
                    <a:gd name="T24" fmla="*/ 287 w 371"/>
                    <a:gd name="T25" fmla="*/ 139 h 227"/>
                    <a:gd name="T26" fmla="*/ 261 w 371"/>
                    <a:gd name="T27" fmla="*/ 227 h 2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71" h="227">
                      <a:moveTo>
                        <a:pt x="261" y="227"/>
                      </a:moveTo>
                      <a:cubicBezTo>
                        <a:pt x="261" y="227"/>
                        <a:pt x="258" y="186"/>
                        <a:pt x="232" y="162"/>
                      </a:cubicBezTo>
                      <a:cubicBezTo>
                        <a:pt x="206" y="138"/>
                        <a:pt x="204" y="102"/>
                        <a:pt x="204" y="102"/>
                      </a:cubicBezTo>
                      <a:cubicBezTo>
                        <a:pt x="195" y="170"/>
                        <a:pt x="74" y="150"/>
                        <a:pt x="74" y="150"/>
                      </a:cubicBezTo>
                      <a:cubicBezTo>
                        <a:pt x="74" y="150"/>
                        <a:pt x="94" y="137"/>
                        <a:pt x="98" y="101"/>
                      </a:cubicBezTo>
                      <a:cubicBezTo>
                        <a:pt x="101" y="65"/>
                        <a:pt x="119" y="60"/>
                        <a:pt x="119" y="60"/>
                      </a:cubicBezTo>
                      <a:cubicBezTo>
                        <a:pt x="119" y="60"/>
                        <a:pt x="119" y="60"/>
                        <a:pt x="71" y="53"/>
                      </a:cubicBezTo>
                      <a:cubicBezTo>
                        <a:pt x="23" y="47"/>
                        <a:pt x="0" y="14"/>
                        <a:pt x="0" y="14"/>
                      </a:cubicBezTo>
                      <a:cubicBezTo>
                        <a:pt x="0" y="14"/>
                        <a:pt x="21" y="23"/>
                        <a:pt x="59" y="18"/>
                      </a:cubicBezTo>
                      <a:cubicBezTo>
                        <a:pt x="118" y="10"/>
                        <a:pt x="156" y="0"/>
                        <a:pt x="227" y="19"/>
                      </a:cubicBezTo>
                      <a:cubicBezTo>
                        <a:pt x="289" y="36"/>
                        <a:pt x="362" y="107"/>
                        <a:pt x="371" y="211"/>
                      </a:cubicBezTo>
                      <a:cubicBezTo>
                        <a:pt x="365" y="196"/>
                        <a:pt x="338" y="190"/>
                        <a:pt x="316" y="174"/>
                      </a:cubicBezTo>
                      <a:cubicBezTo>
                        <a:pt x="302" y="164"/>
                        <a:pt x="287" y="139"/>
                        <a:pt x="287" y="139"/>
                      </a:cubicBezTo>
                      <a:cubicBezTo>
                        <a:pt x="287" y="139"/>
                        <a:pt x="296" y="177"/>
                        <a:pt x="261" y="227"/>
                      </a:cubicBezTo>
                      <a:close/>
                    </a:path>
                  </a:pathLst>
                </a:custGeom>
                <a:solidFill>
                  <a:srgbClr val="38B5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49" name="任意多边形: 形状 248">
                  <a:extLst>
                    <a:ext uri="{FF2B5EF4-FFF2-40B4-BE49-F238E27FC236}">
                      <a16:creationId xmlns:a16="http://schemas.microsoft.com/office/drawing/2014/main" id="{10A1BB08-4B02-445C-9F77-BB1B09909A82}"/>
                    </a:ext>
                  </a:extLst>
                </p:cNvPr>
                <p:cNvSpPr/>
                <p:nvPr/>
              </p:nvSpPr>
              <p:spPr bwMode="auto">
                <a:xfrm>
                  <a:off x="7982209" y="1690725"/>
                  <a:ext cx="1040556" cy="1237070"/>
                </a:xfrm>
                <a:custGeom>
                  <a:avLst/>
                  <a:gdLst>
                    <a:gd name="T0" fmla="*/ 297 w 311"/>
                    <a:gd name="T1" fmla="*/ 354 h 370"/>
                    <a:gd name="T2" fmla="*/ 168 w 311"/>
                    <a:gd name="T3" fmla="*/ 168 h 370"/>
                    <a:gd name="T4" fmla="*/ 168 w 311"/>
                    <a:gd name="T5" fmla="*/ 167 h 370"/>
                    <a:gd name="T6" fmla="*/ 221 w 311"/>
                    <a:gd name="T7" fmla="*/ 69 h 370"/>
                    <a:gd name="T8" fmla="*/ 288 w 311"/>
                    <a:gd name="T9" fmla="*/ 43 h 370"/>
                    <a:gd name="T10" fmla="*/ 275 w 311"/>
                    <a:gd name="T11" fmla="*/ 0 h 370"/>
                    <a:gd name="T12" fmla="*/ 139 w 311"/>
                    <a:gd name="T13" fmla="*/ 158 h 370"/>
                    <a:gd name="T14" fmla="*/ 139 w 311"/>
                    <a:gd name="T15" fmla="*/ 159 h 370"/>
                    <a:gd name="T16" fmla="*/ 46 w 311"/>
                    <a:gd name="T17" fmla="*/ 259 h 370"/>
                    <a:gd name="T18" fmla="*/ 45 w 311"/>
                    <a:gd name="T19" fmla="*/ 203 h 370"/>
                    <a:gd name="T20" fmla="*/ 37 w 311"/>
                    <a:gd name="T21" fmla="*/ 209 h 370"/>
                    <a:gd name="T22" fmla="*/ 24 w 311"/>
                    <a:gd name="T23" fmla="*/ 244 h 370"/>
                    <a:gd name="T24" fmla="*/ 0 w 311"/>
                    <a:gd name="T25" fmla="*/ 293 h 370"/>
                    <a:gd name="T26" fmla="*/ 130 w 311"/>
                    <a:gd name="T27" fmla="*/ 245 h 370"/>
                    <a:gd name="T28" fmla="*/ 158 w 311"/>
                    <a:gd name="T29" fmla="*/ 305 h 370"/>
                    <a:gd name="T30" fmla="*/ 187 w 311"/>
                    <a:gd name="T31" fmla="*/ 370 h 370"/>
                    <a:gd name="T32" fmla="*/ 213 w 311"/>
                    <a:gd name="T33" fmla="*/ 282 h 370"/>
                    <a:gd name="T34" fmla="*/ 242 w 311"/>
                    <a:gd name="T35" fmla="*/ 317 h 370"/>
                    <a:gd name="T36" fmla="*/ 297 w 311"/>
                    <a:gd name="T37" fmla="*/ 354 h 3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1" h="370">
                      <a:moveTo>
                        <a:pt x="297" y="354"/>
                      </a:moveTo>
                      <a:cubicBezTo>
                        <a:pt x="289" y="258"/>
                        <a:pt x="226" y="190"/>
                        <a:pt x="168" y="168"/>
                      </a:cubicBezTo>
                      <a:cubicBezTo>
                        <a:pt x="168" y="167"/>
                        <a:pt x="168" y="167"/>
                        <a:pt x="168" y="167"/>
                      </a:cubicBezTo>
                      <a:cubicBezTo>
                        <a:pt x="168" y="167"/>
                        <a:pt x="166" y="106"/>
                        <a:pt x="221" y="69"/>
                      </a:cubicBezTo>
                      <a:cubicBezTo>
                        <a:pt x="261" y="43"/>
                        <a:pt x="288" y="43"/>
                        <a:pt x="288" y="43"/>
                      </a:cubicBezTo>
                      <a:cubicBezTo>
                        <a:pt x="288" y="43"/>
                        <a:pt x="311" y="21"/>
                        <a:pt x="275" y="0"/>
                      </a:cubicBezTo>
                      <a:cubicBezTo>
                        <a:pt x="149" y="21"/>
                        <a:pt x="139" y="158"/>
                        <a:pt x="139" y="158"/>
                      </a:cubicBezTo>
                      <a:cubicBezTo>
                        <a:pt x="139" y="158"/>
                        <a:pt x="139" y="158"/>
                        <a:pt x="139" y="159"/>
                      </a:cubicBezTo>
                      <a:cubicBezTo>
                        <a:pt x="148" y="249"/>
                        <a:pt x="46" y="259"/>
                        <a:pt x="46" y="259"/>
                      </a:cubicBezTo>
                      <a:cubicBezTo>
                        <a:pt x="46" y="259"/>
                        <a:pt x="34" y="229"/>
                        <a:pt x="45" y="203"/>
                      </a:cubicBezTo>
                      <a:cubicBezTo>
                        <a:pt x="45" y="203"/>
                        <a:pt x="41" y="204"/>
                        <a:pt x="37" y="209"/>
                      </a:cubicBezTo>
                      <a:cubicBezTo>
                        <a:pt x="32" y="214"/>
                        <a:pt x="26" y="225"/>
                        <a:pt x="24" y="244"/>
                      </a:cubicBezTo>
                      <a:cubicBezTo>
                        <a:pt x="20" y="280"/>
                        <a:pt x="0" y="293"/>
                        <a:pt x="0" y="293"/>
                      </a:cubicBezTo>
                      <a:cubicBezTo>
                        <a:pt x="0" y="293"/>
                        <a:pt x="121" y="313"/>
                        <a:pt x="130" y="245"/>
                      </a:cubicBezTo>
                      <a:cubicBezTo>
                        <a:pt x="130" y="245"/>
                        <a:pt x="132" y="281"/>
                        <a:pt x="158" y="305"/>
                      </a:cubicBezTo>
                      <a:cubicBezTo>
                        <a:pt x="184" y="329"/>
                        <a:pt x="187" y="370"/>
                        <a:pt x="187" y="370"/>
                      </a:cubicBezTo>
                      <a:cubicBezTo>
                        <a:pt x="222" y="320"/>
                        <a:pt x="213" y="282"/>
                        <a:pt x="213" y="282"/>
                      </a:cubicBezTo>
                      <a:cubicBezTo>
                        <a:pt x="213" y="282"/>
                        <a:pt x="228" y="307"/>
                        <a:pt x="242" y="317"/>
                      </a:cubicBezTo>
                      <a:cubicBezTo>
                        <a:pt x="264" y="333"/>
                        <a:pt x="291" y="339"/>
                        <a:pt x="297" y="354"/>
                      </a:cubicBezTo>
                      <a:close/>
                    </a:path>
                  </a:pathLst>
                </a:custGeom>
                <a:solidFill>
                  <a:srgbClr val="32A54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</p:grpSp>
        <p:sp>
          <p:nvSpPr>
            <p:cNvPr id="318" name="任意多边形: 形状 317"/>
            <p:cNvSpPr>
              <a:spLocks/>
            </p:cNvSpPr>
            <p:nvPr userDrawn="1"/>
          </p:nvSpPr>
          <p:spPr bwMode="auto">
            <a:xfrm>
              <a:off x="8886382" y="3983190"/>
              <a:ext cx="73751" cy="106766"/>
            </a:xfrm>
            <a:custGeom>
              <a:avLst/>
              <a:gdLst>
                <a:gd name="connsiteX0" fmla="*/ 193001 w 608129"/>
                <a:gd name="connsiteY0" fmla="*/ 283182 h 343858"/>
                <a:gd name="connsiteX1" fmla="*/ 506699 w 608129"/>
                <a:gd name="connsiteY1" fmla="*/ 283182 h 343858"/>
                <a:gd name="connsiteX2" fmla="*/ 516573 w 608129"/>
                <a:gd name="connsiteY2" fmla="*/ 293038 h 343858"/>
                <a:gd name="connsiteX3" fmla="*/ 506699 w 608129"/>
                <a:gd name="connsiteY3" fmla="*/ 303651 h 343858"/>
                <a:gd name="connsiteX4" fmla="*/ 193001 w 608129"/>
                <a:gd name="connsiteY4" fmla="*/ 303651 h 343858"/>
                <a:gd name="connsiteX5" fmla="*/ 182367 w 608129"/>
                <a:gd name="connsiteY5" fmla="*/ 293038 h 343858"/>
                <a:gd name="connsiteX6" fmla="*/ 193001 w 608129"/>
                <a:gd name="connsiteY6" fmla="*/ 283182 h 343858"/>
                <a:gd name="connsiteX7" fmla="*/ 101866 w 608129"/>
                <a:gd name="connsiteY7" fmla="*/ 283182 h 343858"/>
                <a:gd name="connsiteX8" fmla="*/ 142885 w 608129"/>
                <a:gd name="connsiteY8" fmla="*/ 283182 h 343858"/>
                <a:gd name="connsiteX9" fmla="*/ 152760 w 608129"/>
                <a:gd name="connsiteY9" fmla="*/ 293038 h 343858"/>
                <a:gd name="connsiteX10" fmla="*/ 142885 w 608129"/>
                <a:gd name="connsiteY10" fmla="*/ 303651 h 343858"/>
                <a:gd name="connsiteX11" fmla="*/ 101866 w 608129"/>
                <a:gd name="connsiteY11" fmla="*/ 303651 h 343858"/>
                <a:gd name="connsiteX12" fmla="*/ 91231 w 608129"/>
                <a:gd name="connsiteY12" fmla="*/ 293038 h 343858"/>
                <a:gd name="connsiteX13" fmla="*/ 101866 w 608129"/>
                <a:gd name="connsiteY13" fmla="*/ 283182 h 343858"/>
                <a:gd name="connsiteX14" fmla="*/ 23697 w 608129"/>
                <a:gd name="connsiteY14" fmla="*/ 252861 h 343858"/>
                <a:gd name="connsiteX15" fmla="*/ 72307 w 608129"/>
                <a:gd name="connsiteY15" fmla="*/ 281677 h 343858"/>
                <a:gd name="connsiteX16" fmla="*/ 73826 w 608129"/>
                <a:gd name="connsiteY16" fmla="*/ 283952 h 343858"/>
                <a:gd name="connsiteX17" fmla="*/ 82941 w 608129"/>
                <a:gd name="connsiteY17" fmla="*/ 307460 h 343858"/>
                <a:gd name="connsiteX18" fmla="*/ 91295 w 608129"/>
                <a:gd name="connsiteY18" fmla="*/ 323384 h 343858"/>
                <a:gd name="connsiteX19" fmla="*/ 516631 w 608129"/>
                <a:gd name="connsiteY19" fmla="*/ 323384 h 343858"/>
                <a:gd name="connsiteX20" fmla="*/ 525745 w 608129"/>
                <a:gd name="connsiteY20" fmla="*/ 307460 h 343858"/>
                <a:gd name="connsiteX21" fmla="*/ 534859 w 608129"/>
                <a:gd name="connsiteY21" fmla="*/ 283952 h 343858"/>
                <a:gd name="connsiteX22" fmla="*/ 536378 w 608129"/>
                <a:gd name="connsiteY22" fmla="*/ 281677 h 343858"/>
                <a:gd name="connsiteX23" fmla="*/ 584229 w 608129"/>
                <a:gd name="connsiteY23" fmla="*/ 252861 h 343858"/>
                <a:gd name="connsiteX24" fmla="*/ 569798 w 608129"/>
                <a:gd name="connsiteY24" fmla="*/ 252861 h 343858"/>
                <a:gd name="connsiteX25" fmla="*/ 413335 w 608129"/>
                <a:gd name="connsiteY25" fmla="*/ 252861 h 343858"/>
                <a:gd name="connsiteX26" fmla="*/ 401942 w 608129"/>
                <a:gd name="connsiteY26" fmla="*/ 252861 h 343858"/>
                <a:gd name="connsiteX27" fmla="*/ 35850 w 608129"/>
                <a:gd name="connsiteY27" fmla="*/ 252861 h 343858"/>
                <a:gd name="connsiteX28" fmla="*/ 254526 w 608129"/>
                <a:gd name="connsiteY28" fmla="*/ 201295 h 343858"/>
                <a:gd name="connsiteX29" fmla="*/ 257557 w 608129"/>
                <a:gd name="connsiteY29" fmla="*/ 214952 h 343858"/>
                <a:gd name="connsiteX30" fmla="*/ 249221 w 608129"/>
                <a:gd name="connsiteY30" fmla="*/ 227091 h 343858"/>
                <a:gd name="connsiteX31" fmla="*/ 240886 w 608129"/>
                <a:gd name="connsiteY31" fmla="*/ 231644 h 343858"/>
                <a:gd name="connsiteX32" fmla="*/ 235581 w 608129"/>
                <a:gd name="connsiteY32" fmla="*/ 229368 h 343858"/>
                <a:gd name="connsiteX33" fmla="*/ 232550 w 608129"/>
                <a:gd name="connsiteY33" fmla="*/ 215710 h 343858"/>
                <a:gd name="connsiteX34" fmla="*/ 240886 w 608129"/>
                <a:gd name="connsiteY34" fmla="*/ 203571 h 343858"/>
                <a:gd name="connsiteX35" fmla="*/ 254526 w 608129"/>
                <a:gd name="connsiteY35" fmla="*/ 201295 h 343858"/>
                <a:gd name="connsiteX36" fmla="*/ 293998 w 608129"/>
                <a:gd name="connsiteY36" fmla="*/ 199043 h 343858"/>
                <a:gd name="connsiteX37" fmla="*/ 307670 w 608129"/>
                <a:gd name="connsiteY37" fmla="*/ 202827 h 343858"/>
                <a:gd name="connsiteX38" fmla="*/ 314506 w 608129"/>
                <a:gd name="connsiteY38" fmla="*/ 214937 h 343858"/>
                <a:gd name="connsiteX39" fmla="*/ 304632 w 608129"/>
                <a:gd name="connsiteY39" fmla="*/ 222506 h 343858"/>
                <a:gd name="connsiteX40" fmla="*/ 302353 w 608129"/>
                <a:gd name="connsiteY40" fmla="*/ 221749 h 343858"/>
                <a:gd name="connsiteX41" fmla="*/ 288681 w 608129"/>
                <a:gd name="connsiteY41" fmla="*/ 218721 h 343858"/>
                <a:gd name="connsiteX42" fmla="*/ 281845 w 608129"/>
                <a:gd name="connsiteY42" fmla="*/ 205854 h 343858"/>
                <a:gd name="connsiteX43" fmla="*/ 293998 w 608129"/>
                <a:gd name="connsiteY43" fmla="*/ 199043 h 343858"/>
                <a:gd name="connsiteX44" fmla="*/ 113257 w 608129"/>
                <a:gd name="connsiteY44" fmla="*/ 193732 h 343858"/>
                <a:gd name="connsiteX45" fmla="*/ 125378 w 608129"/>
                <a:gd name="connsiteY45" fmla="*/ 201299 h 343858"/>
                <a:gd name="connsiteX46" fmla="*/ 128408 w 608129"/>
                <a:gd name="connsiteY46" fmla="*/ 214920 h 343858"/>
                <a:gd name="connsiteX47" fmla="*/ 120075 w 608129"/>
                <a:gd name="connsiteY47" fmla="*/ 219460 h 343858"/>
                <a:gd name="connsiteX48" fmla="*/ 114773 w 608129"/>
                <a:gd name="connsiteY48" fmla="*/ 217946 h 343858"/>
                <a:gd name="connsiteX49" fmla="*/ 102652 w 608129"/>
                <a:gd name="connsiteY49" fmla="*/ 211136 h 343858"/>
                <a:gd name="connsiteX50" fmla="*/ 99622 w 608129"/>
                <a:gd name="connsiteY50" fmla="*/ 196759 h 343858"/>
                <a:gd name="connsiteX51" fmla="*/ 113257 w 608129"/>
                <a:gd name="connsiteY51" fmla="*/ 193732 h 343858"/>
                <a:gd name="connsiteX52" fmla="*/ 367752 w 608129"/>
                <a:gd name="connsiteY52" fmla="*/ 192974 h 343858"/>
                <a:gd name="connsiteX53" fmla="*/ 380665 w 608129"/>
                <a:gd name="connsiteY53" fmla="*/ 199023 h 343858"/>
                <a:gd name="connsiteX54" fmla="*/ 373829 w 608129"/>
                <a:gd name="connsiteY54" fmla="*/ 211877 h 343858"/>
                <a:gd name="connsiteX55" fmla="*/ 360917 w 608129"/>
                <a:gd name="connsiteY55" fmla="*/ 216414 h 343858"/>
                <a:gd name="connsiteX56" fmla="*/ 357119 w 608129"/>
                <a:gd name="connsiteY56" fmla="*/ 216414 h 343858"/>
                <a:gd name="connsiteX57" fmla="*/ 348004 w 608129"/>
                <a:gd name="connsiteY57" fmla="*/ 209609 h 343858"/>
                <a:gd name="connsiteX58" fmla="*/ 354081 w 608129"/>
                <a:gd name="connsiteY58" fmla="*/ 196755 h 343858"/>
                <a:gd name="connsiteX59" fmla="*/ 473099 w 608129"/>
                <a:gd name="connsiteY59" fmla="*/ 187878 h 343858"/>
                <a:gd name="connsiteX60" fmla="*/ 480904 w 608129"/>
                <a:gd name="connsiteY60" fmla="*/ 189869 h 343858"/>
                <a:gd name="connsiteX61" fmla="*/ 483189 w 608129"/>
                <a:gd name="connsiteY61" fmla="*/ 203526 h 343858"/>
                <a:gd name="connsiteX62" fmla="*/ 475574 w 608129"/>
                <a:gd name="connsiteY62" fmla="*/ 214907 h 343858"/>
                <a:gd name="connsiteX63" fmla="*/ 467198 w 608129"/>
                <a:gd name="connsiteY63" fmla="*/ 219460 h 343858"/>
                <a:gd name="connsiteX64" fmla="*/ 461106 w 608129"/>
                <a:gd name="connsiteY64" fmla="*/ 217942 h 343858"/>
                <a:gd name="connsiteX65" fmla="*/ 458821 w 608129"/>
                <a:gd name="connsiteY65" fmla="*/ 203526 h 343858"/>
                <a:gd name="connsiteX66" fmla="*/ 466436 w 608129"/>
                <a:gd name="connsiteY66" fmla="*/ 192146 h 343858"/>
                <a:gd name="connsiteX67" fmla="*/ 473099 w 608129"/>
                <a:gd name="connsiteY67" fmla="*/ 187878 h 343858"/>
                <a:gd name="connsiteX68" fmla="*/ 410279 w 608129"/>
                <a:gd name="connsiteY68" fmla="*/ 182352 h 343858"/>
                <a:gd name="connsiteX69" fmla="*/ 422434 w 608129"/>
                <a:gd name="connsiteY69" fmla="*/ 189169 h 343858"/>
                <a:gd name="connsiteX70" fmla="*/ 426233 w 608129"/>
                <a:gd name="connsiteY70" fmla="*/ 202805 h 343858"/>
                <a:gd name="connsiteX71" fmla="*/ 418636 w 608129"/>
                <a:gd name="connsiteY71" fmla="*/ 215683 h 343858"/>
                <a:gd name="connsiteX72" fmla="*/ 416356 w 608129"/>
                <a:gd name="connsiteY72" fmla="*/ 215683 h 343858"/>
                <a:gd name="connsiteX73" fmla="*/ 406480 w 608129"/>
                <a:gd name="connsiteY73" fmla="*/ 208108 h 343858"/>
                <a:gd name="connsiteX74" fmla="*/ 402682 w 608129"/>
                <a:gd name="connsiteY74" fmla="*/ 194472 h 343858"/>
                <a:gd name="connsiteX75" fmla="*/ 410279 w 608129"/>
                <a:gd name="connsiteY75" fmla="*/ 182352 h 343858"/>
                <a:gd name="connsiteX76" fmla="*/ 188501 w 608129"/>
                <a:gd name="connsiteY76" fmla="*/ 179282 h 343858"/>
                <a:gd name="connsiteX77" fmla="*/ 202945 w 608129"/>
                <a:gd name="connsiteY77" fmla="*/ 180043 h 343858"/>
                <a:gd name="connsiteX78" fmla="*/ 212067 w 608129"/>
                <a:gd name="connsiteY78" fmla="*/ 191449 h 343858"/>
                <a:gd name="connsiteX79" fmla="*/ 202185 w 608129"/>
                <a:gd name="connsiteY79" fmla="*/ 200575 h 343858"/>
                <a:gd name="connsiteX80" fmla="*/ 201424 w 608129"/>
                <a:gd name="connsiteY80" fmla="*/ 200575 h 343858"/>
                <a:gd name="connsiteX81" fmla="*/ 186981 w 608129"/>
                <a:gd name="connsiteY81" fmla="*/ 199814 h 343858"/>
                <a:gd name="connsiteX82" fmla="*/ 177859 w 608129"/>
                <a:gd name="connsiteY82" fmla="*/ 188408 h 343858"/>
                <a:gd name="connsiteX83" fmla="*/ 188501 w 608129"/>
                <a:gd name="connsiteY83" fmla="*/ 179282 h 343858"/>
                <a:gd name="connsiteX84" fmla="*/ 160344 w 608129"/>
                <a:gd name="connsiteY84" fmla="*/ 165596 h 343858"/>
                <a:gd name="connsiteX85" fmla="*/ 163375 w 608129"/>
                <a:gd name="connsiteY85" fmla="*/ 180011 h 343858"/>
                <a:gd name="connsiteX86" fmla="*/ 155797 w 608129"/>
                <a:gd name="connsiteY86" fmla="*/ 191392 h 343858"/>
                <a:gd name="connsiteX87" fmla="*/ 147461 w 608129"/>
                <a:gd name="connsiteY87" fmla="*/ 195945 h 343858"/>
                <a:gd name="connsiteX88" fmla="*/ 141399 w 608129"/>
                <a:gd name="connsiteY88" fmla="*/ 194427 h 343858"/>
                <a:gd name="connsiteX89" fmla="*/ 139126 w 608129"/>
                <a:gd name="connsiteY89" fmla="*/ 180011 h 343858"/>
                <a:gd name="connsiteX90" fmla="*/ 146704 w 608129"/>
                <a:gd name="connsiteY90" fmla="*/ 168631 h 343858"/>
                <a:gd name="connsiteX91" fmla="*/ 160344 w 608129"/>
                <a:gd name="connsiteY91" fmla="*/ 165596 h 343858"/>
                <a:gd name="connsiteX92" fmla="*/ 338113 w 608129"/>
                <a:gd name="connsiteY92" fmla="*/ 164888 h 343858"/>
                <a:gd name="connsiteX93" fmla="*/ 352554 w 608129"/>
                <a:gd name="connsiteY93" fmla="*/ 164888 h 343858"/>
                <a:gd name="connsiteX94" fmla="*/ 352554 w 608129"/>
                <a:gd name="connsiteY94" fmla="*/ 179285 h 343858"/>
                <a:gd name="connsiteX95" fmla="*/ 342673 w 608129"/>
                <a:gd name="connsiteY95" fmla="*/ 189137 h 343858"/>
                <a:gd name="connsiteX96" fmla="*/ 335073 w 608129"/>
                <a:gd name="connsiteY96" fmla="*/ 192168 h 343858"/>
                <a:gd name="connsiteX97" fmla="*/ 328232 w 608129"/>
                <a:gd name="connsiteY97" fmla="*/ 189137 h 343858"/>
                <a:gd name="connsiteX98" fmla="*/ 328232 w 608129"/>
                <a:gd name="connsiteY98" fmla="*/ 174739 h 343858"/>
                <a:gd name="connsiteX99" fmla="*/ 438352 w 608129"/>
                <a:gd name="connsiteY99" fmla="*/ 163394 h 343858"/>
                <a:gd name="connsiteX100" fmla="*/ 449715 w 608129"/>
                <a:gd name="connsiteY100" fmla="*/ 170961 h 343858"/>
                <a:gd name="connsiteX101" fmla="*/ 453502 w 608129"/>
                <a:gd name="connsiteY101" fmla="*/ 184582 h 343858"/>
                <a:gd name="connsiteX102" fmla="*/ 444412 w 608129"/>
                <a:gd name="connsiteY102" fmla="*/ 189122 h 343858"/>
                <a:gd name="connsiteX103" fmla="*/ 439110 w 608129"/>
                <a:gd name="connsiteY103" fmla="*/ 187608 h 343858"/>
                <a:gd name="connsiteX104" fmla="*/ 427747 w 608129"/>
                <a:gd name="connsiteY104" fmla="*/ 180798 h 343858"/>
                <a:gd name="connsiteX105" fmla="*/ 423959 w 608129"/>
                <a:gd name="connsiteY105" fmla="*/ 166421 h 343858"/>
                <a:gd name="connsiteX106" fmla="*/ 438352 w 608129"/>
                <a:gd name="connsiteY106" fmla="*/ 163394 h 343858"/>
                <a:gd name="connsiteX107" fmla="*/ 237851 w 608129"/>
                <a:gd name="connsiteY107" fmla="*/ 158043 h 343858"/>
                <a:gd name="connsiteX108" fmla="*/ 249244 w 608129"/>
                <a:gd name="connsiteY108" fmla="*/ 165635 h 343858"/>
                <a:gd name="connsiteX109" fmla="*/ 253042 w 608129"/>
                <a:gd name="connsiteY109" fmla="*/ 179300 h 343858"/>
                <a:gd name="connsiteX110" fmla="*/ 243927 w 608129"/>
                <a:gd name="connsiteY110" fmla="*/ 184614 h 343858"/>
                <a:gd name="connsiteX111" fmla="*/ 238610 w 608129"/>
                <a:gd name="connsiteY111" fmla="*/ 183095 h 343858"/>
                <a:gd name="connsiteX112" fmla="*/ 227217 w 608129"/>
                <a:gd name="connsiteY112" fmla="*/ 175504 h 343858"/>
                <a:gd name="connsiteX113" fmla="*/ 223419 w 608129"/>
                <a:gd name="connsiteY113" fmla="*/ 161839 h 343858"/>
                <a:gd name="connsiteX114" fmla="*/ 237851 w 608129"/>
                <a:gd name="connsiteY114" fmla="*/ 158043 h 343858"/>
                <a:gd name="connsiteX115" fmla="*/ 285637 w 608129"/>
                <a:gd name="connsiteY115" fmla="*/ 155767 h 343858"/>
                <a:gd name="connsiteX116" fmla="*/ 299320 w 608129"/>
                <a:gd name="connsiteY116" fmla="*/ 156528 h 343858"/>
                <a:gd name="connsiteX117" fmla="*/ 308442 w 608129"/>
                <a:gd name="connsiteY117" fmla="*/ 167174 h 343858"/>
                <a:gd name="connsiteX118" fmla="*/ 298560 w 608129"/>
                <a:gd name="connsiteY118" fmla="*/ 177060 h 343858"/>
                <a:gd name="connsiteX119" fmla="*/ 297799 w 608129"/>
                <a:gd name="connsiteY119" fmla="*/ 177060 h 343858"/>
                <a:gd name="connsiteX120" fmla="*/ 284116 w 608129"/>
                <a:gd name="connsiteY120" fmla="*/ 175539 h 343858"/>
                <a:gd name="connsiteX121" fmla="*/ 274234 w 608129"/>
                <a:gd name="connsiteY121" fmla="*/ 164893 h 343858"/>
                <a:gd name="connsiteX122" fmla="*/ 285637 w 608129"/>
                <a:gd name="connsiteY122" fmla="*/ 155767 h 343858"/>
                <a:gd name="connsiteX123" fmla="*/ 374580 w 608129"/>
                <a:gd name="connsiteY123" fmla="*/ 140655 h 343858"/>
                <a:gd name="connsiteX124" fmla="*/ 388263 w 608129"/>
                <a:gd name="connsiteY124" fmla="*/ 141411 h 343858"/>
                <a:gd name="connsiteX125" fmla="*/ 398145 w 608129"/>
                <a:gd name="connsiteY125" fmla="*/ 152755 h 343858"/>
                <a:gd name="connsiteX126" fmla="*/ 387503 w 608129"/>
                <a:gd name="connsiteY126" fmla="*/ 161830 h 343858"/>
                <a:gd name="connsiteX127" fmla="*/ 386742 w 608129"/>
                <a:gd name="connsiteY127" fmla="*/ 161830 h 343858"/>
                <a:gd name="connsiteX128" fmla="*/ 373059 w 608129"/>
                <a:gd name="connsiteY128" fmla="*/ 160317 h 343858"/>
                <a:gd name="connsiteX129" fmla="*/ 363937 w 608129"/>
                <a:gd name="connsiteY129" fmla="*/ 149730 h 343858"/>
                <a:gd name="connsiteX130" fmla="*/ 374580 w 608129"/>
                <a:gd name="connsiteY130" fmla="*/ 140655 h 343858"/>
                <a:gd name="connsiteX131" fmla="*/ 363206 w 608129"/>
                <a:gd name="connsiteY131" fmla="*/ 133808 h 343858"/>
                <a:gd name="connsiteX132" fmla="*/ 362447 w 608129"/>
                <a:gd name="connsiteY132" fmla="*/ 134566 h 343858"/>
                <a:gd name="connsiteX133" fmla="*/ 360168 w 608129"/>
                <a:gd name="connsiteY133" fmla="*/ 139874 h 343858"/>
                <a:gd name="connsiteX134" fmla="*/ 344218 w 608129"/>
                <a:gd name="connsiteY134" fmla="*/ 156557 h 343858"/>
                <a:gd name="connsiteX135" fmla="*/ 341939 w 608129"/>
                <a:gd name="connsiteY135" fmla="*/ 157315 h 343858"/>
                <a:gd name="connsiteX136" fmla="*/ 338142 w 608129"/>
                <a:gd name="connsiteY136" fmla="*/ 158832 h 343858"/>
                <a:gd name="connsiteX137" fmla="*/ 335104 w 608129"/>
                <a:gd name="connsiteY137" fmla="*/ 160348 h 343858"/>
                <a:gd name="connsiteX138" fmla="*/ 332066 w 608129"/>
                <a:gd name="connsiteY138" fmla="*/ 161107 h 343858"/>
                <a:gd name="connsiteX139" fmla="*/ 324470 w 608129"/>
                <a:gd name="connsiteY139" fmla="*/ 161865 h 343858"/>
                <a:gd name="connsiteX140" fmla="*/ 317634 w 608129"/>
                <a:gd name="connsiteY140" fmla="*/ 161107 h 343858"/>
                <a:gd name="connsiteX141" fmla="*/ 314596 w 608129"/>
                <a:gd name="connsiteY141" fmla="*/ 160348 h 343858"/>
                <a:gd name="connsiteX142" fmla="*/ 310799 w 608129"/>
                <a:gd name="connsiteY142" fmla="*/ 158832 h 343858"/>
                <a:gd name="connsiteX143" fmla="*/ 307761 w 608129"/>
                <a:gd name="connsiteY143" fmla="*/ 158073 h 343858"/>
                <a:gd name="connsiteX144" fmla="*/ 304723 w 608129"/>
                <a:gd name="connsiteY144" fmla="*/ 156557 h 343858"/>
                <a:gd name="connsiteX145" fmla="*/ 297887 w 608129"/>
                <a:gd name="connsiteY145" fmla="*/ 151249 h 343858"/>
                <a:gd name="connsiteX146" fmla="*/ 297127 w 608129"/>
                <a:gd name="connsiteY146" fmla="*/ 150490 h 343858"/>
                <a:gd name="connsiteX147" fmla="*/ 294089 w 608129"/>
                <a:gd name="connsiteY147" fmla="*/ 147457 h 343858"/>
                <a:gd name="connsiteX148" fmla="*/ 292570 w 608129"/>
                <a:gd name="connsiteY148" fmla="*/ 145941 h 343858"/>
                <a:gd name="connsiteX149" fmla="*/ 289532 w 608129"/>
                <a:gd name="connsiteY149" fmla="*/ 142149 h 343858"/>
                <a:gd name="connsiteX150" fmla="*/ 289532 w 608129"/>
                <a:gd name="connsiteY150" fmla="*/ 140633 h 343858"/>
                <a:gd name="connsiteX151" fmla="*/ 287253 w 608129"/>
                <a:gd name="connsiteY151" fmla="*/ 136083 h 343858"/>
                <a:gd name="connsiteX152" fmla="*/ 237125 w 608129"/>
                <a:gd name="connsiteY152" fmla="*/ 141391 h 343858"/>
                <a:gd name="connsiteX153" fmla="*/ 215098 w 608129"/>
                <a:gd name="connsiteY153" fmla="*/ 165657 h 343858"/>
                <a:gd name="connsiteX154" fmla="*/ 214339 w 608129"/>
                <a:gd name="connsiteY154" fmla="*/ 166415 h 343858"/>
                <a:gd name="connsiteX155" fmla="*/ 212060 w 608129"/>
                <a:gd name="connsiteY155" fmla="*/ 168690 h 343858"/>
                <a:gd name="connsiteX156" fmla="*/ 211301 w 608129"/>
                <a:gd name="connsiteY156" fmla="*/ 168690 h 343858"/>
                <a:gd name="connsiteX157" fmla="*/ 209022 w 608129"/>
                <a:gd name="connsiteY157" fmla="*/ 170206 h 343858"/>
                <a:gd name="connsiteX158" fmla="*/ 207503 w 608129"/>
                <a:gd name="connsiteY158" fmla="*/ 170965 h 343858"/>
                <a:gd name="connsiteX159" fmla="*/ 205224 w 608129"/>
                <a:gd name="connsiteY159" fmla="*/ 171723 h 343858"/>
                <a:gd name="connsiteX160" fmla="*/ 203705 w 608129"/>
                <a:gd name="connsiteY160" fmla="*/ 171723 h 343858"/>
                <a:gd name="connsiteX161" fmla="*/ 202186 w 608129"/>
                <a:gd name="connsiteY161" fmla="*/ 171723 h 343858"/>
                <a:gd name="connsiteX162" fmla="*/ 201427 w 608129"/>
                <a:gd name="connsiteY162" fmla="*/ 171723 h 343858"/>
                <a:gd name="connsiteX163" fmla="*/ 199148 w 608129"/>
                <a:gd name="connsiteY163" fmla="*/ 171723 h 343858"/>
                <a:gd name="connsiteX164" fmla="*/ 198389 w 608129"/>
                <a:gd name="connsiteY164" fmla="*/ 171723 h 343858"/>
                <a:gd name="connsiteX165" fmla="*/ 191553 w 608129"/>
                <a:gd name="connsiteY165" fmla="*/ 169448 h 343858"/>
                <a:gd name="connsiteX166" fmla="*/ 188515 w 608129"/>
                <a:gd name="connsiteY166" fmla="*/ 167173 h 343858"/>
                <a:gd name="connsiteX167" fmla="*/ 178641 w 608129"/>
                <a:gd name="connsiteY167" fmla="*/ 158073 h 343858"/>
                <a:gd name="connsiteX168" fmla="*/ 176362 w 608129"/>
                <a:gd name="connsiteY168" fmla="*/ 155040 h 343858"/>
                <a:gd name="connsiteX169" fmla="*/ 175603 w 608129"/>
                <a:gd name="connsiteY169" fmla="*/ 154282 h 343858"/>
                <a:gd name="connsiteX170" fmla="*/ 174084 w 608129"/>
                <a:gd name="connsiteY170" fmla="*/ 152007 h 343858"/>
                <a:gd name="connsiteX171" fmla="*/ 142943 w 608129"/>
                <a:gd name="connsiteY171" fmla="*/ 159590 h 343858"/>
                <a:gd name="connsiteX172" fmla="*/ 136107 w 608129"/>
                <a:gd name="connsiteY172" fmla="*/ 171723 h 343858"/>
                <a:gd name="connsiteX173" fmla="*/ 135348 w 608129"/>
                <a:gd name="connsiteY173" fmla="*/ 173998 h 343858"/>
                <a:gd name="connsiteX174" fmla="*/ 134588 w 608129"/>
                <a:gd name="connsiteY174" fmla="*/ 174756 h 343858"/>
                <a:gd name="connsiteX175" fmla="*/ 133069 w 608129"/>
                <a:gd name="connsiteY175" fmla="*/ 175514 h 343858"/>
                <a:gd name="connsiteX176" fmla="*/ 131550 w 608129"/>
                <a:gd name="connsiteY176" fmla="*/ 177789 h 343858"/>
                <a:gd name="connsiteX177" fmla="*/ 130791 w 608129"/>
                <a:gd name="connsiteY177" fmla="*/ 177789 h 343858"/>
                <a:gd name="connsiteX178" fmla="*/ 124715 w 608129"/>
                <a:gd name="connsiteY178" fmla="*/ 181581 h 343858"/>
                <a:gd name="connsiteX179" fmla="*/ 119398 w 608129"/>
                <a:gd name="connsiteY179" fmla="*/ 182339 h 343858"/>
                <a:gd name="connsiteX180" fmla="*/ 118638 w 608129"/>
                <a:gd name="connsiteY180" fmla="*/ 182339 h 343858"/>
                <a:gd name="connsiteX181" fmla="*/ 117879 w 608129"/>
                <a:gd name="connsiteY181" fmla="*/ 182339 h 343858"/>
                <a:gd name="connsiteX182" fmla="*/ 114841 w 608129"/>
                <a:gd name="connsiteY182" fmla="*/ 182339 h 343858"/>
                <a:gd name="connsiteX183" fmla="*/ 113322 w 608129"/>
                <a:gd name="connsiteY183" fmla="*/ 181581 h 343858"/>
                <a:gd name="connsiteX184" fmla="*/ 109524 w 608129"/>
                <a:gd name="connsiteY184" fmla="*/ 180064 h 343858"/>
                <a:gd name="connsiteX185" fmla="*/ 108764 w 608129"/>
                <a:gd name="connsiteY185" fmla="*/ 180064 h 343858"/>
                <a:gd name="connsiteX186" fmla="*/ 99650 w 608129"/>
                <a:gd name="connsiteY186" fmla="*/ 175514 h 343858"/>
                <a:gd name="connsiteX187" fmla="*/ 92814 w 608129"/>
                <a:gd name="connsiteY187" fmla="*/ 189922 h 343858"/>
                <a:gd name="connsiteX188" fmla="*/ 71548 w 608129"/>
                <a:gd name="connsiteY188" fmla="*/ 202813 h 343858"/>
                <a:gd name="connsiteX189" fmla="*/ 70029 w 608129"/>
                <a:gd name="connsiteY189" fmla="*/ 214188 h 343858"/>
                <a:gd name="connsiteX190" fmla="*/ 61674 w 608129"/>
                <a:gd name="connsiteY190" fmla="*/ 225562 h 343858"/>
                <a:gd name="connsiteX191" fmla="*/ 51800 w 608129"/>
                <a:gd name="connsiteY191" fmla="*/ 232387 h 343858"/>
                <a:gd name="connsiteX192" fmla="*/ 159653 w 608129"/>
                <a:gd name="connsiteY192" fmla="*/ 232387 h 343858"/>
                <a:gd name="connsiteX193" fmla="*/ 158134 w 608129"/>
                <a:gd name="connsiteY193" fmla="*/ 224804 h 343858"/>
                <a:gd name="connsiteX194" fmla="*/ 159653 w 608129"/>
                <a:gd name="connsiteY194" fmla="*/ 211155 h 343858"/>
                <a:gd name="connsiteX195" fmla="*/ 171046 w 608129"/>
                <a:gd name="connsiteY195" fmla="*/ 202813 h 343858"/>
                <a:gd name="connsiteX196" fmla="*/ 179401 w 608129"/>
                <a:gd name="connsiteY196" fmla="*/ 213430 h 343858"/>
                <a:gd name="connsiteX197" fmla="*/ 177881 w 608129"/>
                <a:gd name="connsiteY197" fmla="*/ 227837 h 343858"/>
                <a:gd name="connsiteX198" fmla="*/ 175603 w 608129"/>
                <a:gd name="connsiteY198" fmla="*/ 232387 h 343858"/>
                <a:gd name="connsiteX199" fmla="*/ 402702 w 608129"/>
                <a:gd name="connsiteY199" fmla="*/ 232387 h 343858"/>
                <a:gd name="connsiteX200" fmla="*/ 537897 w 608129"/>
                <a:gd name="connsiteY200" fmla="*/ 232387 h 343858"/>
                <a:gd name="connsiteX201" fmla="*/ 528783 w 608129"/>
                <a:gd name="connsiteY201" fmla="*/ 208880 h 343858"/>
                <a:gd name="connsiteX202" fmla="*/ 528783 w 608129"/>
                <a:gd name="connsiteY202" fmla="*/ 205847 h 343858"/>
                <a:gd name="connsiteX203" fmla="*/ 519669 w 608129"/>
                <a:gd name="connsiteY203" fmla="*/ 196747 h 343858"/>
                <a:gd name="connsiteX204" fmla="*/ 512833 w 608129"/>
                <a:gd name="connsiteY204" fmla="*/ 196747 h 343858"/>
                <a:gd name="connsiteX205" fmla="*/ 501440 w 608129"/>
                <a:gd name="connsiteY205" fmla="*/ 186131 h 343858"/>
                <a:gd name="connsiteX206" fmla="*/ 492326 w 608129"/>
                <a:gd name="connsiteY206" fmla="*/ 177789 h 343858"/>
                <a:gd name="connsiteX207" fmla="*/ 472578 w 608129"/>
                <a:gd name="connsiteY207" fmla="*/ 162623 h 343858"/>
                <a:gd name="connsiteX208" fmla="*/ 463464 w 608129"/>
                <a:gd name="connsiteY208" fmla="*/ 150490 h 343858"/>
                <a:gd name="connsiteX209" fmla="*/ 458907 w 608129"/>
                <a:gd name="connsiteY209" fmla="*/ 152765 h 343858"/>
                <a:gd name="connsiteX210" fmla="*/ 429285 w 608129"/>
                <a:gd name="connsiteY210" fmla="*/ 161107 h 343858"/>
                <a:gd name="connsiteX211" fmla="*/ 424728 w 608129"/>
                <a:gd name="connsiteY211" fmla="*/ 161865 h 343858"/>
                <a:gd name="connsiteX212" fmla="*/ 423968 w 608129"/>
                <a:gd name="connsiteY212" fmla="*/ 161865 h 343858"/>
                <a:gd name="connsiteX213" fmla="*/ 423209 w 608129"/>
                <a:gd name="connsiteY213" fmla="*/ 161865 h 343858"/>
                <a:gd name="connsiteX214" fmla="*/ 420171 w 608129"/>
                <a:gd name="connsiteY214" fmla="*/ 161107 h 343858"/>
                <a:gd name="connsiteX215" fmla="*/ 418652 w 608129"/>
                <a:gd name="connsiteY215" fmla="*/ 161107 h 343858"/>
                <a:gd name="connsiteX216" fmla="*/ 414094 w 608129"/>
                <a:gd name="connsiteY216" fmla="*/ 159590 h 343858"/>
                <a:gd name="connsiteX217" fmla="*/ 407259 w 608129"/>
                <a:gd name="connsiteY217" fmla="*/ 152765 h 343858"/>
                <a:gd name="connsiteX218" fmla="*/ 404221 w 608129"/>
                <a:gd name="connsiteY218" fmla="*/ 147457 h 343858"/>
                <a:gd name="connsiteX219" fmla="*/ 401182 w 608129"/>
                <a:gd name="connsiteY219" fmla="*/ 135324 h 343858"/>
                <a:gd name="connsiteX220" fmla="*/ 363206 w 608129"/>
                <a:gd name="connsiteY220" fmla="*/ 133808 h 343858"/>
                <a:gd name="connsiteX221" fmla="*/ 105726 w 608129"/>
                <a:gd name="connsiteY221" fmla="*/ 121675 h 343858"/>
                <a:gd name="connsiteX222" fmla="*/ 91295 w 608129"/>
                <a:gd name="connsiteY222" fmla="*/ 148216 h 343858"/>
                <a:gd name="connsiteX223" fmla="*/ 117119 w 608129"/>
                <a:gd name="connsiteY223" fmla="*/ 161865 h 343858"/>
                <a:gd name="connsiteX224" fmla="*/ 118638 w 608129"/>
                <a:gd name="connsiteY224" fmla="*/ 162623 h 343858"/>
                <a:gd name="connsiteX225" fmla="*/ 132310 w 608129"/>
                <a:gd name="connsiteY225" fmla="*/ 135324 h 343858"/>
                <a:gd name="connsiteX226" fmla="*/ 445235 w 608129"/>
                <a:gd name="connsiteY226" fmla="*/ 104234 h 343858"/>
                <a:gd name="connsiteX227" fmla="*/ 415614 w 608129"/>
                <a:gd name="connsiteY227" fmla="*/ 112575 h 343858"/>
                <a:gd name="connsiteX228" fmla="*/ 423968 w 608129"/>
                <a:gd name="connsiteY228" fmla="*/ 141391 h 343858"/>
                <a:gd name="connsiteX229" fmla="*/ 453590 w 608129"/>
                <a:gd name="connsiteY229" fmla="*/ 133049 h 343858"/>
                <a:gd name="connsiteX230" fmla="*/ 324470 w 608129"/>
                <a:gd name="connsiteY230" fmla="*/ 101201 h 343858"/>
                <a:gd name="connsiteX231" fmla="*/ 303963 w 608129"/>
                <a:gd name="connsiteY231" fmla="*/ 121675 h 343858"/>
                <a:gd name="connsiteX232" fmla="*/ 304723 w 608129"/>
                <a:gd name="connsiteY232" fmla="*/ 123192 h 343858"/>
                <a:gd name="connsiteX233" fmla="*/ 304723 w 608129"/>
                <a:gd name="connsiteY233" fmla="*/ 123950 h 343858"/>
                <a:gd name="connsiteX234" fmla="*/ 311558 w 608129"/>
                <a:gd name="connsiteY234" fmla="*/ 136841 h 343858"/>
                <a:gd name="connsiteX235" fmla="*/ 313837 w 608129"/>
                <a:gd name="connsiteY235" fmla="*/ 138358 h 343858"/>
                <a:gd name="connsiteX236" fmla="*/ 314596 w 608129"/>
                <a:gd name="connsiteY236" fmla="*/ 139116 h 343858"/>
                <a:gd name="connsiteX237" fmla="*/ 317634 w 608129"/>
                <a:gd name="connsiteY237" fmla="*/ 139874 h 343858"/>
                <a:gd name="connsiteX238" fmla="*/ 318394 w 608129"/>
                <a:gd name="connsiteY238" fmla="*/ 140633 h 343858"/>
                <a:gd name="connsiteX239" fmla="*/ 320673 w 608129"/>
                <a:gd name="connsiteY239" fmla="*/ 141391 h 343858"/>
                <a:gd name="connsiteX240" fmla="*/ 324470 w 608129"/>
                <a:gd name="connsiteY240" fmla="*/ 141391 h 343858"/>
                <a:gd name="connsiteX241" fmla="*/ 328268 w 608129"/>
                <a:gd name="connsiteY241" fmla="*/ 141391 h 343858"/>
                <a:gd name="connsiteX242" fmla="*/ 329787 w 608129"/>
                <a:gd name="connsiteY242" fmla="*/ 140633 h 343858"/>
                <a:gd name="connsiteX243" fmla="*/ 332066 w 608129"/>
                <a:gd name="connsiteY243" fmla="*/ 139874 h 343858"/>
                <a:gd name="connsiteX244" fmla="*/ 333585 w 608129"/>
                <a:gd name="connsiteY244" fmla="*/ 139116 h 343858"/>
                <a:gd name="connsiteX245" fmla="*/ 335863 w 608129"/>
                <a:gd name="connsiteY245" fmla="*/ 138358 h 343858"/>
                <a:gd name="connsiteX246" fmla="*/ 337382 w 608129"/>
                <a:gd name="connsiteY246" fmla="*/ 136841 h 343858"/>
                <a:gd name="connsiteX247" fmla="*/ 338142 w 608129"/>
                <a:gd name="connsiteY247" fmla="*/ 136083 h 343858"/>
                <a:gd name="connsiteX248" fmla="*/ 340420 w 608129"/>
                <a:gd name="connsiteY248" fmla="*/ 133808 h 343858"/>
                <a:gd name="connsiteX249" fmla="*/ 340420 w 608129"/>
                <a:gd name="connsiteY249" fmla="*/ 133049 h 343858"/>
                <a:gd name="connsiteX250" fmla="*/ 344218 w 608129"/>
                <a:gd name="connsiteY250" fmla="*/ 123192 h 343858"/>
                <a:gd name="connsiteX251" fmla="*/ 344977 w 608129"/>
                <a:gd name="connsiteY251" fmla="*/ 120917 h 343858"/>
                <a:gd name="connsiteX252" fmla="*/ 324470 w 608129"/>
                <a:gd name="connsiteY252" fmla="*/ 101201 h 343858"/>
                <a:gd name="connsiteX253" fmla="*/ 234086 w 608129"/>
                <a:gd name="connsiteY253" fmla="*/ 98926 h 343858"/>
                <a:gd name="connsiteX254" fmla="*/ 193832 w 608129"/>
                <a:gd name="connsiteY254" fmla="*/ 144424 h 343858"/>
                <a:gd name="connsiteX255" fmla="*/ 201427 w 608129"/>
                <a:gd name="connsiteY255" fmla="*/ 151249 h 343858"/>
                <a:gd name="connsiteX256" fmla="*/ 227251 w 608129"/>
                <a:gd name="connsiteY256" fmla="*/ 121675 h 343858"/>
                <a:gd name="connsiteX257" fmla="*/ 241682 w 608129"/>
                <a:gd name="connsiteY257" fmla="*/ 105751 h 343858"/>
                <a:gd name="connsiteX258" fmla="*/ 233042 w 608129"/>
                <a:gd name="connsiteY258" fmla="*/ 78357 h 343858"/>
                <a:gd name="connsiteX259" fmla="*/ 246239 w 608129"/>
                <a:gd name="connsiteY259" fmla="*/ 83001 h 343858"/>
                <a:gd name="connsiteX260" fmla="*/ 256872 w 608129"/>
                <a:gd name="connsiteY260" fmla="*/ 92101 h 343858"/>
                <a:gd name="connsiteX261" fmla="*/ 257632 w 608129"/>
                <a:gd name="connsiteY261" fmla="*/ 118642 h 343858"/>
                <a:gd name="connsiteX262" fmla="*/ 284215 w 608129"/>
                <a:gd name="connsiteY262" fmla="*/ 116367 h 343858"/>
                <a:gd name="connsiteX263" fmla="*/ 324470 w 608129"/>
                <a:gd name="connsiteY263" fmla="*/ 80727 h 343858"/>
                <a:gd name="connsiteX264" fmla="*/ 363966 w 608129"/>
                <a:gd name="connsiteY264" fmla="*/ 114092 h 343858"/>
                <a:gd name="connsiteX265" fmla="*/ 395866 w 608129"/>
                <a:gd name="connsiteY265" fmla="*/ 114850 h 343858"/>
                <a:gd name="connsiteX266" fmla="*/ 398144 w 608129"/>
                <a:gd name="connsiteY266" fmla="*/ 102717 h 343858"/>
                <a:gd name="connsiteX267" fmla="*/ 410297 w 608129"/>
                <a:gd name="connsiteY267" fmla="*/ 92859 h 343858"/>
                <a:gd name="connsiteX268" fmla="*/ 439159 w 608129"/>
                <a:gd name="connsiteY268" fmla="*/ 84518 h 343858"/>
                <a:gd name="connsiteX269" fmla="*/ 454349 w 608129"/>
                <a:gd name="connsiteY269" fmla="*/ 86035 h 343858"/>
                <a:gd name="connsiteX270" fmla="*/ 464223 w 608129"/>
                <a:gd name="connsiteY270" fmla="*/ 98168 h 343858"/>
                <a:gd name="connsiteX271" fmla="*/ 472578 w 608129"/>
                <a:gd name="connsiteY271" fmla="*/ 127741 h 343858"/>
                <a:gd name="connsiteX272" fmla="*/ 473338 w 608129"/>
                <a:gd name="connsiteY272" fmla="*/ 132291 h 343858"/>
                <a:gd name="connsiteX273" fmla="*/ 492326 w 608129"/>
                <a:gd name="connsiteY273" fmla="*/ 157315 h 343858"/>
                <a:gd name="connsiteX274" fmla="*/ 519669 w 608129"/>
                <a:gd name="connsiteY274" fmla="*/ 176273 h 343858"/>
                <a:gd name="connsiteX275" fmla="*/ 524226 w 608129"/>
                <a:gd name="connsiteY275" fmla="*/ 177031 h 343858"/>
                <a:gd name="connsiteX276" fmla="*/ 547771 w 608129"/>
                <a:gd name="connsiteY276" fmla="*/ 199780 h 343858"/>
                <a:gd name="connsiteX277" fmla="*/ 548531 w 608129"/>
                <a:gd name="connsiteY277" fmla="*/ 210396 h 343858"/>
                <a:gd name="connsiteX278" fmla="*/ 553848 w 608129"/>
                <a:gd name="connsiteY278" fmla="*/ 219496 h 343858"/>
                <a:gd name="connsiteX279" fmla="*/ 564481 w 608129"/>
                <a:gd name="connsiteY279" fmla="*/ 232387 h 343858"/>
                <a:gd name="connsiteX280" fmla="*/ 588786 w 608129"/>
                <a:gd name="connsiteY280" fmla="*/ 232387 h 343858"/>
                <a:gd name="connsiteX281" fmla="*/ 606255 w 608129"/>
                <a:gd name="connsiteY281" fmla="*/ 243003 h 343858"/>
                <a:gd name="connsiteX282" fmla="*/ 604736 w 608129"/>
                <a:gd name="connsiteY282" fmla="*/ 263478 h 343858"/>
                <a:gd name="connsiteX283" fmla="*/ 603217 w 608129"/>
                <a:gd name="connsiteY283" fmla="*/ 264994 h 343858"/>
                <a:gd name="connsiteX284" fmla="*/ 550809 w 608129"/>
                <a:gd name="connsiteY284" fmla="*/ 296843 h 343858"/>
                <a:gd name="connsiteX285" fmla="*/ 544733 w 608129"/>
                <a:gd name="connsiteY285" fmla="*/ 312768 h 343858"/>
                <a:gd name="connsiteX286" fmla="*/ 516631 w 608129"/>
                <a:gd name="connsiteY286" fmla="*/ 343858 h 343858"/>
                <a:gd name="connsiteX287" fmla="*/ 91295 w 608129"/>
                <a:gd name="connsiteY287" fmla="*/ 343858 h 343858"/>
                <a:gd name="connsiteX288" fmla="*/ 63952 w 608129"/>
                <a:gd name="connsiteY288" fmla="*/ 312768 h 343858"/>
                <a:gd name="connsiteX289" fmla="*/ 57876 w 608129"/>
                <a:gd name="connsiteY289" fmla="*/ 296843 h 343858"/>
                <a:gd name="connsiteX290" fmla="*/ 4709 w 608129"/>
                <a:gd name="connsiteY290" fmla="*/ 264994 h 343858"/>
                <a:gd name="connsiteX291" fmla="*/ 3950 w 608129"/>
                <a:gd name="connsiteY291" fmla="*/ 263478 h 343858"/>
                <a:gd name="connsiteX292" fmla="*/ 2431 w 608129"/>
                <a:gd name="connsiteY292" fmla="*/ 243003 h 343858"/>
                <a:gd name="connsiteX293" fmla="*/ 19900 w 608129"/>
                <a:gd name="connsiteY293" fmla="*/ 232387 h 343858"/>
                <a:gd name="connsiteX294" fmla="*/ 31293 w 608129"/>
                <a:gd name="connsiteY294" fmla="*/ 232387 h 343858"/>
                <a:gd name="connsiteX295" fmla="*/ 49521 w 608129"/>
                <a:gd name="connsiteY295" fmla="*/ 208880 h 343858"/>
                <a:gd name="connsiteX296" fmla="*/ 57117 w 608129"/>
                <a:gd name="connsiteY296" fmla="*/ 187647 h 343858"/>
                <a:gd name="connsiteX297" fmla="*/ 68510 w 608129"/>
                <a:gd name="connsiteY297" fmla="*/ 182339 h 343858"/>
                <a:gd name="connsiteX298" fmla="*/ 76864 w 608129"/>
                <a:gd name="connsiteY298" fmla="*/ 177031 h 343858"/>
                <a:gd name="connsiteX299" fmla="*/ 79902 w 608129"/>
                <a:gd name="connsiteY299" fmla="*/ 167931 h 343858"/>
                <a:gd name="connsiteX300" fmla="*/ 79902 w 608129"/>
                <a:gd name="connsiteY300" fmla="*/ 164140 h 343858"/>
                <a:gd name="connsiteX301" fmla="*/ 73826 w 608129"/>
                <a:gd name="connsiteY301" fmla="*/ 139116 h 343858"/>
                <a:gd name="connsiteX302" fmla="*/ 87498 w 608129"/>
                <a:gd name="connsiteY302" fmla="*/ 111817 h 343858"/>
                <a:gd name="connsiteX303" fmla="*/ 99650 w 608129"/>
                <a:gd name="connsiteY303" fmla="*/ 101959 h 343858"/>
                <a:gd name="connsiteX304" fmla="*/ 114841 w 608129"/>
                <a:gd name="connsiteY304" fmla="*/ 103476 h 343858"/>
                <a:gd name="connsiteX305" fmla="*/ 142184 w 608129"/>
                <a:gd name="connsiteY305" fmla="*/ 117125 h 343858"/>
                <a:gd name="connsiteX306" fmla="*/ 152058 w 608129"/>
                <a:gd name="connsiteY306" fmla="*/ 129258 h 343858"/>
                <a:gd name="connsiteX307" fmla="*/ 152817 w 608129"/>
                <a:gd name="connsiteY307" fmla="*/ 136083 h 343858"/>
                <a:gd name="connsiteX308" fmla="*/ 178641 w 608129"/>
                <a:gd name="connsiteY308" fmla="*/ 130016 h 343858"/>
                <a:gd name="connsiteX309" fmla="*/ 220415 w 608129"/>
                <a:gd name="connsiteY309" fmla="*/ 84518 h 343858"/>
                <a:gd name="connsiteX310" fmla="*/ 233042 w 608129"/>
                <a:gd name="connsiteY310" fmla="*/ 78357 h 343858"/>
                <a:gd name="connsiteX311" fmla="*/ 162582 w 608129"/>
                <a:gd name="connsiteY311" fmla="*/ 60954 h 343858"/>
                <a:gd name="connsiteX312" fmla="*/ 142076 w 608129"/>
                <a:gd name="connsiteY312" fmla="*/ 80671 h 343858"/>
                <a:gd name="connsiteX313" fmla="*/ 162582 w 608129"/>
                <a:gd name="connsiteY313" fmla="*/ 101147 h 343858"/>
                <a:gd name="connsiteX314" fmla="*/ 182329 w 608129"/>
                <a:gd name="connsiteY314" fmla="*/ 80671 h 343858"/>
                <a:gd name="connsiteX315" fmla="*/ 162582 w 608129"/>
                <a:gd name="connsiteY315" fmla="*/ 60954 h 343858"/>
                <a:gd name="connsiteX316" fmla="*/ 162582 w 608129"/>
                <a:gd name="connsiteY316" fmla="*/ 40478 h 343858"/>
                <a:gd name="connsiteX317" fmla="*/ 202836 w 608129"/>
                <a:gd name="connsiteY317" fmla="*/ 80671 h 343858"/>
                <a:gd name="connsiteX318" fmla="*/ 162582 w 608129"/>
                <a:gd name="connsiteY318" fmla="*/ 121623 h 343858"/>
                <a:gd name="connsiteX319" fmla="*/ 121569 w 608129"/>
                <a:gd name="connsiteY319" fmla="*/ 80671 h 343858"/>
                <a:gd name="connsiteX320" fmla="*/ 162582 w 608129"/>
                <a:gd name="connsiteY320" fmla="*/ 40478 h 343858"/>
                <a:gd name="connsiteX321" fmla="*/ 285697 w 608129"/>
                <a:gd name="connsiteY321" fmla="*/ 32920 h 343858"/>
                <a:gd name="connsiteX322" fmla="*/ 256860 w 608129"/>
                <a:gd name="connsiteY322" fmla="*/ 41258 h 343858"/>
                <a:gd name="connsiteX323" fmla="*/ 265208 w 608129"/>
                <a:gd name="connsiteY323" fmla="*/ 70819 h 343858"/>
                <a:gd name="connsiteX324" fmla="*/ 294045 w 608129"/>
                <a:gd name="connsiteY324" fmla="*/ 62481 h 343858"/>
                <a:gd name="connsiteX325" fmla="*/ 364659 w 608129"/>
                <a:gd name="connsiteY325" fmla="*/ 20767 h 343858"/>
                <a:gd name="connsiteX326" fmla="*/ 355552 w 608129"/>
                <a:gd name="connsiteY326" fmla="*/ 23799 h 343858"/>
                <a:gd name="connsiteX327" fmla="*/ 376044 w 608129"/>
                <a:gd name="connsiteY327" fmla="*/ 81416 h 343858"/>
                <a:gd name="connsiteX328" fmla="*/ 385910 w 608129"/>
                <a:gd name="connsiteY328" fmla="*/ 77625 h 343858"/>
                <a:gd name="connsiteX329" fmla="*/ 280385 w 608129"/>
                <a:gd name="connsiteY329" fmla="*/ 13971 h 343858"/>
                <a:gd name="connsiteX330" fmla="*/ 295563 w 608129"/>
                <a:gd name="connsiteY330" fmla="*/ 15487 h 343858"/>
                <a:gd name="connsiteX331" fmla="*/ 305428 w 608129"/>
                <a:gd name="connsiteY331" fmla="*/ 27614 h 343858"/>
                <a:gd name="connsiteX332" fmla="*/ 313776 w 608129"/>
                <a:gd name="connsiteY332" fmla="*/ 57176 h 343858"/>
                <a:gd name="connsiteX333" fmla="*/ 311500 w 608129"/>
                <a:gd name="connsiteY333" fmla="*/ 72335 h 343858"/>
                <a:gd name="connsiteX334" fmla="*/ 299357 w 608129"/>
                <a:gd name="connsiteY334" fmla="*/ 82189 h 343858"/>
                <a:gd name="connsiteX335" fmla="*/ 270520 w 608129"/>
                <a:gd name="connsiteY335" fmla="*/ 90527 h 343858"/>
                <a:gd name="connsiteX336" fmla="*/ 265208 w 608129"/>
                <a:gd name="connsiteY336" fmla="*/ 91285 h 343858"/>
                <a:gd name="connsiteX337" fmla="*/ 255342 w 608129"/>
                <a:gd name="connsiteY337" fmla="*/ 88253 h 343858"/>
                <a:gd name="connsiteX338" fmla="*/ 245477 w 608129"/>
                <a:gd name="connsiteY338" fmla="*/ 76125 h 343858"/>
                <a:gd name="connsiteX339" fmla="*/ 237129 w 608129"/>
                <a:gd name="connsiteY339" fmla="*/ 47322 h 343858"/>
                <a:gd name="connsiteX340" fmla="*/ 238647 w 608129"/>
                <a:gd name="connsiteY340" fmla="*/ 32162 h 343858"/>
                <a:gd name="connsiteX341" fmla="*/ 250789 w 608129"/>
                <a:gd name="connsiteY341" fmla="*/ 22309 h 343858"/>
                <a:gd name="connsiteX342" fmla="*/ 359347 w 608129"/>
                <a:gd name="connsiteY342" fmla="*/ 1056 h 343858"/>
                <a:gd name="connsiteX343" fmla="*/ 373767 w 608129"/>
                <a:gd name="connsiteY343" fmla="*/ 1814 h 343858"/>
                <a:gd name="connsiteX344" fmla="*/ 383633 w 608129"/>
                <a:gd name="connsiteY344" fmla="*/ 12428 h 343858"/>
                <a:gd name="connsiteX345" fmla="*/ 404884 w 608129"/>
                <a:gd name="connsiteY345" fmla="*/ 72318 h 343858"/>
                <a:gd name="connsiteX346" fmla="*/ 404884 w 608129"/>
                <a:gd name="connsiteY346" fmla="*/ 86723 h 343858"/>
                <a:gd name="connsiteX347" fmla="*/ 394259 w 608129"/>
                <a:gd name="connsiteY347" fmla="*/ 95820 h 343858"/>
                <a:gd name="connsiteX348" fmla="*/ 381356 w 608129"/>
                <a:gd name="connsiteY348" fmla="*/ 100369 h 343858"/>
                <a:gd name="connsiteX349" fmla="*/ 375285 w 608129"/>
                <a:gd name="connsiteY349" fmla="*/ 101885 h 343858"/>
                <a:gd name="connsiteX350" fmla="*/ 367695 w 608129"/>
                <a:gd name="connsiteY350" fmla="*/ 100369 h 343858"/>
                <a:gd name="connsiteX351" fmla="*/ 357829 w 608129"/>
                <a:gd name="connsiteY351" fmla="*/ 89755 h 343858"/>
                <a:gd name="connsiteX352" fmla="*/ 335819 w 608129"/>
                <a:gd name="connsiteY352" fmla="*/ 29864 h 343858"/>
                <a:gd name="connsiteX353" fmla="*/ 336578 w 608129"/>
                <a:gd name="connsiteY353" fmla="*/ 15460 h 343858"/>
                <a:gd name="connsiteX354" fmla="*/ 347203 w 608129"/>
                <a:gd name="connsiteY354" fmla="*/ 5605 h 34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</a:cxnLst>
              <a:rect l="l" t="t" r="r" b="b"/>
              <a:pathLst>
                <a:path w="41014" h="40190">
                  <a:moveTo>
                    <a:pt x="20507" y="0"/>
                  </a:moveTo>
                  <a:cubicBezTo>
                    <a:pt x="9114" y="0"/>
                    <a:pt x="0" y="9099"/>
                    <a:pt x="0" y="20474"/>
                  </a:cubicBezTo>
                  <a:cubicBezTo>
                    <a:pt x="0" y="20474"/>
                    <a:pt x="760" y="21232"/>
                    <a:pt x="760" y="21991"/>
                  </a:cubicBezTo>
                  <a:lnTo>
                    <a:pt x="760" y="22749"/>
                  </a:lnTo>
                  <a:cubicBezTo>
                    <a:pt x="1519" y="28057"/>
                    <a:pt x="3798" y="31848"/>
                    <a:pt x="7595" y="35640"/>
                  </a:cubicBezTo>
                  <a:cubicBezTo>
                    <a:pt x="8355" y="36398"/>
                    <a:pt x="9114" y="37157"/>
                    <a:pt x="9874" y="37157"/>
                  </a:cubicBezTo>
                  <a:cubicBezTo>
                    <a:pt x="10633" y="37157"/>
                    <a:pt x="10633" y="37915"/>
                    <a:pt x="10633" y="37915"/>
                  </a:cubicBezTo>
                  <a:cubicBezTo>
                    <a:pt x="11393" y="37915"/>
                    <a:pt x="12152" y="38673"/>
                    <a:pt x="13671" y="38673"/>
                  </a:cubicBezTo>
                  <a:cubicBezTo>
                    <a:pt x="13671" y="39432"/>
                    <a:pt x="14431" y="39432"/>
                    <a:pt x="14431" y="39432"/>
                  </a:cubicBezTo>
                  <a:cubicBezTo>
                    <a:pt x="15191" y="39432"/>
                    <a:pt x="15950" y="40190"/>
                    <a:pt x="16710" y="40190"/>
                  </a:cubicBezTo>
                  <a:cubicBezTo>
                    <a:pt x="18229" y="40190"/>
                    <a:pt x="18988" y="40190"/>
                    <a:pt x="20507" y="40190"/>
                  </a:cubicBezTo>
                  <a:cubicBezTo>
                    <a:pt x="22026" y="40190"/>
                    <a:pt x="23545" y="40190"/>
                    <a:pt x="24305" y="40190"/>
                  </a:cubicBezTo>
                  <a:cubicBezTo>
                    <a:pt x="25064" y="40190"/>
                    <a:pt x="25064" y="39432"/>
                    <a:pt x="25824" y="39432"/>
                  </a:cubicBezTo>
                  <a:cubicBezTo>
                    <a:pt x="26583" y="39432"/>
                    <a:pt x="27343" y="39432"/>
                    <a:pt x="28103" y="38673"/>
                  </a:cubicBezTo>
                  <a:cubicBezTo>
                    <a:pt x="28862" y="38673"/>
                    <a:pt x="28862" y="38673"/>
                    <a:pt x="29622" y="37915"/>
                  </a:cubicBezTo>
                  <a:cubicBezTo>
                    <a:pt x="30381" y="37915"/>
                    <a:pt x="31141" y="37157"/>
                    <a:pt x="31900" y="37157"/>
                  </a:cubicBezTo>
                  <a:cubicBezTo>
                    <a:pt x="31900" y="36398"/>
                    <a:pt x="32660" y="36398"/>
                    <a:pt x="33419" y="35640"/>
                  </a:cubicBezTo>
                  <a:cubicBezTo>
                    <a:pt x="33419" y="35640"/>
                    <a:pt x="34179" y="34882"/>
                    <a:pt x="34179" y="34882"/>
                  </a:cubicBezTo>
                  <a:cubicBezTo>
                    <a:pt x="34938" y="34123"/>
                    <a:pt x="35698" y="33365"/>
                    <a:pt x="36457" y="32607"/>
                  </a:cubicBezTo>
                  <a:cubicBezTo>
                    <a:pt x="36457" y="32607"/>
                    <a:pt x="36457" y="32607"/>
                    <a:pt x="36457" y="31848"/>
                  </a:cubicBezTo>
                  <a:cubicBezTo>
                    <a:pt x="38736" y="29574"/>
                    <a:pt x="40255" y="25782"/>
                    <a:pt x="40255" y="21991"/>
                  </a:cubicBezTo>
                  <a:lnTo>
                    <a:pt x="41014" y="19716"/>
                  </a:lnTo>
                  <a:cubicBezTo>
                    <a:pt x="40255" y="9099"/>
                    <a:pt x="31900" y="0"/>
                    <a:pt x="20507" y="0"/>
                  </a:cubicBezTo>
                </a:path>
              </a:pathLst>
            </a:custGeom>
            <a:noFill/>
            <a:ln w="44450">
              <a:gradFill>
                <a:gsLst>
                  <a:gs pos="0">
                    <a:schemeClr val="accent3"/>
                  </a:gs>
                  <a:gs pos="100000">
                    <a:schemeClr val="accent3">
                      <a:lumMod val="5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zh-CN" altLang="en-US">
                <a:gradFill flip="none" rotWithShape="1">
                  <a:gsLst>
                    <a:gs pos="89000">
                      <a:schemeClr val="bg1"/>
                    </a:gs>
                    <a:gs pos="0">
                      <a:schemeClr val="accent2"/>
                    </a:gs>
                  </a:gsLst>
                  <a:lin ang="13500000" scaled="1"/>
                  <a:tileRect/>
                </a:gradFill>
              </a:endParaRPr>
            </a:p>
          </p:txBody>
        </p:sp>
        <p:sp>
          <p:nvSpPr>
            <p:cNvPr id="324" name="任意多边形: 形状 323"/>
            <p:cNvSpPr>
              <a:spLocks/>
            </p:cNvSpPr>
            <p:nvPr userDrawn="1"/>
          </p:nvSpPr>
          <p:spPr bwMode="auto">
            <a:xfrm flipV="1">
              <a:off x="9028425" y="3676567"/>
              <a:ext cx="45719" cy="82647"/>
            </a:xfrm>
            <a:custGeom>
              <a:avLst/>
              <a:gdLst>
                <a:gd name="connsiteX0" fmla="*/ 193001 w 608129"/>
                <a:gd name="connsiteY0" fmla="*/ 283182 h 343858"/>
                <a:gd name="connsiteX1" fmla="*/ 506699 w 608129"/>
                <a:gd name="connsiteY1" fmla="*/ 283182 h 343858"/>
                <a:gd name="connsiteX2" fmla="*/ 516573 w 608129"/>
                <a:gd name="connsiteY2" fmla="*/ 293038 h 343858"/>
                <a:gd name="connsiteX3" fmla="*/ 506699 w 608129"/>
                <a:gd name="connsiteY3" fmla="*/ 303651 h 343858"/>
                <a:gd name="connsiteX4" fmla="*/ 193001 w 608129"/>
                <a:gd name="connsiteY4" fmla="*/ 303651 h 343858"/>
                <a:gd name="connsiteX5" fmla="*/ 182367 w 608129"/>
                <a:gd name="connsiteY5" fmla="*/ 293038 h 343858"/>
                <a:gd name="connsiteX6" fmla="*/ 193001 w 608129"/>
                <a:gd name="connsiteY6" fmla="*/ 283182 h 343858"/>
                <a:gd name="connsiteX7" fmla="*/ 101866 w 608129"/>
                <a:gd name="connsiteY7" fmla="*/ 283182 h 343858"/>
                <a:gd name="connsiteX8" fmla="*/ 142885 w 608129"/>
                <a:gd name="connsiteY8" fmla="*/ 283182 h 343858"/>
                <a:gd name="connsiteX9" fmla="*/ 152760 w 608129"/>
                <a:gd name="connsiteY9" fmla="*/ 293038 h 343858"/>
                <a:gd name="connsiteX10" fmla="*/ 142885 w 608129"/>
                <a:gd name="connsiteY10" fmla="*/ 303651 h 343858"/>
                <a:gd name="connsiteX11" fmla="*/ 101866 w 608129"/>
                <a:gd name="connsiteY11" fmla="*/ 303651 h 343858"/>
                <a:gd name="connsiteX12" fmla="*/ 91231 w 608129"/>
                <a:gd name="connsiteY12" fmla="*/ 293038 h 343858"/>
                <a:gd name="connsiteX13" fmla="*/ 101866 w 608129"/>
                <a:gd name="connsiteY13" fmla="*/ 283182 h 343858"/>
                <a:gd name="connsiteX14" fmla="*/ 23697 w 608129"/>
                <a:gd name="connsiteY14" fmla="*/ 252861 h 343858"/>
                <a:gd name="connsiteX15" fmla="*/ 72307 w 608129"/>
                <a:gd name="connsiteY15" fmla="*/ 281677 h 343858"/>
                <a:gd name="connsiteX16" fmla="*/ 73826 w 608129"/>
                <a:gd name="connsiteY16" fmla="*/ 283952 h 343858"/>
                <a:gd name="connsiteX17" fmla="*/ 82941 w 608129"/>
                <a:gd name="connsiteY17" fmla="*/ 307460 h 343858"/>
                <a:gd name="connsiteX18" fmla="*/ 91295 w 608129"/>
                <a:gd name="connsiteY18" fmla="*/ 323384 h 343858"/>
                <a:gd name="connsiteX19" fmla="*/ 516631 w 608129"/>
                <a:gd name="connsiteY19" fmla="*/ 323384 h 343858"/>
                <a:gd name="connsiteX20" fmla="*/ 525745 w 608129"/>
                <a:gd name="connsiteY20" fmla="*/ 307460 h 343858"/>
                <a:gd name="connsiteX21" fmla="*/ 534859 w 608129"/>
                <a:gd name="connsiteY21" fmla="*/ 283952 h 343858"/>
                <a:gd name="connsiteX22" fmla="*/ 536378 w 608129"/>
                <a:gd name="connsiteY22" fmla="*/ 281677 h 343858"/>
                <a:gd name="connsiteX23" fmla="*/ 584229 w 608129"/>
                <a:gd name="connsiteY23" fmla="*/ 252861 h 343858"/>
                <a:gd name="connsiteX24" fmla="*/ 569798 w 608129"/>
                <a:gd name="connsiteY24" fmla="*/ 252861 h 343858"/>
                <a:gd name="connsiteX25" fmla="*/ 413335 w 608129"/>
                <a:gd name="connsiteY25" fmla="*/ 252861 h 343858"/>
                <a:gd name="connsiteX26" fmla="*/ 401942 w 608129"/>
                <a:gd name="connsiteY26" fmla="*/ 252861 h 343858"/>
                <a:gd name="connsiteX27" fmla="*/ 35850 w 608129"/>
                <a:gd name="connsiteY27" fmla="*/ 252861 h 343858"/>
                <a:gd name="connsiteX28" fmla="*/ 254526 w 608129"/>
                <a:gd name="connsiteY28" fmla="*/ 201295 h 343858"/>
                <a:gd name="connsiteX29" fmla="*/ 257557 w 608129"/>
                <a:gd name="connsiteY29" fmla="*/ 214952 h 343858"/>
                <a:gd name="connsiteX30" fmla="*/ 249221 w 608129"/>
                <a:gd name="connsiteY30" fmla="*/ 227091 h 343858"/>
                <a:gd name="connsiteX31" fmla="*/ 240886 w 608129"/>
                <a:gd name="connsiteY31" fmla="*/ 231644 h 343858"/>
                <a:gd name="connsiteX32" fmla="*/ 235581 w 608129"/>
                <a:gd name="connsiteY32" fmla="*/ 229368 h 343858"/>
                <a:gd name="connsiteX33" fmla="*/ 232550 w 608129"/>
                <a:gd name="connsiteY33" fmla="*/ 215710 h 343858"/>
                <a:gd name="connsiteX34" fmla="*/ 240886 w 608129"/>
                <a:gd name="connsiteY34" fmla="*/ 203571 h 343858"/>
                <a:gd name="connsiteX35" fmla="*/ 254526 w 608129"/>
                <a:gd name="connsiteY35" fmla="*/ 201295 h 343858"/>
                <a:gd name="connsiteX36" fmla="*/ 293998 w 608129"/>
                <a:gd name="connsiteY36" fmla="*/ 199043 h 343858"/>
                <a:gd name="connsiteX37" fmla="*/ 307670 w 608129"/>
                <a:gd name="connsiteY37" fmla="*/ 202827 h 343858"/>
                <a:gd name="connsiteX38" fmla="*/ 314506 w 608129"/>
                <a:gd name="connsiteY38" fmla="*/ 214937 h 343858"/>
                <a:gd name="connsiteX39" fmla="*/ 304632 w 608129"/>
                <a:gd name="connsiteY39" fmla="*/ 222506 h 343858"/>
                <a:gd name="connsiteX40" fmla="*/ 302353 w 608129"/>
                <a:gd name="connsiteY40" fmla="*/ 221749 h 343858"/>
                <a:gd name="connsiteX41" fmla="*/ 288681 w 608129"/>
                <a:gd name="connsiteY41" fmla="*/ 218721 h 343858"/>
                <a:gd name="connsiteX42" fmla="*/ 281845 w 608129"/>
                <a:gd name="connsiteY42" fmla="*/ 205854 h 343858"/>
                <a:gd name="connsiteX43" fmla="*/ 293998 w 608129"/>
                <a:gd name="connsiteY43" fmla="*/ 199043 h 343858"/>
                <a:gd name="connsiteX44" fmla="*/ 113257 w 608129"/>
                <a:gd name="connsiteY44" fmla="*/ 193732 h 343858"/>
                <a:gd name="connsiteX45" fmla="*/ 125378 w 608129"/>
                <a:gd name="connsiteY45" fmla="*/ 201299 h 343858"/>
                <a:gd name="connsiteX46" fmla="*/ 128408 w 608129"/>
                <a:gd name="connsiteY46" fmla="*/ 214920 h 343858"/>
                <a:gd name="connsiteX47" fmla="*/ 120075 w 608129"/>
                <a:gd name="connsiteY47" fmla="*/ 219460 h 343858"/>
                <a:gd name="connsiteX48" fmla="*/ 114773 w 608129"/>
                <a:gd name="connsiteY48" fmla="*/ 217946 h 343858"/>
                <a:gd name="connsiteX49" fmla="*/ 102652 w 608129"/>
                <a:gd name="connsiteY49" fmla="*/ 211136 h 343858"/>
                <a:gd name="connsiteX50" fmla="*/ 99622 w 608129"/>
                <a:gd name="connsiteY50" fmla="*/ 196759 h 343858"/>
                <a:gd name="connsiteX51" fmla="*/ 113257 w 608129"/>
                <a:gd name="connsiteY51" fmla="*/ 193732 h 343858"/>
                <a:gd name="connsiteX52" fmla="*/ 367752 w 608129"/>
                <a:gd name="connsiteY52" fmla="*/ 192974 h 343858"/>
                <a:gd name="connsiteX53" fmla="*/ 380665 w 608129"/>
                <a:gd name="connsiteY53" fmla="*/ 199023 h 343858"/>
                <a:gd name="connsiteX54" fmla="*/ 373829 w 608129"/>
                <a:gd name="connsiteY54" fmla="*/ 211877 h 343858"/>
                <a:gd name="connsiteX55" fmla="*/ 360917 w 608129"/>
                <a:gd name="connsiteY55" fmla="*/ 216414 h 343858"/>
                <a:gd name="connsiteX56" fmla="*/ 357119 w 608129"/>
                <a:gd name="connsiteY56" fmla="*/ 216414 h 343858"/>
                <a:gd name="connsiteX57" fmla="*/ 348004 w 608129"/>
                <a:gd name="connsiteY57" fmla="*/ 209609 h 343858"/>
                <a:gd name="connsiteX58" fmla="*/ 354081 w 608129"/>
                <a:gd name="connsiteY58" fmla="*/ 196755 h 343858"/>
                <a:gd name="connsiteX59" fmla="*/ 473099 w 608129"/>
                <a:gd name="connsiteY59" fmla="*/ 187878 h 343858"/>
                <a:gd name="connsiteX60" fmla="*/ 480904 w 608129"/>
                <a:gd name="connsiteY60" fmla="*/ 189869 h 343858"/>
                <a:gd name="connsiteX61" fmla="*/ 483189 w 608129"/>
                <a:gd name="connsiteY61" fmla="*/ 203526 h 343858"/>
                <a:gd name="connsiteX62" fmla="*/ 475574 w 608129"/>
                <a:gd name="connsiteY62" fmla="*/ 214907 h 343858"/>
                <a:gd name="connsiteX63" fmla="*/ 467198 w 608129"/>
                <a:gd name="connsiteY63" fmla="*/ 219460 h 343858"/>
                <a:gd name="connsiteX64" fmla="*/ 461106 w 608129"/>
                <a:gd name="connsiteY64" fmla="*/ 217942 h 343858"/>
                <a:gd name="connsiteX65" fmla="*/ 458821 w 608129"/>
                <a:gd name="connsiteY65" fmla="*/ 203526 h 343858"/>
                <a:gd name="connsiteX66" fmla="*/ 466436 w 608129"/>
                <a:gd name="connsiteY66" fmla="*/ 192146 h 343858"/>
                <a:gd name="connsiteX67" fmla="*/ 473099 w 608129"/>
                <a:gd name="connsiteY67" fmla="*/ 187878 h 343858"/>
                <a:gd name="connsiteX68" fmla="*/ 410279 w 608129"/>
                <a:gd name="connsiteY68" fmla="*/ 182352 h 343858"/>
                <a:gd name="connsiteX69" fmla="*/ 422434 w 608129"/>
                <a:gd name="connsiteY69" fmla="*/ 189169 h 343858"/>
                <a:gd name="connsiteX70" fmla="*/ 426233 w 608129"/>
                <a:gd name="connsiteY70" fmla="*/ 202805 h 343858"/>
                <a:gd name="connsiteX71" fmla="*/ 418636 w 608129"/>
                <a:gd name="connsiteY71" fmla="*/ 215683 h 343858"/>
                <a:gd name="connsiteX72" fmla="*/ 416356 w 608129"/>
                <a:gd name="connsiteY72" fmla="*/ 215683 h 343858"/>
                <a:gd name="connsiteX73" fmla="*/ 406480 w 608129"/>
                <a:gd name="connsiteY73" fmla="*/ 208108 h 343858"/>
                <a:gd name="connsiteX74" fmla="*/ 402682 w 608129"/>
                <a:gd name="connsiteY74" fmla="*/ 194472 h 343858"/>
                <a:gd name="connsiteX75" fmla="*/ 410279 w 608129"/>
                <a:gd name="connsiteY75" fmla="*/ 182352 h 343858"/>
                <a:gd name="connsiteX76" fmla="*/ 188501 w 608129"/>
                <a:gd name="connsiteY76" fmla="*/ 179282 h 343858"/>
                <a:gd name="connsiteX77" fmla="*/ 202945 w 608129"/>
                <a:gd name="connsiteY77" fmla="*/ 180043 h 343858"/>
                <a:gd name="connsiteX78" fmla="*/ 212067 w 608129"/>
                <a:gd name="connsiteY78" fmla="*/ 191449 h 343858"/>
                <a:gd name="connsiteX79" fmla="*/ 202185 w 608129"/>
                <a:gd name="connsiteY79" fmla="*/ 200575 h 343858"/>
                <a:gd name="connsiteX80" fmla="*/ 201424 w 608129"/>
                <a:gd name="connsiteY80" fmla="*/ 200575 h 343858"/>
                <a:gd name="connsiteX81" fmla="*/ 186981 w 608129"/>
                <a:gd name="connsiteY81" fmla="*/ 199814 h 343858"/>
                <a:gd name="connsiteX82" fmla="*/ 177859 w 608129"/>
                <a:gd name="connsiteY82" fmla="*/ 188408 h 343858"/>
                <a:gd name="connsiteX83" fmla="*/ 188501 w 608129"/>
                <a:gd name="connsiteY83" fmla="*/ 179282 h 343858"/>
                <a:gd name="connsiteX84" fmla="*/ 160344 w 608129"/>
                <a:gd name="connsiteY84" fmla="*/ 165596 h 343858"/>
                <a:gd name="connsiteX85" fmla="*/ 163375 w 608129"/>
                <a:gd name="connsiteY85" fmla="*/ 180011 h 343858"/>
                <a:gd name="connsiteX86" fmla="*/ 155797 w 608129"/>
                <a:gd name="connsiteY86" fmla="*/ 191392 h 343858"/>
                <a:gd name="connsiteX87" fmla="*/ 147461 w 608129"/>
                <a:gd name="connsiteY87" fmla="*/ 195945 h 343858"/>
                <a:gd name="connsiteX88" fmla="*/ 141399 w 608129"/>
                <a:gd name="connsiteY88" fmla="*/ 194427 h 343858"/>
                <a:gd name="connsiteX89" fmla="*/ 139126 w 608129"/>
                <a:gd name="connsiteY89" fmla="*/ 180011 h 343858"/>
                <a:gd name="connsiteX90" fmla="*/ 146704 w 608129"/>
                <a:gd name="connsiteY90" fmla="*/ 168631 h 343858"/>
                <a:gd name="connsiteX91" fmla="*/ 160344 w 608129"/>
                <a:gd name="connsiteY91" fmla="*/ 165596 h 343858"/>
                <a:gd name="connsiteX92" fmla="*/ 338113 w 608129"/>
                <a:gd name="connsiteY92" fmla="*/ 164888 h 343858"/>
                <a:gd name="connsiteX93" fmla="*/ 352554 w 608129"/>
                <a:gd name="connsiteY93" fmla="*/ 164888 h 343858"/>
                <a:gd name="connsiteX94" fmla="*/ 352554 w 608129"/>
                <a:gd name="connsiteY94" fmla="*/ 179285 h 343858"/>
                <a:gd name="connsiteX95" fmla="*/ 342673 w 608129"/>
                <a:gd name="connsiteY95" fmla="*/ 189137 h 343858"/>
                <a:gd name="connsiteX96" fmla="*/ 335073 w 608129"/>
                <a:gd name="connsiteY96" fmla="*/ 192168 h 343858"/>
                <a:gd name="connsiteX97" fmla="*/ 328232 w 608129"/>
                <a:gd name="connsiteY97" fmla="*/ 189137 h 343858"/>
                <a:gd name="connsiteX98" fmla="*/ 328232 w 608129"/>
                <a:gd name="connsiteY98" fmla="*/ 174739 h 343858"/>
                <a:gd name="connsiteX99" fmla="*/ 438352 w 608129"/>
                <a:gd name="connsiteY99" fmla="*/ 163394 h 343858"/>
                <a:gd name="connsiteX100" fmla="*/ 449715 w 608129"/>
                <a:gd name="connsiteY100" fmla="*/ 170961 h 343858"/>
                <a:gd name="connsiteX101" fmla="*/ 453502 w 608129"/>
                <a:gd name="connsiteY101" fmla="*/ 184582 h 343858"/>
                <a:gd name="connsiteX102" fmla="*/ 444412 w 608129"/>
                <a:gd name="connsiteY102" fmla="*/ 189122 h 343858"/>
                <a:gd name="connsiteX103" fmla="*/ 439110 w 608129"/>
                <a:gd name="connsiteY103" fmla="*/ 187608 h 343858"/>
                <a:gd name="connsiteX104" fmla="*/ 427747 w 608129"/>
                <a:gd name="connsiteY104" fmla="*/ 180798 h 343858"/>
                <a:gd name="connsiteX105" fmla="*/ 423959 w 608129"/>
                <a:gd name="connsiteY105" fmla="*/ 166421 h 343858"/>
                <a:gd name="connsiteX106" fmla="*/ 438352 w 608129"/>
                <a:gd name="connsiteY106" fmla="*/ 163394 h 343858"/>
                <a:gd name="connsiteX107" fmla="*/ 237851 w 608129"/>
                <a:gd name="connsiteY107" fmla="*/ 158043 h 343858"/>
                <a:gd name="connsiteX108" fmla="*/ 249244 w 608129"/>
                <a:gd name="connsiteY108" fmla="*/ 165635 h 343858"/>
                <a:gd name="connsiteX109" fmla="*/ 253042 w 608129"/>
                <a:gd name="connsiteY109" fmla="*/ 179300 h 343858"/>
                <a:gd name="connsiteX110" fmla="*/ 243927 w 608129"/>
                <a:gd name="connsiteY110" fmla="*/ 184614 h 343858"/>
                <a:gd name="connsiteX111" fmla="*/ 238610 w 608129"/>
                <a:gd name="connsiteY111" fmla="*/ 183095 h 343858"/>
                <a:gd name="connsiteX112" fmla="*/ 227217 w 608129"/>
                <a:gd name="connsiteY112" fmla="*/ 175504 h 343858"/>
                <a:gd name="connsiteX113" fmla="*/ 223419 w 608129"/>
                <a:gd name="connsiteY113" fmla="*/ 161839 h 343858"/>
                <a:gd name="connsiteX114" fmla="*/ 237851 w 608129"/>
                <a:gd name="connsiteY114" fmla="*/ 158043 h 343858"/>
                <a:gd name="connsiteX115" fmla="*/ 285637 w 608129"/>
                <a:gd name="connsiteY115" fmla="*/ 155767 h 343858"/>
                <a:gd name="connsiteX116" fmla="*/ 299320 w 608129"/>
                <a:gd name="connsiteY116" fmla="*/ 156528 h 343858"/>
                <a:gd name="connsiteX117" fmla="*/ 308442 w 608129"/>
                <a:gd name="connsiteY117" fmla="*/ 167174 h 343858"/>
                <a:gd name="connsiteX118" fmla="*/ 298560 w 608129"/>
                <a:gd name="connsiteY118" fmla="*/ 177060 h 343858"/>
                <a:gd name="connsiteX119" fmla="*/ 297799 w 608129"/>
                <a:gd name="connsiteY119" fmla="*/ 177060 h 343858"/>
                <a:gd name="connsiteX120" fmla="*/ 284116 w 608129"/>
                <a:gd name="connsiteY120" fmla="*/ 175539 h 343858"/>
                <a:gd name="connsiteX121" fmla="*/ 274234 w 608129"/>
                <a:gd name="connsiteY121" fmla="*/ 164893 h 343858"/>
                <a:gd name="connsiteX122" fmla="*/ 285637 w 608129"/>
                <a:gd name="connsiteY122" fmla="*/ 155767 h 343858"/>
                <a:gd name="connsiteX123" fmla="*/ 374580 w 608129"/>
                <a:gd name="connsiteY123" fmla="*/ 140655 h 343858"/>
                <a:gd name="connsiteX124" fmla="*/ 388263 w 608129"/>
                <a:gd name="connsiteY124" fmla="*/ 141411 h 343858"/>
                <a:gd name="connsiteX125" fmla="*/ 398145 w 608129"/>
                <a:gd name="connsiteY125" fmla="*/ 152755 h 343858"/>
                <a:gd name="connsiteX126" fmla="*/ 387503 w 608129"/>
                <a:gd name="connsiteY126" fmla="*/ 161830 h 343858"/>
                <a:gd name="connsiteX127" fmla="*/ 386742 w 608129"/>
                <a:gd name="connsiteY127" fmla="*/ 161830 h 343858"/>
                <a:gd name="connsiteX128" fmla="*/ 373059 w 608129"/>
                <a:gd name="connsiteY128" fmla="*/ 160317 h 343858"/>
                <a:gd name="connsiteX129" fmla="*/ 363937 w 608129"/>
                <a:gd name="connsiteY129" fmla="*/ 149730 h 343858"/>
                <a:gd name="connsiteX130" fmla="*/ 374580 w 608129"/>
                <a:gd name="connsiteY130" fmla="*/ 140655 h 343858"/>
                <a:gd name="connsiteX131" fmla="*/ 363206 w 608129"/>
                <a:gd name="connsiteY131" fmla="*/ 133808 h 343858"/>
                <a:gd name="connsiteX132" fmla="*/ 362447 w 608129"/>
                <a:gd name="connsiteY132" fmla="*/ 134566 h 343858"/>
                <a:gd name="connsiteX133" fmla="*/ 360168 w 608129"/>
                <a:gd name="connsiteY133" fmla="*/ 139874 h 343858"/>
                <a:gd name="connsiteX134" fmla="*/ 344218 w 608129"/>
                <a:gd name="connsiteY134" fmla="*/ 156557 h 343858"/>
                <a:gd name="connsiteX135" fmla="*/ 341939 w 608129"/>
                <a:gd name="connsiteY135" fmla="*/ 157315 h 343858"/>
                <a:gd name="connsiteX136" fmla="*/ 338142 w 608129"/>
                <a:gd name="connsiteY136" fmla="*/ 158832 h 343858"/>
                <a:gd name="connsiteX137" fmla="*/ 335104 w 608129"/>
                <a:gd name="connsiteY137" fmla="*/ 160348 h 343858"/>
                <a:gd name="connsiteX138" fmla="*/ 332066 w 608129"/>
                <a:gd name="connsiteY138" fmla="*/ 161107 h 343858"/>
                <a:gd name="connsiteX139" fmla="*/ 324470 w 608129"/>
                <a:gd name="connsiteY139" fmla="*/ 161865 h 343858"/>
                <a:gd name="connsiteX140" fmla="*/ 317634 w 608129"/>
                <a:gd name="connsiteY140" fmla="*/ 161107 h 343858"/>
                <a:gd name="connsiteX141" fmla="*/ 314596 w 608129"/>
                <a:gd name="connsiteY141" fmla="*/ 160348 h 343858"/>
                <a:gd name="connsiteX142" fmla="*/ 310799 w 608129"/>
                <a:gd name="connsiteY142" fmla="*/ 158832 h 343858"/>
                <a:gd name="connsiteX143" fmla="*/ 307761 w 608129"/>
                <a:gd name="connsiteY143" fmla="*/ 158073 h 343858"/>
                <a:gd name="connsiteX144" fmla="*/ 304723 w 608129"/>
                <a:gd name="connsiteY144" fmla="*/ 156557 h 343858"/>
                <a:gd name="connsiteX145" fmla="*/ 297887 w 608129"/>
                <a:gd name="connsiteY145" fmla="*/ 151249 h 343858"/>
                <a:gd name="connsiteX146" fmla="*/ 297127 w 608129"/>
                <a:gd name="connsiteY146" fmla="*/ 150490 h 343858"/>
                <a:gd name="connsiteX147" fmla="*/ 294089 w 608129"/>
                <a:gd name="connsiteY147" fmla="*/ 147457 h 343858"/>
                <a:gd name="connsiteX148" fmla="*/ 292570 w 608129"/>
                <a:gd name="connsiteY148" fmla="*/ 145941 h 343858"/>
                <a:gd name="connsiteX149" fmla="*/ 289532 w 608129"/>
                <a:gd name="connsiteY149" fmla="*/ 142149 h 343858"/>
                <a:gd name="connsiteX150" fmla="*/ 289532 w 608129"/>
                <a:gd name="connsiteY150" fmla="*/ 140633 h 343858"/>
                <a:gd name="connsiteX151" fmla="*/ 287253 w 608129"/>
                <a:gd name="connsiteY151" fmla="*/ 136083 h 343858"/>
                <a:gd name="connsiteX152" fmla="*/ 237125 w 608129"/>
                <a:gd name="connsiteY152" fmla="*/ 141391 h 343858"/>
                <a:gd name="connsiteX153" fmla="*/ 215098 w 608129"/>
                <a:gd name="connsiteY153" fmla="*/ 165657 h 343858"/>
                <a:gd name="connsiteX154" fmla="*/ 214339 w 608129"/>
                <a:gd name="connsiteY154" fmla="*/ 166415 h 343858"/>
                <a:gd name="connsiteX155" fmla="*/ 212060 w 608129"/>
                <a:gd name="connsiteY155" fmla="*/ 168690 h 343858"/>
                <a:gd name="connsiteX156" fmla="*/ 211301 w 608129"/>
                <a:gd name="connsiteY156" fmla="*/ 168690 h 343858"/>
                <a:gd name="connsiteX157" fmla="*/ 209022 w 608129"/>
                <a:gd name="connsiteY157" fmla="*/ 170206 h 343858"/>
                <a:gd name="connsiteX158" fmla="*/ 207503 w 608129"/>
                <a:gd name="connsiteY158" fmla="*/ 170965 h 343858"/>
                <a:gd name="connsiteX159" fmla="*/ 205224 w 608129"/>
                <a:gd name="connsiteY159" fmla="*/ 171723 h 343858"/>
                <a:gd name="connsiteX160" fmla="*/ 203705 w 608129"/>
                <a:gd name="connsiteY160" fmla="*/ 171723 h 343858"/>
                <a:gd name="connsiteX161" fmla="*/ 202186 w 608129"/>
                <a:gd name="connsiteY161" fmla="*/ 171723 h 343858"/>
                <a:gd name="connsiteX162" fmla="*/ 201427 w 608129"/>
                <a:gd name="connsiteY162" fmla="*/ 171723 h 343858"/>
                <a:gd name="connsiteX163" fmla="*/ 199148 w 608129"/>
                <a:gd name="connsiteY163" fmla="*/ 171723 h 343858"/>
                <a:gd name="connsiteX164" fmla="*/ 198389 w 608129"/>
                <a:gd name="connsiteY164" fmla="*/ 171723 h 343858"/>
                <a:gd name="connsiteX165" fmla="*/ 191553 w 608129"/>
                <a:gd name="connsiteY165" fmla="*/ 169448 h 343858"/>
                <a:gd name="connsiteX166" fmla="*/ 188515 w 608129"/>
                <a:gd name="connsiteY166" fmla="*/ 167173 h 343858"/>
                <a:gd name="connsiteX167" fmla="*/ 178641 w 608129"/>
                <a:gd name="connsiteY167" fmla="*/ 158073 h 343858"/>
                <a:gd name="connsiteX168" fmla="*/ 176362 w 608129"/>
                <a:gd name="connsiteY168" fmla="*/ 155040 h 343858"/>
                <a:gd name="connsiteX169" fmla="*/ 175603 w 608129"/>
                <a:gd name="connsiteY169" fmla="*/ 154282 h 343858"/>
                <a:gd name="connsiteX170" fmla="*/ 174084 w 608129"/>
                <a:gd name="connsiteY170" fmla="*/ 152007 h 343858"/>
                <a:gd name="connsiteX171" fmla="*/ 142943 w 608129"/>
                <a:gd name="connsiteY171" fmla="*/ 159590 h 343858"/>
                <a:gd name="connsiteX172" fmla="*/ 136107 w 608129"/>
                <a:gd name="connsiteY172" fmla="*/ 171723 h 343858"/>
                <a:gd name="connsiteX173" fmla="*/ 135348 w 608129"/>
                <a:gd name="connsiteY173" fmla="*/ 173998 h 343858"/>
                <a:gd name="connsiteX174" fmla="*/ 134588 w 608129"/>
                <a:gd name="connsiteY174" fmla="*/ 174756 h 343858"/>
                <a:gd name="connsiteX175" fmla="*/ 133069 w 608129"/>
                <a:gd name="connsiteY175" fmla="*/ 175514 h 343858"/>
                <a:gd name="connsiteX176" fmla="*/ 131550 w 608129"/>
                <a:gd name="connsiteY176" fmla="*/ 177789 h 343858"/>
                <a:gd name="connsiteX177" fmla="*/ 130791 w 608129"/>
                <a:gd name="connsiteY177" fmla="*/ 177789 h 343858"/>
                <a:gd name="connsiteX178" fmla="*/ 124715 w 608129"/>
                <a:gd name="connsiteY178" fmla="*/ 181581 h 343858"/>
                <a:gd name="connsiteX179" fmla="*/ 119398 w 608129"/>
                <a:gd name="connsiteY179" fmla="*/ 182339 h 343858"/>
                <a:gd name="connsiteX180" fmla="*/ 118638 w 608129"/>
                <a:gd name="connsiteY180" fmla="*/ 182339 h 343858"/>
                <a:gd name="connsiteX181" fmla="*/ 117879 w 608129"/>
                <a:gd name="connsiteY181" fmla="*/ 182339 h 343858"/>
                <a:gd name="connsiteX182" fmla="*/ 114841 w 608129"/>
                <a:gd name="connsiteY182" fmla="*/ 182339 h 343858"/>
                <a:gd name="connsiteX183" fmla="*/ 113322 w 608129"/>
                <a:gd name="connsiteY183" fmla="*/ 181581 h 343858"/>
                <a:gd name="connsiteX184" fmla="*/ 109524 w 608129"/>
                <a:gd name="connsiteY184" fmla="*/ 180064 h 343858"/>
                <a:gd name="connsiteX185" fmla="*/ 108764 w 608129"/>
                <a:gd name="connsiteY185" fmla="*/ 180064 h 343858"/>
                <a:gd name="connsiteX186" fmla="*/ 99650 w 608129"/>
                <a:gd name="connsiteY186" fmla="*/ 175514 h 343858"/>
                <a:gd name="connsiteX187" fmla="*/ 92814 w 608129"/>
                <a:gd name="connsiteY187" fmla="*/ 189922 h 343858"/>
                <a:gd name="connsiteX188" fmla="*/ 71548 w 608129"/>
                <a:gd name="connsiteY188" fmla="*/ 202813 h 343858"/>
                <a:gd name="connsiteX189" fmla="*/ 70029 w 608129"/>
                <a:gd name="connsiteY189" fmla="*/ 214188 h 343858"/>
                <a:gd name="connsiteX190" fmla="*/ 61674 w 608129"/>
                <a:gd name="connsiteY190" fmla="*/ 225562 h 343858"/>
                <a:gd name="connsiteX191" fmla="*/ 51800 w 608129"/>
                <a:gd name="connsiteY191" fmla="*/ 232387 h 343858"/>
                <a:gd name="connsiteX192" fmla="*/ 159653 w 608129"/>
                <a:gd name="connsiteY192" fmla="*/ 232387 h 343858"/>
                <a:gd name="connsiteX193" fmla="*/ 158134 w 608129"/>
                <a:gd name="connsiteY193" fmla="*/ 224804 h 343858"/>
                <a:gd name="connsiteX194" fmla="*/ 159653 w 608129"/>
                <a:gd name="connsiteY194" fmla="*/ 211155 h 343858"/>
                <a:gd name="connsiteX195" fmla="*/ 171046 w 608129"/>
                <a:gd name="connsiteY195" fmla="*/ 202813 h 343858"/>
                <a:gd name="connsiteX196" fmla="*/ 179401 w 608129"/>
                <a:gd name="connsiteY196" fmla="*/ 213430 h 343858"/>
                <a:gd name="connsiteX197" fmla="*/ 177881 w 608129"/>
                <a:gd name="connsiteY197" fmla="*/ 227837 h 343858"/>
                <a:gd name="connsiteX198" fmla="*/ 175603 w 608129"/>
                <a:gd name="connsiteY198" fmla="*/ 232387 h 343858"/>
                <a:gd name="connsiteX199" fmla="*/ 402702 w 608129"/>
                <a:gd name="connsiteY199" fmla="*/ 232387 h 343858"/>
                <a:gd name="connsiteX200" fmla="*/ 537897 w 608129"/>
                <a:gd name="connsiteY200" fmla="*/ 232387 h 343858"/>
                <a:gd name="connsiteX201" fmla="*/ 528783 w 608129"/>
                <a:gd name="connsiteY201" fmla="*/ 208880 h 343858"/>
                <a:gd name="connsiteX202" fmla="*/ 528783 w 608129"/>
                <a:gd name="connsiteY202" fmla="*/ 205847 h 343858"/>
                <a:gd name="connsiteX203" fmla="*/ 519669 w 608129"/>
                <a:gd name="connsiteY203" fmla="*/ 196747 h 343858"/>
                <a:gd name="connsiteX204" fmla="*/ 512833 w 608129"/>
                <a:gd name="connsiteY204" fmla="*/ 196747 h 343858"/>
                <a:gd name="connsiteX205" fmla="*/ 501440 w 608129"/>
                <a:gd name="connsiteY205" fmla="*/ 186131 h 343858"/>
                <a:gd name="connsiteX206" fmla="*/ 492326 w 608129"/>
                <a:gd name="connsiteY206" fmla="*/ 177789 h 343858"/>
                <a:gd name="connsiteX207" fmla="*/ 472578 w 608129"/>
                <a:gd name="connsiteY207" fmla="*/ 162623 h 343858"/>
                <a:gd name="connsiteX208" fmla="*/ 463464 w 608129"/>
                <a:gd name="connsiteY208" fmla="*/ 150490 h 343858"/>
                <a:gd name="connsiteX209" fmla="*/ 458907 w 608129"/>
                <a:gd name="connsiteY209" fmla="*/ 152765 h 343858"/>
                <a:gd name="connsiteX210" fmla="*/ 429285 w 608129"/>
                <a:gd name="connsiteY210" fmla="*/ 161107 h 343858"/>
                <a:gd name="connsiteX211" fmla="*/ 424728 w 608129"/>
                <a:gd name="connsiteY211" fmla="*/ 161865 h 343858"/>
                <a:gd name="connsiteX212" fmla="*/ 423968 w 608129"/>
                <a:gd name="connsiteY212" fmla="*/ 161865 h 343858"/>
                <a:gd name="connsiteX213" fmla="*/ 423209 w 608129"/>
                <a:gd name="connsiteY213" fmla="*/ 161865 h 343858"/>
                <a:gd name="connsiteX214" fmla="*/ 420171 w 608129"/>
                <a:gd name="connsiteY214" fmla="*/ 161107 h 343858"/>
                <a:gd name="connsiteX215" fmla="*/ 418652 w 608129"/>
                <a:gd name="connsiteY215" fmla="*/ 161107 h 343858"/>
                <a:gd name="connsiteX216" fmla="*/ 414094 w 608129"/>
                <a:gd name="connsiteY216" fmla="*/ 159590 h 343858"/>
                <a:gd name="connsiteX217" fmla="*/ 407259 w 608129"/>
                <a:gd name="connsiteY217" fmla="*/ 152765 h 343858"/>
                <a:gd name="connsiteX218" fmla="*/ 404221 w 608129"/>
                <a:gd name="connsiteY218" fmla="*/ 147457 h 343858"/>
                <a:gd name="connsiteX219" fmla="*/ 401182 w 608129"/>
                <a:gd name="connsiteY219" fmla="*/ 135324 h 343858"/>
                <a:gd name="connsiteX220" fmla="*/ 363206 w 608129"/>
                <a:gd name="connsiteY220" fmla="*/ 133808 h 343858"/>
                <a:gd name="connsiteX221" fmla="*/ 105726 w 608129"/>
                <a:gd name="connsiteY221" fmla="*/ 121675 h 343858"/>
                <a:gd name="connsiteX222" fmla="*/ 91295 w 608129"/>
                <a:gd name="connsiteY222" fmla="*/ 148216 h 343858"/>
                <a:gd name="connsiteX223" fmla="*/ 117119 w 608129"/>
                <a:gd name="connsiteY223" fmla="*/ 161865 h 343858"/>
                <a:gd name="connsiteX224" fmla="*/ 118638 w 608129"/>
                <a:gd name="connsiteY224" fmla="*/ 162623 h 343858"/>
                <a:gd name="connsiteX225" fmla="*/ 132310 w 608129"/>
                <a:gd name="connsiteY225" fmla="*/ 135324 h 343858"/>
                <a:gd name="connsiteX226" fmla="*/ 445235 w 608129"/>
                <a:gd name="connsiteY226" fmla="*/ 104234 h 343858"/>
                <a:gd name="connsiteX227" fmla="*/ 415614 w 608129"/>
                <a:gd name="connsiteY227" fmla="*/ 112575 h 343858"/>
                <a:gd name="connsiteX228" fmla="*/ 423968 w 608129"/>
                <a:gd name="connsiteY228" fmla="*/ 141391 h 343858"/>
                <a:gd name="connsiteX229" fmla="*/ 453590 w 608129"/>
                <a:gd name="connsiteY229" fmla="*/ 133049 h 343858"/>
                <a:gd name="connsiteX230" fmla="*/ 324470 w 608129"/>
                <a:gd name="connsiteY230" fmla="*/ 101201 h 343858"/>
                <a:gd name="connsiteX231" fmla="*/ 303963 w 608129"/>
                <a:gd name="connsiteY231" fmla="*/ 121675 h 343858"/>
                <a:gd name="connsiteX232" fmla="*/ 304723 w 608129"/>
                <a:gd name="connsiteY232" fmla="*/ 123192 h 343858"/>
                <a:gd name="connsiteX233" fmla="*/ 304723 w 608129"/>
                <a:gd name="connsiteY233" fmla="*/ 123950 h 343858"/>
                <a:gd name="connsiteX234" fmla="*/ 311558 w 608129"/>
                <a:gd name="connsiteY234" fmla="*/ 136841 h 343858"/>
                <a:gd name="connsiteX235" fmla="*/ 313837 w 608129"/>
                <a:gd name="connsiteY235" fmla="*/ 138358 h 343858"/>
                <a:gd name="connsiteX236" fmla="*/ 314596 w 608129"/>
                <a:gd name="connsiteY236" fmla="*/ 139116 h 343858"/>
                <a:gd name="connsiteX237" fmla="*/ 317634 w 608129"/>
                <a:gd name="connsiteY237" fmla="*/ 139874 h 343858"/>
                <a:gd name="connsiteX238" fmla="*/ 318394 w 608129"/>
                <a:gd name="connsiteY238" fmla="*/ 140633 h 343858"/>
                <a:gd name="connsiteX239" fmla="*/ 320673 w 608129"/>
                <a:gd name="connsiteY239" fmla="*/ 141391 h 343858"/>
                <a:gd name="connsiteX240" fmla="*/ 324470 w 608129"/>
                <a:gd name="connsiteY240" fmla="*/ 141391 h 343858"/>
                <a:gd name="connsiteX241" fmla="*/ 328268 w 608129"/>
                <a:gd name="connsiteY241" fmla="*/ 141391 h 343858"/>
                <a:gd name="connsiteX242" fmla="*/ 329787 w 608129"/>
                <a:gd name="connsiteY242" fmla="*/ 140633 h 343858"/>
                <a:gd name="connsiteX243" fmla="*/ 332066 w 608129"/>
                <a:gd name="connsiteY243" fmla="*/ 139874 h 343858"/>
                <a:gd name="connsiteX244" fmla="*/ 333585 w 608129"/>
                <a:gd name="connsiteY244" fmla="*/ 139116 h 343858"/>
                <a:gd name="connsiteX245" fmla="*/ 335863 w 608129"/>
                <a:gd name="connsiteY245" fmla="*/ 138358 h 343858"/>
                <a:gd name="connsiteX246" fmla="*/ 337382 w 608129"/>
                <a:gd name="connsiteY246" fmla="*/ 136841 h 343858"/>
                <a:gd name="connsiteX247" fmla="*/ 338142 w 608129"/>
                <a:gd name="connsiteY247" fmla="*/ 136083 h 343858"/>
                <a:gd name="connsiteX248" fmla="*/ 340420 w 608129"/>
                <a:gd name="connsiteY248" fmla="*/ 133808 h 343858"/>
                <a:gd name="connsiteX249" fmla="*/ 340420 w 608129"/>
                <a:gd name="connsiteY249" fmla="*/ 133049 h 343858"/>
                <a:gd name="connsiteX250" fmla="*/ 344218 w 608129"/>
                <a:gd name="connsiteY250" fmla="*/ 123192 h 343858"/>
                <a:gd name="connsiteX251" fmla="*/ 344977 w 608129"/>
                <a:gd name="connsiteY251" fmla="*/ 120917 h 343858"/>
                <a:gd name="connsiteX252" fmla="*/ 324470 w 608129"/>
                <a:gd name="connsiteY252" fmla="*/ 101201 h 343858"/>
                <a:gd name="connsiteX253" fmla="*/ 234086 w 608129"/>
                <a:gd name="connsiteY253" fmla="*/ 98926 h 343858"/>
                <a:gd name="connsiteX254" fmla="*/ 193832 w 608129"/>
                <a:gd name="connsiteY254" fmla="*/ 144424 h 343858"/>
                <a:gd name="connsiteX255" fmla="*/ 201427 w 608129"/>
                <a:gd name="connsiteY255" fmla="*/ 151249 h 343858"/>
                <a:gd name="connsiteX256" fmla="*/ 227251 w 608129"/>
                <a:gd name="connsiteY256" fmla="*/ 121675 h 343858"/>
                <a:gd name="connsiteX257" fmla="*/ 241682 w 608129"/>
                <a:gd name="connsiteY257" fmla="*/ 105751 h 343858"/>
                <a:gd name="connsiteX258" fmla="*/ 233042 w 608129"/>
                <a:gd name="connsiteY258" fmla="*/ 78357 h 343858"/>
                <a:gd name="connsiteX259" fmla="*/ 246239 w 608129"/>
                <a:gd name="connsiteY259" fmla="*/ 83001 h 343858"/>
                <a:gd name="connsiteX260" fmla="*/ 256872 w 608129"/>
                <a:gd name="connsiteY260" fmla="*/ 92101 h 343858"/>
                <a:gd name="connsiteX261" fmla="*/ 257632 w 608129"/>
                <a:gd name="connsiteY261" fmla="*/ 118642 h 343858"/>
                <a:gd name="connsiteX262" fmla="*/ 284215 w 608129"/>
                <a:gd name="connsiteY262" fmla="*/ 116367 h 343858"/>
                <a:gd name="connsiteX263" fmla="*/ 324470 w 608129"/>
                <a:gd name="connsiteY263" fmla="*/ 80727 h 343858"/>
                <a:gd name="connsiteX264" fmla="*/ 363966 w 608129"/>
                <a:gd name="connsiteY264" fmla="*/ 114092 h 343858"/>
                <a:gd name="connsiteX265" fmla="*/ 395866 w 608129"/>
                <a:gd name="connsiteY265" fmla="*/ 114850 h 343858"/>
                <a:gd name="connsiteX266" fmla="*/ 398144 w 608129"/>
                <a:gd name="connsiteY266" fmla="*/ 102717 h 343858"/>
                <a:gd name="connsiteX267" fmla="*/ 410297 w 608129"/>
                <a:gd name="connsiteY267" fmla="*/ 92859 h 343858"/>
                <a:gd name="connsiteX268" fmla="*/ 439159 w 608129"/>
                <a:gd name="connsiteY268" fmla="*/ 84518 h 343858"/>
                <a:gd name="connsiteX269" fmla="*/ 454349 w 608129"/>
                <a:gd name="connsiteY269" fmla="*/ 86035 h 343858"/>
                <a:gd name="connsiteX270" fmla="*/ 464223 w 608129"/>
                <a:gd name="connsiteY270" fmla="*/ 98168 h 343858"/>
                <a:gd name="connsiteX271" fmla="*/ 472578 w 608129"/>
                <a:gd name="connsiteY271" fmla="*/ 127741 h 343858"/>
                <a:gd name="connsiteX272" fmla="*/ 473338 w 608129"/>
                <a:gd name="connsiteY272" fmla="*/ 132291 h 343858"/>
                <a:gd name="connsiteX273" fmla="*/ 492326 w 608129"/>
                <a:gd name="connsiteY273" fmla="*/ 157315 h 343858"/>
                <a:gd name="connsiteX274" fmla="*/ 519669 w 608129"/>
                <a:gd name="connsiteY274" fmla="*/ 176273 h 343858"/>
                <a:gd name="connsiteX275" fmla="*/ 524226 w 608129"/>
                <a:gd name="connsiteY275" fmla="*/ 177031 h 343858"/>
                <a:gd name="connsiteX276" fmla="*/ 547771 w 608129"/>
                <a:gd name="connsiteY276" fmla="*/ 199780 h 343858"/>
                <a:gd name="connsiteX277" fmla="*/ 548531 w 608129"/>
                <a:gd name="connsiteY277" fmla="*/ 210396 h 343858"/>
                <a:gd name="connsiteX278" fmla="*/ 553848 w 608129"/>
                <a:gd name="connsiteY278" fmla="*/ 219496 h 343858"/>
                <a:gd name="connsiteX279" fmla="*/ 564481 w 608129"/>
                <a:gd name="connsiteY279" fmla="*/ 232387 h 343858"/>
                <a:gd name="connsiteX280" fmla="*/ 588786 w 608129"/>
                <a:gd name="connsiteY280" fmla="*/ 232387 h 343858"/>
                <a:gd name="connsiteX281" fmla="*/ 606255 w 608129"/>
                <a:gd name="connsiteY281" fmla="*/ 243003 h 343858"/>
                <a:gd name="connsiteX282" fmla="*/ 604736 w 608129"/>
                <a:gd name="connsiteY282" fmla="*/ 263478 h 343858"/>
                <a:gd name="connsiteX283" fmla="*/ 603217 w 608129"/>
                <a:gd name="connsiteY283" fmla="*/ 264994 h 343858"/>
                <a:gd name="connsiteX284" fmla="*/ 550809 w 608129"/>
                <a:gd name="connsiteY284" fmla="*/ 296843 h 343858"/>
                <a:gd name="connsiteX285" fmla="*/ 544733 w 608129"/>
                <a:gd name="connsiteY285" fmla="*/ 312768 h 343858"/>
                <a:gd name="connsiteX286" fmla="*/ 516631 w 608129"/>
                <a:gd name="connsiteY286" fmla="*/ 343858 h 343858"/>
                <a:gd name="connsiteX287" fmla="*/ 91295 w 608129"/>
                <a:gd name="connsiteY287" fmla="*/ 343858 h 343858"/>
                <a:gd name="connsiteX288" fmla="*/ 63952 w 608129"/>
                <a:gd name="connsiteY288" fmla="*/ 312768 h 343858"/>
                <a:gd name="connsiteX289" fmla="*/ 57876 w 608129"/>
                <a:gd name="connsiteY289" fmla="*/ 296843 h 343858"/>
                <a:gd name="connsiteX290" fmla="*/ 4709 w 608129"/>
                <a:gd name="connsiteY290" fmla="*/ 264994 h 343858"/>
                <a:gd name="connsiteX291" fmla="*/ 3950 w 608129"/>
                <a:gd name="connsiteY291" fmla="*/ 263478 h 343858"/>
                <a:gd name="connsiteX292" fmla="*/ 2431 w 608129"/>
                <a:gd name="connsiteY292" fmla="*/ 243003 h 343858"/>
                <a:gd name="connsiteX293" fmla="*/ 19900 w 608129"/>
                <a:gd name="connsiteY293" fmla="*/ 232387 h 343858"/>
                <a:gd name="connsiteX294" fmla="*/ 31293 w 608129"/>
                <a:gd name="connsiteY294" fmla="*/ 232387 h 343858"/>
                <a:gd name="connsiteX295" fmla="*/ 49521 w 608129"/>
                <a:gd name="connsiteY295" fmla="*/ 208880 h 343858"/>
                <a:gd name="connsiteX296" fmla="*/ 57117 w 608129"/>
                <a:gd name="connsiteY296" fmla="*/ 187647 h 343858"/>
                <a:gd name="connsiteX297" fmla="*/ 68510 w 608129"/>
                <a:gd name="connsiteY297" fmla="*/ 182339 h 343858"/>
                <a:gd name="connsiteX298" fmla="*/ 76864 w 608129"/>
                <a:gd name="connsiteY298" fmla="*/ 177031 h 343858"/>
                <a:gd name="connsiteX299" fmla="*/ 79902 w 608129"/>
                <a:gd name="connsiteY299" fmla="*/ 167931 h 343858"/>
                <a:gd name="connsiteX300" fmla="*/ 79902 w 608129"/>
                <a:gd name="connsiteY300" fmla="*/ 164140 h 343858"/>
                <a:gd name="connsiteX301" fmla="*/ 73826 w 608129"/>
                <a:gd name="connsiteY301" fmla="*/ 139116 h 343858"/>
                <a:gd name="connsiteX302" fmla="*/ 87498 w 608129"/>
                <a:gd name="connsiteY302" fmla="*/ 111817 h 343858"/>
                <a:gd name="connsiteX303" fmla="*/ 99650 w 608129"/>
                <a:gd name="connsiteY303" fmla="*/ 101959 h 343858"/>
                <a:gd name="connsiteX304" fmla="*/ 114841 w 608129"/>
                <a:gd name="connsiteY304" fmla="*/ 103476 h 343858"/>
                <a:gd name="connsiteX305" fmla="*/ 142184 w 608129"/>
                <a:gd name="connsiteY305" fmla="*/ 117125 h 343858"/>
                <a:gd name="connsiteX306" fmla="*/ 152058 w 608129"/>
                <a:gd name="connsiteY306" fmla="*/ 129258 h 343858"/>
                <a:gd name="connsiteX307" fmla="*/ 152817 w 608129"/>
                <a:gd name="connsiteY307" fmla="*/ 136083 h 343858"/>
                <a:gd name="connsiteX308" fmla="*/ 178641 w 608129"/>
                <a:gd name="connsiteY308" fmla="*/ 130016 h 343858"/>
                <a:gd name="connsiteX309" fmla="*/ 220415 w 608129"/>
                <a:gd name="connsiteY309" fmla="*/ 84518 h 343858"/>
                <a:gd name="connsiteX310" fmla="*/ 233042 w 608129"/>
                <a:gd name="connsiteY310" fmla="*/ 78357 h 343858"/>
                <a:gd name="connsiteX311" fmla="*/ 162582 w 608129"/>
                <a:gd name="connsiteY311" fmla="*/ 60954 h 343858"/>
                <a:gd name="connsiteX312" fmla="*/ 142076 w 608129"/>
                <a:gd name="connsiteY312" fmla="*/ 80671 h 343858"/>
                <a:gd name="connsiteX313" fmla="*/ 162582 w 608129"/>
                <a:gd name="connsiteY313" fmla="*/ 101147 h 343858"/>
                <a:gd name="connsiteX314" fmla="*/ 182329 w 608129"/>
                <a:gd name="connsiteY314" fmla="*/ 80671 h 343858"/>
                <a:gd name="connsiteX315" fmla="*/ 162582 w 608129"/>
                <a:gd name="connsiteY315" fmla="*/ 60954 h 343858"/>
                <a:gd name="connsiteX316" fmla="*/ 162582 w 608129"/>
                <a:gd name="connsiteY316" fmla="*/ 40478 h 343858"/>
                <a:gd name="connsiteX317" fmla="*/ 202836 w 608129"/>
                <a:gd name="connsiteY317" fmla="*/ 80671 h 343858"/>
                <a:gd name="connsiteX318" fmla="*/ 162582 w 608129"/>
                <a:gd name="connsiteY318" fmla="*/ 121623 h 343858"/>
                <a:gd name="connsiteX319" fmla="*/ 121569 w 608129"/>
                <a:gd name="connsiteY319" fmla="*/ 80671 h 343858"/>
                <a:gd name="connsiteX320" fmla="*/ 162582 w 608129"/>
                <a:gd name="connsiteY320" fmla="*/ 40478 h 343858"/>
                <a:gd name="connsiteX321" fmla="*/ 285697 w 608129"/>
                <a:gd name="connsiteY321" fmla="*/ 32920 h 343858"/>
                <a:gd name="connsiteX322" fmla="*/ 256860 w 608129"/>
                <a:gd name="connsiteY322" fmla="*/ 41258 h 343858"/>
                <a:gd name="connsiteX323" fmla="*/ 265208 w 608129"/>
                <a:gd name="connsiteY323" fmla="*/ 70819 h 343858"/>
                <a:gd name="connsiteX324" fmla="*/ 294045 w 608129"/>
                <a:gd name="connsiteY324" fmla="*/ 62481 h 343858"/>
                <a:gd name="connsiteX325" fmla="*/ 364659 w 608129"/>
                <a:gd name="connsiteY325" fmla="*/ 20767 h 343858"/>
                <a:gd name="connsiteX326" fmla="*/ 355552 w 608129"/>
                <a:gd name="connsiteY326" fmla="*/ 23799 h 343858"/>
                <a:gd name="connsiteX327" fmla="*/ 376044 w 608129"/>
                <a:gd name="connsiteY327" fmla="*/ 81416 h 343858"/>
                <a:gd name="connsiteX328" fmla="*/ 385910 w 608129"/>
                <a:gd name="connsiteY328" fmla="*/ 77625 h 343858"/>
                <a:gd name="connsiteX329" fmla="*/ 280385 w 608129"/>
                <a:gd name="connsiteY329" fmla="*/ 13971 h 343858"/>
                <a:gd name="connsiteX330" fmla="*/ 295563 w 608129"/>
                <a:gd name="connsiteY330" fmla="*/ 15487 h 343858"/>
                <a:gd name="connsiteX331" fmla="*/ 305428 w 608129"/>
                <a:gd name="connsiteY331" fmla="*/ 27614 h 343858"/>
                <a:gd name="connsiteX332" fmla="*/ 313776 w 608129"/>
                <a:gd name="connsiteY332" fmla="*/ 57176 h 343858"/>
                <a:gd name="connsiteX333" fmla="*/ 311500 w 608129"/>
                <a:gd name="connsiteY333" fmla="*/ 72335 h 343858"/>
                <a:gd name="connsiteX334" fmla="*/ 299357 w 608129"/>
                <a:gd name="connsiteY334" fmla="*/ 82189 h 343858"/>
                <a:gd name="connsiteX335" fmla="*/ 270520 w 608129"/>
                <a:gd name="connsiteY335" fmla="*/ 90527 h 343858"/>
                <a:gd name="connsiteX336" fmla="*/ 265208 w 608129"/>
                <a:gd name="connsiteY336" fmla="*/ 91285 h 343858"/>
                <a:gd name="connsiteX337" fmla="*/ 255342 w 608129"/>
                <a:gd name="connsiteY337" fmla="*/ 88253 h 343858"/>
                <a:gd name="connsiteX338" fmla="*/ 245477 w 608129"/>
                <a:gd name="connsiteY338" fmla="*/ 76125 h 343858"/>
                <a:gd name="connsiteX339" fmla="*/ 237129 w 608129"/>
                <a:gd name="connsiteY339" fmla="*/ 47322 h 343858"/>
                <a:gd name="connsiteX340" fmla="*/ 238647 w 608129"/>
                <a:gd name="connsiteY340" fmla="*/ 32162 h 343858"/>
                <a:gd name="connsiteX341" fmla="*/ 250789 w 608129"/>
                <a:gd name="connsiteY341" fmla="*/ 22309 h 343858"/>
                <a:gd name="connsiteX342" fmla="*/ 359347 w 608129"/>
                <a:gd name="connsiteY342" fmla="*/ 1056 h 343858"/>
                <a:gd name="connsiteX343" fmla="*/ 373767 w 608129"/>
                <a:gd name="connsiteY343" fmla="*/ 1814 h 343858"/>
                <a:gd name="connsiteX344" fmla="*/ 383633 w 608129"/>
                <a:gd name="connsiteY344" fmla="*/ 12428 h 343858"/>
                <a:gd name="connsiteX345" fmla="*/ 404884 w 608129"/>
                <a:gd name="connsiteY345" fmla="*/ 72318 h 343858"/>
                <a:gd name="connsiteX346" fmla="*/ 404884 w 608129"/>
                <a:gd name="connsiteY346" fmla="*/ 86723 h 343858"/>
                <a:gd name="connsiteX347" fmla="*/ 394259 w 608129"/>
                <a:gd name="connsiteY347" fmla="*/ 95820 h 343858"/>
                <a:gd name="connsiteX348" fmla="*/ 381356 w 608129"/>
                <a:gd name="connsiteY348" fmla="*/ 100369 h 343858"/>
                <a:gd name="connsiteX349" fmla="*/ 375285 w 608129"/>
                <a:gd name="connsiteY349" fmla="*/ 101885 h 343858"/>
                <a:gd name="connsiteX350" fmla="*/ 367695 w 608129"/>
                <a:gd name="connsiteY350" fmla="*/ 100369 h 343858"/>
                <a:gd name="connsiteX351" fmla="*/ 357829 w 608129"/>
                <a:gd name="connsiteY351" fmla="*/ 89755 h 343858"/>
                <a:gd name="connsiteX352" fmla="*/ 335819 w 608129"/>
                <a:gd name="connsiteY352" fmla="*/ 29864 h 343858"/>
                <a:gd name="connsiteX353" fmla="*/ 336578 w 608129"/>
                <a:gd name="connsiteY353" fmla="*/ 15460 h 343858"/>
                <a:gd name="connsiteX354" fmla="*/ 347203 w 608129"/>
                <a:gd name="connsiteY354" fmla="*/ 5605 h 34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</a:cxnLst>
              <a:rect l="l" t="t" r="r" b="b"/>
              <a:pathLst>
                <a:path w="30358" h="60649">
                  <a:moveTo>
                    <a:pt x="9107" y="0"/>
                  </a:moveTo>
                  <a:lnTo>
                    <a:pt x="0" y="3032"/>
                  </a:lnTo>
                  <a:lnTo>
                    <a:pt x="20492" y="60649"/>
                  </a:lnTo>
                  <a:lnTo>
                    <a:pt x="30358" y="56858"/>
                  </a:lnTo>
                </a:path>
              </a:pathLst>
            </a:custGeom>
            <a:noFill/>
            <a:ln w="44450">
              <a:gradFill>
                <a:gsLst>
                  <a:gs pos="0">
                    <a:schemeClr val="accent3"/>
                  </a:gs>
                  <a:gs pos="100000">
                    <a:schemeClr val="accent3">
                      <a:lumMod val="5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zh-CN" altLang="en-US">
                <a:gradFill flip="none" rotWithShape="1">
                  <a:gsLst>
                    <a:gs pos="89000">
                      <a:schemeClr val="bg1"/>
                    </a:gs>
                    <a:gs pos="0">
                      <a:schemeClr val="accent2"/>
                    </a:gs>
                  </a:gsLst>
                  <a:lin ang="13500000" scaled="1"/>
                  <a:tileRect/>
                </a:gradFill>
              </a:endParaRPr>
            </a:p>
          </p:txBody>
        </p:sp>
        <p:sp>
          <p:nvSpPr>
            <p:cNvPr id="326" name="任意多边形: 形状 325"/>
            <p:cNvSpPr>
              <a:spLocks/>
            </p:cNvSpPr>
            <p:nvPr userDrawn="1"/>
          </p:nvSpPr>
          <p:spPr bwMode="auto">
            <a:xfrm>
              <a:off x="9090469" y="3839947"/>
              <a:ext cx="98134" cy="138235"/>
            </a:xfrm>
            <a:custGeom>
              <a:avLst/>
              <a:gdLst>
                <a:gd name="connsiteX0" fmla="*/ 193001 w 608129"/>
                <a:gd name="connsiteY0" fmla="*/ 283182 h 343858"/>
                <a:gd name="connsiteX1" fmla="*/ 506699 w 608129"/>
                <a:gd name="connsiteY1" fmla="*/ 283182 h 343858"/>
                <a:gd name="connsiteX2" fmla="*/ 516573 w 608129"/>
                <a:gd name="connsiteY2" fmla="*/ 293038 h 343858"/>
                <a:gd name="connsiteX3" fmla="*/ 506699 w 608129"/>
                <a:gd name="connsiteY3" fmla="*/ 303651 h 343858"/>
                <a:gd name="connsiteX4" fmla="*/ 193001 w 608129"/>
                <a:gd name="connsiteY4" fmla="*/ 303651 h 343858"/>
                <a:gd name="connsiteX5" fmla="*/ 182367 w 608129"/>
                <a:gd name="connsiteY5" fmla="*/ 293038 h 343858"/>
                <a:gd name="connsiteX6" fmla="*/ 193001 w 608129"/>
                <a:gd name="connsiteY6" fmla="*/ 283182 h 343858"/>
                <a:gd name="connsiteX7" fmla="*/ 101866 w 608129"/>
                <a:gd name="connsiteY7" fmla="*/ 283182 h 343858"/>
                <a:gd name="connsiteX8" fmla="*/ 142885 w 608129"/>
                <a:gd name="connsiteY8" fmla="*/ 283182 h 343858"/>
                <a:gd name="connsiteX9" fmla="*/ 152760 w 608129"/>
                <a:gd name="connsiteY9" fmla="*/ 293038 h 343858"/>
                <a:gd name="connsiteX10" fmla="*/ 142885 w 608129"/>
                <a:gd name="connsiteY10" fmla="*/ 303651 h 343858"/>
                <a:gd name="connsiteX11" fmla="*/ 101866 w 608129"/>
                <a:gd name="connsiteY11" fmla="*/ 303651 h 343858"/>
                <a:gd name="connsiteX12" fmla="*/ 91231 w 608129"/>
                <a:gd name="connsiteY12" fmla="*/ 293038 h 343858"/>
                <a:gd name="connsiteX13" fmla="*/ 101866 w 608129"/>
                <a:gd name="connsiteY13" fmla="*/ 283182 h 343858"/>
                <a:gd name="connsiteX14" fmla="*/ 23697 w 608129"/>
                <a:gd name="connsiteY14" fmla="*/ 252861 h 343858"/>
                <a:gd name="connsiteX15" fmla="*/ 72307 w 608129"/>
                <a:gd name="connsiteY15" fmla="*/ 281677 h 343858"/>
                <a:gd name="connsiteX16" fmla="*/ 73826 w 608129"/>
                <a:gd name="connsiteY16" fmla="*/ 283952 h 343858"/>
                <a:gd name="connsiteX17" fmla="*/ 82941 w 608129"/>
                <a:gd name="connsiteY17" fmla="*/ 307460 h 343858"/>
                <a:gd name="connsiteX18" fmla="*/ 91295 w 608129"/>
                <a:gd name="connsiteY18" fmla="*/ 323384 h 343858"/>
                <a:gd name="connsiteX19" fmla="*/ 516631 w 608129"/>
                <a:gd name="connsiteY19" fmla="*/ 323384 h 343858"/>
                <a:gd name="connsiteX20" fmla="*/ 525745 w 608129"/>
                <a:gd name="connsiteY20" fmla="*/ 307460 h 343858"/>
                <a:gd name="connsiteX21" fmla="*/ 534859 w 608129"/>
                <a:gd name="connsiteY21" fmla="*/ 283952 h 343858"/>
                <a:gd name="connsiteX22" fmla="*/ 536378 w 608129"/>
                <a:gd name="connsiteY22" fmla="*/ 281677 h 343858"/>
                <a:gd name="connsiteX23" fmla="*/ 584229 w 608129"/>
                <a:gd name="connsiteY23" fmla="*/ 252861 h 343858"/>
                <a:gd name="connsiteX24" fmla="*/ 569798 w 608129"/>
                <a:gd name="connsiteY24" fmla="*/ 252861 h 343858"/>
                <a:gd name="connsiteX25" fmla="*/ 413335 w 608129"/>
                <a:gd name="connsiteY25" fmla="*/ 252861 h 343858"/>
                <a:gd name="connsiteX26" fmla="*/ 401942 w 608129"/>
                <a:gd name="connsiteY26" fmla="*/ 252861 h 343858"/>
                <a:gd name="connsiteX27" fmla="*/ 35850 w 608129"/>
                <a:gd name="connsiteY27" fmla="*/ 252861 h 343858"/>
                <a:gd name="connsiteX28" fmla="*/ 254526 w 608129"/>
                <a:gd name="connsiteY28" fmla="*/ 201295 h 343858"/>
                <a:gd name="connsiteX29" fmla="*/ 257557 w 608129"/>
                <a:gd name="connsiteY29" fmla="*/ 214952 h 343858"/>
                <a:gd name="connsiteX30" fmla="*/ 249221 w 608129"/>
                <a:gd name="connsiteY30" fmla="*/ 227091 h 343858"/>
                <a:gd name="connsiteX31" fmla="*/ 240886 w 608129"/>
                <a:gd name="connsiteY31" fmla="*/ 231644 h 343858"/>
                <a:gd name="connsiteX32" fmla="*/ 235581 w 608129"/>
                <a:gd name="connsiteY32" fmla="*/ 229368 h 343858"/>
                <a:gd name="connsiteX33" fmla="*/ 232550 w 608129"/>
                <a:gd name="connsiteY33" fmla="*/ 215710 h 343858"/>
                <a:gd name="connsiteX34" fmla="*/ 240886 w 608129"/>
                <a:gd name="connsiteY34" fmla="*/ 203571 h 343858"/>
                <a:gd name="connsiteX35" fmla="*/ 254526 w 608129"/>
                <a:gd name="connsiteY35" fmla="*/ 201295 h 343858"/>
                <a:gd name="connsiteX36" fmla="*/ 293998 w 608129"/>
                <a:gd name="connsiteY36" fmla="*/ 199043 h 343858"/>
                <a:gd name="connsiteX37" fmla="*/ 307670 w 608129"/>
                <a:gd name="connsiteY37" fmla="*/ 202827 h 343858"/>
                <a:gd name="connsiteX38" fmla="*/ 314506 w 608129"/>
                <a:gd name="connsiteY38" fmla="*/ 214937 h 343858"/>
                <a:gd name="connsiteX39" fmla="*/ 304632 w 608129"/>
                <a:gd name="connsiteY39" fmla="*/ 222506 h 343858"/>
                <a:gd name="connsiteX40" fmla="*/ 302353 w 608129"/>
                <a:gd name="connsiteY40" fmla="*/ 221749 h 343858"/>
                <a:gd name="connsiteX41" fmla="*/ 288681 w 608129"/>
                <a:gd name="connsiteY41" fmla="*/ 218721 h 343858"/>
                <a:gd name="connsiteX42" fmla="*/ 281845 w 608129"/>
                <a:gd name="connsiteY42" fmla="*/ 205854 h 343858"/>
                <a:gd name="connsiteX43" fmla="*/ 293998 w 608129"/>
                <a:gd name="connsiteY43" fmla="*/ 199043 h 343858"/>
                <a:gd name="connsiteX44" fmla="*/ 113257 w 608129"/>
                <a:gd name="connsiteY44" fmla="*/ 193732 h 343858"/>
                <a:gd name="connsiteX45" fmla="*/ 125378 w 608129"/>
                <a:gd name="connsiteY45" fmla="*/ 201299 h 343858"/>
                <a:gd name="connsiteX46" fmla="*/ 128408 w 608129"/>
                <a:gd name="connsiteY46" fmla="*/ 214920 h 343858"/>
                <a:gd name="connsiteX47" fmla="*/ 120075 w 608129"/>
                <a:gd name="connsiteY47" fmla="*/ 219460 h 343858"/>
                <a:gd name="connsiteX48" fmla="*/ 114773 w 608129"/>
                <a:gd name="connsiteY48" fmla="*/ 217946 h 343858"/>
                <a:gd name="connsiteX49" fmla="*/ 102652 w 608129"/>
                <a:gd name="connsiteY49" fmla="*/ 211136 h 343858"/>
                <a:gd name="connsiteX50" fmla="*/ 99622 w 608129"/>
                <a:gd name="connsiteY50" fmla="*/ 196759 h 343858"/>
                <a:gd name="connsiteX51" fmla="*/ 113257 w 608129"/>
                <a:gd name="connsiteY51" fmla="*/ 193732 h 343858"/>
                <a:gd name="connsiteX52" fmla="*/ 367752 w 608129"/>
                <a:gd name="connsiteY52" fmla="*/ 192974 h 343858"/>
                <a:gd name="connsiteX53" fmla="*/ 380665 w 608129"/>
                <a:gd name="connsiteY53" fmla="*/ 199023 h 343858"/>
                <a:gd name="connsiteX54" fmla="*/ 373829 w 608129"/>
                <a:gd name="connsiteY54" fmla="*/ 211877 h 343858"/>
                <a:gd name="connsiteX55" fmla="*/ 360917 w 608129"/>
                <a:gd name="connsiteY55" fmla="*/ 216414 h 343858"/>
                <a:gd name="connsiteX56" fmla="*/ 357119 w 608129"/>
                <a:gd name="connsiteY56" fmla="*/ 216414 h 343858"/>
                <a:gd name="connsiteX57" fmla="*/ 348004 w 608129"/>
                <a:gd name="connsiteY57" fmla="*/ 209609 h 343858"/>
                <a:gd name="connsiteX58" fmla="*/ 354081 w 608129"/>
                <a:gd name="connsiteY58" fmla="*/ 196755 h 343858"/>
                <a:gd name="connsiteX59" fmla="*/ 473099 w 608129"/>
                <a:gd name="connsiteY59" fmla="*/ 187878 h 343858"/>
                <a:gd name="connsiteX60" fmla="*/ 480904 w 608129"/>
                <a:gd name="connsiteY60" fmla="*/ 189869 h 343858"/>
                <a:gd name="connsiteX61" fmla="*/ 483189 w 608129"/>
                <a:gd name="connsiteY61" fmla="*/ 203526 h 343858"/>
                <a:gd name="connsiteX62" fmla="*/ 475574 w 608129"/>
                <a:gd name="connsiteY62" fmla="*/ 214907 h 343858"/>
                <a:gd name="connsiteX63" fmla="*/ 467198 w 608129"/>
                <a:gd name="connsiteY63" fmla="*/ 219460 h 343858"/>
                <a:gd name="connsiteX64" fmla="*/ 461106 w 608129"/>
                <a:gd name="connsiteY64" fmla="*/ 217942 h 343858"/>
                <a:gd name="connsiteX65" fmla="*/ 458821 w 608129"/>
                <a:gd name="connsiteY65" fmla="*/ 203526 h 343858"/>
                <a:gd name="connsiteX66" fmla="*/ 466436 w 608129"/>
                <a:gd name="connsiteY66" fmla="*/ 192146 h 343858"/>
                <a:gd name="connsiteX67" fmla="*/ 473099 w 608129"/>
                <a:gd name="connsiteY67" fmla="*/ 187878 h 343858"/>
                <a:gd name="connsiteX68" fmla="*/ 410279 w 608129"/>
                <a:gd name="connsiteY68" fmla="*/ 182352 h 343858"/>
                <a:gd name="connsiteX69" fmla="*/ 422434 w 608129"/>
                <a:gd name="connsiteY69" fmla="*/ 189169 h 343858"/>
                <a:gd name="connsiteX70" fmla="*/ 426233 w 608129"/>
                <a:gd name="connsiteY70" fmla="*/ 202805 h 343858"/>
                <a:gd name="connsiteX71" fmla="*/ 418636 w 608129"/>
                <a:gd name="connsiteY71" fmla="*/ 215683 h 343858"/>
                <a:gd name="connsiteX72" fmla="*/ 416356 w 608129"/>
                <a:gd name="connsiteY72" fmla="*/ 215683 h 343858"/>
                <a:gd name="connsiteX73" fmla="*/ 406480 w 608129"/>
                <a:gd name="connsiteY73" fmla="*/ 208108 h 343858"/>
                <a:gd name="connsiteX74" fmla="*/ 402682 w 608129"/>
                <a:gd name="connsiteY74" fmla="*/ 194472 h 343858"/>
                <a:gd name="connsiteX75" fmla="*/ 410279 w 608129"/>
                <a:gd name="connsiteY75" fmla="*/ 182352 h 343858"/>
                <a:gd name="connsiteX76" fmla="*/ 188501 w 608129"/>
                <a:gd name="connsiteY76" fmla="*/ 179282 h 343858"/>
                <a:gd name="connsiteX77" fmla="*/ 202945 w 608129"/>
                <a:gd name="connsiteY77" fmla="*/ 180043 h 343858"/>
                <a:gd name="connsiteX78" fmla="*/ 212067 w 608129"/>
                <a:gd name="connsiteY78" fmla="*/ 191449 h 343858"/>
                <a:gd name="connsiteX79" fmla="*/ 202185 w 608129"/>
                <a:gd name="connsiteY79" fmla="*/ 200575 h 343858"/>
                <a:gd name="connsiteX80" fmla="*/ 201424 w 608129"/>
                <a:gd name="connsiteY80" fmla="*/ 200575 h 343858"/>
                <a:gd name="connsiteX81" fmla="*/ 186981 w 608129"/>
                <a:gd name="connsiteY81" fmla="*/ 199814 h 343858"/>
                <a:gd name="connsiteX82" fmla="*/ 177859 w 608129"/>
                <a:gd name="connsiteY82" fmla="*/ 188408 h 343858"/>
                <a:gd name="connsiteX83" fmla="*/ 188501 w 608129"/>
                <a:gd name="connsiteY83" fmla="*/ 179282 h 343858"/>
                <a:gd name="connsiteX84" fmla="*/ 160344 w 608129"/>
                <a:gd name="connsiteY84" fmla="*/ 165596 h 343858"/>
                <a:gd name="connsiteX85" fmla="*/ 163375 w 608129"/>
                <a:gd name="connsiteY85" fmla="*/ 180011 h 343858"/>
                <a:gd name="connsiteX86" fmla="*/ 155797 w 608129"/>
                <a:gd name="connsiteY86" fmla="*/ 191392 h 343858"/>
                <a:gd name="connsiteX87" fmla="*/ 147461 w 608129"/>
                <a:gd name="connsiteY87" fmla="*/ 195945 h 343858"/>
                <a:gd name="connsiteX88" fmla="*/ 141399 w 608129"/>
                <a:gd name="connsiteY88" fmla="*/ 194427 h 343858"/>
                <a:gd name="connsiteX89" fmla="*/ 139126 w 608129"/>
                <a:gd name="connsiteY89" fmla="*/ 180011 h 343858"/>
                <a:gd name="connsiteX90" fmla="*/ 146704 w 608129"/>
                <a:gd name="connsiteY90" fmla="*/ 168631 h 343858"/>
                <a:gd name="connsiteX91" fmla="*/ 160344 w 608129"/>
                <a:gd name="connsiteY91" fmla="*/ 165596 h 343858"/>
                <a:gd name="connsiteX92" fmla="*/ 338113 w 608129"/>
                <a:gd name="connsiteY92" fmla="*/ 164888 h 343858"/>
                <a:gd name="connsiteX93" fmla="*/ 352554 w 608129"/>
                <a:gd name="connsiteY93" fmla="*/ 164888 h 343858"/>
                <a:gd name="connsiteX94" fmla="*/ 352554 w 608129"/>
                <a:gd name="connsiteY94" fmla="*/ 179285 h 343858"/>
                <a:gd name="connsiteX95" fmla="*/ 342673 w 608129"/>
                <a:gd name="connsiteY95" fmla="*/ 189137 h 343858"/>
                <a:gd name="connsiteX96" fmla="*/ 335073 w 608129"/>
                <a:gd name="connsiteY96" fmla="*/ 192168 h 343858"/>
                <a:gd name="connsiteX97" fmla="*/ 328232 w 608129"/>
                <a:gd name="connsiteY97" fmla="*/ 189137 h 343858"/>
                <a:gd name="connsiteX98" fmla="*/ 328232 w 608129"/>
                <a:gd name="connsiteY98" fmla="*/ 174739 h 343858"/>
                <a:gd name="connsiteX99" fmla="*/ 438352 w 608129"/>
                <a:gd name="connsiteY99" fmla="*/ 163394 h 343858"/>
                <a:gd name="connsiteX100" fmla="*/ 449715 w 608129"/>
                <a:gd name="connsiteY100" fmla="*/ 170961 h 343858"/>
                <a:gd name="connsiteX101" fmla="*/ 453502 w 608129"/>
                <a:gd name="connsiteY101" fmla="*/ 184582 h 343858"/>
                <a:gd name="connsiteX102" fmla="*/ 444412 w 608129"/>
                <a:gd name="connsiteY102" fmla="*/ 189122 h 343858"/>
                <a:gd name="connsiteX103" fmla="*/ 439110 w 608129"/>
                <a:gd name="connsiteY103" fmla="*/ 187608 h 343858"/>
                <a:gd name="connsiteX104" fmla="*/ 427747 w 608129"/>
                <a:gd name="connsiteY104" fmla="*/ 180798 h 343858"/>
                <a:gd name="connsiteX105" fmla="*/ 423959 w 608129"/>
                <a:gd name="connsiteY105" fmla="*/ 166421 h 343858"/>
                <a:gd name="connsiteX106" fmla="*/ 438352 w 608129"/>
                <a:gd name="connsiteY106" fmla="*/ 163394 h 343858"/>
                <a:gd name="connsiteX107" fmla="*/ 237851 w 608129"/>
                <a:gd name="connsiteY107" fmla="*/ 158043 h 343858"/>
                <a:gd name="connsiteX108" fmla="*/ 249244 w 608129"/>
                <a:gd name="connsiteY108" fmla="*/ 165635 h 343858"/>
                <a:gd name="connsiteX109" fmla="*/ 253042 w 608129"/>
                <a:gd name="connsiteY109" fmla="*/ 179300 h 343858"/>
                <a:gd name="connsiteX110" fmla="*/ 243927 w 608129"/>
                <a:gd name="connsiteY110" fmla="*/ 184614 h 343858"/>
                <a:gd name="connsiteX111" fmla="*/ 238610 w 608129"/>
                <a:gd name="connsiteY111" fmla="*/ 183095 h 343858"/>
                <a:gd name="connsiteX112" fmla="*/ 227217 w 608129"/>
                <a:gd name="connsiteY112" fmla="*/ 175504 h 343858"/>
                <a:gd name="connsiteX113" fmla="*/ 223419 w 608129"/>
                <a:gd name="connsiteY113" fmla="*/ 161839 h 343858"/>
                <a:gd name="connsiteX114" fmla="*/ 237851 w 608129"/>
                <a:gd name="connsiteY114" fmla="*/ 158043 h 343858"/>
                <a:gd name="connsiteX115" fmla="*/ 285637 w 608129"/>
                <a:gd name="connsiteY115" fmla="*/ 155767 h 343858"/>
                <a:gd name="connsiteX116" fmla="*/ 299320 w 608129"/>
                <a:gd name="connsiteY116" fmla="*/ 156528 h 343858"/>
                <a:gd name="connsiteX117" fmla="*/ 308442 w 608129"/>
                <a:gd name="connsiteY117" fmla="*/ 167174 h 343858"/>
                <a:gd name="connsiteX118" fmla="*/ 298560 w 608129"/>
                <a:gd name="connsiteY118" fmla="*/ 177060 h 343858"/>
                <a:gd name="connsiteX119" fmla="*/ 297799 w 608129"/>
                <a:gd name="connsiteY119" fmla="*/ 177060 h 343858"/>
                <a:gd name="connsiteX120" fmla="*/ 284116 w 608129"/>
                <a:gd name="connsiteY120" fmla="*/ 175539 h 343858"/>
                <a:gd name="connsiteX121" fmla="*/ 274234 w 608129"/>
                <a:gd name="connsiteY121" fmla="*/ 164893 h 343858"/>
                <a:gd name="connsiteX122" fmla="*/ 285637 w 608129"/>
                <a:gd name="connsiteY122" fmla="*/ 155767 h 343858"/>
                <a:gd name="connsiteX123" fmla="*/ 374580 w 608129"/>
                <a:gd name="connsiteY123" fmla="*/ 140655 h 343858"/>
                <a:gd name="connsiteX124" fmla="*/ 388263 w 608129"/>
                <a:gd name="connsiteY124" fmla="*/ 141411 h 343858"/>
                <a:gd name="connsiteX125" fmla="*/ 398145 w 608129"/>
                <a:gd name="connsiteY125" fmla="*/ 152755 h 343858"/>
                <a:gd name="connsiteX126" fmla="*/ 387503 w 608129"/>
                <a:gd name="connsiteY126" fmla="*/ 161830 h 343858"/>
                <a:gd name="connsiteX127" fmla="*/ 386742 w 608129"/>
                <a:gd name="connsiteY127" fmla="*/ 161830 h 343858"/>
                <a:gd name="connsiteX128" fmla="*/ 373059 w 608129"/>
                <a:gd name="connsiteY128" fmla="*/ 160317 h 343858"/>
                <a:gd name="connsiteX129" fmla="*/ 363937 w 608129"/>
                <a:gd name="connsiteY129" fmla="*/ 149730 h 343858"/>
                <a:gd name="connsiteX130" fmla="*/ 374580 w 608129"/>
                <a:gd name="connsiteY130" fmla="*/ 140655 h 343858"/>
                <a:gd name="connsiteX131" fmla="*/ 363206 w 608129"/>
                <a:gd name="connsiteY131" fmla="*/ 133808 h 343858"/>
                <a:gd name="connsiteX132" fmla="*/ 362447 w 608129"/>
                <a:gd name="connsiteY132" fmla="*/ 134566 h 343858"/>
                <a:gd name="connsiteX133" fmla="*/ 360168 w 608129"/>
                <a:gd name="connsiteY133" fmla="*/ 139874 h 343858"/>
                <a:gd name="connsiteX134" fmla="*/ 344218 w 608129"/>
                <a:gd name="connsiteY134" fmla="*/ 156557 h 343858"/>
                <a:gd name="connsiteX135" fmla="*/ 341939 w 608129"/>
                <a:gd name="connsiteY135" fmla="*/ 157315 h 343858"/>
                <a:gd name="connsiteX136" fmla="*/ 338142 w 608129"/>
                <a:gd name="connsiteY136" fmla="*/ 158832 h 343858"/>
                <a:gd name="connsiteX137" fmla="*/ 335104 w 608129"/>
                <a:gd name="connsiteY137" fmla="*/ 160348 h 343858"/>
                <a:gd name="connsiteX138" fmla="*/ 332066 w 608129"/>
                <a:gd name="connsiteY138" fmla="*/ 161107 h 343858"/>
                <a:gd name="connsiteX139" fmla="*/ 324470 w 608129"/>
                <a:gd name="connsiteY139" fmla="*/ 161865 h 343858"/>
                <a:gd name="connsiteX140" fmla="*/ 317634 w 608129"/>
                <a:gd name="connsiteY140" fmla="*/ 161107 h 343858"/>
                <a:gd name="connsiteX141" fmla="*/ 314596 w 608129"/>
                <a:gd name="connsiteY141" fmla="*/ 160348 h 343858"/>
                <a:gd name="connsiteX142" fmla="*/ 310799 w 608129"/>
                <a:gd name="connsiteY142" fmla="*/ 158832 h 343858"/>
                <a:gd name="connsiteX143" fmla="*/ 307761 w 608129"/>
                <a:gd name="connsiteY143" fmla="*/ 158073 h 343858"/>
                <a:gd name="connsiteX144" fmla="*/ 304723 w 608129"/>
                <a:gd name="connsiteY144" fmla="*/ 156557 h 343858"/>
                <a:gd name="connsiteX145" fmla="*/ 297887 w 608129"/>
                <a:gd name="connsiteY145" fmla="*/ 151249 h 343858"/>
                <a:gd name="connsiteX146" fmla="*/ 297127 w 608129"/>
                <a:gd name="connsiteY146" fmla="*/ 150490 h 343858"/>
                <a:gd name="connsiteX147" fmla="*/ 294089 w 608129"/>
                <a:gd name="connsiteY147" fmla="*/ 147457 h 343858"/>
                <a:gd name="connsiteX148" fmla="*/ 292570 w 608129"/>
                <a:gd name="connsiteY148" fmla="*/ 145941 h 343858"/>
                <a:gd name="connsiteX149" fmla="*/ 289532 w 608129"/>
                <a:gd name="connsiteY149" fmla="*/ 142149 h 343858"/>
                <a:gd name="connsiteX150" fmla="*/ 289532 w 608129"/>
                <a:gd name="connsiteY150" fmla="*/ 140633 h 343858"/>
                <a:gd name="connsiteX151" fmla="*/ 287253 w 608129"/>
                <a:gd name="connsiteY151" fmla="*/ 136083 h 343858"/>
                <a:gd name="connsiteX152" fmla="*/ 237125 w 608129"/>
                <a:gd name="connsiteY152" fmla="*/ 141391 h 343858"/>
                <a:gd name="connsiteX153" fmla="*/ 215098 w 608129"/>
                <a:gd name="connsiteY153" fmla="*/ 165657 h 343858"/>
                <a:gd name="connsiteX154" fmla="*/ 214339 w 608129"/>
                <a:gd name="connsiteY154" fmla="*/ 166415 h 343858"/>
                <a:gd name="connsiteX155" fmla="*/ 212060 w 608129"/>
                <a:gd name="connsiteY155" fmla="*/ 168690 h 343858"/>
                <a:gd name="connsiteX156" fmla="*/ 211301 w 608129"/>
                <a:gd name="connsiteY156" fmla="*/ 168690 h 343858"/>
                <a:gd name="connsiteX157" fmla="*/ 209022 w 608129"/>
                <a:gd name="connsiteY157" fmla="*/ 170206 h 343858"/>
                <a:gd name="connsiteX158" fmla="*/ 207503 w 608129"/>
                <a:gd name="connsiteY158" fmla="*/ 170965 h 343858"/>
                <a:gd name="connsiteX159" fmla="*/ 205224 w 608129"/>
                <a:gd name="connsiteY159" fmla="*/ 171723 h 343858"/>
                <a:gd name="connsiteX160" fmla="*/ 203705 w 608129"/>
                <a:gd name="connsiteY160" fmla="*/ 171723 h 343858"/>
                <a:gd name="connsiteX161" fmla="*/ 202186 w 608129"/>
                <a:gd name="connsiteY161" fmla="*/ 171723 h 343858"/>
                <a:gd name="connsiteX162" fmla="*/ 201427 w 608129"/>
                <a:gd name="connsiteY162" fmla="*/ 171723 h 343858"/>
                <a:gd name="connsiteX163" fmla="*/ 199148 w 608129"/>
                <a:gd name="connsiteY163" fmla="*/ 171723 h 343858"/>
                <a:gd name="connsiteX164" fmla="*/ 198389 w 608129"/>
                <a:gd name="connsiteY164" fmla="*/ 171723 h 343858"/>
                <a:gd name="connsiteX165" fmla="*/ 191553 w 608129"/>
                <a:gd name="connsiteY165" fmla="*/ 169448 h 343858"/>
                <a:gd name="connsiteX166" fmla="*/ 188515 w 608129"/>
                <a:gd name="connsiteY166" fmla="*/ 167173 h 343858"/>
                <a:gd name="connsiteX167" fmla="*/ 178641 w 608129"/>
                <a:gd name="connsiteY167" fmla="*/ 158073 h 343858"/>
                <a:gd name="connsiteX168" fmla="*/ 176362 w 608129"/>
                <a:gd name="connsiteY168" fmla="*/ 155040 h 343858"/>
                <a:gd name="connsiteX169" fmla="*/ 175603 w 608129"/>
                <a:gd name="connsiteY169" fmla="*/ 154282 h 343858"/>
                <a:gd name="connsiteX170" fmla="*/ 174084 w 608129"/>
                <a:gd name="connsiteY170" fmla="*/ 152007 h 343858"/>
                <a:gd name="connsiteX171" fmla="*/ 142943 w 608129"/>
                <a:gd name="connsiteY171" fmla="*/ 159590 h 343858"/>
                <a:gd name="connsiteX172" fmla="*/ 136107 w 608129"/>
                <a:gd name="connsiteY172" fmla="*/ 171723 h 343858"/>
                <a:gd name="connsiteX173" fmla="*/ 135348 w 608129"/>
                <a:gd name="connsiteY173" fmla="*/ 173998 h 343858"/>
                <a:gd name="connsiteX174" fmla="*/ 134588 w 608129"/>
                <a:gd name="connsiteY174" fmla="*/ 174756 h 343858"/>
                <a:gd name="connsiteX175" fmla="*/ 133069 w 608129"/>
                <a:gd name="connsiteY175" fmla="*/ 175514 h 343858"/>
                <a:gd name="connsiteX176" fmla="*/ 131550 w 608129"/>
                <a:gd name="connsiteY176" fmla="*/ 177789 h 343858"/>
                <a:gd name="connsiteX177" fmla="*/ 130791 w 608129"/>
                <a:gd name="connsiteY177" fmla="*/ 177789 h 343858"/>
                <a:gd name="connsiteX178" fmla="*/ 124715 w 608129"/>
                <a:gd name="connsiteY178" fmla="*/ 181581 h 343858"/>
                <a:gd name="connsiteX179" fmla="*/ 119398 w 608129"/>
                <a:gd name="connsiteY179" fmla="*/ 182339 h 343858"/>
                <a:gd name="connsiteX180" fmla="*/ 118638 w 608129"/>
                <a:gd name="connsiteY180" fmla="*/ 182339 h 343858"/>
                <a:gd name="connsiteX181" fmla="*/ 117879 w 608129"/>
                <a:gd name="connsiteY181" fmla="*/ 182339 h 343858"/>
                <a:gd name="connsiteX182" fmla="*/ 114841 w 608129"/>
                <a:gd name="connsiteY182" fmla="*/ 182339 h 343858"/>
                <a:gd name="connsiteX183" fmla="*/ 113322 w 608129"/>
                <a:gd name="connsiteY183" fmla="*/ 181581 h 343858"/>
                <a:gd name="connsiteX184" fmla="*/ 109524 w 608129"/>
                <a:gd name="connsiteY184" fmla="*/ 180064 h 343858"/>
                <a:gd name="connsiteX185" fmla="*/ 108764 w 608129"/>
                <a:gd name="connsiteY185" fmla="*/ 180064 h 343858"/>
                <a:gd name="connsiteX186" fmla="*/ 99650 w 608129"/>
                <a:gd name="connsiteY186" fmla="*/ 175514 h 343858"/>
                <a:gd name="connsiteX187" fmla="*/ 92814 w 608129"/>
                <a:gd name="connsiteY187" fmla="*/ 189922 h 343858"/>
                <a:gd name="connsiteX188" fmla="*/ 71548 w 608129"/>
                <a:gd name="connsiteY188" fmla="*/ 202813 h 343858"/>
                <a:gd name="connsiteX189" fmla="*/ 70029 w 608129"/>
                <a:gd name="connsiteY189" fmla="*/ 214188 h 343858"/>
                <a:gd name="connsiteX190" fmla="*/ 61674 w 608129"/>
                <a:gd name="connsiteY190" fmla="*/ 225562 h 343858"/>
                <a:gd name="connsiteX191" fmla="*/ 51800 w 608129"/>
                <a:gd name="connsiteY191" fmla="*/ 232387 h 343858"/>
                <a:gd name="connsiteX192" fmla="*/ 159653 w 608129"/>
                <a:gd name="connsiteY192" fmla="*/ 232387 h 343858"/>
                <a:gd name="connsiteX193" fmla="*/ 158134 w 608129"/>
                <a:gd name="connsiteY193" fmla="*/ 224804 h 343858"/>
                <a:gd name="connsiteX194" fmla="*/ 159653 w 608129"/>
                <a:gd name="connsiteY194" fmla="*/ 211155 h 343858"/>
                <a:gd name="connsiteX195" fmla="*/ 171046 w 608129"/>
                <a:gd name="connsiteY195" fmla="*/ 202813 h 343858"/>
                <a:gd name="connsiteX196" fmla="*/ 179401 w 608129"/>
                <a:gd name="connsiteY196" fmla="*/ 213430 h 343858"/>
                <a:gd name="connsiteX197" fmla="*/ 177881 w 608129"/>
                <a:gd name="connsiteY197" fmla="*/ 227837 h 343858"/>
                <a:gd name="connsiteX198" fmla="*/ 175603 w 608129"/>
                <a:gd name="connsiteY198" fmla="*/ 232387 h 343858"/>
                <a:gd name="connsiteX199" fmla="*/ 402702 w 608129"/>
                <a:gd name="connsiteY199" fmla="*/ 232387 h 343858"/>
                <a:gd name="connsiteX200" fmla="*/ 537897 w 608129"/>
                <a:gd name="connsiteY200" fmla="*/ 232387 h 343858"/>
                <a:gd name="connsiteX201" fmla="*/ 528783 w 608129"/>
                <a:gd name="connsiteY201" fmla="*/ 208880 h 343858"/>
                <a:gd name="connsiteX202" fmla="*/ 528783 w 608129"/>
                <a:gd name="connsiteY202" fmla="*/ 205847 h 343858"/>
                <a:gd name="connsiteX203" fmla="*/ 519669 w 608129"/>
                <a:gd name="connsiteY203" fmla="*/ 196747 h 343858"/>
                <a:gd name="connsiteX204" fmla="*/ 512833 w 608129"/>
                <a:gd name="connsiteY204" fmla="*/ 196747 h 343858"/>
                <a:gd name="connsiteX205" fmla="*/ 501440 w 608129"/>
                <a:gd name="connsiteY205" fmla="*/ 186131 h 343858"/>
                <a:gd name="connsiteX206" fmla="*/ 492326 w 608129"/>
                <a:gd name="connsiteY206" fmla="*/ 177789 h 343858"/>
                <a:gd name="connsiteX207" fmla="*/ 472578 w 608129"/>
                <a:gd name="connsiteY207" fmla="*/ 162623 h 343858"/>
                <a:gd name="connsiteX208" fmla="*/ 463464 w 608129"/>
                <a:gd name="connsiteY208" fmla="*/ 150490 h 343858"/>
                <a:gd name="connsiteX209" fmla="*/ 458907 w 608129"/>
                <a:gd name="connsiteY209" fmla="*/ 152765 h 343858"/>
                <a:gd name="connsiteX210" fmla="*/ 429285 w 608129"/>
                <a:gd name="connsiteY210" fmla="*/ 161107 h 343858"/>
                <a:gd name="connsiteX211" fmla="*/ 424728 w 608129"/>
                <a:gd name="connsiteY211" fmla="*/ 161865 h 343858"/>
                <a:gd name="connsiteX212" fmla="*/ 423968 w 608129"/>
                <a:gd name="connsiteY212" fmla="*/ 161865 h 343858"/>
                <a:gd name="connsiteX213" fmla="*/ 423209 w 608129"/>
                <a:gd name="connsiteY213" fmla="*/ 161865 h 343858"/>
                <a:gd name="connsiteX214" fmla="*/ 420171 w 608129"/>
                <a:gd name="connsiteY214" fmla="*/ 161107 h 343858"/>
                <a:gd name="connsiteX215" fmla="*/ 418652 w 608129"/>
                <a:gd name="connsiteY215" fmla="*/ 161107 h 343858"/>
                <a:gd name="connsiteX216" fmla="*/ 414094 w 608129"/>
                <a:gd name="connsiteY216" fmla="*/ 159590 h 343858"/>
                <a:gd name="connsiteX217" fmla="*/ 407259 w 608129"/>
                <a:gd name="connsiteY217" fmla="*/ 152765 h 343858"/>
                <a:gd name="connsiteX218" fmla="*/ 404221 w 608129"/>
                <a:gd name="connsiteY218" fmla="*/ 147457 h 343858"/>
                <a:gd name="connsiteX219" fmla="*/ 401182 w 608129"/>
                <a:gd name="connsiteY219" fmla="*/ 135324 h 343858"/>
                <a:gd name="connsiteX220" fmla="*/ 363206 w 608129"/>
                <a:gd name="connsiteY220" fmla="*/ 133808 h 343858"/>
                <a:gd name="connsiteX221" fmla="*/ 105726 w 608129"/>
                <a:gd name="connsiteY221" fmla="*/ 121675 h 343858"/>
                <a:gd name="connsiteX222" fmla="*/ 91295 w 608129"/>
                <a:gd name="connsiteY222" fmla="*/ 148216 h 343858"/>
                <a:gd name="connsiteX223" fmla="*/ 117119 w 608129"/>
                <a:gd name="connsiteY223" fmla="*/ 161865 h 343858"/>
                <a:gd name="connsiteX224" fmla="*/ 118638 w 608129"/>
                <a:gd name="connsiteY224" fmla="*/ 162623 h 343858"/>
                <a:gd name="connsiteX225" fmla="*/ 132310 w 608129"/>
                <a:gd name="connsiteY225" fmla="*/ 135324 h 343858"/>
                <a:gd name="connsiteX226" fmla="*/ 445235 w 608129"/>
                <a:gd name="connsiteY226" fmla="*/ 104234 h 343858"/>
                <a:gd name="connsiteX227" fmla="*/ 415614 w 608129"/>
                <a:gd name="connsiteY227" fmla="*/ 112575 h 343858"/>
                <a:gd name="connsiteX228" fmla="*/ 423968 w 608129"/>
                <a:gd name="connsiteY228" fmla="*/ 141391 h 343858"/>
                <a:gd name="connsiteX229" fmla="*/ 453590 w 608129"/>
                <a:gd name="connsiteY229" fmla="*/ 133049 h 343858"/>
                <a:gd name="connsiteX230" fmla="*/ 324470 w 608129"/>
                <a:gd name="connsiteY230" fmla="*/ 101201 h 343858"/>
                <a:gd name="connsiteX231" fmla="*/ 303963 w 608129"/>
                <a:gd name="connsiteY231" fmla="*/ 121675 h 343858"/>
                <a:gd name="connsiteX232" fmla="*/ 304723 w 608129"/>
                <a:gd name="connsiteY232" fmla="*/ 123192 h 343858"/>
                <a:gd name="connsiteX233" fmla="*/ 304723 w 608129"/>
                <a:gd name="connsiteY233" fmla="*/ 123950 h 343858"/>
                <a:gd name="connsiteX234" fmla="*/ 311558 w 608129"/>
                <a:gd name="connsiteY234" fmla="*/ 136841 h 343858"/>
                <a:gd name="connsiteX235" fmla="*/ 313837 w 608129"/>
                <a:gd name="connsiteY235" fmla="*/ 138358 h 343858"/>
                <a:gd name="connsiteX236" fmla="*/ 314596 w 608129"/>
                <a:gd name="connsiteY236" fmla="*/ 139116 h 343858"/>
                <a:gd name="connsiteX237" fmla="*/ 317634 w 608129"/>
                <a:gd name="connsiteY237" fmla="*/ 139874 h 343858"/>
                <a:gd name="connsiteX238" fmla="*/ 318394 w 608129"/>
                <a:gd name="connsiteY238" fmla="*/ 140633 h 343858"/>
                <a:gd name="connsiteX239" fmla="*/ 320673 w 608129"/>
                <a:gd name="connsiteY239" fmla="*/ 141391 h 343858"/>
                <a:gd name="connsiteX240" fmla="*/ 324470 w 608129"/>
                <a:gd name="connsiteY240" fmla="*/ 141391 h 343858"/>
                <a:gd name="connsiteX241" fmla="*/ 328268 w 608129"/>
                <a:gd name="connsiteY241" fmla="*/ 141391 h 343858"/>
                <a:gd name="connsiteX242" fmla="*/ 329787 w 608129"/>
                <a:gd name="connsiteY242" fmla="*/ 140633 h 343858"/>
                <a:gd name="connsiteX243" fmla="*/ 332066 w 608129"/>
                <a:gd name="connsiteY243" fmla="*/ 139874 h 343858"/>
                <a:gd name="connsiteX244" fmla="*/ 333585 w 608129"/>
                <a:gd name="connsiteY244" fmla="*/ 139116 h 343858"/>
                <a:gd name="connsiteX245" fmla="*/ 335863 w 608129"/>
                <a:gd name="connsiteY245" fmla="*/ 138358 h 343858"/>
                <a:gd name="connsiteX246" fmla="*/ 337382 w 608129"/>
                <a:gd name="connsiteY246" fmla="*/ 136841 h 343858"/>
                <a:gd name="connsiteX247" fmla="*/ 338142 w 608129"/>
                <a:gd name="connsiteY247" fmla="*/ 136083 h 343858"/>
                <a:gd name="connsiteX248" fmla="*/ 340420 w 608129"/>
                <a:gd name="connsiteY248" fmla="*/ 133808 h 343858"/>
                <a:gd name="connsiteX249" fmla="*/ 340420 w 608129"/>
                <a:gd name="connsiteY249" fmla="*/ 133049 h 343858"/>
                <a:gd name="connsiteX250" fmla="*/ 344218 w 608129"/>
                <a:gd name="connsiteY250" fmla="*/ 123192 h 343858"/>
                <a:gd name="connsiteX251" fmla="*/ 344977 w 608129"/>
                <a:gd name="connsiteY251" fmla="*/ 120917 h 343858"/>
                <a:gd name="connsiteX252" fmla="*/ 324470 w 608129"/>
                <a:gd name="connsiteY252" fmla="*/ 101201 h 343858"/>
                <a:gd name="connsiteX253" fmla="*/ 234086 w 608129"/>
                <a:gd name="connsiteY253" fmla="*/ 98926 h 343858"/>
                <a:gd name="connsiteX254" fmla="*/ 193832 w 608129"/>
                <a:gd name="connsiteY254" fmla="*/ 144424 h 343858"/>
                <a:gd name="connsiteX255" fmla="*/ 201427 w 608129"/>
                <a:gd name="connsiteY255" fmla="*/ 151249 h 343858"/>
                <a:gd name="connsiteX256" fmla="*/ 227251 w 608129"/>
                <a:gd name="connsiteY256" fmla="*/ 121675 h 343858"/>
                <a:gd name="connsiteX257" fmla="*/ 241682 w 608129"/>
                <a:gd name="connsiteY257" fmla="*/ 105751 h 343858"/>
                <a:gd name="connsiteX258" fmla="*/ 233042 w 608129"/>
                <a:gd name="connsiteY258" fmla="*/ 78357 h 343858"/>
                <a:gd name="connsiteX259" fmla="*/ 246239 w 608129"/>
                <a:gd name="connsiteY259" fmla="*/ 83001 h 343858"/>
                <a:gd name="connsiteX260" fmla="*/ 256872 w 608129"/>
                <a:gd name="connsiteY260" fmla="*/ 92101 h 343858"/>
                <a:gd name="connsiteX261" fmla="*/ 257632 w 608129"/>
                <a:gd name="connsiteY261" fmla="*/ 118642 h 343858"/>
                <a:gd name="connsiteX262" fmla="*/ 284215 w 608129"/>
                <a:gd name="connsiteY262" fmla="*/ 116367 h 343858"/>
                <a:gd name="connsiteX263" fmla="*/ 324470 w 608129"/>
                <a:gd name="connsiteY263" fmla="*/ 80727 h 343858"/>
                <a:gd name="connsiteX264" fmla="*/ 363966 w 608129"/>
                <a:gd name="connsiteY264" fmla="*/ 114092 h 343858"/>
                <a:gd name="connsiteX265" fmla="*/ 395866 w 608129"/>
                <a:gd name="connsiteY265" fmla="*/ 114850 h 343858"/>
                <a:gd name="connsiteX266" fmla="*/ 398144 w 608129"/>
                <a:gd name="connsiteY266" fmla="*/ 102717 h 343858"/>
                <a:gd name="connsiteX267" fmla="*/ 410297 w 608129"/>
                <a:gd name="connsiteY267" fmla="*/ 92859 h 343858"/>
                <a:gd name="connsiteX268" fmla="*/ 439159 w 608129"/>
                <a:gd name="connsiteY268" fmla="*/ 84518 h 343858"/>
                <a:gd name="connsiteX269" fmla="*/ 454349 w 608129"/>
                <a:gd name="connsiteY269" fmla="*/ 86035 h 343858"/>
                <a:gd name="connsiteX270" fmla="*/ 464223 w 608129"/>
                <a:gd name="connsiteY270" fmla="*/ 98168 h 343858"/>
                <a:gd name="connsiteX271" fmla="*/ 472578 w 608129"/>
                <a:gd name="connsiteY271" fmla="*/ 127741 h 343858"/>
                <a:gd name="connsiteX272" fmla="*/ 473338 w 608129"/>
                <a:gd name="connsiteY272" fmla="*/ 132291 h 343858"/>
                <a:gd name="connsiteX273" fmla="*/ 492326 w 608129"/>
                <a:gd name="connsiteY273" fmla="*/ 157315 h 343858"/>
                <a:gd name="connsiteX274" fmla="*/ 519669 w 608129"/>
                <a:gd name="connsiteY274" fmla="*/ 176273 h 343858"/>
                <a:gd name="connsiteX275" fmla="*/ 524226 w 608129"/>
                <a:gd name="connsiteY275" fmla="*/ 177031 h 343858"/>
                <a:gd name="connsiteX276" fmla="*/ 547771 w 608129"/>
                <a:gd name="connsiteY276" fmla="*/ 199780 h 343858"/>
                <a:gd name="connsiteX277" fmla="*/ 548531 w 608129"/>
                <a:gd name="connsiteY277" fmla="*/ 210396 h 343858"/>
                <a:gd name="connsiteX278" fmla="*/ 553848 w 608129"/>
                <a:gd name="connsiteY278" fmla="*/ 219496 h 343858"/>
                <a:gd name="connsiteX279" fmla="*/ 564481 w 608129"/>
                <a:gd name="connsiteY279" fmla="*/ 232387 h 343858"/>
                <a:gd name="connsiteX280" fmla="*/ 588786 w 608129"/>
                <a:gd name="connsiteY280" fmla="*/ 232387 h 343858"/>
                <a:gd name="connsiteX281" fmla="*/ 606255 w 608129"/>
                <a:gd name="connsiteY281" fmla="*/ 243003 h 343858"/>
                <a:gd name="connsiteX282" fmla="*/ 604736 w 608129"/>
                <a:gd name="connsiteY282" fmla="*/ 263478 h 343858"/>
                <a:gd name="connsiteX283" fmla="*/ 603217 w 608129"/>
                <a:gd name="connsiteY283" fmla="*/ 264994 h 343858"/>
                <a:gd name="connsiteX284" fmla="*/ 550809 w 608129"/>
                <a:gd name="connsiteY284" fmla="*/ 296843 h 343858"/>
                <a:gd name="connsiteX285" fmla="*/ 544733 w 608129"/>
                <a:gd name="connsiteY285" fmla="*/ 312768 h 343858"/>
                <a:gd name="connsiteX286" fmla="*/ 516631 w 608129"/>
                <a:gd name="connsiteY286" fmla="*/ 343858 h 343858"/>
                <a:gd name="connsiteX287" fmla="*/ 91295 w 608129"/>
                <a:gd name="connsiteY287" fmla="*/ 343858 h 343858"/>
                <a:gd name="connsiteX288" fmla="*/ 63952 w 608129"/>
                <a:gd name="connsiteY288" fmla="*/ 312768 h 343858"/>
                <a:gd name="connsiteX289" fmla="*/ 57876 w 608129"/>
                <a:gd name="connsiteY289" fmla="*/ 296843 h 343858"/>
                <a:gd name="connsiteX290" fmla="*/ 4709 w 608129"/>
                <a:gd name="connsiteY290" fmla="*/ 264994 h 343858"/>
                <a:gd name="connsiteX291" fmla="*/ 3950 w 608129"/>
                <a:gd name="connsiteY291" fmla="*/ 263478 h 343858"/>
                <a:gd name="connsiteX292" fmla="*/ 2431 w 608129"/>
                <a:gd name="connsiteY292" fmla="*/ 243003 h 343858"/>
                <a:gd name="connsiteX293" fmla="*/ 19900 w 608129"/>
                <a:gd name="connsiteY293" fmla="*/ 232387 h 343858"/>
                <a:gd name="connsiteX294" fmla="*/ 31293 w 608129"/>
                <a:gd name="connsiteY294" fmla="*/ 232387 h 343858"/>
                <a:gd name="connsiteX295" fmla="*/ 49521 w 608129"/>
                <a:gd name="connsiteY295" fmla="*/ 208880 h 343858"/>
                <a:gd name="connsiteX296" fmla="*/ 57117 w 608129"/>
                <a:gd name="connsiteY296" fmla="*/ 187647 h 343858"/>
                <a:gd name="connsiteX297" fmla="*/ 68510 w 608129"/>
                <a:gd name="connsiteY297" fmla="*/ 182339 h 343858"/>
                <a:gd name="connsiteX298" fmla="*/ 76864 w 608129"/>
                <a:gd name="connsiteY298" fmla="*/ 177031 h 343858"/>
                <a:gd name="connsiteX299" fmla="*/ 79902 w 608129"/>
                <a:gd name="connsiteY299" fmla="*/ 167931 h 343858"/>
                <a:gd name="connsiteX300" fmla="*/ 79902 w 608129"/>
                <a:gd name="connsiteY300" fmla="*/ 164140 h 343858"/>
                <a:gd name="connsiteX301" fmla="*/ 73826 w 608129"/>
                <a:gd name="connsiteY301" fmla="*/ 139116 h 343858"/>
                <a:gd name="connsiteX302" fmla="*/ 87498 w 608129"/>
                <a:gd name="connsiteY302" fmla="*/ 111817 h 343858"/>
                <a:gd name="connsiteX303" fmla="*/ 99650 w 608129"/>
                <a:gd name="connsiteY303" fmla="*/ 101959 h 343858"/>
                <a:gd name="connsiteX304" fmla="*/ 114841 w 608129"/>
                <a:gd name="connsiteY304" fmla="*/ 103476 h 343858"/>
                <a:gd name="connsiteX305" fmla="*/ 142184 w 608129"/>
                <a:gd name="connsiteY305" fmla="*/ 117125 h 343858"/>
                <a:gd name="connsiteX306" fmla="*/ 152058 w 608129"/>
                <a:gd name="connsiteY306" fmla="*/ 129258 h 343858"/>
                <a:gd name="connsiteX307" fmla="*/ 152817 w 608129"/>
                <a:gd name="connsiteY307" fmla="*/ 136083 h 343858"/>
                <a:gd name="connsiteX308" fmla="*/ 178641 w 608129"/>
                <a:gd name="connsiteY308" fmla="*/ 130016 h 343858"/>
                <a:gd name="connsiteX309" fmla="*/ 220415 w 608129"/>
                <a:gd name="connsiteY309" fmla="*/ 84518 h 343858"/>
                <a:gd name="connsiteX310" fmla="*/ 233042 w 608129"/>
                <a:gd name="connsiteY310" fmla="*/ 78357 h 343858"/>
                <a:gd name="connsiteX311" fmla="*/ 162582 w 608129"/>
                <a:gd name="connsiteY311" fmla="*/ 60954 h 343858"/>
                <a:gd name="connsiteX312" fmla="*/ 142076 w 608129"/>
                <a:gd name="connsiteY312" fmla="*/ 80671 h 343858"/>
                <a:gd name="connsiteX313" fmla="*/ 162582 w 608129"/>
                <a:gd name="connsiteY313" fmla="*/ 101147 h 343858"/>
                <a:gd name="connsiteX314" fmla="*/ 182329 w 608129"/>
                <a:gd name="connsiteY314" fmla="*/ 80671 h 343858"/>
                <a:gd name="connsiteX315" fmla="*/ 162582 w 608129"/>
                <a:gd name="connsiteY315" fmla="*/ 60954 h 343858"/>
                <a:gd name="connsiteX316" fmla="*/ 162582 w 608129"/>
                <a:gd name="connsiteY316" fmla="*/ 40478 h 343858"/>
                <a:gd name="connsiteX317" fmla="*/ 202836 w 608129"/>
                <a:gd name="connsiteY317" fmla="*/ 80671 h 343858"/>
                <a:gd name="connsiteX318" fmla="*/ 162582 w 608129"/>
                <a:gd name="connsiteY318" fmla="*/ 121623 h 343858"/>
                <a:gd name="connsiteX319" fmla="*/ 121569 w 608129"/>
                <a:gd name="connsiteY319" fmla="*/ 80671 h 343858"/>
                <a:gd name="connsiteX320" fmla="*/ 162582 w 608129"/>
                <a:gd name="connsiteY320" fmla="*/ 40478 h 343858"/>
                <a:gd name="connsiteX321" fmla="*/ 285697 w 608129"/>
                <a:gd name="connsiteY321" fmla="*/ 32920 h 343858"/>
                <a:gd name="connsiteX322" fmla="*/ 256860 w 608129"/>
                <a:gd name="connsiteY322" fmla="*/ 41258 h 343858"/>
                <a:gd name="connsiteX323" fmla="*/ 265208 w 608129"/>
                <a:gd name="connsiteY323" fmla="*/ 70819 h 343858"/>
                <a:gd name="connsiteX324" fmla="*/ 294045 w 608129"/>
                <a:gd name="connsiteY324" fmla="*/ 62481 h 343858"/>
                <a:gd name="connsiteX325" fmla="*/ 364659 w 608129"/>
                <a:gd name="connsiteY325" fmla="*/ 20767 h 343858"/>
                <a:gd name="connsiteX326" fmla="*/ 355552 w 608129"/>
                <a:gd name="connsiteY326" fmla="*/ 23799 h 343858"/>
                <a:gd name="connsiteX327" fmla="*/ 376044 w 608129"/>
                <a:gd name="connsiteY327" fmla="*/ 81416 h 343858"/>
                <a:gd name="connsiteX328" fmla="*/ 385910 w 608129"/>
                <a:gd name="connsiteY328" fmla="*/ 77625 h 343858"/>
                <a:gd name="connsiteX329" fmla="*/ 280385 w 608129"/>
                <a:gd name="connsiteY329" fmla="*/ 13971 h 343858"/>
                <a:gd name="connsiteX330" fmla="*/ 295563 w 608129"/>
                <a:gd name="connsiteY330" fmla="*/ 15487 h 343858"/>
                <a:gd name="connsiteX331" fmla="*/ 305428 w 608129"/>
                <a:gd name="connsiteY331" fmla="*/ 27614 h 343858"/>
                <a:gd name="connsiteX332" fmla="*/ 313776 w 608129"/>
                <a:gd name="connsiteY332" fmla="*/ 57176 h 343858"/>
                <a:gd name="connsiteX333" fmla="*/ 311500 w 608129"/>
                <a:gd name="connsiteY333" fmla="*/ 72335 h 343858"/>
                <a:gd name="connsiteX334" fmla="*/ 299357 w 608129"/>
                <a:gd name="connsiteY334" fmla="*/ 82189 h 343858"/>
                <a:gd name="connsiteX335" fmla="*/ 270520 w 608129"/>
                <a:gd name="connsiteY335" fmla="*/ 90527 h 343858"/>
                <a:gd name="connsiteX336" fmla="*/ 265208 w 608129"/>
                <a:gd name="connsiteY336" fmla="*/ 91285 h 343858"/>
                <a:gd name="connsiteX337" fmla="*/ 255342 w 608129"/>
                <a:gd name="connsiteY337" fmla="*/ 88253 h 343858"/>
                <a:gd name="connsiteX338" fmla="*/ 245477 w 608129"/>
                <a:gd name="connsiteY338" fmla="*/ 76125 h 343858"/>
                <a:gd name="connsiteX339" fmla="*/ 237129 w 608129"/>
                <a:gd name="connsiteY339" fmla="*/ 47322 h 343858"/>
                <a:gd name="connsiteX340" fmla="*/ 238647 w 608129"/>
                <a:gd name="connsiteY340" fmla="*/ 32162 h 343858"/>
                <a:gd name="connsiteX341" fmla="*/ 250789 w 608129"/>
                <a:gd name="connsiteY341" fmla="*/ 22309 h 343858"/>
                <a:gd name="connsiteX342" fmla="*/ 359347 w 608129"/>
                <a:gd name="connsiteY342" fmla="*/ 1056 h 343858"/>
                <a:gd name="connsiteX343" fmla="*/ 373767 w 608129"/>
                <a:gd name="connsiteY343" fmla="*/ 1814 h 343858"/>
                <a:gd name="connsiteX344" fmla="*/ 383633 w 608129"/>
                <a:gd name="connsiteY344" fmla="*/ 12428 h 343858"/>
                <a:gd name="connsiteX345" fmla="*/ 404884 w 608129"/>
                <a:gd name="connsiteY345" fmla="*/ 72318 h 343858"/>
                <a:gd name="connsiteX346" fmla="*/ 404884 w 608129"/>
                <a:gd name="connsiteY346" fmla="*/ 86723 h 343858"/>
                <a:gd name="connsiteX347" fmla="*/ 394259 w 608129"/>
                <a:gd name="connsiteY347" fmla="*/ 95820 h 343858"/>
                <a:gd name="connsiteX348" fmla="*/ 381356 w 608129"/>
                <a:gd name="connsiteY348" fmla="*/ 100369 h 343858"/>
                <a:gd name="connsiteX349" fmla="*/ 375285 w 608129"/>
                <a:gd name="connsiteY349" fmla="*/ 101885 h 343858"/>
                <a:gd name="connsiteX350" fmla="*/ 367695 w 608129"/>
                <a:gd name="connsiteY350" fmla="*/ 100369 h 343858"/>
                <a:gd name="connsiteX351" fmla="*/ 357829 w 608129"/>
                <a:gd name="connsiteY351" fmla="*/ 89755 h 343858"/>
                <a:gd name="connsiteX352" fmla="*/ 335819 w 608129"/>
                <a:gd name="connsiteY352" fmla="*/ 29864 h 343858"/>
                <a:gd name="connsiteX353" fmla="*/ 336578 w 608129"/>
                <a:gd name="connsiteY353" fmla="*/ 15460 h 343858"/>
                <a:gd name="connsiteX354" fmla="*/ 347203 w 608129"/>
                <a:gd name="connsiteY354" fmla="*/ 5605 h 34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</a:cxnLst>
              <a:rect l="l" t="t" r="r" b="b"/>
              <a:pathLst>
                <a:path w="72860" h="102345">
                  <a:moveTo>
                    <a:pt x="25046" y="1516"/>
                  </a:moveTo>
                  <a:cubicBezTo>
                    <a:pt x="29599" y="0"/>
                    <a:pt x="34912" y="0"/>
                    <a:pt x="39466" y="2274"/>
                  </a:cubicBezTo>
                  <a:cubicBezTo>
                    <a:pt x="44020" y="4548"/>
                    <a:pt x="47055" y="8339"/>
                    <a:pt x="49332" y="12888"/>
                  </a:cubicBezTo>
                  <a:lnTo>
                    <a:pt x="70583" y="72778"/>
                  </a:lnTo>
                  <a:cubicBezTo>
                    <a:pt x="72860" y="77327"/>
                    <a:pt x="72101" y="82634"/>
                    <a:pt x="70583" y="87183"/>
                  </a:cubicBezTo>
                  <a:cubicBezTo>
                    <a:pt x="68306" y="91731"/>
                    <a:pt x="64511" y="94764"/>
                    <a:pt x="59958" y="96280"/>
                  </a:cubicBezTo>
                  <a:lnTo>
                    <a:pt x="47055" y="100829"/>
                  </a:lnTo>
                  <a:cubicBezTo>
                    <a:pt x="45537" y="101587"/>
                    <a:pt x="43261" y="102345"/>
                    <a:pt x="40984" y="102345"/>
                  </a:cubicBezTo>
                  <a:cubicBezTo>
                    <a:pt x="37948" y="102345"/>
                    <a:pt x="35671" y="101587"/>
                    <a:pt x="33394" y="100829"/>
                  </a:cubicBezTo>
                  <a:cubicBezTo>
                    <a:pt x="28840" y="98554"/>
                    <a:pt x="25046" y="94764"/>
                    <a:pt x="23528" y="90215"/>
                  </a:cubicBezTo>
                  <a:lnTo>
                    <a:pt x="1518" y="30324"/>
                  </a:lnTo>
                  <a:cubicBezTo>
                    <a:pt x="0" y="25017"/>
                    <a:pt x="0" y="20469"/>
                    <a:pt x="2277" y="15920"/>
                  </a:cubicBezTo>
                  <a:cubicBezTo>
                    <a:pt x="4554" y="11371"/>
                    <a:pt x="7590" y="7581"/>
                    <a:pt x="12902" y="6065"/>
                  </a:cubicBezTo>
                </a:path>
              </a:pathLst>
            </a:custGeom>
            <a:noFill/>
            <a:ln w="44450">
              <a:gradFill>
                <a:gsLst>
                  <a:gs pos="0">
                    <a:schemeClr val="accent3"/>
                  </a:gs>
                  <a:gs pos="100000">
                    <a:schemeClr val="accent3">
                      <a:lumMod val="5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zh-CN" altLang="en-US">
                <a:gradFill flip="none" rotWithShape="1">
                  <a:gsLst>
                    <a:gs pos="89000">
                      <a:schemeClr val="bg1"/>
                    </a:gs>
                    <a:gs pos="0">
                      <a:schemeClr val="accent2"/>
                    </a:gs>
                  </a:gsLst>
                  <a:lin ang="13500000" scaled="1"/>
                  <a:tileRect/>
                </a:gradFill>
              </a:endParaRPr>
            </a:p>
          </p:txBody>
        </p:sp>
        <p:sp>
          <p:nvSpPr>
            <p:cNvPr id="328" name="任意多边形: 形状 327"/>
            <p:cNvSpPr>
              <a:spLocks/>
            </p:cNvSpPr>
            <p:nvPr userDrawn="1"/>
          </p:nvSpPr>
          <p:spPr bwMode="auto">
            <a:xfrm rot="14715855">
              <a:off x="8979621" y="3443381"/>
              <a:ext cx="45719" cy="64401"/>
            </a:xfrm>
            <a:custGeom>
              <a:avLst/>
              <a:gdLst>
                <a:gd name="connsiteX0" fmla="*/ 193001 w 608129"/>
                <a:gd name="connsiteY0" fmla="*/ 283182 h 343858"/>
                <a:gd name="connsiteX1" fmla="*/ 506699 w 608129"/>
                <a:gd name="connsiteY1" fmla="*/ 283182 h 343858"/>
                <a:gd name="connsiteX2" fmla="*/ 516573 w 608129"/>
                <a:gd name="connsiteY2" fmla="*/ 293038 h 343858"/>
                <a:gd name="connsiteX3" fmla="*/ 506699 w 608129"/>
                <a:gd name="connsiteY3" fmla="*/ 303651 h 343858"/>
                <a:gd name="connsiteX4" fmla="*/ 193001 w 608129"/>
                <a:gd name="connsiteY4" fmla="*/ 303651 h 343858"/>
                <a:gd name="connsiteX5" fmla="*/ 182367 w 608129"/>
                <a:gd name="connsiteY5" fmla="*/ 293038 h 343858"/>
                <a:gd name="connsiteX6" fmla="*/ 193001 w 608129"/>
                <a:gd name="connsiteY6" fmla="*/ 283182 h 343858"/>
                <a:gd name="connsiteX7" fmla="*/ 101866 w 608129"/>
                <a:gd name="connsiteY7" fmla="*/ 283182 h 343858"/>
                <a:gd name="connsiteX8" fmla="*/ 142885 w 608129"/>
                <a:gd name="connsiteY8" fmla="*/ 283182 h 343858"/>
                <a:gd name="connsiteX9" fmla="*/ 152760 w 608129"/>
                <a:gd name="connsiteY9" fmla="*/ 293038 h 343858"/>
                <a:gd name="connsiteX10" fmla="*/ 142885 w 608129"/>
                <a:gd name="connsiteY10" fmla="*/ 303651 h 343858"/>
                <a:gd name="connsiteX11" fmla="*/ 101866 w 608129"/>
                <a:gd name="connsiteY11" fmla="*/ 303651 h 343858"/>
                <a:gd name="connsiteX12" fmla="*/ 91231 w 608129"/>
                <a:gd name="connsiteY12" fmla="*/ 293038 h 343858"/>
                <a:gd name="connsiteX13" fmla="*/ 101866 w 608129"/>
                <a:gd name="connsiteY13" fmla="*/ 283182 h 343858"/>
                <a:gd name="connsiteX14" fmla="*/ 23697 w 608129"/>
                <a:gd name="connsiteY14" fmla="*/ 252861 h 343858"/>
                <a:gd name="connsiteX15" fmla="*/ 72307 w 608129"/>
                <a:gd name="connsiteY15" fmla="*/ 281677 h 343858"/>
                <a:gd name="connsiteX16" fmla="*/ 73826 w 608129"/>
                <a:gd name="connsiteY16" fmla="*/ 283952 h 343858"/>
                <a:gd name="connsiteX17" fmla="*/ 82941 w 608129"/>
                <a:gd name="connsiteY17" fmla="*/ 307460 h 343858"/>
                <a:gd name="connsiteX18" fmla="*/ 91295 w 608129"/>
                <a:gd name="connsiteY18" fmla="*/ 323384 h 343858"/>
                <a:gd name="connsiteX19" fmla="*/ 516631 w 608129"/>
                <a:gd name="connsiteY19" fmla="*/ 323384 h 343858"/>
                <a:gd name="connsiteX20" fmla="*/ 525745 w 608129"/>
                <a:gd name="connsiteY20" fmla="*/ 307460 h 343858"/>
                <a:gd name="connsiteX21" fmla="*/ 534859 w 608129"/>
                <a:gd name="connsiteY21" fmla="*/ 283952 h 343858"/>
                <a:gd name="connsiteX22" fmla="*/ 536378 w 608129"/>
                <a:gd name="connsiteY22" fmla="*/ 281677 h 343858"/>
                <a:gd name="connsiteX23" fmla="*/ 584229 w 608129"/>
                <a:gd name="connsiteY23" fmla="*/ 252861 h 343858"/>
                <a:gd name="connsiteX24" fmla="*/ 569798 w 608129"/>
                <a:gd name="connsiteY24" fmla="*/ 252861 h 343858"/>
                <a:gd name="connsiteX25" fmla="*/ 413335 w 608129"/>
                <a:gd name="connsiteY25" fmla="*/ 252861 h 343858"/>
                <a:gd name="connsiteX26" fmla="*/ 401942 w 608129"/>
                <a:gd name="connsiteY26" fmla="*/ 252861 h 343858"/>
                <a:gd name="connsiteX27" fmla="*/ 35850 w 608129"/>
                <a:gd name="connsiteY27" fmla="*/ 252861 h 343858"/>
                <a:gd name="connsiteX28" fmla="*/ 254526 w 608129"/>
                <a:gd name="connsiteY28" fmla="*/ 201295 h 343858"/>
                <a:gd name="connsiteX29" fmla="*/ 257557 w 608129"/>
                <a:gd name="connsiteY29" fmla="*/ 214952 h 343858"/>
                <a:gd name="connsiteX30" fmla="*/ 249221 w 608129"/>
                <a:gd name="connsiteY30" fmla="*/ 227091 h 343858"/>
                <a:gd name="connsiteX31" fmla="*/ 240886 w 608129"/>
                <a:gd name="connsiteY31" fmla="*/ 231644 h 343858"/>
                <a:gd name="connsiteX32" fmla="*/ 235581 w 608129"/>
                <a:gd name="connsiteY32" fmla="*/ 229368 h 343858"/>
                <a:gd name="connsiteX33" fmla="*/ 232550 w 608129"/>
                <a:gd name="connsiteY33" fmla="*/ 215710 h 343858"/>
                <a:gd name="connsiteX34" fmla="*/ 240886 w 608129"/>
                <a:gd name="connsiteY34" fmla="*/ 203571 h 343858"/>
                <a:gd name="connsiteX35" fmla="*/ 254526 w 608129"/>
                <a:gd name="connsiteY35" fmla="*/ 201295 h 343858"/>
                <a:gd name="connsiteX36" fmla="*/ 293998 w 608129"/>
                <a:gd name="connsiteY36" fmla="*/ 199043 h 343858"/>
                <a:gd name="connsiteX37" fmla="*/ 307670 w 608129"/>
                <a:gd name="connsiteY37" fmla="*/ 202827 h 343858"/>
                <a:gd name="connsiteX38" fmla="*/ 314506 w 608129"/>
                <a:gd name="connsiteY38" fmla="*/ 214937 h 343858"/>
                <a:gd name="connsiteX39" fmla="*/ 304632 w 608129"/>
                <a:gd name="connsiteY39" fmla="*/ 222506 h 343858"/>
                <a:gd name="connsiteX40" fmla="*/ 302353 w 608129"/>
                <a:gd name="connsiteY40" fmla="*/ 221749 h 343858"/>
                <a:gd name="connsiteX41" fmla="*/ 288681 w 608129"/>
                <a:gd name="connsiteY41" fmla="*/ 218721 h 343858"/>
                <a:gd name="connsiteX42" fmla="*/ 281845 w 608129"/>
                <a:gd name="connsiteY42" fmla="*/ 205854 h 343858"/>
                <a:gd name="connsiteX43" fmla="*/ 293998 w 608129"/>
                <a:gd name="connsiteY43" fmla="*/ 199043 h 343858"/>
                <a:gd name="connsiteX44" fmla="*/ 113257 w 608129"/>
                <a:gd name="connsiteY44" fmla="*/ 193732 h 343858"/>
                <a:gd name="connsiteX45" fmla="*/ 125378 w 608129"/>
                <a:gd name="connsiteY45" fmla="*/ 201299 h 343858"/>
                <a:gd name="connsiteX46" fmla="*/ 128408 w 608129"/>
                <a:gd name="connsiteY46" fmla="*/ 214920 h 343858"/>
                <a:gd name="connsiteX47" fmla="*/ 120075 w 608129"/>
                <a:gd name="connsiteY47" fmla="*/ 219460 h 343858"/>
                <a:gd name="connsiteX48" fmla="*/ 114773 w 608129"/>
                <a:gd name="connsiteY48" fmla="*/ 217946 h 343858"/>
                <a:gd name="connsiteX49" fmla="*/ 102652 w 608129"/>
                <a:gd name="connsiteY49" fmla="*/ 211136 h 343858"/>
                <a:gd name="connsiteX50" fmla="*/ 99622 w 608129"/>
                <a:gd name="connsiteY50" fmla="*/ 196759 h 343858"/>
                <a:gd name="connsiteX51" fmla="*/ 113257 w 608129"/>
                <a:gd name="connsiteY51" fmla="*/ 193732 h 343858"/>
                <a:gd name="connsiteX52" fmla="*/ 367752 w 608129"/>
                <a:gd name="connsiteY52" fmla="*/ 192974 h 343858"/>
                <a:gd name="connsiteX53" fmla="*/ 380665 w 608129"/>
                <a:gd name="connsiteY53" fmla="*/ 199023 h 343858"/>
                <a:gd name="connsiteX54" fmla="*/ 373829 w 608129"/>
                <a:gd name="connsiteY54" fmla="*/ 211877 h 343858"/>
                <a:gd name="connsiteX55" fmla="*/ 360917 w 608129"/>
                <a:gd name="connsiteY55" fmla="*/ 216414 h 343858"/>
                <a:gd name="connsiteX56" fmla="*/ 357119 w 608129"/>
                <a:gd name="connsiteY56" fmla="*/ 216414 h 343858"/>
                <a:gd name="connsiteX57" fmla="*/ 348004 w 608129"/>
                <a:gd name="connsiteY57" fmla="*/ 209609 h 343858"/>
                <a:gd name="connsiteX58" fmla="*/ 354081 w 608129"/>
                <a:gd name="connsiteY58" fmla="*/ 196755 h 343858"/>
                <a:gd name="connsiteX59" fmla="*/ 473099 w 608129"/>
                <a:gd name="connsiteY59" fmla="*/ 187878 h 343858"/>
                <a:gd name="connsiteX60" fmla="*/ 480904 w 608129"/>
                <a:gd name="connsiteY60" fmla="*/ 189869 h 343858"/>
                <a:gd name="connsiteX61" fmla="*/ 483189 w 608129"/>
                <a:gd name="connsiteY61" fmla="*/ 203526 h 343858"/>
                <a:gd name="connsiteX62" fmla="*/ 475574 w 608129"/>
                <a:gd name="connsiteY62" fmla="*/ 214907 h 343858"/>
                <a:gd name="connsiteX63" fmla="*/ 467198 w 608129"/>
                <a:gd name="connsiteY63" fmla="*/ 219460 h 343858"/>
                <a:gd name="connsiteX64" fmla="*/ 461106 w 608129"/>
                <a:gd name="connsiteY64" fmla="*/ 217942 h 343858"/>
                <a:gd name="connsiteX65" fmla="*/ 458821 w 608129"/>
                <a:gd name="connsiteY65" fmla="*/ 203526 h 343858"/>
                <a:gd name="connsiteX66" fmla="*/ 466436 w 608129"/>
                <a:gd name="connsiteY66" fmla="*/ 192146 h 343858"/>
                <a:gd name="connsiteX67" fmla="*/ 473099 w 608129"/>
                <a:gd name="connsiteY67" fmla="*/ 187878 h 343858"/>
                <a:gd name="connsiteX68" fmla="*/ 410279 w 608129"/>
                <a:gd name="connsiteY68" fmla="*/ 182352 h 343858"/>
                <a:gd name="connsiteX69" fmla="*/ 422434 w 608129"/>
                <a:gd name="connsiteY69" fmla="*/ 189169 h 343858"/>
                <a:gd name="connsiteX70" fmla="*/ 426233 w 608129"/>
                <a:gd name="connsiteY70" fmla="*/ 202805 h 343858"/>
                <a:gd name="connsiteX71" fmla="*/ 418636 w 608129"/>
                <a:gd name="connsiteY71" fmla="*/ 215683 h 343858"/>
                <a:gd name="connsiteX72" fmla="*/ 416356 w 608129"/>
                <a:gd name="connsiteY72" fmla="*/ 215683 h 343858"/>
                <a:gd name="connsiteX73" fmla="*/ 406480 w 608129"/>
                <a:gd name="connsiteY73" fmla="*/ 208108 h 343858"/>
                <a:gd name="connsiteX74" fmla="*/ 402682 w 608129"/>
                <a:gd name="connsiteY74" fmla="*/ 194472 h 343858"/>
                <a:gd name="connsiteX75" fmla="*/ 410279 w 608129"/>
                <a:gd name="connsiteY75" fmla="*/ 182352 h 343858"/>
                <a:gd name="connsiteX76" fmla="*/ 188501 w 608129"/>
                <a:gd name="connsiteY76" fmla="*/ 179282 h 343858"/>
                <a:gd name="connsiteX77" fmla="*/ 202945 w 608129"/>
                <a:gd name="connsiteY77" fmla="*/ 180043 h 343858"/>
                <a:gd name="connsiteX78" fmla="*/ 212067 w 608129"/>
                <a:gd name="connsiteY78" fmla="*/ 191449 h 343858"/>
                <a:gd name="connsiteX79" fmla="*/ 202185 w 608129"/>
                <a:gd name="connsiteY79" fmla="*/ 200575 h 343858"/>
                <a:gd name="connsiteX80" fmla="*/ 201424 w 608129"/>
                <a:gd name="connsiteY80" fmla="*/ 200575 h 343858"/>
                <a:gd name="connsiteX81" fmla="*/ 186981 w 608129"/>
                <a:gd name="connsiteY81" fmla="*/ 199814 h 343858"/>
                <a:gd name="connsiteX82" fmla="*/ 177859 w 608129"/>
                <a:gd name="connsiteY82" fmla="*/ 188408 h 343858"/>
                <a:gd name="connsiteX83" fmla="*/ 188501 w 608129"/>
                <a:gd name="connsiteY83" fmla="*/ 179282 h 343858"/>
                <a:gd name="connsiteX84" fmla="*/ 160344 w 608129"/>
                <a:gd name="connsiteY84" fmla="*/ 165596 h 343858"/>
                <a:gd name="connsiteX85" fmla="*/ 163375 w 608129"/>
                <a:gd name="connsiteY85" fmla="*/ 180011 h 343858"/>
                <a:gd name="connsiteX86" fmla="*/ 155797 w 608129"/>
                <a:gd name="connsiteY86" fmla="*/ 191392 h 343858"/>
                <a:gd name="connsiteX87" fmla="*/ 147461 w 608129"/>
                <a:gd name="connsiteY87" fmla="*/ 195945 h 343858"/>
                <a:gd name="connsiteX88" fmla="*/ 141399 w 608129"/>
                <a:gd name="connsiteY88" fmla="*/ 194427 h 343858"/>
                <a:gd name="connsiteX89" fmla="*/ 139126 w 608129"/>
                <a:gd name="connsiteY89" fmla="*/ 180011 h 343858"/>
                <a:gd name="connsiteX90" fmla="*/ 146704 w 608129"/>
                <a:gd name="connsiteY90" fmla="*/ 168631 h 343858"/>
                <a:gd name="connsiteX91" fmla="*/ 160344 w 608129"/>
                <a:gd name="connsiteY91" fmla="*/ 165596 h 343858"/>
                <a:gd name="connsiteX92" fmla="*/ 338113 w 608129"/>
                <a:gd name="connsiteY92" fmla="*/ 164888 h 343858"/>
                <a:gd name="connsiteX93" fmla="*/ 352554 w 608129"/>
                <a:gd name="connsiteY93" fmla="*/ 164888 h 343858"/>
                <a:gd name="connsiteX94" fmla="*/ 352554 w 608129"/>
                <a:gd name="connsiteY94" fmla="*/ 179285 h 343858"/>
                <a:gd name="connsiteX95" fmla="*/ 342673 w 608129"/>
                <a:gd name="connsiteY95" fmla="*/ 189137 h 343858"/>
                <a:gd name="connsiteX96" fmla="*/ 335073 w 608129"/>
                <a:gd name="connsiteY96" fmla="*/ 192168 h 343858"/>
                <a:gd name="connsiteX97" fmla="*/ 328232 w 608129"/>
                <a:gd name="connsiteY97" fmla="*/ 189137 h 343858"/>
                <a:gd name="connsiteX98" fmla="*/ 328232 w 608129"/>
                <a:gd name="connsiteY98" fmla="*/ 174739 h 343858"/>
                <a:gd name="connsiteX99" fmla="*/ 438352 w 608129"/>
                <a:gd name="connsiteY99" fmla="*/ 163394 h 343858"/>
                <a:gd name="connsiteX100" fmla="*/ 449715 w 608129"/>
                <a:gd name="connsiteY100" fmla="*/ 170961 h 343858"/>
                <a:gd name="connsiteX101" fmla="*/ 453502 w 608129"/>
                <a:gd name="connsiteY101" fmla="*/ 184582 h 343858"/>
                <a:gd name="connsiteX102" fmla="*/ 444412 w 608129"/>
                <a:gd name="connsiteY102" fmla="*/ 189122 h 343858"/>
                <a:gd name="connsiteX103" fmla="*/ 439110 w 608129"/>
                <a:gd name="connsiteY103" fmla="*/ 187608 h 343858"/>
                <a:gd name="connsiteX104" fmla="*/ 427747 w 608129"/>
                <a:gd name="connsiteY104" fmla="*/ 180798 h 343858"/>
                <a:gd name="connsiteX105" fmla="*/ 423959 w 608129"/>
                <a:gd name="connsiteY105" fmla="*/ 166421 h 343858"/>
                <a:gd name="connsiteX106" fmla="*/ 438352 w 608129"/>
                <a:gd name="connsiteY106" fmla="*/ 163394 h 343858"/>
                <a:gd name="connsiteX107" fmla="*/ 237851 w 608129"/>
                <a:gd name="connsiteY107" fmla="*/ 158043 h 343858"/>
                <a:gd name="connsiteX108" fmla="*/ 249244 w 608129"/>
                <a:gd name="connsiteY108" fmla="*/ 165635 h 343858"/>
                <a:gd name="connsiteX109" fmla="*/ 253042 w 608129"/>
                <a:gd name="connsiteY109" fmla="*/ 179300 h 343858"/>
                <a:gd name="connsiteX110" fmla="*/ 243927 w 608129"/>
                <a:gd name="connsiteY110" fmla="*/ 184614 h 343858"/>
                <a:gd name="connsiteX111" fmla="*/ 238610 w 608129"/>
                <a:gd name="connsiteY111" fmla="*/ 183095 h 343858"/>
                <a:gd name="connsiteX112" fmla="*/ 227217 w 608129"/>
                <a:gd name="connsiteY112" fmla="*/ 175504 h 343858"/>
                <a:gd name="connsiteX113" fmla="*/ 223419 w 608129"/>
                <a:gd name="connsiteY113" fmla="*/ 161839 h 343858"/>
                <a:gd name="connsiteX114" fmla="*/ 237851 w 608129"/>
                <a:gd name="connsiteY114" fmla="*/ 158043 h 343858"/>
                <a:gd name="connsiteX115" fmla="*/ 285637 w 608129"/>
                <a:gd name="connsiteY115" fmla="*/ 155767 h 343858"/>
                <a:gd name="connsiteX116" fmla="*/ 299320 w 608129"/>
                <a:gd name="connsiteY116" fmla="*/ 156528 h 343858"/>
                <a:gd name="connsiteX117" fmla="*/ 308442 w 608129"/>
                <a:gd name="connsiteY117" fmla="*/ 167174 h 343858"/>
                <a:gd name="connsiteX118" fmla="*/ 298560 w 608129"/>
                <a:gd name="connsiteY118" fmla="*/ 177060 h 343858"/>
                <a:gd name="connsiteX119" fmla="*/ 297799 w 608129"/>
                <a:gd name="connsiteY119" fmla="*/ 177060 h 343858"/>
                <a:gd name="connsiteX120" fmla="*/ 284116 w 608129"/>
                <a:gd name="connsiteY120" fmla="*/ 175539 h 343858"/>
                <a:gd name="connsiteX121" fmla="*/ 274234 w 608129"/>
                <a:gd name="connsiteY121" fmla="*/ 164893 h 343858"/>
                <a:gd name="connsiteX122" fmla="*/ 285637 w 608129"/>
                <a:gd name="connsiteY122" fmla="*/ 155767 h 343858"/>
                <a:gd name="connsiteX123" fmla="*/ 374580 w 608129"/>
                <a:gd name="connsiteY123" fmla="*/ 140655 h 343858"/>
                <a:gd name="connsiteX124" fmla="*/ 388263 w 608129"/>
                <a:gd name="connsiteY124" fmla="*/ 141411 h 343858"/>
                <a:gd name="connsiteX125" fmla="*/ 398145 w 608129"/>
                <a:gd name="connsiteY125" fmla="*/ 152755 h 343858"/>
                <a:gd name="connsiteX126" fmla="*/ 387503 w 608129"/>
                <a:gd name="connsiteY126" fmla="*/ 161830 h 343858"/>
                <a:gd name="connsiteX127" fmla="*/ 386742 w 608129"/>
                <a:gd name="connsiteY127" fmla="*/ 161830 h 343858"/>
                <a:gd name="connsiteX128" fmla="*/ 373059 w 608129"/>
                <a:gd name="connsiteY128" fmla="*/ 160317 h 343858"/>
                <a:gd name="connsiteX129" fmla="*/ 363937 w 608129"/>
                <a:gd name="connsiteY129" fmla="*/ 149730 h 343858"/>
                <a:gd name="connsiteX130" fmla="*/ 374580 w 608129"/>
                <a:gd name="connsiteY130" fmla="*/ 140655 h 343858"/>
                <a:gd name="connsiteX131" fmla="*/ 363206 w 608129"/>
                <a:gd name="connsiteY131" fmla="*/ 133808 h 343858"/>
                <a:gd name="connsiteX132" fmla="*/ 362447 w 608129"/>
                <a:gd name="connsiteY132" fmla="*/ 134566 h 343858"/>
                <a:gd name="connsiteX133" fmla="*/ 360168 w 608129"/>
                <a:gd name="connsiteY133" fmla="*/ 139874 h 343858"/>
                <a:gd name="connsiteX134" fmla="*/ 344218 w 608129"/>
                <a:gd name="connsiteY134" fmla="*/ 156557 h 343858"/>
                <a:gd name="connsiteX135" fmla="*/ 341939 w 608129"/>
                <a:gd name="connsiteY135" fmla="*/ 157315 h 343858"/>
                <a:gd name="connsiteX136" fmla="*/ 338142 w 608129"/>
                <a:gd name="connsiteY136" fmla="*/ 158832 h 343858"/>
                <a:gd name="connsiteX137" fmla="*/ 335104 w 608129"/>
                <a:gd name="connsiteY137" fmla="*/ 160348 h 343858"/>
                <a:gd name="connsiteX138" fmla="*/ 332066 w 608129"/>
                <a:gd name="connsiteY138" fmla="*/ 161107 h 343858"/>
                <a:gd name="connsiteX139" fmla="*/ 324470 w 608129"/>
                <a:gd name="connsiteY139" fmla="*/ 161865 h 343858"/>
                <a:gd name="connsiteX140" fmla="*/ 317634 w 608129"/>
                <a:gd name="connsiteY140" fmla="*/ 161107 h 343858"/>
                <a:gd name="connsiteX141" fmla="*/ 314596 w 608129"/>
                <a:gd name="connsiteY141" fmla="*/ 160348 h 343858"/>
                <a:gd name="connsiteX142" fmla="*/ 310799 w 608129"/>
                <a:gd name="connsiteY142" fmla="*/ 158832 h 343858"/>
                <a:gd name="connsiteX143" fmla="*/ 307761 w 608129"/>
                <a:gd name="connsiteY143" fmla="*/ 158073 h 343858"/>
                <a:gd name="connsiteX144" fmla="*/ 304723 w 608129"/>
                <a:gd name="connsiteY144" fmla="*/ 156557 h 343858"/>
                <a:gd name="connsiteX145" fmla="*/ 297887 w 608129"/>
                <a:gd name="connsiteY145" fmla="*/ 151249 h 343858"/>
                <a:gd name="connsiteX146" fmla="*/ 297127 w 608129"/>
                <a:gd name="connsiteY146" fmla="*/ 150490 h 343858"/>
                <a:gd name="connsiteX147" fmla="*/ 294089 w 608129"/>
                <a:gd name="connsiteY147" fmla="*/ 147457 h 343858"/>
                <a:gd name="connsiteX148" fmla="*/ 292570 w 608129"/>
                <a:gd name="connsiteY148" fmla="*/ 145941 h 343858"/>
                <a:gd name="connsiteX149" fmla="*/ 289532 w 608129"/>
                <a:gd name="connsiteY149" fmla="*/ 142149 h 343858"/>
                <a:gd name="connsiteX150" fmla="*/ 289532 w 608129"/>
                <a:gd name="connsiteY150" fmla="*/ 140633 h 343858"/>
                <a:gd name="connsiteX151" fmla="*/ 287253 w 608129"/>
                <a:gd name="connsiteY151" fmla="*/ 136083 h 343858"/>
                <a:gd name="connsiteX152" fmla="*/ 237125 w 608129"/>
                <a:gd name="connsiteY152" fmla="*/ 141391 h 343858"/>
                <a:gd name="connsiteX153" fmla="*/ 215098 w 608129"/>
                <a:gd name="connsiteY153" fmla="*/ 165657 h 343858"/>
                <a:gd name="connsiteX154" fmla="*/ 214339 w 608129"/>
                <a:gd name="connsiteY154" fmla="*/ 166415 h 343858"/>
                <a:gd name="connsiteX155" fmla="*/ 212060 w 608129"/>
                <a:gd name="connsiteY155" fmla="*/ 168690 h 343858"/>
                <a:gd name="connsiteX156" fmla="*/ 211301 w 608129"/>
                <a:gd name="connsiteY156" fmla="*/ 168690 h 343858"/>
                <a:gd name="connsiteX157" fmla="*/ 209022 w 608129"/>
                <a:gd name="connsiteY157" fmla="*/ 170206 h 343858"/>
                <a:gd name="connsiteX158" fmla="*/ 207503 w 608129"/>
                <a:gd name="connsiteY158" fmla="*/ 170965 h 343858"/>
                <a:gd name="connsiteX159" fmla="*/ 205224 w 608129"/>
                <a:gd name="connsiteY159" fmla="*/ 171723 h 343858"/>
                <a:gd name="connsiteX160" fmla="*/ 203705 w 608129"/>
                <a:gd name="connsiteY160" fmla="*/ 171723 h 343858"/>
                <a:gd name="connsiteX161" fmla="*/ 202186 w 608129"/>
                <a:gd name="connsiteY161" fmla="*/ 171723 h 343858"/>
                <a:gd name="connsiteX162" fmla="*/ 201427 w 608129"/>
                <a:gd name="connsiteY162" fmla="*/ 171723 h 343858"/>
                <a:gd name="connsiteX163" fmla="*/ 199148 w 608129"/>
                <a:gd name="connsiteY163" fmla="*/ 171723 h 343858"/>
                <a:gd name="connsiteX164" fmla="*/ 198389 w 608129"/>
                <a:gd name="connsiteY164" fmla="*/ 171723 h 343858"/>
                <a:gd name="connsiteX165" fmla="*/ 191553 w 608129"/>
                <a:gd name="connsiteY165" fmla="*/ 169448 h 343858"/>
                <a:gd name="connsiteX166" fmla="*/ 188515 w 608129"/>
                <a:gd name="connsiteY166" fmla="*/ 167173 h 343858"/>
                <a:gd name="connsiteX167" fmla="*/ 178641 w 608129"/>
                <a:gd name="connsiteY167" fmla="*/ 158073 h 343858"/>
                <a:gd name="connsiteX168" fmla="*/ 176362 w 608129"/>
                <a:gd name="connsiteY168" fmla="*/ 155040 h 343858"/>
                <a:gd name="connsiteX169" fmla="*/ 175603 w 608129"/>
                <a:gd name="connsiteY169" fmla="*/ 154282 h 343858"/>
                <a:gd name="connsiteX170" fmla="*/ 174084 w 608129"/>
                <a:gd name="connsiteY170" fmla="*/ 152007 h 343858"/>
                <a:gd name="connsiteX171" fmla="*/ 142943 w 608129"/>
                <a:gd name="connsiteY171" fmla="*/ 159590 h 343858"/>
                <a:gd name="connsiteX172" fmla="*/ 136107 w 608129"/>
                <a:gd name="connsiteY172" fmla="*/ 171723 h 343858"/>
                <a:gd name="connsiteX173" fmla="*/ 135348 w 608129"/>
                <a:gd name="connsiteY173" fmla="*/ 173998 h 343858"/>
                <a:gd name="connsiteX174" fmla="*/ 134588 w 608129"/>
                <a:gd name="connsiteY174" fmla="*/ 174756 h 343858"/>
                <a:gd name="connsiteX175" fmla="*/ 133069 w 608129"/>
                <a:gd name="connsiteY175" fmla="*/ 175514 h 343858"/>
                <a:gd name="connsiteX176" fmla="*/ 131550 w 608129"/>
                <a:gd name="connsiteY176" fmla="*/ 177789 h 343858"/>
                <a:gd name="connsiteX177" fmla="*/ 130791 w 608129"/>
                <a:gd name="connsiteY177" fmla="*/ 177789 h 343858"/>
                <a:gd name="connsiteX178" fmla="*/ 124715 w 608129"/>
                <a:gd name="connsiteY178" fmla="*/ 181581 h 343858"/>
                <a:gd name="connsiteX179" fmla="*/ 119398 w 608129"/>
                <a:gd name="connsiteY179" fmla="*/ 182339 h 343858"/>
                <a:gd name="connsiteX180" fmla="*/ 118638 w 608129"/>
                <a:gd name="connsiteY180" fmla="*/ 182339 h 343858"/>
                <a:gd name="connsiteX181" fmla="*/ 117879 w 608129"/>
                <a:gd name="connsiteY181" fmla="*/ 182339 h 343858"/>
                <a:gd name="connsiteX182" fmla="*/ 114841 w 608129"/>
                <a:gd name="connsiteY182" fmla="*/ 182339 h 343858"/>
                <a:gd name="connsiteX183" fmla="*/ 113322 w 608129"/>
                <a:gd name="connsiteY183" fmla="*/ 181581 h 343858"/>
                <a:gd name="connsiteX184" fmla="*/ 109524 w 608129"/>
                <a:gd name="connsiteY184" fmla="*/ 180064 h 343858"/>
                <a:gd name="connsiteX185" fmla="*/ 108764 w 608129"/>
                <a:gd name="connsiteY185" fmla="*/ 180064 h 343858"/>
                <a:gd name="connsiteX186" fmla="*/ 99650 w 608129"/>
                <a:gd name="connsiteY186" fmla="*/ 175514 h 343858"/>
                <a:gd name="connsiteX187" fmla="*/ 92814 w 608129"/>
                <a:gd name="connsiteY187" fmla="*/ 189922 h 343858"/>
                <a:gd name="connsiteX188" fmla="*/ 71548 w 608129"/>
                <a:gd name="connsiteY188" fmla="*/ 202813 h 343858"/>
                <a:gd name="connsiteX189" fmla="*/ 70029 w 608129"/>
                <a:gd name="connsiteY189" fmla="*/ 214188 h 343858"/>
                <a:gd name="connsiteX190" fmla="*/ 61674 w 608129"/>
                <a:gd name="connsiteY190" fmla="*/ 225562 h 343858"/>
                <a:gd name="connsiteX191" fmla="*/ 51800 w 608129"/>
                <a:gd name="connsiteY191" fmla="*/ 232387 h 343858"/>
                <a:gd name="connsiteX192" fmla="*/ 159653 w 608129"/>
                <a:gd name="connsiteY192" fmla="*/ 232387 h 343858"/>
                <a:gd name="connsiteX193" fmla="*/ 158134 w 608129"/>
                <a:gd name="connsiteY193" fmla="*/ 224804 h 343858"/>
                <a:gd name="connsiteX194" fmla="*/ 159653 w 608129"/>
                <a:gd name="connsiteY194" fmla="*/ 211155 h 343858"/>
                <a:gd name="connsiteX195" fmla="*/ 171046 w 608129"/>
                <a:gd name="connsiteY195" fmla="*/ 202813 h 343858"/>
                <a:gd name="connsiteX196" fmla="*/ 179401 w 608129"/>
                <a:gd name="connsiteY196" fmla="*/ 213430 h 343858"/>
                <a:gd name="connsiteX197" fmla="*/ 177881 w 608129"/>
                <a:gd name="connsiteY197" fmla="*/ 227837 h 343858"/>
                <a:gd name="connsiteX198" fmla="*/ 175603 w 608129"/>
                <a:gd name="connsiteY198" fmla="*/ 232387 h 343858"/>
                <a:gd name="connsiteX199" fmla="*/ 402702 w 608129"/>
                <a:gd name="connsiteY199" fmla="*/ 232387 h 343858"/>
                <a:gd name="connsiteX200" fmla="*/ 537897 w 608129"/>
                <a:gd name="connsiteY200" fmla="*/ 232387 h 343858"/>
                <a:gd name="connsiteX201" fmla="*/ 528783 w 608129"/>
                <a:gd name="connsiteY201" fmla="*/ 208880 h 343858"/>
                <a:gd name="connsiteX202" fmla="*/ 528783 w 608129"/>
                <a:gd name="connsiteY202" fmla="*/ 205847 h 343858"/>
                <a:gd name="connsiteX203" fmla="*/ 519669 w 608129"/>
                <a:gd name="connsiteY203" fmla="*/ 196747 h 343858"/>
                <a:gd name="connsiteX204" fmla="*/ 512833 w 608129"/>
                <a:gd name="connsiteY204" fmla="*/ 196747 h 343858"/>
                <a:gd name="connsiteX205" fmla="*/ 501440 w 608129"/>
                <a:gd name="connsiteY205" fmla="*/ 186131 h 343858"/>
                <a:gd name="connsiteX206" fmla="*/ 492326 w 608129"/>
                <a:gd name="connsiteY206" fmla="*/ 177789 h 343858"/>
                <a:gd name="connsiteX207" fmla="*/ 472578 w 608129"/>
                <a:gd name="connsiteY207" fmla="*/ 162623 h 343858"/>
                <a:gd name="connsiteX208" fmla="*/ 463464 w 608129"/>
                <a:gd name="connsiteY208" fmla="*/ 150490 h 343858"/>
                <a:gd name="connsiteX209" fmla="*/ 458907 w 608129"/>
                <a:gd name="connsiteY209" fmla="*/ 152765 h 343858"/>
                <a:gd name="connsiteX210" fmla="*/ 429285 w 608129"/>
                <a:gd name="connsiteY210" fmla="*/ 161107 h 343858"/>
                <a:gd name="connsiteX211" fmla="*/ 424728 w 608129"/>
                <a:gd name="connsiteY211" fmla="*/ 161865 h 343858"/>
                <a:gd name="connsiteX212" fmla="*/ 423968 w 608129"/>
                <a:gd name="connsiteY212" fmla="*/ 161865 h 343858"/>
                <a:gd name="connsiteX213" fmla="*/ 423209 w 608129"/>
                <a:gd name="connsiteY213" fmla="*/ 161865 h 343858"/>
                <a:gd name="connsiteX214" fmla="*/ 420171 w 608129"/>
                <a:gd name="connsiteY214" fmla="*/ 161107 h 343858"/>
                <a:gd name="connsiteX215" fmla="*/ 418652 w 608129"/>
                <a:gd name="connsiteY215" fmla="*/ 161107 h 343858"/>
                <a:gd name="connsiteX216" fmla="*/ 414094 w 608129"/>
                <a:gd name="connsiteY216" fmla="*/ 159590 h 343858"/>
                <a:gd name="connsiteX217" fmla="*/ 407259 w 608129"/>
                <a:gd name="connsiteY217" fmla="*/ 152765 h 343858"/>
                <a:gd name="connsiteX218" fmla="*/ 404221 w 608129"/>
                <a:gd name="connsiteY218" fmla="*/ 147457 h 343858"/>
                <a:gd name="connsiteX219" fmla="*/ 401182 w 608129"/>
                <a:gd name="connsiteY219" fmla="*/ 135324 h 343858"/>
                <a:gd name="connsiteX220" fmla="*/ 363206 w 608129"/>
                <a:gd name="connsiteY220" fmla="*/ 133808 h 343858"/>
                <a:gd name="connsiteX221" fmla="*/ 105726 w 608129"/>
                <a:gd name="connsiteY221" fmla="*/ 121675 h 343858"/>
                <a:gd name="connsiteX222" fmla="*/ 91295 w 608129"/>
                <a:gd name="connsiteY222" fmla="*/ 148216 h 343858"/>
                <a:gd name="connsiteX223" fmla="*/ 117119 w 608129"/>
                <a:gd name="connsiteY223" fmla="*/ 161865 h 343858"/>
                <a:gd name="connsiteX224" fmla="*/ 118638 w 608129"/>
                <a:gd name="connsiteY224" fmla="*/ 162623 h 343858"/>
                <a:gd name="connsiteX225" fmla="*/ 132310 w 608129"/>
                <a:gd name="connsiteY225" fmla="*/ 135324 h 343858"/>
                <a:gd name="connsiteX226" fmla="*/ 445235 w 608129"/>
                <a:gd name="connsiteY226" fmla="*/ 104234 h 343858"/>
                <a:gd name="connsiteX227" fmla="*/ 415614 w 608129"/>
                <a:gd name="connsiteY227" fmla="*/ 112575 h 343858"/>
                <a:gd name="connsiteX228" fmla="*/ 423968 w 608129"/>
                <a:gd name="connsiteY228" fmla="*/ 141391 h 343858"/>
                <a:gd name="connsiteX229" fmla="*/ 453590 w 608129"/>
                <a:gd name="connsiteY229" fmla="*/ 133049 h 343858"/>
                <a:gd name="connsiteX230" fmla="*/ 324470 w 608129"/>
                <a:gd name="connsiteY230" fmla="*/ 101201 h 343858"/>
                <a:gd name="connsiteX231" fmla="*/ 303963 w 608129"/>
                <a:gd name="connsiteY231" fmla="*/ 121675 h 343858"/>
                <a:gd name="connsiteX232" fmla="*/ 304723 w 608129"/>
                <a:gd name="connsiteY232" fmla="*/ 123192 h 343858"/>
                <a:gd name="connsiteX233" fmla="*/ 304723 w 608129"/>
                <a:gd name="connsiteY233" fmla="*/ 123950 h 343858"/>
                <a:gd name="connsiteX234" fmla="*/ 311558 w 608129"/>
                <a:gd name="connsiteY234" fmla="*/ 136841 h 343858"/>
                <a:gd name="connsiteX235" fmla="*/ 313837 w 608129"/>
                <a:gd name="connsiteY235" fmla="*/ 138358 h 343858"/>
                <a:gd name="connsiteX236" fmla="*/ 314596 w 608129"/>
                <a:gd name="connsiteY236" fmla="*/ 139116 h 343858"/>
                <a:gd name="connsiteX237" fmla="*/ 317634 w 608129"/>
                <a:gd name="connsiteY237" fmla="*/ 139874 h 343858"/>
                <a:gd name="connsiteX238" fmla="*/ 318394 w 608129"/>
                <a:gd name="connsiteY238" fmla="*/ 140633 h 343858"/>
                <a:gd name="connsiteX239" fmla="*/ 320673 w 608129"/>
                <a:gd name="connsiteY239" fmla="*/ 141391 h 343858"/>
                <a:gd name="connsiteX240" fmla="*/ 324470 w 608129"/>
                <a:gd name="connsiteY240" fmla="*/ 141391 h 343858"/>
                <a:gd name="connsiteX241" fmla="*/ 328268 w 608129"/>
                <a:gd name="connsiteY241" fmla="*/ 141391 h 343858"/>
                <a:gd name="connsiteX242" fmla="*/ 329787 w 608129"/>
                <a:gd name="connsiteY242" fmla="*/ 140633 h 343858"/>
                <a:gd name="connsiteX243" fmla="*/ 332066 w 608129"/>
                <a:gd name="connsiteY243" fmla="*/ 139874 h 343858"/>
                <a:gd name="connsiteX244" fmla="*/ 333585 w 608129"/>
                <a:gd name="connsiteY244" fmla="*/ 139116 h 343858"/>
                <a:gd name="connsiteX245" fmla="*/ 335863 w 608129"/>
                <a:gd name="connsiteY245" fmla="*/ 138358 h 343858"/>
                <a:gd name="connsiteX246" fmla="*/ 337382 w 608129"/>
                <a:gd name="connsiteY246" fmla="*/ 136841 h 343858"/>
                <a:gd name="connsiteX247" fmla="*/ 338142 w 608129"/>
                <a:gd name="connsiteY247" fmla="*/ 136083 h 343858"/>
                <a:gd name="connsiteX248" fmla="*/ 340420 w 608129"/>
                <a:gd name="connsiteY248" fmla="*/ 133808 h 343858"/>
                <a:gd name="connsiteX249" fmla="*/ 340420 w 608129"/>
                <a:gd name="connsiteY249" fmla="*/ 133049 h 343858"/>
                <a:gd name="connsiteX250" fmla="*/ 344218 w 608129"/>
                <a:gd name="connsiteY250" fmla="*/ 123192 h 343858"/>
                <a:gd name="connsiteX251" fmla="*/ 344977 w 608129"/>
                <a:gd name="connsiteY251" fmla="*/ 120917 h 343858"/>
                <a:gd name="connsiteX252" fmla="*/ 324470 w 608129"/>
                <a:gd name="connsiteY252" fmla="*/ 101201 h 343858"/>
                <a:gd name="connsiteX253" fmla="*/ 234086 w 608129"/>
                <a:gd name="connsiteY253" fmla="*/ 98926 h 343858"/>
                <a:gd name="connsiteX254" fmla="*/ 193832 w 608129"/>
                <a:gd name="connsiteY254" fmla="*/ 144424 h 343858"/>
                <a:gd name="connsiteX255" fmla="*/ 201427 w 608129"/>
                <a:gd name="connsiteY255" fmla="*/ 151249 h 343858"/>
                <a:gd name="connsiteX256" fmla="*/ 227251 w 608129"/>
                <a:gd name="connsiteY256" fmla="*/ 121675 h 343858"/>
                <a:gd name="connsiteX257" fmla="*/ 241682 w 608129"/>
                <a:gd name="connsiteY257" fmla="*/ 105751 h 343858"/>
                <a:gd name="connsiteX258" fmla="*/ 233042 w 608129"/>
                <a:gd name="connsiteY258" fmla="*/ 78357 h 343858"/>
                <a:gd name="connsiteX259" fmla="*/ 246239 w 608129"/>
                <a:gd name="connsiteY259" fmla="*/ 83001 h 343858"/>
                <a:gd name="connsiteX260" fmla="*/ 256872 w 608129"/>
                <a:gd name="connsiteY260" fmla="*/ 92101 h 343858"/>
                <a:gd name="connsiteX261" fmla="*/ 257632 w 608129"/>
                <a:gd name="connsiteY261" fmla="*/ 118642 h 343858"/>
                <a:gd name="connsiteX262" fmla="*/ 284215 w 608129"/>
                <a:gd name="connsiteY262" fmla="*/ 116367 h 343858"/>
                <a:gd name="connsiteX263" fmla="*/ 324470 w 608129"/>
                <a:gd name="connsiteY263" fmla="*/ 80727 h 343858"/>
                <a:gd name="connsiteX264" fmla="*/ 363966 w 608129"/>
                <a:gd name="connsiteY264" fmla="*/ 114092 h 343858"/>
                <a:gd name="connsiteX265" fmla="*/ 395866 w 608129"/>
                <a:gd name="connsiteY265" fmla="*/ 114850 h 343858"/>
                <a:gd name="connsiteX266" fmla="*/ 398144 w 608129"/>
                <a:gd name="connsiteY266" fmla="*/ 102717 h 343858"/>
                <a:gd name="connsiteX267" fmla="*/ 410297 w 608129"/>
                <a:gd name="connsiteY267" fmla="*/ 92859 h 343858"/>
                <a:gd name="connsiteX268" fmla="*/ 439159 w 608129"/>
                <a:gd name="connsiteY268" fmla="*/ 84518 h 343858"/>
                <a:gd name="connsiteX269" fmla="*/ 454349 w 608129"/>
                <a:gd name="connsiteY269" fmla="*/ 86035 h 343858"/>
                <a:gd name="connsiteX270" fmla="*/ 464223 w 608129"/>
                <a:gd name="connsiteY270" fmla="*/ 98168 h 343858"/>
                <a:gd name="connsiteX271" fmla="*/ 472578 w 608129"/>
                <a:gd name="connsiteY271" fmla="*/ 127741 h 343858"/>
                <a:gd name="connsiteX272" fmla="*/ 473338 w 608129"/>
                <a:gd name="connsiteY272" fmla="*/ 132291 h 343858"/>
                <a:gd name="connsiteX273" fmla="*/ 492326 w 608129"/>
                <a:gd name="connsiteY273" fmla="*/ 157315 h 343858"/>
                <a:gd name="connsiteX274" fmla="*/ 519669 w 608129"/>
                <a:gd name="connsiteY274" fmla="*/ 176273 h 343858"/>
                <a:gd name="connsiteX275" fmla="*/ 524226 w 608129"/>
                <a:gd name="connsiteY275" fmla="*/ 177031 h 343858"/>
                <a:gd name="connsiteX276" fmla="*/ 547771 w 608129"/>
                <a:gd name="connsiteY276" fmla="*/ 199780 h 343858"/>
                <a:gd name="connsiteX277" fmla="*/ 548531 w 608129"/>
                <a:gd name="connsiteY277" fmla="*/ 210396 h 343858"/>
                <a:gd name="connsiteX278" fmla="*/ 553848 w 608129"/>
                <a:gd name="connsiteY278" fmla="*/ 219496 h 343858"/>
                <a:gd name="connsiteX279" fmla="*/ 564481 w 608129"/>
                <a:gd name="connsiteY279" fmla="*/ 232387 h 343858"/>
                <a:gd name="connsiteX280" fmla="*/ 588786 w 608129"/>
                <a:gd name="connsiteY280" fmla="*/ 232387 h 343858"/>
                <a:gd name="connsiteX281" fmla="*/ 606255 w 608129"/>
                <a:gd name="connsiteY281" fmla="*/ 243003 h 343858"/>
                <a:gd name="connsiteX282" fmla="*/ 604736 w 608129"/>
                <a:gd name="connsiteY282" fmla="*/ 263478 h 343858"/>
                <a:gd name="connsiteX283" fmla="*/ 603217 w 608129"/>
                <a:gd name="connsiteY283" fmla="*/ 264994 h 343858"/>
                <a:gd name="connsiteX284" fmla="*/ 550809 w 608129"/>
                <a:gd name="connsiteY284" fmla="*/ 296843 h 343858"/>
                <a:gd name="connsiteX285" fmla="*/ 544733 w 608129"/>
                <a:gd name="connsiteY285" fmla="*/ 312768 h 343858"/>
                <a:gd name="connsiteX286" fmla="*/ 516631 w 608129"/>
                <a:gd name="connsiteY286" fmla="*/ 343858 h 343858"/>
                <a:gd name="connsiteX287" fmla="*/ 91295 w 608129"/>
                <a:gd name="connsiteY287" fmla="*/ 343858 h 343858"/>
                <a:gd name="connsiteX288" fmla="*/ 63952 w 608129"/>
                <a:gd name="connsiteY288" fmla="*/ 312768 h 343858"/>
                <a:gd name="connsiteX289" fmla="*/ 57876 w 608129"/>
                <a:gd name="connsiteY289" fmla="*/ 296843 h 343858"/>
                <a:gd name="connsiteX290" fmla="*/ 4709 w 608129"/>
                <a:gd name="connsiteY290" fmla="*/ 264994 h 343858"/>
                <a:gd name="connsiteX291" fmla="*/ 3950 w 608129"/>
                <a:gd name="connsiteY291" fmla="*/ 263478 h 343858"/>
                <a:gd name="connsiteX292" fmla="*/ 2431 w 608129"/>
                <a:gd name="connsiteY292" fmla="*/ 243003 h 343858"/>
                <a:gd name="connsiteX293" fmla="*/ 19900 w 608129"/>
                <a:gd name="connsiteY293" fmla="*/ 232387 h 343858"/>
                <a:gd name="connsiteX294" fmla="*/ 31293 w 608129"/>
                <a:gd name="connsiteY294" fmla="*/ 232387 h 343858"/>
                <a:gd name="connsiteX295" fmla="*/ 49521 w 608129"/>
                <a:gd name="connsiteY295" fmla="*/ 208880 h 343858"/>
                <a:gd name="connsiteX296" fmla="*/ 57117 w 608129"/>
                <a:gd name="connsiteY296" fmla="*/ 187647 h 343858"/>
                <a:gd name="connsiteX297" fmla="*/ 68510 w 608129"/>
                <a:gd name="connsiteY297" fmla="*/ 182339 h 343858"/>
                <a:gd name="connsiteX298" fmla="*/ 76864 w 608129"/>
                <a:gd name="connsiteY298" fmla="*/ 177031 h 343858"/>
                <a:gd name="connsiteX299" fmla="*/ 79902 w 608129"/>
                <a:gd name="connsiteY299" fmla="*/ 167931 h 343858"/>
                <a:gd name="connsiteX300" fmla="*/ 79902 w 608129"/>
                <a:gd name="connsiteY300" fmla="*/ 164140 h 343858"/>
                <a:gd name="connsiteX301" fmla="*/ 73826 w 608129"/>
                <a:gd name="connsiteY301" fmla="*/ 139116 h 343858"/>
                <a:gd name="connsiteX302" fmla="*/ 87498 w 608129"/>
                <a:gd name="connsiteY302" fmla="*/ 111817 h 343858"/>
                <a:gd name="connsiteX303" fmla="*/ 99650 w 608129"/>
                <a:gd name="connsiteY303" fmla="*/ 101959 h 343858"/>
                <a:gd name="connsiteX304" fmla="*/ 114841 w 608129"/>
                <a:gd name="connsiteY304" fmla="*/ 103476 h 343858"/>
                <a:gd name="connsiteX305" fmla="*/ 142184 w 608129"/>
                <a:gd name="connsiteY305" fmla="*/ 117125 h 343858"/>
                <a:gd name="connsiteX306" fmla="*/ 152058 w 608129"/>
                <a:gd name="connsiteY306" fmla="*/ 129258 h 343858"/>
                <a:gd name="connsiteX307" fmla="*/ 152817 w 608129"/>
                <a:gd name="connsiteY307" fmla="*/ 136083 h 343858"/>
                <a:gd name="connsiteX308" fmla="*/ 178641 w 608129"/>
                <a:gd name="connsiteY308" fmla="*/ 130016 h 343858"/>
                <a:gd name="connsiteX309" fmla="*/ 220415 w 608129"/>
                <a:gd name="connsiteY309" fmla="*/ 84518 h 343858"/>
                <a:gd name="connsiteX310" fmla="*/ 233042 w 608129"/>
                <a:gd name="connsiteY310" fmla="*/ 78357 h 343858"/>
                <a:gd name="connsiteX311" fmla="*/ 162582 w 608129"/>
                <a:gd name="connsiteY311" fmla="*/ 60954 h 343858"/>
                <a:gd name="connsiteX312" fmla="*/ 142076 w 608129"/>
                <a:gd name="connsiteY312" fmla="*/ 80671 h 343858"/>
                <a:gd name="connsiteX313" fmla="*/ 162582 w 608129"/>
                <a:gd name="connsiteY313" fmla="*/ 101147 h 343858"/>
                <a:gd name="connsiteX314" fmla="*/ 182329 w 608129"/>
                <a:gd name="connsiteY314" fmla="*/ 80671 h 343858"/>
                <a:gd name="connsiteX315" fmla="*/ 162582 w 608129"/>
                <a:gd name="connsiteY315" fmla="*/ 60954 h 343858"/>
                <a:gd name="connsiteX316" fmla="*/ 162582 w 608129"/>
                <a:gd name="connsiteY316" fmla="*/ 40478 h 343858"/>
                <a:gd name="connsiteX317" fmla="*/ 202836 w 608129"/>
                <a:gd name="connsiteY317" fmla="*/ 80671 h 343858"/>
                <a:gd name="connsiteX318" fmla="*/ 162582 w 608129"/>
                <a:gd name="connsiteY318" fmla="*/ 121623 h 343858"/>
                <a:gd name="connsiteX319" fmla="*/ 121569 w 608129"/>
                <a:gd name="connsiteY319" fmla="*/ 80671 h 343858"/>
                <a:gd name="connsiteX320" fmla="*/ 162582 w 608129"/>
                <a:gd name="connsiteY320" fmla="*/ 40478 h 343858"/>
                <a:gd name="connsiteX321" fmla="*/ 285697 w 608129"/>
                <a:gd name="connsiteY321" fmla="*/ 32920 h 343858"/>
                <a:gd name="connsiteX322" fmla="*/ 256860 w 608129"/>
                <a:gd name="connsiteY322" fmla="*/ 41258 h 343858"/>
                <a:gd name="connsiteX323" fmla="*/ 265208 w 608129"/>
                <a:gd name="connsiteY323" fmla="*/ 70819 h 343858"/>
                <a:gd name="connsiteX324" fmla="*/ 294045 w 608129"/>
                <a:gd name="connsiteY324" fmla="*/ 62481 h 343858"/>
                <a:gd name="connsiteX325" fmla="*/ 364659 w 608129"/>
                <a:gd name="connsiteY325" fmla="*/ 20767 h 343858"/>
                <a:gd name="connsiteX326" fmla="*/ 355552 w 608129"/>
                <a:gd name="connsiteY326" fmla="*/ 23799 h 343858"/>
                <a:gd name="connsiteX327" fmla="*/ 376044 w 608129"/>
                <a:gd name="connsiteY327" fmla="*/ 81416 h 343858"/>
                <a:gd name="connsiteX328" fmla="*/ 385910 w 608129"/>
                <a:gd name="connsiteY328" fmla="*/ 77625 h 343858"/>
                <a:gd name="connsiteX329" fmla="*/ 280385 w 608129"/>
                <a:gd name="connsiteY329" fmla="*/ 13971 h 343858"/>
                <a:gd name="connsiteX330" fmla="*/ 295563 w 608129"/>
                <a:gd name="connsiteY330" fmla="*/ 15487 h 343858"/>
                <a:gd name="connsiteX331" fmla="*/ 305428 w 608129"/>
                <a:gd name="connsiteY331" fmla="*/ 27614 h 343858"/>
                <a:gd name="connsiteX332" fmla="*/ 313776 w 608129"/>
                <a:gd name="connsiteY332" fmla="*/ 57176 h 343858"/>
                <a:gd name="connsiteX333" fmla="*/ 311500 w 608129"/>
                <a:gd name="connsiteY333" fmla="*/ 72335 h 343858"/>
                <a:gd name="connsiteX334" fmla="*/ 299357 w 608129"/>
                <a:gd name="connsiteY334" fmla="*/ 82189 h 343858"/>
                <a:gd name="connsiteX335" fmla="*/ 270520 w 608129"/>
                <a:gd name="connsiteY335" fmla="*/ 90527 h 343858"/>
                <a:gd name="connsiteX336" fmla="*/ 265208 w 608129"/>
                <a:gd name="connsiteY336" fmla="*/ 91285 h 343858"/>
                <a:gd name="connsiteX337" fmla="*/ 255342 w 608129"/>
                <a:gd name="connsiteY337" fmla="*/ 88253 h 343858"/>
                <a:gd name="connsiteX338" fmla="*/ 245477 w 608129"/>
                <a:gd name="connsiteY338" fmla="*/ 76125 h 343858"/>
                <a:gd name="connsiteX339" fmla="*/ 237129 w 608129"/>
                <a:gd name="connsiteY339" fmla="*/ 47322 h 343858"/>
                <a:gd name="connsiteX340" fmla="*/ 238647 w 608129"/>
                <a:gd name="connsiteY340" fmla="*/ 32162 h 343858"/>
                <a:gd name="connsiteX341" fmla="*/ 250789 w 608129"/>
                <a:gd name="connsiteY341" fmla="*/ 22309 h 343858"/>
                <a:gd name="connsiteX342" fmla="*/ 359347 w 608129"/>
                <a:gd name="connsiteY342" fmla="*/ 1056 h 343858"/>
                <a:gd name="connsiteX343" fmla="*/ 373767 w 608129"/>
                <a:gd name="connsiteY343" fmla="*/ 1814 h 343858"/>
                <a:gd name="connsiteX344" fmla="*/ 383633 w 608129"/>
                <a:gd name="connsiteY344" fmla="*/ 12428 h 343858"/>
                <a:gd name="connsiteX345" fmla="*/ 404884 w 608129"/>
                <a:gd name="connsiteY345" fmla="*/ 72318 h 343858"/>
                <a:gd name="connsiteX346" fmla="*/ 404884 w 608129"/>
                <a:gd name="connsiteY346" fmla="*/ 86723 h 343858"/>
                <a:gd name="connsiteX347" fmla="*/ 394259 w 608129"/>
                <a:gd name="connsiteY347" fmla="*/ 95820 h 343858"/>
                <a:gd name="connsiteX348" fmla="*/ 381356 w 608129"/>
                <a:gd name="connsiteY348" fmla="*/ 100369 h 343858"/>
                <a:gd name="connsiteX349" fmla="*/ 375285 w 608129"/>
                <a:gd name="connsiteY349" fmla="*/ 101885 h 343858"/>
                <a:gd name="connsiteX350" fmla="*/ 367695 w 608129"/>
                <a:gd name="connsiteY350" fmla="*/ 100369 h 343858"/>
                <a:gd name="connsiteX351" fmla="*/ 357829 w 608129"/>
                <a:gd name="connsiteY351" fmla="*/ 89755 h 343858"/>
                <a:gd name="connsiteX352" fmla="*/ 335819 w 608129"/>
                <a:gd name="connsiteY352" fmla="*/ 29864 h 343858"/>
                <a:gd name="connsiteX353" fmla="*/ 336578 w 608129"/>
                <a:gd name="connsiteY353" fmla="*/ 15460 h 343858"/>
                <a:gd name="connsiteX354" fmla="*/ 347203 w 608129"/>
                <a:gd name="connsiteY354" fmla="*/ 5605 h 34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</a:cxnLst>
              <a:rect l="l" t="t" r="r" b="b"/>
              <a:pathLst>
                <a:path w="72860" h="102345">
                  <a:moveTo>
                    <a:pt x="25046" y="1516"/>
                  </a:moveTo>
                  <a:cubicBezTo>
                    <a:pt x="29599" y="0"/>
                    <a:pt x="34912" y="0"/>
                    <a:pt x="39466" y="2274"/>
                  </a:cubicBezTo>
                  <a:cubicBezTo>
                    <a:pt x="44020" y="4548"/>
                    <a:pt x="47055" y="8339"/>
                    <a:pt x="49332" y="12888"/>
                  </a:cubicBezTo>
                  <a:lnTo>
                    <a:pt x="70583" y="72778"/>
                  </a:lnTo>
                  <a:cubicBezTo>
                    <a:pt x="72860" y="77327"/>
                    <a:pt x="72101" y="82634"/>
                    <a:pt x="70583" y="87183"/>
                  </a:cubicBezTo>
                  <a:cubicBezTo>
                    <a:pt x="68306" y="91731"/>
                    <a:pt x="64511" y="94764"/>
                    <a:pt x="59958" y="96280"/>
                  </a:cubicBezTo>
                  <a:lnTo>
                    <a:pt x="47055" y="100829"/>
                  </a:lnTo>
                  <a:cubicBezTo>
                    <a:pt x="45537" y="101587"/>
                    <a:pt x="43261" y="102345"/>
                    <a:pt x="40984" y="102345"/>
                  </a:cubicBezTo>
                  <a:cubicBezTo>
                    <a:pt x="37948" y="102345"/>
                    <a:pt x="35671" y="101587"/>
                    <a:pt x="33394" y="100829"/>
                  </a:cubicBezTo>
                  <a:cubicBezTo>
                    <a:pt x="28840" y="98554"/>
                    <a:pt x="25046" y="94764"/>
                    <a:pt x="23528" y="90215"/>
                  </a:cubicBezTo>
                  <a:lnTo>
                    <a:pt x="1518" y="30324"/>
                  </a:lnTo>
                  <a:cubicBezTo>
                    <a:pt x="0" y="25017"/>
                    <a:pt x="0" y="20469"/>
                    <a:pt x="2277" y="15920"/>
                  </a:cubicBezTo>
                  <a:cubicBezTo>
                    <a:pt x="4554" y="11371"/>
                    <a:pt x="7590" y="7581"/>
                    <a:pt x="12902" y="6065"/>
                  </a:cubicBezTo>
                </a:path>
              </a:pathLst>
            </a:custGeom>
            <a:noFill/>
            <a:ln w="44450">
              <a:gradFill>
                <a:gsLst>
                  <a:gs pos="0">
                    <a:schemeClr val="accent3"/>
                  </a:gs>
                  <a:gs pos="100000">
                    <a:schemeClr val="accent3">
                      <a:lumMod val="5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zh-CN" altLang="en-US">
                <a:gradFill flip="none" rotWithShape="1">
                  <a:gsLst>
                    <a:gs pos="89000">
                      <a:schemeClr val="bg1"/>
                    </a:gs>
                    <a:gs pos="0">
                      <a:schemeClr val="accent2"/>
                    </a:gs>
                  </a:gsLst>
                  <a:lin ang="13500000" scaled="1"/>
                  <a:tileRect/>
                </a:gradFill>
              </a:endParaRPr>
            </a:p>
          </p:txBody>
        </p:sp>
        <p:sp>
          <p:nvSpPr>
            <p:cNvPr id="329" name="任意多边形: 形状 328"/>
            <p:cNvSpPr>
              <a:spLocks/>
            </p:cNvSpPr>
            <p:nvPr userDrawn="1"/>
          </p:nvSpPr>
          <p:spPr bwMode="auto">
            <a:xfrm rot="14715855">
              <a:off x="8743843" y="3637939"/>
              <a:ext cx="45719" cy="64401"/>
            </a:xfrm>
            <a:custGeom>
              <a:avLst/>
              <a:gdLst>
                <a:gd name="connsiteX0" fmla="*/ 193001 w 608129"/>
                <a:gd name="connsiteY0" fmla="*/ 283182 h 343858"/>
                <a:gd name="connsiteX1" fmla="*/ 506699 w 608129"/>
                <a:gd name="connsiteY1" fmla="*/ 283182 h 343858"/>
                <a:gd name="connsiteX2" fmla="*/ 516573 w 608129"/>
                <a:gd name="connsiteY2" fmla="*/ 293038 h 343858"/>
                <a:gd name="connsiteX3" fmla="*/ 506699 w 608129"/>
                <a:gd name="connsiteY3" fmla="*/ 303651 h 343858"/>
                <a:gd name="connsiteX4" fmla="*/ 193001 w 608129"/>
                <a:gd name="connsiteY4" fmla="*/ 303651 h 343858"/>
                <a:gd name="connsiteX5" fmla="*/ 182367 w 608129"/>
                <a:gd name="connsiteY5" fmla="*/ 293038 h 343858"/>
                <a:gd name="connsiteX6" fmla="*/ 193001 w 608129"/>
                <a:gd name="connsiteY6" fmla="*/ 283182 h 343858"/>
                <a:gd name="connsiteX7" fmla="*/ 101866 w 608129"/>
                <a:gd name="connsiteY7" fmla="*/ 283182 h 343858"/>
                <a:gd name="connsiteX8" fmla="*/ 142885 w 608129"/>
                <a:gd name="connsiteY8" fmla="*/ 283182 h 343858"/>
                <a:gd name="connsiteX9" fmla="*/ 152760 w 608129"/>
                <a:gd name="connsiteY9" fmla="*/ 293038 h 343858"/>
                <a:gd name="connsiteX10" fmla="*/ 142885 w 608129"/>
                <a:gd name="connsiteY10" fmla="*/ 303651 h 343858"/>
                <a:gd name="connsiteX11" fmla="*/ 101866 w 608129"/>
                <a:gd name="connsiteY11" fmla="*/ 303651 h 343858"/>
                <a:gd name="connsiteX12" fmla="*/ 91231 w 608129"/>
                <a:gd name="connsiteY12" fmla="*/ 293038 h 343858"/>
                <a:gd name="connsiteX13" fmla="*/ 101866 w 608129"/>
                <a:gd name="connsiteY13" fmla="*/ 283182 h 343858"/>
                <a:gd name="connsiteX14" fmla="*/ 23697 w 608129"/>
                <a:gd name="connsiteY14" fmla="*/ 252861 h 343858"/>
                <a:gd name="connsiteX15" fmla="*/ 72307 w 608129"/>
                <a:gd name="connsiteY15" fmla="*/ 281677 h 343858"/>
                <a:gd name="connsiteX16" fmla="*/ 73826 w 608129"/>
                <a:gd name="connsiteY16" fmla="*/ 283952 h 343858"/>
                <a:gd name="connsiteX17" fmla="*/ 82941 w 608129"/>
                <a:gd name="connsiteY17" fmla="*/ 307460 h 343858"/>
                <a:gd name="connsiteX18" fmla="*/ 91295 w 608129"/>
                <a:gd name="connsiteY18" fmla="*/ 323384 h 343858"/>
                <a:gd name="connsiteX19" fmla="*/ 516631 w 608129"/>
                <a:gd name="connsiteY19" fmla="*/ 323384 h 343858"/>
                <a:gd name="connsiteX20" fmla="*/ 525745 w 608129"/>
                <a:gd name="connsiteY20" fmla="*/ 307460 h 343858"/>
                <a:gd name="connsiteX21" fmla="*/ 534859 w 608129"/>
                <a:gd name="connsiteY21" fmla="*/ 283952 h 343858"/>
                <a:gd name="connsiteX22" fmla="*/ 536378 w 608129"/>
                <a:gd name="connsiteY22" fmla="*/ 281677 h 343858"/>
                <a:gd name="connsiteX23" fmla="*/ 584229 w 608129"/>
                <a:gd name="connsiteY23" fmla="*/ 252861 h 343858"/>
                <a:gd name="connsiteX24" fmla="*/ 569798 w 608129"/>
                <a:gd name="connsiteY24" fmla="*/ 252861 h 343858"/>
                <a:gd name="connsiteX25" fmla="*/ 413335 w 608129"/>
                <a:gd name="connsiteY25" fmla="*/ 252861 h 343858"/>
                <a:gd name="connsiteX26" fmla="*/ 401942 w 608129"/>
                <a:gd name="connsiteY26" fmla="*/ 252861 h 343858"/>
                <a:gd name="connsiteX27" fmla="*/ 35850 w 608129"/>
                <a:gd name="connsiteY27" fmla="*/ 252861 h 343858"/>
                <a:gd name="connsiteX28" fmla="*/ 254526 w 608129"/>
                <a:gd name="connsiteY28" fmla="*/ 201295 h 343858"/>
                <a:gd name="connsiteX29" fmla="*/ 257557 w 608129"/>
                <a:gd name="connsiteY29" fmla="*/ 214952 h 343858"/>
                <a:gd name="connsiteX30" fmla="*/ 249221 w 608129"/>
                <a:gd name="connsiteY30" fmla="*/ 227091 h 343858"/>
                <a:gd name="connsiteX31" fmla="*/ 240886 w 608129"/>
                <a:gd name="connsiteY31" fmla="*/ 231644 h 343858"/>
                <a:gd name="connsiteX32" fmla="*/ 235581 w 608129"/>
                <a:gd name="connsiteY32" fmla="*/ 229368 h 343858"/>
                <a:gd name="connsiteX33" fmla="*/ 232550 w 608129"/>
                <a:gd name="connsiteY33" fmla="*/ 215710 h 343858"/>
                <a:gd name="connsiteX34" fmla="*/ 240886 w 608129"/>
                <a:gd name="connsiteY34" fmla="*/ 203571 h 343858"/>
                <a:gd name="connsiteX35" fmla="*/ 254526 w 608129"/>
                <a:gd name="connsiteY35" fmla="*/ 201295 h 343858"/>
                <a:gd name="connsiteX36" fmla="*/ 293998 w 608129"/>
                <a:gd name="connsiteY36" fmla="*/ 199043 h 343858"/>
                <a:gd name="connsiteX37" fmla="*/ 307670 w 608129"/>
                <a:gd name="connsiteY37" fmla="*/ 202827 h 343858"/>
                <a:gd name="connsiteX38" fmla="*/ 314506 w 608129"/>
                <a:gd name="connsiteY38" fmla="*/ 214937 h 343858"/>
                <a:gd name="connsiteX39" fmla="*/ 304632 w 608129"/>
                <a:gd name="connsiteY39" fmla="*/ 222506 h 343858"/>
                <a:gd name="connsiteX40" fmla="*/ 302353 w 608129"/>
                <a:gd name="connsiteY40" fmla="*/ 221749 h 343858"/>
                <a:gd name="connsiteX41" fmla="*/ 288681 w 608129"/>
                <a:gd name="connsiteY41" fmla="*/ 218721 h 343858"/>
                <a:gd name="connsiteX42" fmla="*/ 281845 w 608129"/>
                <a:gd name="connsiteY42" fmla="*/ 205854 h 343858"/>
                <a:gd name="connsiteX43" fmla="*/ 293998 w 608129"/>
                <a:gd name="connsiteY43" fmla="*/ 199043 h 343858"/>
                <a:gd name="connsiteX44" fmla="*/ 113257 w 608129"/>
                <a:gd name="connsiteY44" fmla="*/ 193732 h 343858"/>
                <a:gd name="connsiteX45" fmla="*/ 125378 w 608129"/>
                <a:gd name="connsiteY45" fmla="*/ 201299 h 343858"/>
                <a:gd name="connsiteX46" fmla="*/ 128408 w 608129"/>
                <a:gd name="connsiteY46" fmla="*/ 214920 h 343858"/>
                <a:gd name="connsiteX47" fmla="*/ 120075 w 608129"/>
                <a:gd name="connsiteY47" fmla="*/ 219460 h 343858"/>
                <a:gd name="connsiteX48" fmla="*/ 114773 w 608129"/>
                <a:gd name="connsiteY48" fmla="*/ 217946 h 343858"/>
                <a:gd name="connsiteX49" fmla="*/ 102652 w 608129"/>
                <a:gd name="connsiteY49" fmla="*/ 211136 h 343858"/>
                <a:gd name="connsiteX50" fmla="*/ 99622 w 608129"/>
                <a:gd name="connsiteY50" fmla="*/ 196759 h 343858"/>
                <a:gd name="connsiteX51" fmla="*/ 113257 w 608129"/>
                <a:gd name="connsiteY51" fmla="*/ 193732 h 343858"/>
                <a:gd name="connsiteX52" fmla="*/ 367752 w 608129"/>
                <a:gd name="connsiteY52" fmla="*/ 192974 h 343858"/>
                <a:gd name="connsiteX53" fmla="*/ 380665 w 608129"/>
                <a:gd name="connsiteY53" fmla="*/ 199023 h 343858"/>
                <a:gd name="connsiteX54" fmla="*/ 373829 w 608129"/>
                <a:gd name="connsiteY54" fmla="*/ 211877 h 343858"/>
                <a:gd name="connsiteX55" fmla="*/ 360917 w 608129"/>
                <a:gd name="connsiteY55" fmla="*/ 216414 h 343858"/>
                <a:gd name="connsiteX56" fmla="*/ 357119 w 608129"/>
                <a:gd name="connsiteY56" fmla="*/ 216414 h 343858"/>
                <a:gd name="connsiteX57" fmla="*/ 348004 w 608129"/>
                <a:gd name="connsiteY57" fmla="*/ 209609 h 343858"/>
                <a:gd name="connsiteX58" fmla="*/ 354081 w 608129"/>
                <a:gd name="connsiteY58" fmla="*/ 196755 h 343858"/>
                <a:gd name="connsiteX59" fmla="*/ 473099 w 608129"/>
                <a:gd name="connsiteY59" fmla="*/ 187878 h 343858"/>
                <a:gd name="connsiteX60" fmla="*/ 480904 w 608129"/>
                <a:gd name="connsiteY60" fmla="*/ 189869 h 343858"/>
                <a:gd name="connsiteX61" fmla="*/ 483189 w 608129"/>
                <a:gd name="connsiteY61" fmla="*/ 203526 h 343858"/>
                <a:gd name="connsiteX62" fmla="*/ 475574 w 608129"/>
                <a:gd name="connsiteY62" fmla="*/ 214907 h 343858"/>
                <a:gd name="connsiteX63" fmla="*/ 467198 w 608129"/>
                <a:gd name="connsiteY63" fmla="*/ 219460 h 343858"/>
                <a:gd name="connsiteX64" fmla="*/ 461106 w 608129"/>
                <a:gd name="connsiteY64" fmla="*/ 217942 h 343858"/>
                <a:gd name="connsiteX65" fmla="*/ 458821 w 608129"/>
                <a:gd name="connsiteY65" fmla="*/ 203526 h 343858"/>
                <a:gd name="connsiteX66" fmla="*/ 466436 w 608129"/>
                <a:gd name="connsiteY66" fmla="*/ 192146 h 343858"/>
                <a:gd name="connsiteX67" fmla="*/ 473099 w 608129"/>
                <a:gd name="connsiteY67" fmla="*/ 187878 h 343858"/>
                <a:gd name="connsiteX68" fmla="*/ 410279 w 608129"/>
                <a:gd name="connsiteY68" fmla="*/ 182352 h 343858"/>
                <a:gd name="connsiteX69" fmla="*/ 422434 w 608129"/>
                <a:gd name="connsiteY69" fmla="*/ 189169 h 343858"/>
                <a:gd name="connsiteX70" fmla="*/ 426233 w 608129"/>
                <a:gd name="connsiteY70" fmla="*/ 202805 h 343858"/>
                <a:gd name="connsiteX71" fmla="*/ 418636 w 608129"/>
                <a:gd name="connsiteY71" fmla="*/ 215683 h 343858"/>
                <a:gd name="connsiteX72" fmla="*/ 416356 w 608129"/>
                <a:gd name="connsiteY72" fmla="*/ 215683 h 343858"/>
                <a:gd name="connsiteX73" fmla="*/ 406480 w 608129"/>
                <a:gd name="connsiteY73" fmla="*/ 208108 h 343858"/>
                <a:gd name="connsiteX74" fmla="*/ 402682 w 608129"/>
                <a:gd name="connsiteY74" fmla="*/ 194472 h 343858"/>
                <a:gd name="connsiteX75" fmla="*/ 410279 w 608129"/>
                <a:gd name="connsiteY75" fmla="*/ 182352 h 343858"/>
                <a:gd name="connsiteX76" fmla="*/ 188501 w 608129"/>
                <a:gd name="connsiteY76" fmla="*/ 179282 h 343858"/>
                <a:gd name="connsiteX77" fmla="*/ 202945 w 608129"/>
                <a:gd name="connsiteY77" fmla="*/ 180043 h 343858"/>
                <a:gd name="connsiteX78" fmla="*/ 212067 w 608129"/>
                <a:gd name="connsiteY78" fmla="*/ 191449 h 343858"/>
                <a:gd name="connsiteX79" fmla="*/ 202185 w 608129"/>
                <a:gd name="connsiteY79" fmla="*/ 200575 h 343858"/>
                <a:gd name="connsiteX80" fmla="*/ 201424 w 608129"/>
                <a:gd name="connsiteY80" fmla="*/ 200575 h 343858"/>
                <a:gd name="connsiteX81" fmla="*/ 186981 w 608129"/>
                <a:gd name="connsiteY81" fmla="*/ 199814 h 343858"/>
                <a:gd name="connsiteX82" fmla="*/ 177859 w 608129"/>
                <a:gd name="connsiteY82" fmla="*/ 188408 h 343858"/>
                <a:gd name="connsiteX83" fmla="*/ 188501 w 608129"/>
                <a:gd name="connsiteY83" fmla="*/ 179282 h 343858"/>
                <a:gd name="connsiteX84" fmla="*/ 160344 w 608129"/>
                <a:gd name="connsiteY84" fmla="*/ 165596 h 343858"/>
                <a:gd name="connsiteX85" fmla="*/ 163375 w 608129"/>
                <a:gd name="connsiteY85" fmla="*/ 180011 h 343858"/>
                <a:gd name="connsiteX86" fmla="*/ 155797 w 608129"/>
                <a:gd name="connsiteY86" fmla="*/ 191392 h 343858"/>
                <a:gd name="connsiteX87" fmla="*/ 147461 w 608129"/>
                <a:gd name="connsiteY87" fmla="*/ 195945 h 343858"/>
                <a:gd name="connsiteX88" fmla="*/ 141399 w 608129"/>
                <a:gd name="connsiteY88" fmla="*/ 194427 h 343858"/>
                <a:gd name="connsiteX89" fmla="*/ 139126 w 608129"/>
                <a:gd name="connsiteY89" fmla="*/ 180011 h 343858"/>
                <a:gd name="connsiteX90" fmla="*/ 146704 w 608129"/>
                <a:gd name="connsiteY90" fmla="*/ 168631 h 343858"/>
                <a:gd name="connsiteX91" fmla="*/ 160344 w 608129"/>
                <a:gd name="connsiteY91" fmla="*/ 165596 h 343858"/>
                <a:gd name="connsiteX92" fmla="*/ 338113 w 608129"/>
                <a:gd name="connsiteY92" fmla="*/ 164888 h 343858"/>
                <a:gd name="connsiteX93" fmla="*/ 352554 w 608129"/>
                <a:gd name="connsiteY93" fmla="*/ 164888 h 343858"/>
                <a:gd name="connsiteX94" fmla="*/ 352554 w 608129"/>
                <a:gd name="connsiteY94" fmla="*/ 179285 h 343858"/>
                <a:gd name="connsiteX95" fmla="*/ 342673 w 608129"/>
                <a:gd name="connsiteY95" fmla="*/ 189137 h 343858"/>
                <a:gd name="connsiteX96" fmla="*/ 335073 w 608129"/>
                <a:gd name="connsiteY96" fmla="*/ 192168 h 343858"/>
                <a:gd name="connsiteX97" fmla="*/ 328232 w 608129"/>
                <a:gd name="connsiteY97" fmla="*/ 189137 h 343858"/>
                <a:gd name="connsiteX98" fmla="*/ 328232 w 608129"/>
                <a:gd name="connsiteY98" fmla="*/ 174739 h 343858"/>
                <a:gd name="connsiteX99" fmla="*/ 438352 w 608129"/>
                <a:gd name="connsiteY99" fmla="*/ 163394 h 343858"/>
                <a:gd name="connsiteX100" fmla="*/ 449715 w 608129"/>
                <a:gd name="connsiteY100" fmla="*/ 170961 h 343858"/>
                <a:gd name="connsiteX101" fmla="*/ 453502 w 608129"/>
                <a:gd name="connsiteY101" fmla="*/ 184582 h 343858"/>
                <a:gd name="connsiteX102" fmla="*/ 444412 w 608129"/>
                <a:gd name="connsiteY102" fmla="*/ 189122 h 343858"/>
                <a:gd name="connsiteX103" fmla="*/ 439110 w 608129"/>
                <a:gd name="connsiteY103" fmla="*/ 187608 h 343858"/>
                <a:gd name="connsiteX104" fmla="*/ 427747 w 608129"/>
                <a:gd name="connsiteY104" fmla="*/ 180798 h 343858"/>
                <a:gd name="connsiteX105" fmla="*/ 423959 w 608129"/>
                <a:gd name="connsiteY105" fmla="*/ 166421 h 343858"/>
                <a:gd name="connsiteX106" fmla="*/ 438352 w 608129"/>
                <a:gd name="connsiteY106" fmla="*/ 163394 h 343858"/>
                <a:gd name="connsiteX107" fmla="*/ 237851 w 608129"/>
                <a:gd name="connsiteY107" fmla="*/ 158043 h 343858"/>
                <a:gd name="connsiteX108" fmla="*/ 249244 w 608129"/>
                <a:gd name="connsiteY108" fmla="*/ 165635 h 343858"/>
                <a:gd name="connsiteX109" fmla="*/ 253042 w 608129"/>
                <a:gd name="connsiteY109" fmla="*/ 179300 h 343858"/>
                <a:gd name="connsiteX110" fmla="*/ 243927 w 608129"/>
                <a:gd name="connsiteY110" fmla="*/ 184614 h 343858"/>
                <a:gd name="connsiteX111" fmla="*/ 238610 w 608129"/>
                <a:gd name="connsiteY111" fmla="*/ 183095 h 343858"/>
                <a:gd name="connsiteX112" fmla="*/ 227217 w 608129"/>
                <a:gd name="connsiteY112" fmla="*/ 175504 h 343858"/>
                <a:gd name="connsiteX113" fmla="*/ 223419 w 608129"/>
                <a:gd name="connsiteY113" fmla="*/ 161839 h 343858"/>
                <a:gd name="connsiteX114" fmla="*/ 237851 w 608129"/>
                <a:gd name="connsiteY114" fmla="*/ 158043 h 343858"/>
                <a:gd name="connsiteX115" fmla="*/ 285637 w 608129"/>
                <a:gd name="connsiteY115" fmla="*/ 155767 h 343858"/>
                <a:gd name="connsiteX116" fmla="*/ 299320 w 608129"/>
                <a:gd name="connsiteY116" fmla="*/ 156528 h 343858"/>
                <a:gd name="connsiteX117" fmla="*/ 308442 w 608129"/>
                <a:gd name="connsiteY117" fmla="*/ 167174 h 343858"/>
                <a:gd name="connsiteX118" fmla="*/ 298560 w 608129"/>
                <a:gd name="connsiteY118" fmla="*/ 177060 h 343858"/>
                <a:gd name="connsiteX119" fmla="*/ 297799 w 608129"/>
                <a:gd name="connsiteY119" fmla="*/ 177060 h 343858"/>
                <a:gd name="connsiteX120" fmla="*/ 284116 w 608129"/>
                <a:gd name="connsiteY120" fmla="*/ 175539 h 343858"/>
                <a:gd name="connsiteX121" fmla="*/ 274234 w 608129"/>
                <a:gd name="connsiteY121" fmla="*/ 164893 h 343858"/>
                <a:gd name="connsiteX122" fmla="*/ 285637 w 608129"/>
                <a:gd name="connsiteY122" fmla="*/ 155767 h 343858"/>
                <a:gd name="connsiteX123" fmla="*/ 374580 w 608129"/>
                <a:gd name="connsiteY123" fmla="*/ 140655 h 343858"/>
                <a:gd name="connsiteX124" fmla="*/ 388263 w 608129"/>
                <a:gd name="connsiteY124" fmla="*/ 141411 h 343858"/>
                <a:gd name="connsiteX125" fmla="*/ 398145 w 608129"/>
                <a:gd name="connsiteY125" fmla="*/ 152755 h 343858"/>
                <a:gd name="connsiteX126" fmla="*/ 387503 w 608129"/>
                <a:gd name="connsiteY126" fmla="*/ 161830 h 343858"/>
                <a:gd name="connsiteX127" fmla="*/ 386742 w 608129"/>
                <a:gd name="connsiteY127" fmla="*/ 161830 h 343858"/>
                <a:gd name="connsiteX128" fmla="*/ 373059 w 608129"/>
                <a:gd name="connsiteY128" fmla="*/ 160317 h 343858"/>
                <a:gd name="connsiteX129" fmla="*/ 363937 w 608129"/>
                <a:gd name="connsiteY129" fmla="*/ 149730 h 343858"/>
                <a:gd name="connsiteX130" fmla="*/ 374580 w 608129"/>
                <a:gd name="connsiteY130" fmla="*/ 140655 h 343858"/>
                <a:gd name="connsiteX131" fmla="*/ 363206 w 608129"/>
                <a:gd name="connsiteY131" fmla="*/ 133808 h 343858"/>
                <a:gd name="connsiteX132" fmla="*/ 362447 w 608129"/>
                <a:gd name="connsiteY132" fmla="*/ 134566 h 343858"/>
                <a:gd name="connsiteX133" fmla="*/ 360168 w 608129"/>
                <a:gd name="connsiteY133" fmla="*/ 139874 h 343858"/>
                <a:gd name="connsiteX134" fmla="*/ 344218 w 608129"/>
                <a:gd name="connsiteY134" fmla="*/ 156557 h 343858"/>
                <a:gd name="connsiteX135" fmla="*/ 341939 w 608129"/>
                <a:gd name="connsiteY135" fmla="*/ 157315 h 343858"/>
                <a:gd name="connsiteX136" fmla="*/ 338142 w 608129"/>
                <a:gd name="connsiteY136" fmla="*/ 158832 h 343858"/>
                <a:gd name="connsiteX137" fmla="*/ 335104 w 608129"/>
                <a:gd name="connsiteY137" fmla="*/ 160348 h 343858"/>
                <a:gd name="connsiteX138" fmla="*/ 332066 w 608129"/>
                <a:gd name="connsiteY138" fmla="*/ 161107 h 343858"/>
                <a:gd name="connsiteX139" fmla="*/ 324470 w 608129"/>
                <a:gd name="connsiteY139" fmla="*/ 161865 h 343858"/>
                <a:gd name="connsiteX140" fmla="*/ 317634 w 608129"/>
                <a:gd name="connsiteY140" fmla="*/ 161107 h 343858"/>
                <a:gd name="connsiteX141" fmla="*/ 314596 w 608129"/>
                <a:gd name="connsiteY141" fmla="*/ 160348 h 343858"/>
                <a:gd name="connsiteX142" fmla="*/ 310799 w 608129"/>
                <a:gd name="connsiteY142" fmla="*/ 158832 h 343858"/>
                <a:gd name="connsiteX143" fmla="*/ 307761 w 608129"/>
                <a:gd name="connsiteY143" fmla="*/ 158073 h 343858"/>
                <a:gd name="connsiteX144" fmla="*/ 304723 w 608129"/>
                <a:gd name="connsiteY144" fmla="*/ 156557 h 343858"/>
                <a:gd name="connsiteX145" fmla="*/ 297887 w 608129"/>
                <a:gd name="connsiteY145" fmla="*/ 151249 h 343858"/>
                <a:gd name="connsiteX146" fmla="*/ 297127 w 608129"/>
                <a:gd name="connsiteY146" fmla="*/ 150490 h 343858"/>
                <a:gd name="connsiteX147" fmla="*/ 294089 w 608129"/>
                <a:gd name="connsiteY147" fmla="*/ 147457 h 343858"/>
                <a:gd name="connsiteX148" fmla="*/ 292570 w 608129"/>
                <a:gd name="connsiteY148" fmla="*/ 145941 h 343858"/>
                <a:gd name="connsiteX149" fmla="*/ 289532 w 608129"/>
                <a:gd name="connsiteY149" fmla="*/ 142149 h 343858"/>
                <a:gd name="connsiteX150" fmla="*/ 289532 w 608129"/>
                <a:gd name="connsiteY150" fmla="*/ 140633 h 343858"/>
                <a:gd name="connsiteX151" fmla="*/ 287253 w 608129"/>
                <a:gd name="connsiteY151" fmla="*/ 136083 h 343858"/>
                <a:gd name="connsiteX152" fmla="*/ 237125 w 608129"/>
                <a:gd name="connsiteY152" fmla="*/ 141391 h 343858"/>
                <a:gd name="connsiteX153" fmla="*/ 215098 w 608129"/>
                <a:gd name="connsiteY153" fmla="*/ 165657 h 343858"/>
                <a:gd name="connsiteX154" fmla="*/ 214339 w 608129"/>
                <a:gd name="connsiteY154" fmla="*/ 166415 h 343858"/>
                <a:gd name="connsiteX155" fmla="*/ 212060 w 608129"/>
                <a:gd name="connsiteY155" fmla="*/ 168690 h 343858"/>
                <a:gd name="connsiteX156" fmla="*/ 211301 w 608129"/>
                <a:gd name="connsiteY156" fmla="*/ 168690 h 343858"/>
                <a:gd name="connsiteX157" fmla="*/ 209022 w 608129"/>
                <a:gd name="connsiteY157" fmla="*/ 170206 h 343858"/>
                <a:gd name="connsiteX158" fmla="*/ 207503 w 608129"/>
                <a:gd name="connsiteY158" fmla="*/ 170965 h 343858"/>
                <a:gd name="connsiteX159" fmla="*/ 205224 w 608129"/>
                <a:gd name="connsiteY159" fmla="*/ 171723 h 343858"/>
                <a:gd name="connsiteX160" fmla="*/ 203705 w 608129"/>
                <a:gd name="connsiteY160" fmla="*/ 171723 h 343858"/>
                <a:gd name="connsiteX161" fmla="*/ 202186 w 608129"/>
                <a:gd name="connsiteY161" fmla="*/ 171723 h 343858"/>
                <a:gd name="connsiteX162" fmla="*/ 201427 w 608129"/>
                <a:gd name="connsiteY162" fmla="*/ 171723 h 343858"/>
                <a:gd name="connsiteX163" fmla="*/ 199148 w 608129"/>
                <a:gd name="connsiteY163" fmla="*/ 171723 h 343858"/>
                <a:gd name="connsiteX164" fmla="*/ 198389 w 608129"/>
                <a:gd name="connsiteY164" fmla="*/ 171723 h 343858"/>
                <a:gd name="connsiteX165" fmla="*/ 191553 w 608129"/>
                <a:gd name="connsiteY165" fmla="*/ 169448 h 343858"/>
                <a:gd name="connsiteX166" fmla="*/ 188515 w 608129"/>
                <a:gd name="connsiteY166" fmla="*/ 167173 h 343858"/>
                <a:gd name="connsiteX167" fmla="*/ 178641 w 608129"/>
                <a:gd name="connsiteY167" fmla="*/ 158073 h 343858"/>
                <a:gd name="connsiteX168" fmla="*/ 176362 w 608129"/>
                <a:gd name="connsiteY168" fmla="*/ 155040 h 343858"/>
                <a:gd name="connsiteX169" fmla="*/ 175603 w 608129"/>
                <a:gd name="connsiteY169" fmla="*/ 154282 h 343858"/>
                <a:gd name="connsiteX170" fmla="*/ 174084 w 608129"/>
                <a:gd name="connsiteY170" fmla="*/ 152007 h 343858"/>
                <a:gd name="connsiteX171" fmla="*/ 142943 w 608129"/>
                <a:gd name="connsiteY171" fmla="*/ 159590 h 343858"/>
                <a:gd name="connsiteX172" fmla="*/ 136107 w 608129"/>
                <a:gd name="connsiteY172" fmla="*/ 171723 h 343858"/>
                <a:gd name="connsiteX173" fmla="*/ 135348 w 608129"/>
                <a:gd name="connsiteY173" fmla="*/ 173998 h 343858"/>
                <a:gd name="connsiteX174" fmla="*/ 134588 w 608129"/>
                <a:gd name="connsiteY174" fmla="*/ 174756 h 343858"/>
                <a:gd name="connsiteX175" fmla="*/ 133069 w 608129"/>
                <a:gd name="connsiteY175" fmla="*/ 175514 h 343858"/>
                <a:gd name="connsiteX176" fmla="*/ 131550 w 608129"/>
                <a:gd name="connsiteY176" fmla="*/ 177789 h 343858"/>
                <a:gd name="connsiteX177" fmla="*/ 130791 w 608129"/>
                <a:gd name="connsiteY177" fmla="*/ 177789 h 343858"/>
                <a:gd name="connsiteX178" fmla="*/ 124715 w 608129"/>
                <a:gd name="connsiteY178" fmla="*/ 181581 h 343858"/>
                <a:gd name="connsiteX179" fmla="*/ 119398 w 608129"/>
                <a:gd name="connsiteY179" fmla="*/ 182339 h 343858"/>
                <a:gd name="connsiteX180" fmla="*/ 118638 w 608129"/>
                <a:gd name="connsiteY180" fmla="*/ 182339 h 343858"/>
                <a:gd name="connsiteX181" fmla="*/ 117879 w 608129"/>
                <a:gd name="connsiteY181" fmla="*/ 182339 h 343858"/>
                <a:gd name="connsiteX182" fmla="*/ 114841 w 608129"/>
                <a:gd name="connsiteY182" fmla="*/ 182339 h 343858"/>
                <a:gd name="connsiteX183" fmla="*/ 113322 w 608129"/>
                <a:gd name="connsiteY183" fmla="*/ 181581 h 343858"/>
                <a:gd name="connsiteX184" fmla="*/ 109524 w 608129"/>
                <a:gd name="connsiteY184" fmla="*/ 180064 h 343858"/>
                <a:gd name="connsiteX185" fmla="*/ 108764 w 608129"/>
                <a:gd name="connsiteY185" fmla="*/ 180064 h 343858"/>
                <a:gd name="connsiteX186" fmla="*/ 99650 w 608129"/>
                <a:gd name="connsiteY186" fmla="*/ 175514 h 343858"/>
                <a:gd name="connsiteX187" fmla="*/ 92814 w 608129"/>
                <a:gd name="connsiteY187" fmla="*/ 189922 h 343858"/>
                <a:gd name="connsiteX188" fmla="*/ 71548 w 608129"/>
                <a:gd name="connsiteY188" fmla="*/ 202813 h 343858"/>
                <a:gd name="connsiteX189" fmla="*/ 70029 w 608129"/>
                <a:gd name="connsiteY189" fmla="*/ 214188 h 343858"/>
                <a:gd name="connsiteX190" fmla="*/ 61674 w 608129"/>
                <a:gd name="connsiteY190" fmla="*/ 225562 h 343858"/>
                <a:gd name="connsiteX191" fmla="*/ 51800 w 608129"/>
                <a:gd name="connsiteY191" fmla="*/ 232387 h 343858"/>
                <a:gd name="connsiteX192" fmla="*/ 159653 w 608129"/>
                <a:gd name="connsiteY192" fmla="*/ 232387 h 343858"/>
                <a:gd name="connsiteX193" fmla="*/ 158134 w 608129"/>
                <a:gd name="connsiteY193" fmla="*/ 224804 h 343858"/>
                <a:gd name="connsiteX194" fmla="*/ 159653 w 608129"/>
                <a:gd name="connsiteY194" fmla="*/ 211155 h 343858"/>
                <a:gd name="connsiteX195" fmla="*/ 171046 w 608129"/>
                <a:gd name="connsiteY195" fmla="*/ 202813 h 343858"/>
                <a:gd name="connsiteX196" fmla="*/ 179401 w 608129"/>
                <a:gd name="connsiteY196" fmla="*/ 213430 h 343858"/>
                <a:gd name="connsiteX197" fmla="*/ 177881 w 608129"/>
                <a:gd name="connsiteY197" fmla="*/ 227837 h 343858"/>
                <a:gd name="connsiteX198" fmla="*/ 175603 w 608129"/>
                <a:gd name="connsiteY198" fmla="*/ 232387 h 343858"/>
                <a:gd name="connsiteX199" fmla="*/ 402702 w 608129"/>
                <a:gd name="connsiteY199" fmla="*/ 232387 h 343858"/>
                <a:gd name="connsiteX200" fmla="*/ 537897 w 608129"/>
                <a:gd name="connsiteY200" fmla="*/ 232387 h 343858"/>
                <a:gd name="connsiteX201" fmla="*/ 528783 w 608129"/>
                <a:gd name="connsiteY201" fmla="*/ 208880 h 343858"/>
                <a:gd name="connsiteX202" fmla="*/ 528783 w 608129"/>
                <a:gd name="connsiteY202" fmla="*/ 205847 h 343858"/>
                <a:gd name="connsiteX203" fmla="*/ 519669 w 608129"/>
                <a:gd name="connsiteY203" fmla="*/ 196747 h 343858"/>
                <a:gd name="connsiteX204" fmla="*/ 512833 w 608129"/>
                <a:gd name="connsiteY204" fmla="*/ 196747 h 343858"/>
                <a:gd name="connsiteX205" fmla="*/ 501440 w 608129"/>
                <a:gd name="connsiteY205" fmla="*/ 186131 h 343858"/>
                <a:gd name="connsiteX206" fmla="*/ 492326 w 608129"/>
                <a:gd name="connsiteY206" fmla="*/ 177789 h 343858"/>
                <a:gd name="connsiteX207" fmla="*/ 472578 w 608129"/>
                <a:gd name="connsiteY207" fmla="*/ 162623 h 343858"/>
                <a:gd name="connsiteX208" fmla="*/ 463464 w 608129"/>
                <a:gd name="connsiteY208" fmla="*/ 150490 h 343858"/>
                <a:gd name="connsiteX209" fmla="*/ 458907 w 608129"/>
                <a:gd name="connsiteY209" fmla="*/ 152765 h 343858"/>
                <a:gd name="connsiteX210" fmla="*/ 429285 w 608129"/>
                <a:gd name="connsiteY210" fmla="*/ 161107 h 343858"/>
                <a:gd name="connsiteX211" fmla="*/ 424728 w 608129"/>
                <a:gd name="connsiteY211" fmla="*/ 161865 h 343858"/>
                <a:gd name="connsiteX212" fmla="*/ 423968 w 608129"/>
                <a:gd name="connsiteY212" fmla="*/ 161865 h 343858"/>
                <a:gd name="connsiteX213" fmla="*/ 423209 w 608129"/>
                <a:gd name="connsiteY213" fmla="*/ 161865 h 343858"/>
                <a:gd name="connsiteX214" fmla="*/ 420171 w 608129"/>
                <a:gd name="connsiteY214" fmla="*/ 161107 h 343858"/>
                <a:gd name="connsiteX215" fmla="*/ 418652 w 608129"/>
                <a:gd name="connsiteY215" fmla="*/ 161107 h 343858"/>
                <a:gd name="connsiteX216" fmla="*/ 414094 w 608129"/>
                <a:gd name="connsiteY216" fmla="*/ 159590 h 343858"/>
                <a:gd name="connsiteX217" fmla="*/ 407259 w 608129"/>
                <a:gd name="connsiteY217" fmla="*/ 152765 h 343858"/>
                <a:gd name="connsiteX218" fmla="*/ 404221 w 608129"/>
                <a:gd name="connsiteY218" fmla="*/ 147457 h 343858"/>
                <a:gd name="connsiteX219" fmla="*/ 401182 w 608129"/>
                <a:gd name="connsiteY219" fmla="*/ 135324 h 343858"/>
                <a:gd name="connsiteX220" fmla="*/ 363206 w 608129"/>
                <a:gd name="connsiteY220" fmla="*/ 133808 h 343858"/>
                <a:gd name="connsiteX221" fmla="*/ 105726 w 608129"/>
                <a:gd name="connsiteY221" fmla="*/ 121675 h 343858"/>
                <a:gd name="connsiteX222" fmla="*/ 91295 w 608129"/>
                <a:gd name="connsiteY222" fmla="*/ 148216 h 343858"/>
                <a:gd name="connsiteX223" fmla="*/ 117119 w 608129"/>
                <a:gd name="connsiteY223" fmla="*/ 161865 h 343858"/>
                <a:gd name="connsiteX224" fmla="*/ 118638 w 608129"/>
                <a:gd name="connsiteY224" fmla="*/ 162623 h 343858"/>
                <a:gd name="connsiteX225" fmla="*/ 132310 w 608129"/>
                <a:gd name="connsiteY225" fmla="*/ 135324 h 343858"/>
                <a:gd name="connsiteX226" fmla="*/ 445235 w 608129"/>
                <a:gd name="connsiteY226" fmla="*/ 104234 h 343858"/>
                <a:gd name="connsiteX227" fmla="*/ 415614 w 608129"/>
                <a:gd name="connsiteY227" fmla="*/ 112575 h 343858"/>
                <a:gd name="connsiteX228" fmla="*/ 423968 w 608129"/>
                <a:gd name="connsiteY228" fmla="*/ 141391 h 343858"/>
                <a:gd name="connsiteX229" fmla="*/ 453590 w 608129"/>
                <a:gd name="connsiteY229" fmla="*/ 133049 h 343858"/>
                <a:gd name="connsiteX230" fmla="*/ 324470 w 608129"/>
                <a:gd name="connsiteY230" fmla="*/ 101201 h 343858"/>
                <a:gd name="connsiteX231" fmla="*/ 303963 w 608129"/>
                <a:gd name="connsiteY231" fmla="*/ 121675 h 343858"/>
                <a:gd name="connsiteX232" fmla="*/ 304723 w 608129"/>
                <a:gd name="connsiteY232" fmla="*/ 123192 h 343858"/>
                <a:gd name="connsiteX233" fmla="*/ 304723 w 608129"/>
                <a:gd name="connsiteY233" fmla="*/ 123950 h 343858"/>
                <a:gd name="connsiteX234" fmla="*/ 311558 w 608129"/>
                <a:gd name="connsiteY234" fmla="*/ 136841 h 343858"/>
                <a:gd name="connsiteX235" fmla="*/ 313837 w 608129"/>
                <a:gd name="connsiteY235" fmla="*/ 138358 h 343858"/>
                <a:gd name="connsiteX236" fmla="*/ 314596 w 608129"/>
                <a:gd name="connsiteY236" fmla="*/ 139116 h 343858"/>
                <a:gd name="connsiteX237" fmla="*/ 317634 w 608129"/>
                <a:gd name="connsiteY237" fmla="*/ 139874 h 343858"/>
                <a:gd name="connsiteX238" fmla="*/ 318394 w 608129"/>
                <a:gd name="connsiteY238" fmla="*/ 140633 h 343858"/>
                <a:gd name="connsiteX239" fmla="*/ 320673 w 608129"/>
                <a:gd name="connsiteY239" fmla="*/ 141391 h 343858"/>
                <a:gd name="connsiteX240" fmla="*/ 324470 w 608129"/>
                <a:gd name="connsiteY240" fmla="*/ 141391 h 343858"/>
                <a:gd name="connsiteX241" fmla="*/ 328268 w 608129"/>
                <a:gd name="connsiteY241" fmla="*/ 141391 h 343858"/>
                <a:gd name="connsiteX242" fmla="*/ 329787 w 608129"/>
                <a:gd name="connsiteY242" fmla="*/ 140633 h 343858"/>
                <a:gd name="connsiteX243" fmla="*/ 332066 w 608129"/>
                <a:gd name="connsiteY243" fmla="*/ 139874 h 343858"/>
                <a:gd name="connsiteX244" fmla="*/ 333585 w 608129"/>
                <a:gd name="connsiteY244" fmla="*/ 139116 h 343858"/>
                <a:gd name="connsiteX245" fmla="*/ 335863 w 608129"/>
                <a:gd name="connsiteY245" fmla="*/ 138358 h 343858"/>
                <a:gd name="connsiteX246" fmla="*/ 337382 w 608129"/>
                <a:gd name="connsiteY246" fmla="*/ 136841 h 343858"/>
                <a:gd name="connsiteX247" fmla="*/ 338142 w 608129"/>
                <a:gd name="connsiteY247" fmla="*/ 136083 h 343858"/>
                <a:gd name="connsiteX248" fmla="*/ 340420 w 608129"/>
                <a:gd name="connsiteY248" fmla="*/ 133808 h 343858"/>
                <a:gd name="connsiteX249" fmla="*/ 340420 w 608129"/>
                <a:gd name="connsiteY249" fmla="*/ 133049 h 343858"/>
                <a:gd name="connsiteX250" fmla="*/ 344218 w 608129"/>
                <a:gd name="connsiteY250" fmla="*/ 123192 h 343858"/>
                <a:gd name="connsiteX251" fmla="*/ 344977 w 608129"/>
                <a:gd name="connsiteY251" fmla="*/ 120917 h 343858"/>
                <a:gd name="connsiteX252" fmla="*/ 324470 w 608129"/>
                <a:gd name="connsiteY252" fmla="*/ 101201 h 343858"/>
                <a:gd name="connsiteX253" fmla="*/ 234086 w 608129"/>
                <a:gd name="connsiteY253" fmla="*/ 98926 h 343858"/>
                <a:gd name="connsiteX254" fmla="*/ 193832 w 608129"/>
                <a:gd name="connsiteY254" fmla="*/ 144424 h 343858"/>
                <a:gd name="connsiteX255" fmla="*/ 201427 w 608129"/>
                <a:gd name="connsiteY255" fmla="*/ 151249 h 343858"/>
                <a:gd name="connsiteX256" fmla="*/ 227251 w 608129"/>
                <a:gd name="connsiteY256" fmla="*/ 121675 h 343858"/>
                <a:gd name="connsiteX257" fmla="*/ 241682 w 608129"/>
                <a:gd name="connsiteY257" fmla="*/ 105751 h 343858"/>
                <a:gd name="connsiteX258" fmla="*/ 233042 w 608129"/>
                <a:gd name="connsiteY258" fmla="*/ 78357 h 343858"/>
                <a:gd name="connsiteX259" fmla="*/ 246239 w 608129"/>
                <a:gd name="connsiteY259" fmla="*/ 83001 h 343858"/>
                <a:gd name="connsiteX260" fmla="*/ 256872 w 608129"/>
                <a:gd name="connsiteY260" fmla="*/ 92101 h 343858"/>
                <a:gd name="connsiteX261" fmla="*/ 257632 w 608129"/>
                <a:gd name="connsiteY261" fmla="*/ 118642 h 343858"/>
                <a:gd name="connsiteX262" fmla="*/ 284215 w 608129"/>
                <a:gd name="connsiteY262" fmla="*/ 116367 h 343858"/>
                <a:gd name="connsiteX263" fmla="*/ 324470 w 608129"/>
                <a:gd name="connsiteY263" fmla="*/ 80727 h 343858"/>
                <a:gd name="connsiteX264" fmla="*/ 363966 w 608129"/>
                <a:gd name="connsiteY264" fmla="*/ 114092 h 343858"/>
                <a:gd name="connsiteX265" fmla="*/ 395866 w 608129"/>
                <a:gd name="connsiteY265" fmla="*/ 114850 h 343858"/>
                <a:gd name="connsiteX266" fmla="*/ 398144 w 608129"/>
                <a:gd name="connsiteY266" fmla="*/ 102717 h 343858"/>
                <a:gd name="connsiteX267" fmla="*/ 410297 w 608129"/>
                <a:gd name="connsiteY267" fmla="*/ 92859 h 343858"/>
                <a:gd name="connsiteX268" fmla="*/ 439159 w 608129"/>
                <a:gd name="connsiteY268" fmla="*/ 84518 h 343858"/>
                <a:gd name="connsiteX269" fmla="*/ 454349 w 608129"/>
                <a:gd name="connsiteY269" fmla="*/ 86035 h 343858"/>
                <a:gd name="connsiteX270" fmla="*/ 464223 w 608129"/>
                <a:gd name="connsiteY270" fmla="*/ 98168 h 343858"/>
                <a:gd name="connsiteX271" fmla="*/ 472578 w 608129"/>
                <a:gd name="connsiteY271" fmla="*/ 127741 h 343858"/>
                <a:gd name="connsiteX272" fmla="*/ 473338 w 608129"/>
                <a:gd name="connsiteY272" fmla="*/ 132291 h 343858"/>
                <a:gd name="connsiteX273" fmla="*/ 492326 w 608129"/>
                <a:gd name="connsiteY273" fmla="*/ 157315 h 343858"/>
                <a:gd name="connsiteX274" fmla="*/ 519669 w 608129"/>
                <a:gd name="connsiteY274" fmla="*/ 176273 h 343858"/>
                <a:gd name="connsiteX275" fmla="*/ 524226 w 608129"/>
                <a:gd name="connsiteY275" fmla="*/ 177031 h 343858"/>
                <a:gd name="connsiteX276" fmla="*/ 547771 w 608129"/>
                <a:gd name="connsiteY276" fmla="*/ 199780 h 343858"/>
                <a:gd name="connsiteX277" fmla="*/ 548531 w 608129"/>
                <a:gd name="connsiteY277" fmla="*/ 210396 h 343858"/>
                <a:gd name="connsiteX278" fmla="*/ 553848 w 608129"/>
                <a:gd name="connsiteY278" fmla="*/ 219496 h 343858"/>
                <a:gd name="connsiteX279" fmla="*/ 564481 w 608129"/>
                <a:gd name="connsiteY279" fmla="*/ 232387 h 343858"/>
                <a:gd name="connsiteX280" fmla="*/ 588786 w 608129"/>
                <a:gd name="connsiteY280" fmla="*/ 232387 h 343858"/>
                <a:gd name="connsiteX281" fmla="*/ 606255 w 608129"/>
                <a:gd name="connsiteY281" fmla="*/ 243003 h 343858"/>
                <a:gd name="connsiteX282" fmla="*/ 604736 w 608129"/>
                <a:gd name="connsiteY282" fmla="*/ 263478 h 343858"/>
                <a:gd name="connsiteX283" fmla="*/ 603217 w 608129"/>
                <a:gd name="connsiteY283" fmla="*/ 264994 h 343858"/>
                <a:gd name="connsiteX284" fmla="*/ 550809 w 608129"/>
                <a:gd name="connsiteY284" fmla="*/ 296843 h 343858"/>
                <a:gd name="connsiteX285" fmla="*/ 544733 w 608129"/>
                <a:gd name="connsiteY285" fmla="*/ 312768 h 343858"/>
                <a:gd name="connsiteX286" fmla="*/ 516631 w 608129"/>
                <a:gd name="connsiteY286" fmla="*/ 343858 h 343858"/>
                <a:gd name="connsiteX287" fmla="*/ 91295 w 608129"/>
                <a:gd name="connsiteY287" fmla="*/ 343858 h 343858"/>
                <a:gd name="connsiteX288" fmla="*/ 63952 w 608129"/>
                <a:gd name="connsiteY288" fmla="*/ 312768 h 343858"/>
                <a:gd name="connsiteX289" fmla="*/ 57876 w 608129"/>
                <a:gd name="connsiteY289" fmla="*/ 296843 h 343858"/>
                <a:gd name="connsiteX290" fmla="*/ 4709 w 608129"/>
                <a:gd name="connsiteY290" fmla="*/ 264994 h 343858"/>
                <a:gd name="connsiteX291" fmla="*/ 3950 w 608129"/>
                <a:gd name="connsiteY291" fmla="*/ 263478 h 343858"/>
                <a:gd name="connsiteX292" fmla="*/ 2431 w 608129"/>
                <a:gd name="connsiteY292" fmla="*/ 243003 h 343858"/>
                <a:gd name="connsiteX293" fmla="*/ 19900 w 608129"/>
                <a:gd name="connsiteY293" fmla="*/ 232387 h 343858"/>
                <a:gd name="connsiteX294" fmla="*/ 31293 w 608129"/>
                <a:gd name="connsiteY294" fmla="*/ 232387 h 343858"/>
                <a:gd name="connsiteX295" fmla="*/ 49521 w 608129"/>
                <a:gd name="connsiteY295" fmla="*/ 208880 h 343858"/>
                <a:gd name="connsiteX296" fmla="*/ 57117 w 608129"/>
                <a:gd name="connsiteY296" fmla="*/ 187647 h 343858"/>
                <a:gd name="connsiteX297" fmla="*/ 68510 w 608129"/>
                <a:gd name="connsiteY297" fmla="*/ 182339 h 343858"/>
                <a:gd name="connsiteX298" fmla="*/ 76864 w 608129"/>
                <a:gd name="connsiteY298" fmla="*/ 177031 h 343858"/>
                <a:gd name="connsiteX299" fmla="*/ 79902 w 608129"/>
                <a:gd name="connsiteY299" fmla="*/ 167931 h 343858"/>
                <a:gd name="connsiteX300" fmla="*/ 79902 w 608129"/>
                <a:gd name="connsiteY300" fmla="*/ 164140 h 343858"/>
                <a:gd name="connsiteX301" fmla="*/ 73826 w 608129"/>
                <a:gd name="connsiteY301" fmla="*/ 139116 h 343858"/>
                <a:gd name="connsiteX302" fmla="*/ 87498 w 608129"/>
                <a:gd name="connsiteY302" fmla="*/ 111817 h 343858"/>
                <a:gd name="connsiteX303" fmla="*/ 99650 w 608129"/>
                <a:gd name="connsiteY303" fmla="*/ 101959 h 343858"/>
                <a:gd name="connsiteX304" fmla="*/ 114841 w 608129"/>
                <a:gd name="connsiteY304" fmla="*/ 103476 h 343858"/>
                <a:gd name="connsiteX305" fmla="*/ 142184 w 608129"/>
                <a:gd name="connsiteY305" fmla="*/ 117125 h 343858"/>
                <a:gd name="connsiteX306" fmla="*/ 152058 w 608129"/>
                <a:gd name="connsiteY306" fmla="*/ 129258 h 343858"/>
                <a:gd name="connsiteX307" fmla="*/ 152817 w 608129"/>
                <a:gd name="connsiteY307" fmla="*/ 136083 h 343858"/>
                <a:gd name="connsiteX308" fmla="*/ 178641 w 608129"/>
                <a:gd name="connsiteY308" fmla="*/ 130016 h 343858"/>
                <a:gd name="connsiteX309" fmla="*/ 220415 w 608129"/>
                <a:gd name="connsiteY309" fmla="*/ 84518 h 343858"/>
                <a:gd name="connsiteX310" fmla="*/ 233042 w 608129"/>
                <a:gd name="connsiteY310" fmla="*/ 78357 h 343858"/>
                <a:gd name="connsiteX311" fmla="*/ 162582 w 608129"/>
                <a:gd name="connsiteY311" fmla="*/ 60954 h 343858"/>
                <a:gd name="connsiteX312" fmla="*/ 142076 w 608129"/>
                <a:gd name="connsiteY312" fmla="*/ 80671 h 343858"/>
                <a:gd name="connsiteX313" fmla="*/ 162582 w 608129"/>
                <a:gd name="connsiteY313" fmla="*/ 101147 h 343858"/>
                <a:gd name="connsiteX314" fmla="*/ 182329 w 608129"/>
                <a:gd name="connsiteY314" fmla="*/ 80671 h 343858"/>
                <a:gd name="connsiteX315" fmla="*/ 162582 w 608129"/>
                <a:gd name="connsiteY315" fmla="*/ 60954 h 343858"/>
                <a:gd name="connsiteX316" fmla="*/ 162582 w 608129"/>
                <a:gd name="connsiteY316" fmla="*/ 40478 h 343858"/>
                <a:gd name="connsiteX317" fmla="*/ 202836 w 608129"/>
                <a:gd name="connsiteY317" fmla="*/ 80671 h 343858"/>
                <a:gd name="connsiteX318" fmla="*/ 162582 w 608129"/>
                <a:gd name="connsiteY318" fmla="*/ 121623 h 343858"/>
                <a:gd name="connsiteX319" fmla="*/ 121569 w 608129"/>
                <a:gd name="connsiteY319" fmla="*/ 80671 h 343858"/>
                <a:gd name="connsiteX320" fmla="*/ 162582 w 608129"/>
                <a:gd name="connsiteY320" fmla="*/ 40478 h 343858"/>
                <a:gd name="connsiteX321" fmla="*/ 285697 w 608129"/>
                <a:gd name="connsiteY321" fmla="*/ 32920 h 343858"/>
                <a:gd name="connsiteX322" fmla="*/ 256860 w 608129"/>
                <a:gd name="connsiteY322" fmla="*/ 41258 h 343858"/>
                <a:gd name="connsiteX323" fmla="*/ 265208 w 608129"/>
                <a:gd name="connsiteY323" fmla="*/ 70819 h 343858"/>
                <a:gd name="connsiteX324" fmla="*/ 294045 w 608129"/>
                <a:gd name="connsiteY324" fmla="*/ 62481 h 343858"/>
                <a:gd name="connsiteX325" fmla="*/ 364659 w 608129"/>
                <a:gd name="connsiteY325" fmla="*/ 20767 h 343858"/>
                <a:gd name="connsiteX326" fmla="*/ 355552 w 608129"/>
                <a:gd name="connsiteY326" fmla="*/ 23799 h 343858"/>
                <a:gd name="connsiteX327" fmla="*/ 376044 w 608129"/>
                <a:gd name="connsiteY327" fmla="*/ 81416 h 343858"/>
                <a:gd name="connsiteX328" fmla="*/ 385910 w 608129"/>
                <a:gd name="connsiteY328" fmla="*/ 77625 h 343858"/>
                <a:gd name="connsiteX329" fmla="*/ 280385 w 608129"/>
                <a:gd name="connsiteY329" fmla="*/ 13971 h 343858"/>
                <a:gd name="connsiteX330" fmla="*/ 295563 w 608129"/>
                <a:gd name="connsiteY330" fmla="*/ 15487 h 343858"/>
                <a:gd name="connsiteX331" fmla="*/ 305428 w 608129"/>
                <a:gd name="connsiteY331" fmla="*/ 27614 h 343858"/>
                <a:gd name="connsiteX332" fmla="*/ 313776 w 608129"/>
                <a:gd name="connsiteY332" fmla="*/ 57176 h 343858"/>
                <a:gd name="connsiteX333" fmla="*/ 311500 w 608129"/>
                <a:gd name="connsiteY333" fmla="*/ 72335 h 343858"/>
                <a:gd name="connsiteX334" fmla="*/ 299357 w 608129"/>
                <a:gd name="connsiteY334" fmla="*/ 82189 h 343858"/>
                <a:gd name="connsiteX335" fmla="*/ 270520 w 608129"/>
                <a:gd name="connsiteY335" fmla="*/ 90527 h 343858"/>
                <a:gd name="connsiteX336" fmla="*/ 265208 w 608129"/>
                <a:gd name="connsiteY336" fmla="*/ 91285 h 343858"/>
                <a:gd name="connsiteX337" fmla="*/ 255342 w 608129"/>
                <a:gd name="connsiteY337" fmla="*/ 88253 h 343858"/>
                <a:gd name="connsiteX338" fmla="*/ 245477 w 608129"/>
                <a:gd name="connsiteY338" fmla="*/ 76125 h 343858"/>
                <a:gd name="connsiteX339" fmla="*/ 237129 w 608129"/>
                <a:gd name="connsiteY339" fmla="*/ 47322 h 343858"/>
                <a:gd name="connsiteX340" fmla="*/ 238647 w 608129"/>
                <a:gd name="connsiteY340" fmla="*/ 32162 h 343858"/>
                <a:gd name="connsiteX341" fmla="*/ 250789 w 608129"/>
                <a:gd name="connsiteY341" fmla="*/ 22309 h 343858"/>
                <a:gd name="connsiteX342" fmla="*/ 359347 w 608129"/>
                <a:gd name="connsiteY342" fmla="*/ 1056 h 343858"/>
                <a:gd name="connsiteX343" fmla="*/ 373767 w 608129"/>
                <a:gd name="connsiteY343" fmla="*/ 1814 h 343858"/>
                <a:gd name="connsiteX344" fmla="*/ 383633 w 608129"/>
                <a:gd name="connsiteY344" fmla="*/ 12428 h 343858"/>
                <a:gd name="connsiteX345" fmla="*/ 404884 w 608129"/>
                <a:gd name="connsiteY345" fmla="*/ 72318 h 343858"/>
                <a:gd name="connsiteX346" fmla="*/ 404884 w 608129"/>
                <a:gd name="connsiteY346" fmla="*/ 86723 h 343858"/>
                <a:gd name="connsiteX347" fmla="*/ 394259 w 608129"/>
                <a:gd name="connsiteY347" fmla="*/ 95820 h 343858"/>
                <a:gd name="connsiteX348" fmla="*/ 381356 w 608129"/>
                <a:gd name="connsiteY348" fmla="*/ 100369 h 343858"/>
                <a:gd name="connsiteX349" fmla="*/ 375285 w 608129"/>
                <a:gd name="connsiteY349" fmla="*/ 101885 h 343858"/>
                <a:gd name="connsiteX350" fmla="*/ 367695 w 608129"/>
                <a:gd name="connsiteY350" fmla="*/ 100369 h 343858"/>
                <a:gd name="connsiteX351" fmla="*/ 357829 w 608129"/>
                <a:gd name="connsiteY351" fmla="*/ 89755 h 343858"/>
                <a:gd name="connsiteX352" fmla="*/ 335819 w 608129"/>
                <a:gd name="connsiteY352" fmla="*/ 29864 h 343858"/>
                <a:gd name="connsiteX353" fmla="*/ 336578 w 608129"/>
                <a:gd name="connsiteY353" fmla="*/ 15460 h 343858"/>
                <a:gd name="connsiteX354" fmla="*/ 347203 w 608129"/>
                <a:gd name="connsiteY354" fmla="*/ 5605 h 34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</a:cxnLst>
              <a:rect l="l" t="t" r="r" b="b"/>
              <a:pathLst>
                <a:path w="72860" h="102345">
                  <a:moveTo>
                    <a:pt x="25046" y="1516"/>
                  </a:moveTo>
                  <a:cubicBezTo>
                    <a:pt x="29599" y="0"/>
                    <a:pt x="34912" y="0"/>
                    <a:pt x="39466" y="2274"/>
                  </a:cubicBezTo>
                  <a:cubicBezTo>
                    <a:pt x="44020" y="4548"/>
                    <a:pt x="47055" y="8339"/>
                    <a:pt x="49332" y="12888"/>
                  </a:cubicBezTo>
                  <a:lnTo>
                    <a:pt x="70583" y="72778"/>
                  </a:lnTo>
                  <a:cubicBezTo>
                    <a:pt x="72860" y="77327"/>
                    <a:pt x="72101" y="82634"/>
                    <a:pt x="70583" y="87183"/>
                  </a:cubicBezTo>
                  <a:cubicBezTo>
                    <a:pt x="68306" y="91731"/>
                    <a:pt x="64511" y="94764"/>
                    <a:pt x="59958" y="96280"/>
                  </a:cubicBezTo>
                  <a:lnTo>
                    <a:pt x="47055" y="100829"/>
                  </a:lnTo>
                  <a:cubicBezTo>
                    <a:pt x="45537" y="101587"/>
                    <a:pt x="43261" y="102345"/>
                    <a:pt x="40984" y="102345"/>
                  </a:cubicBezTo>
                  <a:cubicBezTo>
                    <a:pt x="37948" y="102345"/>
                    <a:pt x="35671" y="101587"/>
                    <a:pt x="33394" y="100829"/>
                  </a:cubicBezTo>
                  <a:cubicBezTo>
                    <a:pt x="28840" y="98554"/>
                    <a:pt x="25046" y="94764"/>
                    <a:pt x="23528" y="90215"/>
                  </a:cubicBezTo>
                  <a:lnTo>
                    <a:pt x="1518" y="30324"/>
                  </a:lnTo>
                  <a:cubicBezTo>
                    <a:pt x="0" y="25017"/>
                    <a:pt x="0" y="20469"/>
                    <a:pt x="2277" y="15920"/>
                  </a:cubicBezTo>
                  <a:cubicBezTo>
                    <a:pt x="4554" y="11371"/>
                    <a:pt x="7590" y="7581"/>
                    <a:pt x="12902" y="6065"/>
                  </a:cubicBezTo>
                </a:path>
              </a:pathLst>
            </a:custGeom>
            <a:noFill/>
            <a:ln w="44450">
              <a:gradFill>
                <a:gsLst>
                  <a:gs pos="0">
                    <a:schemeClr val="accent3"/>
                  </a:gs>
                  <a:gs pos="100000">
                    <a:schemeClr val="accent3">
                      <a:lumMod val="5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zh-CN" altLang="en-US">
                <a:gradFill flip="none" rotWithShape="1">
                  <a:gsLst>
                    <a:gs pos="89000">
                      <a:schemeClr val="bg1"/>
                    </a:gs>
                    <a:gs pos="0">
                      <a:schemeClr val="accent2"/>
                    </a:gs>
                  </a:gsLst>
                  <a:lin ang="13500000" scaled="1"/>
                  <a:tileRect/>
                </a:gradFill>
              </a:endParaRPr>
            </a:p>
          </p:txBody>
        </p:sp>
        <p:sp>
          <p:nvSpPr>
            <p:cNvPr id="330" name="任意多边形: 形状 329"/>
            <p:cNvSpPr>
              <a:spLocks/>
            </p:cNvSpPr>
            <p:nvPr userDrawn="1"/>
          </p:nvSpPr>
          <p:spPr bwMode="auto">
            <a:xfrm>
              <a:off x="9477083" y="3644828"/>
              <a:ext cx="45719" cy="66185"/>
            </a:xfrm>
            <a:custGeom>
              <a:avLst/>
              <a:gdLst>
                <a:gd name="connsiteX0" fmla="*/ 193001 w 608129"/>
                <a:gd name="connsiteY0" fmla="*/ 283182 h 343858"/>
                <a:gd name="connsiteX1" fmla="*/ 506699 w 608129"/>
                <a:gd name="connsiteY1" fmla="*/ 283182 h 343858"/>
                <a:gd name="connsiteX2" fmla="*/ 516573 w 608129"/>
                <a:gd name="connsiteY2" fmla="*/ 293038 h 343858"/>
                <a:gd name="connsiteX3" fmla="*/ 506699 w 608129"/>
                <a:gd name="connsiteY3" fmla="*/ 303651 h 343858"/>
                <a:gd name="connsiteX4" fmla="*/ 193001 w 608129"/>
                <a:gd name="connsiteY4" fmla="*/ 303651 h 343858"/>
                <a:gd name="connsiteX5" fmla="*/ 182367 w 608129"/>
                <a:gd name="connsiteY5" fmla="*/ 293038 h 343858"/>
                <a:gd name="connsiteX6" fmla="*/ 193001 w 608129"/>
                <a:gd name="connsiteY6" fmla="*/ 283182 h 343858"/>
                <a:gd name="connsiteX7" fmla="*/ 101866 w 608129"/>
                <a:gd name="connsiteY7" fmla="*/ 283182 h 343858"/>
                <a:gd name="connsiteX8" fmla="*/ 142885 w 608129"/>
                <a:gd name="connsiteY8" fmla="*/ 283182 h 343858"/>
                <a:gd name="connsiteX9" fmla="*/ 152760 w 608129"/>
                <a:gd name="connsiteY9" fmla="*/ 293038 h 343858"/>
                <a:gd name="connsiteX10" fmla="*/ 142885 w 608129"/>
                <a:gd name="connsiteY10" fmla="*/ 303651 h 343858"/>
                <a:gd name="connsiteX11" fmla="*/ 101866 w 608129"/>
                <a:gd name="connsiteY11" fmla="*/ 303651 h 343858"/>
                <a:gd name="connsiteX12" fmla="*/ 91231 w 608129"/>
                <a:gd name="connsiteY12" fmla="*/ 293038 h 343858"/>
                <a:gd name="connsiteX13" fmla="*/ 101866 w 608129"/>
                <a:gd name="connsiteY13" fmla="*/ 283182 h 343858"/>
                <a:gd name="connsiteX14" fmla="*/ 23697 w 608129"/>
                <a:gd name="connsiteY14" fmla="*/ 252861 h 343858"/>
                <a:gd name="connsiteX15" fmla="*/ 72307 w 608129"/>
                <a:gd name="connsiteY15" fmla="*/ 281677 h 343858"/>
                <a:gd name="connsiteX16" fmla="*/ 73826 w 608129"/>
                <a:gd name="connsiteY16" fmla="*/ 283952 h 343858"/>
                <a:gd name="connsiteX17" fmla="*/ 82941 w 608129"/>
                <a:gd name="connsiteY17" fmla="*/ 307460 h 343858"/>
                <a:gd name="connsiteX18" fmla="*/ 91295 w 608129"/>
                <a:gd name="connsiteY18" fmla="*/ 323384 h 343858"/>
                <a:gd name="connsiteX19" fmla="*/ 516631 w 608129"/>
                <a:gd name="connsiteY19" fmla="*/ 323384 h 343858"/>
                <a:gd name="connsiteX20" fmla="*/ 525745 w 608129"/>
                <a:gd name="connsiteY20" fmla="*/ 307460 h 343858"/>
                <a:gd name="connsiteX21" fmla="*/ 534859 w 608129"/>
                <a:gd name="connsiteY21" fmla="*/ 283952 h 343858"/>
                <a:gd name="connsiteX22" fmla="*/ 536378 w 608129"/>
                <a:gd name="connsiteY22" fmla="*/ 281677 h 343858"/>
                <a:gd name="connsiteX23" fmla="*/ 584229 w 608129"/>
                <a:gd name="connsiteY23" fmla="*/ 252861 h 343858"/>
                <a:gd name="connsiteX24" fmla="*/ 569798 w 608129"/>
                <a:gd name="connsiteY24" fmla="*/ 252861 h 343858"/>
                <a:gd name="connsiteX25" fmla="*/ 413335 w 608129"/>
                <a:gd name="connsiteY25" fmla="*/ 252861 h 343858"/>
                <a:gd name="connsiteX26" fmla="*/ 401942 w 608129"/>
                <a:gd name="connsiteY26" fmla="*/ 252861 h 343858"/>
                <a:gd name="connsiteX27" fmla="*/ 35850 w 608129"/>
                <a:gd name="connsiteY27" fmla="*/ 252861 h 343858"/>
                <a:gd name="connsiteX28" fmla="*/ 254526 w 608129"/>
                <a:gd name="connsiteY28" fmla="*/ 201295 h 343858"/>
                <a:gd name="connsiteX29" fmla="*/ 257557 w 608129"/>
                <a:gd name="connsiteY29" fmla="*/ 214952 h 343858"/>
                <a:gd name="connsiteX30" fmla="*/ 249221 w 608129"/>
                <a:gd name="connsiteY30" fmla="*/ 227091 h 343858"/>
                <a:gd name="connsiteX31" fmla="*/ 240886 w 608129"/>
                <a:gd name="connsiteY31" fmla="*/ 231644 h 343858"/>
                <a:gd name="connsiteX32" fmla="*/ 235581 w 608129"/>
                <a:gd name="connsiteY32" fmla="*/ 229368 h 343858"/>
                <a:gd name="connsiteX33" fmla="*/ 232550 w 608129"/>
                <a:gd name="connsiteY33" fmla="*/ 215710 h 343858"/>
                <a:gd name="connsiteX34" fmla="*/ 240886 w 608129"/>
                <a:gd name="connsiteY34" fmla="*/ 203571 h 343858"/>
                <a:gd name="connsiteX35" fmla="*/ 254526 w 608129"/>
                <a:gd name="connsiteY35" fmla="*/ 201295 h 343858"/>
                <a:gd name="connsiteX36" fmla="*/ 293998 w 608129"/>
                <a:gd name="connsiteY36" fmla="*/ 199043 h 343858"/>
                <a:gd name="connsiteX37" fmla="*/ 307670 w 608129"/>
                <a:gd name="connsiteY37" fmla="*/ 202827 h 343858"/>
                <a:gd name="connsiteX38" fmla="*/ 314506 w 608129"/>
                <a:gd name="connsiteY38" fmla="*/ 214937 h 343858"/>
                <a:gd name="connsiteX39" fmla="*/ 304632 w 608129"/>
                <a:gd name="connsiteY39" fmla="*/ 222506 h 343858"/>
                <a:gd name="connsiteX40" fmla="*/ 302353 w 608129"/>
                <a:gd name="connsiteY40" fmla="*/ 221749 h 343858"/>
                <a:gd name="connsiteX41" fmla="*/ 288681 w 608129"/>
                <a:gd name="connsiteY41" fmla="*/ 218721 h 343858"/>
                <a:gd name="connsiteX42" fmla="*/ 281845 w 608129"/>
                <a:gd name="connsiteY42" fmla="*/ 205854 h 343858"/>
                <a:gd name="connsiteX43" fmla="*/ 293998 w 608129"/>
                <a:gd name="connsiteY43" fmla="*/ 199043 h 343858"/>
                <a:gd name="connsiteX44" fmla="*/ 113257 w 608129"/>
                <a:gd name="connsiteY44" fmla="*/ 193732 h 343858"/>
                <a:gd name="connsiteX45" fmla="*/ 125378 w 608129"/>
                <a:gd name="connsiteY45" fmla="*/ 201299 h 343858"/>
                <a:gd name="connsiteX46" fmla="*/ 128408 w 608129"/>
                <a:gd name="connsiteY46" fmla="*/ 214920 h 343858"/>
                <a:gd name="connsiteX47" fmla="*/ 120075 w 608129"/>
                <a:gd name="connsiteY47" fmla="*/ 219460 h 343858"/>
                <a:gd name="connsiteX48" fmla="*/ 114773 w 608129"/>
                <a:gd name="connsiteY48" fmla="*/ 217946 h 343858"/>
                <a:gd name="connsiteX49" fmla="*/ 102652 w 608129"/>
                <a:gd name="connsiteY49" fmla="*/ 211136 h 343858"/>
                <a:gd name="connsiteX50" fmla="*/ 99622 w 608129"/>
                <a:gd name="connsiteY50" fmla="*/ 196759 h 343858"/>
                <a:gd name="connsiteX51" fmla="*/ 113257 w 608129"/>
                <a:gd name="connsiteY51" fmla="*/ 193732 h 343858"/>
                <a:gd name="connsiteX52" fmla="*/ 367752 w 608129"/>
                <a:gd name="connsiteY52" fmla="*/ 192974 h 343858"/>
                <a:gd name="connsiteX53" fmla="*/ 380665 w 608129"/>
                <a:gd name="connsiteY53" fmla="*/ 199023 h 343858"/>
                <a:gd name="connsiteX54" fmla="*/ 373829 w 608129"/>
                <a:gd name="connsiteY54" fmla="*/ 211877 h 343858"/>
                <a:gd name="connsiteX55" fmla="*/ 360917 w 608129"/>
                <a:gd name="connsiteY55" fmla="*/ 216414 h 343858"/>
                <a:gd name="connsiteX56" fmla="*/ 357119 w 608129"/>
                <a:gd name="connsiteY56" fmla="*/ 216414 h 343858"/>
                <a:gd name="connsiteX57" fmla="*/ 348004 w 608129"/>
                <a:gd name="connsiteY57" fmla="*/ 209609 h 343858"/>
                <a:gd name="connsiteX58" fmla="*/ 354081 w 608129"/>
                <a:gd name="connsiteY58" fmla="*/ 196755 h 343858"/>
                <a:gd name="connsiteX59" fmla="*/ 473099 w 608129"/>
                <a:gd name="connsiteY59" fmla="*/ 187878 h 343858"/>
                <a:gd name="connsiteX60" fmla="*/ 480904 w 608129"/>
                <a:gd name="connsiteY60" fmla="*/ 189869 h 343858"/>
                <a:gd name="connsiteX61" fmla="*/ 483189 w 608129"/>
                <a:gd name="connsiteY61" fmla="*/ 203526 h 343858"/>
                <a:gd name="connsiteX62" fmla="*/ 475574 w 608129"/>
                <a:gd name="connsiteY62" fmla="*/ 214907 h 343858"/>
                <a:gd name="connsiteX63" fmla="*/ 467198 w 608129"/>
                <a:gd name="connsiteY63" fmla="*/ 219460 h 343858"/>
                <a:gd name="connsiteX64" fmla="*/ 461106 w 608129"/>
                <a:gd name="connsiteY64" fmla="*/ 217942 h 343858"/>
                <a:gd name="connsiteX65" fmla="*/ 458821 w 608129"/>
                <a:gd name="connsiteY65" fmla="*/ 203526 h 343858"/>
                <a:gd name="connsiteX66" fmla="*/ 466436 w 608129"/>
                <a:gd name="connsiteY66" fmla="*/ 192146 h 343858"/>
                <a:gd name="connsiteX67" fmla="*/ 473099 w 608129"/>
                <a:gd name="connsiteY67" fmla="*/ 187878 h 343858"/>
                <a:gd name="connsiteX68" fmla="*/ 410279 w 608129"/>
                <a:gd name="connsiteY68" fmla="*/ 182352 h 343858"/>
                <a:gd name="connsiteX69" fmla="*/ 422434 w 608129"/>
                <a:gd name="connsiteY69" fmla="*/ 189169 h 343858"/>
                <a:gd name="connsiteX70" fmla="*/ 426233 w 608129"/>
                <a:gd name="connsiteY70" fmla="*/ 202805 h 343858"/>
                <a:gd name="connsiteX71" fmla="*/ 418636 w 608129"/>
                <a:gd name="connsiteY71" fmla="*/ 215683 h 343858"/>
                <a:gd name="connsiteX72" fmla="*/ 416356 w 608129"/>
                <a:gd name="connsiteY72" fmla="*/ 215683 h 343858"/>
                <a:gd name="connsiteX73" fmla="*/ 406480 w 608129"/>
                <a:gd name="connsiteY73" fmla="*/ 208108 h 343858"/>
                <a:gd name="connsiteX74" fmla="*/ 402682 w 608129"/>
                <a:gd name="connsiteY74" fmla="*/ 194472 h 343858"/>
                <a:gd name="connsiteX75" fmla="*/ 410279 w 608129"/>
                <a:gd name="connsiteY75" fmla="*/ 182352 h 343858"/>
                <a:gd name="connsiteX76" fmla="*/ 188501 w 608129"/>
                <a:gd name="connsiteY76" fmla="*/ 179282 h 343858"/>
                <a:gd name="connsiteX77" fmla="*/ 202945 w 608129"/>
                <a:gd name="connsiteY77" fmla="*/ 180043 h 343858"/>
                <a:gd name="connsiteX78" fmla="*/ 212067 w 608129"/>
                <a:gd name="connsiteY78" fmla="*/ 191449 h 343858"/>
                <a:gd name="connsiteX79" fmla="*/ 202185 w 608129"/>
                <a:gd name="connsiteY79" fmla="*/ 200575 h 343858"/>
                <a:gd name="connsiteX80" fmla="*/ 201424 w 608129"/>
                <a:gd name="connsiteY80" fmla="*/ 200575 h 343858"/>
                <a:gd name="connsiteX81" fmla="*/ 186981 w 608129"/>
                <a:gd name="connsiteY81" fmla="*/ 199814 h 343858"/>
                <a:gd name="connsiteX82" fmla="*/ 177859 w 608129"/>
                <a:gd name="connsiteY82" fmla="*/ 188408 h 343858"/>
                <a:gd name="connsiteX83" fmla="*/ 188501 w 608129"/>
                <a:gd name="connsiteY83" fmla="*/ 179282 h 343858"/>
                <a:gd name="connsiteX84" fmla="*/ 160344 w 608129"/>
                <a:gd name="connsiteY84" fmla="*/ 165596 h 343858"/>
                <a:gd name="connsiteX85" fmla="*/ 163375 w 608129"/>
                <a:gd name="connsiteY85" fmla="*/ 180011 h 343858"/>
                <a:gd name="connsiteX86" fmla="*/ 155797 w 608129"/>
                <a:gd name="connsiteY86" fmla="*/ 191392 h 343858"/>
                <a:gd name="connsiteX87" fmla="*/ 147461 w 608129"/>
                <a:gd name="connsiteY87" fmla="*/ 195945 h 343858"/>
                <a:gd name="connsiteX88" fmla="*/ 141399 w 608129"/>
                <a:gd name="connsiteY88" fmla="*/ 194427 h 343858"/>
                <a:gd name="connsiteX89" fmla="*/ 139126 w 608129"/>
                <a:gd name="connsiteY89" fmla="*/ 180011 h 343858"/>
                <a:gd name="connsiteX90" fmla="*/ 146704 w 608129"/>
                <a:gd name="connsiteY90" fmla="*/ 168631 h 343858"/>
                <a:gd name="connsiteX91" fmla="*/ 160344 w 608129"/>
                <a:gd name="connsiteY91" fmla="*/ 165596 h 343858"/>
                <a:gd name="connsiteX92" fmla="*/ 338113 w 608129"/>
                <a:gd name="connsiteY92" fmla="*/ 164888 h 343858"/>
                <a:gd name="connsiteX93" fmla="*/ 352554 w 608129"/>
                <a:gd name="connsiteY93" fmla="*/ 164888 h 343858"/>
                <a:gd name="connsiteX94" fmla="*/ 352554 w 608129"/>
                <a:gd name="connsiteY94" fmla="*/ 179285 h 343858"/>
                <a:gd name="connsiteX95" fmla="*/ 342673 w 608129"/>
                <a:gd name="connsiteY95" fmla="*/ 189137 h 343858"/>
                <a:gd name="connsiteX96" fmla="*/ 335073 w 608129"/>
                <a:gd name="connsiteY96" fmla="*/ 192168 h 343858"/>
                <a:gd name="connsiteX97" fmla="*/ 328232 w 608129"/>
                <a:gd name="connsiteY97" fmla="*/ 189137 h 343858"/>
                <a:gd name="connsiteX98" fmla="*/ 328232 w 608129"/>
                <a:gd name="connsiteY98" fmla="*/ 174739 h 343858"/>
                <a:gd name="connsiteX99" fmla="*/ 438352 w 608129"/>
                <a:gd name="connsiteY99" fmla="*/ 163394 h 343858"/>
                <a:gd name="connsiteX100" fmla="*/ 449715 w 608129"/>
                <a:gd name="connsiteY100" fmla="*/ 170961 h 343858"/>
                <a:gd name="connsiteX101" fmla="*/ 453502 w 608129"/>
                <a:gd name="connsiteY101" fmla="*/ 184582 h 343858"/>
                <a:gd name="connsiteX102" fmla="*/ 444412 w 608129"/>
                <a:gd name="connsiteY102" fmla="*/ 189122 h 343858"/>
                <a:gd name="connsiteX103" fmla="*/ 439110 w 608129"/>
                <a:gd name="connsiteY103" fmla="*/ 187608 h 343858"/>
                <a:gd name="connsiteX104" fmla="*/ 427747 w 608129"/>
                <a:gd name="connsiteY104" fmla="*/ 180798 h 343858"/>
                <a:gd name="connsiteX105" fmla="*/ 423959 w 608129"/>
                <a:gd name="connsiteY105" fmla="*/ 166421 h 343858"/>
                <a:gd name="connsiteX106" fmla="*/ 438352 w 608129"/>
                <a:gd name="connsiteY106" fmla="*/ 163394 h 343858"/>
                <a:gd name="connsiteX107" fmla="*/ 237851 w 608129"/>
                <a:gd name="connsiteY107" fmla="*/ 158043 h 343858"/>
                <a:gd name="connsiteX108" fmla="*/ 249244 w 608129"/>
                <a:gd name="connsiteY108" fmla="*/ 165635 h 343858"/>
                <a:gd name="connsiteX109" fmla="*/ 253042 w 608129"/>
                <a:gd name="connsiteY109" fmla="*/ 179300 h 343858"/>
                <a:gd name="connsiteX110" fmla="*/ 243927 w 608129"/>
                <a:gd name="connsiteY110" fmla="*/ 184614 h 343858"/>
                <a:gd name="connsiteX111" fmla="*/ 238610 w 608129"/>
                <a:gd name="connsiteY111" fmla="*/ 183095 h 343858"/>
                <a:gd name="connsiteX112" fmla="*/ 227217 w 608129"/>
                <a:gd name="connsiteY112" fmla="*/ 175504 h 343858"/>
                <a:gd name="connsiteX113" fmla="*/ 223419 w 608129"/>
                <a:gd name="connsiteY113" fmla="*/ 161839 h 343858"/>
                <a:gd name="connsiteX114" fmla="*/ 237851 w 608129"/>
                <a:gd name="connsiteY114" fmla="*/ 158043 h 343858"/>
                <a:gd name="connsiteX115" fmla="*/ 285637 w 608129"/>
                <a:gd name="connsiteY115" fmla="*/ 155767 h 343858"/>
                <a:gd name="connsiteX116" fmla="*/ 299320 w 608129"/>
                <a:gd name="connsiteY116" fmla="*/ 156528 h 343858"/>
                <a:gd name="connsiteX117" fmla="*/ 308442 w 608129"/>
                <a:gd name="connsiteY117" fmla="*/ 167174 h 343858"/>
                <a:gd name="connsiteX118" fmla="*/ 298560 w 608129"/>
                <a:gd name="connsiteY118" fmla="*/ 177060 h 343858"/>
                <a:gd name="connsiteX119" fmla="*/ 297799 w 608129"/>
                <a:gd name="connsiteY119" fmla="*/ 177060 h 343858"/>
                <a:gd name="connsiteX120" fmla="*/ 284116 w 608129"/>
                <a:gd name="connsiteY120" fmla="*/ 175539 h 343858"/>
                <a:gd name="connsiteX121" fmla="*/ 274234 w 608129"/>
                <a:gd name="connsiteY121" fmla="*/ 164893 h 343858"/>
                <a:gd name="connsiteX122" fmla="*/ 285637 w 608129"/>
                <a:gd name="connsiteY122" fmla="*/ 155767 h 343858"/>
                <a:gd name="connsiteX123" fmla="*/ 374580 w 608129"/>
                <a:gd name="connsiteY123" fmla="*/ 140655 h 343858"/>
                <a:gd name="connsiteX124" fmla="*/ 388263 w 608129"/>
                <a:gd name="connsiteY124" fmla="*/ 141411 h 343858"/>
                <a:gd name="connsiteX125" fmla="*/ 398145 w 608129"/>
                <a:gd name="connsiteY125" fmla="*/ 152755 h 343858"/>
                <a:gd name="connsiteX126" fmla="*/ 387503 w 608129"/>
                <a:gd name="connsiteY126" fmla="*/ 161830 h 343858"/>
                <a:gd name="connsiteX127" fmla="*/ 386742 w 608129"/>
                <a:gd name="connsiteY127" fmla="*/ 161830 h 343858"/>
                <a:gd name="connsiteX128" fmla="*/ 373059 w 608129"/>
                <a:gd name="connsiteY128" fmla="*/ 160317 h 343858"/>
                <a:gd name="connsiteX129" fmla="*/ 363937 w 608129"/>
                <a:gd name="connsiteY129" fmla="*/ 149730 h 343858"/>
                <a:gd name="connsiteX130" fmla="*/ 374580 w 608129"/>
                <a:gd name="connsiteY130" fmla="*/ 140655 h 343858"/>
                <a:gd name="connsiteX131" fmla="*/ 363206 w 608129"/>
                <a:gd name="connsiteY131" fmla="*/ 133808 h 343858"/>
                <a:gd name="connsiteX132" fmla="*/ 362447 w 608129"/>
                <a:gd name="connsiteY132" fmla="*/ 134566 h 343858"/>
                <a:gd name="connsiteX133" fmla="*/ 360168 w 608129"/>
                <a:gd name="connsiteY133" fmla="*/ 139874 h 343858"/>
                <a:gd name="connsiteX134" fmla="*/ 344218 w 608129"/>
                <a:gd name="connsiteY134" fmla="*/ 156557 h 343858"/>
                <a:gd name="connsiteX135" fmla="*/ 341939 w 608129"/>
                <a:gd name="connsiteY135" fmla="*/ 157315 h 343858"/>
                <a:gd name="connsiteX136" fmla="*/ 338142 w 608129"/>
                <a:gd name="connsiteY136" fmla="*/ 158832 h 343858"/>
                <a:gd name="connsiteX137" fmla="*/ 335104 w 608129"/>
                <a:gd name="connsiteY137" fmla="*/ 160348 h 343858"/>
                <a:gd name="connsiteX138" fmla="*/ 332066 w 608129"/>
                <a:gd name="connsiteY138" fmla="*/ 161107 h 343858"/>
                <a:gd name="connsiteX139" fmla="*/ 324470 w 608129"/>
                <a:gd name="connsiteY139" fmla="*/ 161865 h 343858"/>
                <a:gd name="connsiteX140" fmla="*/ 317634 w 608129"/>
                <a:gd name="connsiteY140" fmla="*/ 161107 h 343858"/>
                <a:gd name="connsiteX141" fmla="*/ 314596 w 608129"/>
                <a:gd name="connsiteY141" fmla="*/ 160348 h 343858"/>
                <a:gd name="connsiteX142" fmla="*/ 310799 w 608129"/>
                <a:gd name="connsiteY142" fmla="*/ 158832 h 343858"/>
                <a:gd name="connsiteX143" fmla="*/ 307761 w 608129"/>
                <a:gd name="connsiteY143" fmla="*/ 158073 h 343858"/>
                <a:gd name="connsiteX144" fmla="*/ 304723 w 608129"/>
                <a:gd name="connsiteY144" fmla="*/ 156557 h 343858"/>
                <a:gd name="connsiteX145" fmla="*/ 297887 w 608129"/>
                <a:gd name="connsiteY145" fmla="*/ 151249 h 343858"/>
                <a:gd name="connsiteX146" fmla="*/ 297127 w 608129"/>
                <a:gd name="connsiteY146" fmla="*/ 150490 h 343858"/>
                <a:gd name="connsiteX147" fmla="*/ 294089 w 608129"/>
                <a:gd name="connsiteY147" fmla="*/ 147457 h 343858"/>
                <a:gd name="connsiteX148" fmla="*/ 292570 w 608129"/>
                <a:gd name="connsiteY148" fmla="*/ 145941 h 343858"/>
                <a:gd name="connsiteX149" fmla="*/ 289532 w 608129"/>
                <a:gd name="connsiteY149" fmla="*/ 142149 h 343858"/>
                <a:gd name="connsiteX150" fmla="*/ 289532 w 608129"/>
                <a:gd name="connsiteY150" fmla="*/ 140633 h 343858"/>
                <a:gd name="connsiteX151" fmla="*/ 287253 w 608129"/>
                <a:gd name="connsiteY151" fmla="*/ 136083 h 343858"/>
                <a:gd name="connsiteX152" fmla="*/ 237125 w 608129"/>
                <a:gd name="connsiteY152" fmla="*/ 141391 h 343858"/>
                <a:gd name="connsiteX153" fmla="*/ 215098 w 608129"/>
                <a:gd name="connsiteY153" fmla="*/ 165657 h 343858"/>
                <a:gd name="connsiteX154" fmla="*/ 214339 w 608129"/>
                <a:gd name="connsiteY154" fmla="*/ 166415 h 343858"/>
                <a:gd name="connsiteX155" fmla="*/ 212060 w 608129"/>
                <a:gd name="connsiteY155" fmla="*/ 168690 h 343858"/>
                <a:gd name="connsiteX156" fmla="*/ 211301 w 608129"/>
                <a:gd name="connsiteY156" fmla="*/ 168690 h 343858"/>
                <a:gd name="connsiteX157" fmla="*/ 209022 w 608129"/>
                <a:gd name="connsiteY157" fmla="*/ 170206 h 343858"/>
                <a:gd name="connsiteX158" fmla="*/ 207503 w 608129"/>
                <a:gd name="connsiteY158" fmla="*/ 170965 h 343858"/>
                <a:gd name="connsiteX159" fmla="*/ 205224 w 608129"/>
                <a:gd name="connsiteY159" fmla="*/ 171723 h 343858"/>
                <a:gd name="connsiteX160" fmla="*/ 203705 w 608129"/>
                <a:gd name="connsiteY160" fmla="*/ 171723 h 343858"/>
                <a:gd name="connsiteX161" fmla="*/ 202186 w 608129"/>
                <a:gd name="connsiteY161" fmla="*/ 171723 h 343858"/>
                <a:gd name="connsiteX162" fmla="*/ 201427 w 608129"/>
                <a:gd name="connsiteY162" fmla="*/ 171723 h 343858"/>
                <a:gd name="connsiteX163" fmla="*/ 199148 w 608129"/>
                <a:gd name="connsiteY163" fmla="*/ 171723 h 343858"/>
                <a:gd name="connsiteX164" fmla="*/ 198389 w 608129"/>
                <a:gd name="connsiteY164" fmla="*/ 171723 h 343858"/>
                <a:gd name="connsiteX165" fmla="*/ 191553 w 608129"/>
                <a:gd name="connsiteY165" fmla="*/ 169448 h 343858"/>
                <a:gd name="connsiteX166" fmla="*/ 188515 w 608129"/>
                <a:gd name="connsiteY166" fmla="*/ 167173 h 343858"/>
                <a:gd name="connsiteX167" fmla="*/ 178641 w 608129"/>
                <a:gd name="connsiteY167" fmla="*/ 158073 h 343858"/>
                <a:gd name="connsiteX168" fmla="*/ 176362 w 608129"/>
                <a:gd name="connsiteY168" fmla="*/ 155040 h 343858"/>
                <a:gd name="connsiteX169" fmla="*/ 175603 w 608129"/>
                <a:gd name="connsiteY169" fmla="*/ 154282 h 343858"/>
                <a:gd name="connsiteX170" fmla="*/ 174084 w 608129"/>
                <a:gd name="connsiteY170" fmla="*/ 152007 h 343858"/>
                <a:gd name="connsiteX171" fmla="*/ 142943 w 608129"/>
                <a:gd name="connsiteY171" fmla="*/ 159590 h 343858"/>
                <a:gd name="connsiteX172" fmla="*/ 136107 w 608129"/>
                <a:gd name="connsiteY172" fmla="*/ 171723 h 343858"/>
                <a:gd name="connsiteX173" fmla="*/ 135348 w 608129"/>
                <a:gd name="connsiteY173" fmla="*/ 173998 h 343858"/>
                <a:gd name="connsiteX174" fmla="*/ 134588 w 608129"/>
                <a:gd name="connsiteY174" fmla="*/ 174756 h 343858"/>
                <a:gd name="connsiteX175" fmla="*/ 133069 w 608129"/>
                <a:gd name="connsiteY175" fmla="*/ 175514 h 343858"/>
                <a:gd name="connsiteX176" fmla="*/ 131550 w 608129"/>
                <a:gd name="connsiteY176" fmla="*/ 177789 h 343858"/>
                <a:gd name="connsiteX177" fmla="*/ 130791 w 608129"/>
                <a:gd name="connsiteY177" fmla="*/ 177789 h 343858"/>
                <a:gd name="connsiteX178" fmla="*/ 124715 w 608129"/>
                <a:gd name="connsiteY178" fmla="*/ 181581 h 343858"/>
                <a:gd name="connsiteX179" fmla="*/ 119398 w 608129"/>
                <a:gd name="connsiteY179" fmla="*/ 182339 h 343858"/>
                <a:gd name="connsiteX180" fmla="*/ 118638 w 608129"/>
                <a:gd name="connsiteY180" fmla="*/ 182339 h 343858"/>
                <a:gd name="connsiteX181" fmla="*/ 117879 w 608129"/>
                <a:gd name="connsiteY181" fmla="*/ 182339 h 343858"/>
                <a:gd name="connsiteX182" fmla="*/ 114841 w 608129"/>
                <a:gd name="connsiteY182" fmla="*/ 182339 h 343858"/>
                <a:gd name="connsiteX183" fmla="*/ 113322 w 608129"/>
                <a:gd name="connsiteY183" fmla="*/ 181581 h 343858"/>
                <a:gd name="connsiteX184" fmla="*/ 109524 w 608129"/>
                <a:gd name="connsiteY184" fmla="*/ 180064 h 343858"/>
                <a:gd name="connsiteX185" fmla="*/ 108764 w 608129"/>
                <a:gd name="connsiteY185" fmla="*/ 180064 h 343858"/>
                <a:gd name="connsiteX186" fmla="*/ 99650 w 608129"/>
                <a:gd name="connsiteY186" fmla="*/ 175514 h 343858"/>
                <a:gd name="connsiteX187" fmla="*/ 92814 w 608129"/>
                <a:gd name="connsiteY187" fmla="*/ 189922 h 343858"/>
                <a:gd name="connsiteX188" fmla="*/ 71548 w 608129"/>
                <a:gd name="connsiteY188" fmla="*/ 202813 h 343858"/>
                <a:gd name="connsiteX189" fmla="*/ 70029 w 608129"/>
                <a:gd name="connsiteY189" fmla="*/ 214188 h 343858"/>
                <a:gd name="connsiteX190" fmla="*/ 61674 w 608129"/>
                <a:gd name="connsiteY190" fmla="*/ 225562 h 343858"/>
                <a:gd name="connsiteX191" fmla="*/ 51800 w 608129"/>
                <a:gd name="connsiteY191" fmla="*/ 232387 h 343858"/>
                <a:gd name="connsiteX192" fmla="*/ 159653 w 608129"/>
                <a:gd name="connsiteY192" fmla="*/ 232387 h 343858"/>
                <a:gd name="connsiteX193" fmla="*/ 158134 w 608129"/>
                <a:gd name="connsiteY193" fmla="*/ 224804 h 343858"/>
                <a:gd name="connsiteX194" fmla="*/ 159653 w 608129"/>
                <a:gd name="connsiteY194" fmla="*/ 211155 h 343858"/>
                <a:gd name="connsiteX195" fmla="*/ 171046 w 608129"/>
                <a:gd name="connsiteY195" fmla="*/ 202813 h 343858"/>
                <a:gd name="connsiteX196" fmla="*/ 179401 w 608129"/>
                <a:gd name="connsiteY196" fmla="*/ 213430 h 343858"/>
                <a:gd name="connsiteX197" fmla="*/ 177881 w 608129"/>
                <a:gd name="connsiteY197" fmla="*/ 227837 h 343858"/>
                <a:gd name="connsiteX198" fmla="*/ 175603 w 608129"/>
                <a:gd name="connsiteY198" fmla="*/ 232387 h 343858"/>
                <a:gd name="connsiteX199" fmla="*/ 402702 w 608129"/>
                <a:gd name="connsiteY199" fmla="*/ 232387 h 343858"/>
                <a:gd name="connsiteX200" fmla="*/ 537897 w 608129"/>
                <a:gd name="connsiteY200" fmla="*/ 232387 h 343858"/>
                <a:gd name="connsiteX201" fmla="*/ 528783 w 608129"/>
                <a:gd name="connsiteY201" fmla="*/ 208880 h 343858"/>
                <a:gd name="connsiteX202" fmla="*/ 528783 w 608129"/>
                <a:gd name="connsiteY202" fmla="*/ 205847 h 343858"/>
                <a:gd name="connsiteX203" fmla="*/ 519669 w 608129"/>
                <a:gd name="connsiteY203" fmla="*/ 196747 h 343858"/>
                <a:gd name="connsiteX204" fmla="*/ 512833 w 608129"/>
                <a:gd name="connsiteY204" fmla="*/ 196747 h 343858"/>
                <a:gd name="connsiteX205" fmla="*/ 501440 w 608129"/>
                <a:gd name="connsiteY205" fmla="*/ 186131 h 343858"/>
                <a:gd name="connsiteX206" fmla="*/ 492326 w 608129"/>
                <a:gd name="connsiteY206" fmla="*/ 177789 h 343858"/>
                <a:gd name="connsiteX207" fmla="*/ 472578 w 608129"/>
                <a:gd name="connsiteY207" fmla="*/ 162623 h 343858"/>
                <a:gd name="connsiteX208" fmla="*/ 463464 w 608129"/>
                <a:gd name="connsiteY208" fmla="*/ 150490 h 343858"/>
                <a:gd name="connsiteX209" fmla="*/ 458907 w 608129"/>
                <a:gd name="connsiteY209" fmla="*/ 152765 h 343858"/>
                <a:gd name="connsiteX210" fmla="*/ 429285 w 608129"/>
                <a:gd name="connsiteY210" fmla="*/ 161107 h 343858"/>
                <a:gd name="connsiteX211" fmla="*/ 424728 w 608129"/>
                <a:gd name="connsiteY211" fmla="*/ 161865 h 343858"/>
                <a:gd name="connsiteX212" fmla="*/ 423968 w 608129"/>
                <a:gd name="connsiteY212" fmla="*/ 161865 h 343858"/>
                <a:gd name="connsiteX213" fmla="*/ 423209 w 608129"/>
                <a:gd name="connsiteY213" fmla="*/ 161865 h 343858"/>
                <a:gd name="connsiteX214" fmla="*/ 420171 w 608129"/>
                <a:gd name="connsiteY214" fmla="*/ 161107 h 343858"/>
                <a:gd name="connsiteX215" fmla="*/ 418652 w 608129"/>
                <a:gd name="connsiteY215" fmla="*/ 161107 h 343858"/>
                <a:gd name="connsiteX216" fmla="*/ 414094 w 608129"/>
                <a:gd name="connsiteY216" fmla="*/ 159590 h 343858"/>
                <a:gd name="connsiteX217" fmla="*/ 407259 w 608129"/>
                <a:gd name="connsiteY217" fmla="*/ 152765 h 343858"/>
                <a:gd name="connsiteX218" fmla="*/ 404221 w 608129"/>
                <a:gd name="connsiteY218" fmla="*/ 147457 h 343858"/>
                <a:gd name="connsiteX219" fmla="*/ 401182 w 608129"/>
                <a:gd name="connsiteY219" fmla="*/ 135324 h 343858"/>
                <a:gd name="connsiteX220" fmla="*/ 363206 w 608129"/>
                <a:gd name="connsiteY220" fmla="*/ 133808 h 343858"/>
                <a:gd name="connsiteX221" fmla="*/ 105726 w 608129"/>
                <a:gd name="connsiteY221" fmla="*/ 121675 h 343858"/>
                <a:gd name="connsiteX222" fmla="*/ 91295 w 608129"/>
                <a:gd name="connsiteY222" fmla="*/ 148216 h 343858"/>
                <a:gd name="connsiteX223" fmla="*/ 117119 w 608129"/>
                <a:gd name="connsiteY223" fmla="*/ 161865 h 343858"/>
                <a:gd name="connsiteX224" fmla="*/ 118638 w 608129"/>
                <a:gd name="connsiteY224" fmla="*/ 162623 h 343858"/>
                <a:gd name="connsiteX225" fmla="*/ 132310 w 608129"/>
                <a:gd name="connsiteY225" fmla="*/ 135324 h 343858"/>
                <a:gd name="connsiteX226" fmla="*/ 445235 w 608129"/>
                <a:gd name="connsiteY226" fmla="*/ 104234 h 343858"/>
                <a:gd name="connsiteX227" fmla="*/ 415614 w 608129"/>
                <a:gd name="connsiteY227" fmla="*/ 112575 h 343858"/>
                <a:gd name="connsiteX228" fmla="*/ 423968 w 608129"/>
                <a:gd name="connsiteY228" fmla="*/ 141391 h 343858"/>
                <a:gd name="connsiteX229" fmla="*/ 453590 w 608129"/>
                <a:gd name="connsiteY229" fmla="*/ 133049 h 343858"/>
                <a:gd name="connsiteX230" fmla="*/ 324470 w 608129"/>
                <a:gd name="connsiteY230" fmla="*/ 101201 h 343858"/>
                <a:gd name="connsiteX231" fmla="*/ 303963 w 608129"/>
                <a:gd name="connsiteY231" fmla="*/ 121675 h 343858"/>
                <a:gd name="connsiteX232" fmla="*/ 304723 w 608129"/>
                <a:gd name="connsiteY232" fmla="*/ 123192 h 343858"/>
                <a:gd name="connsiteX233" fmla="*/ 304723 w 608129"/>
                <a:gd name="connsiteY233" fmla="*/ 123950 h 343858"/>
                <a:gd name="connsiteX234" fmla="*/ 311558 w 608129"/>
                <a:gd name="connsiteY234" fmla="*/ 136841 h 343858"/>
                <a:gd name="connsiteX235" fmla="*/ 313837 w 608129"/>
                <a:gd name="connsiteY235" fmla="*/ 138358 h 343858"/>
                <a:gd name="connsiteX236" fmla="*/ 314596 w 608129"/>
                <a:gd name="connsiteY236" fmla="*/ 139116 h 343858"/>
                <a:gd name="connsiteX237" fmla="*/ 317634 w 608129"/>
                <a:gd name="connsiteY237" fmla="*/ 139874 h 343858"/>
                <a:gd name="connsiteX238" fmla="*/ 318394 w 608129"/>
                <a:gd name="connsiteY238" fmla="*/ 140633 h 343858"/>
                <a:gd name="connsiteX239" fmla="*/ 320673 w 608129"/>
                <a:gd name="connsiteY239" fmla="*/ 141391 h 343858"/>
                <a:gd name="connsiteX240" fmla="*/ 324470 w 608129"/>
                <a:gd name="connsiteY240" fmla="*/ 141391 h 343858"/>
                <a:gd name="connsiteX241" fmla="*/ 328268 w 608129"/>
                <a:gd name="connsiteY241" fmla="*/ 141391 h 343858"/>
                <a:gd name="connsiteX242" fmla="*/ 329787 w 608129"/>
                <a:gd name="connsiteY242" fmla="*/ 140633 h 343858"/>
                <a:gd name="connsiteX243" fmla="*/ 332066 w 608129"/>
                <a:gd name="connsiteY243" fmla="*/ 139874 h 343858"/>
                <a:gd name="connsiteX244" fmla="*/ 333585 w 608129"/>
                <a:gd name="connsiteY244" fmla="*/ 139116 h 343858"/>
                <a:gd name="connsiteX245" fmla="*/ 335863 w 608129"/>
                <a:gd name="connsiteY245" fmla="*/ 138358 h 343858"/>
                <a:gd name="connsiteX246" fmla="*/ 337382 w 608129"/>
                <a:gd name="connsiteY246" fmla="*/ 136841 h 343858"/>
                <a:gd name="connsiteX247" fmla="*/ 338142 w 608129"/>
                <a:gd name="connsiteY247" fmla="*/ 136083 h 343858"/>
                <a:gd name="connsiteX248" fmla="*/ 340420 w 608129"/>
                <a:gd name="connsiteY248" fmla="*/ 133808 h 343858"/>
                <a:gd name="connsiteX249" fmla="*/ 340420 w 608129"/>
                <a:gd name="connsiteY249" fmla="*/ 133049 h 343858"/>
                <a:gd name="connsiteX250" fmla="*/ 344218 w 608129"/>
                <a:gd name="connsiteY250" fmla="*/ 123192 h 343858"/>
                <a:gd name="connsiteX251" fmla="*/ 344977 w 608129"/>
                <a:gd name="connsiteY251" fmla="*/ 120917 h 343858"/>
                <a:gd name="connsiteX252" fmla="*/ 324470 w 608129"/>
                <a:gd name="connsiteY252" fmla="*/ 101201 h 343858"/>
                <a:gd name="connsiteX253" fmla="*/ 234086 w 608129"/>
                <a:gd name="connsiteY253" fmla="*/ 98926 h 343858"/>
                <a:gd name="connsiteX254" fmla="*/ 193832 w 608129"/>
                <a:gd name="connsiteY254" fmla="*/ 144424 h 343858"/>
                <a:gd name="connsiteX255" fmla="*/ 201427 w 608129"/>
                <a:gd name="connsiteY255" fmla="*/ 151249 h 343858"/>
                <a:gd name="connsiteX256" fmla="*/ 227251 w 608129"/>
                <a:gd name="connsiteY256" fmla="*/ 121675 h 343858"/>
                <a:gd name="connsiteX257" fmla="*/ 241682 w 608129"/>
                <a:gd name="connsiteY257" fmla="*/ 105751 h 343858"/>
                <a:gd name="connsiteX258" fmla="*/ 233042 w 608129"/>
                <a:gd name="connsiteY258" fmla="*/ 78357 h 343858"/>
                <a:gd name="connsiteX259" fmla="*/ 246239 w 608129"/>
                <a:gd name="connsiteY259" fmla="*/ 83001 h 343858"/>
                <a:gd name="connsiteX260" fmla="*/ 256872 w 608129"/>
                <a:gd name="connsiteY260" fmla="*/ 92101 h 343858"/>
                <a:gd name="connsiteX261" fmla="*/ 257632 w 608129"/>
                <a:gd name="connsiteY261" fmla="*/ 118642 h 343858"/>
                <a:gd name="connsiteX262" fmla="*/ 284215 w 608129"/>
                <a:gd name="connsiteY262" fmla="*/ 116367 h 343858"/>
                <a:gd name="connsiteX263" fmla="*/ 324470 w 608129"/>
                <a:gd name="connsiteY263" fmla="*/ 80727 h 343858"/>
                <a:gd name="connsiteX264" fmla="*/ 363966 w 608129"/>
                <a:gd name="connsiteY264" fmla="*/ 114092 h 343858"/>
                <a:gd name="connsiteX265" fmla="*/ 395866 w 608129"/>
                <a:gd name="connsiteY265" fmla="*/ 114850 h 343858"/>
                <a:gd name="connsiteX266" fmla="*/ 398144 w 608129"/>
                <a:gd name="connsiteY266" fmla="*/ 102717 h 343858"/>
                <a:gd name="connsiteX267" fmla="*/ 410297 w 608129"/>
                <a:gd name="connsiteY267" fmla="*/ 92859 h 343858"/>
                <a:gd name="connsiteX268" fmla="*/ 439159 w 608129"/>
                <a:gd name="connsiteY268" fmla="*/ 84518 h 343858"/>
                <a:gd name="connsiteX269" fmla="*/ 454349 w 608129"/>
                <a:gd name="connsiteY269" fmla="*/ 86035 h 343858"/>
                <a:gd name="connsiteX270" fmla="*/ 464223 w 608129"/>
                <a:gd name="connsiteY270" fmla="*/ 98168 h 343858"/>
                <a:gd name="connsiteX271" fmla="*/ 472578 w 608129"/>
                <a:gd name="connsiteY271" fmla="*/ 127741 h 343858"/>
                <a:gd name="connsiteX272" fmla="*/ 473338 w 608129"/>
                <a:gd name="connsiteY272" fmla="*/ 132291 h 343858"/>
                <a:gd name="connsiteX273" fmla="*/ 492326 w 608129"/>
                <a:gd name="connsiteY273" fmla="*/ 157315 h 343858"/>
                <a:gd name="connsiteX274" fmla="*/ 519669 w 608129"/>
                <a:gd name="connsiteY274" fmla="*/ 176273 h 343858"/>
                <a:gd name="connsiteX275" fmla="*/ 524226 w 608129"/>
                <a:gd name="connsiteY275" fmla="*/ 177031 h 343858"/>
                <a:gd name="connsiteX276" fmla="*/ 547771 w 608129"/>
                <a:gd name="connsiteY276" fmla="*/ 199780 h 343858"/>
                <a:gd name="connsiteX277" fmla="*/ 548531 w 608129"/>
                <a:gd name="connsiteY277" fmla="*/ 210396 h 343858"/>
                <a:gd name="connsiteX278" fmla="*/ 553848 w 608129"/>
                <a:gd name="connsiteY278" fmla="*/ 219496 h 343858"/>
                <a:gd name="connsiteX279" fmla="*/ 564481 w 608129"/>
                <a:gd name="connsiteY279" fmla="*/ 232387 h 343858"/>
                <a:gd name="connsiteX280" fmla="*/ 588786 w 608129"/>
                <a:gd name="connsiteY280" fmla="*/ 232387 h 343858"/>
                <a:gd name="connsiteX281" fmla="*/ 606255 w 608129"/>
                <a:gd name="connsiteY281" fmla="*/ 243003 h 343858"/>
                <a:gd name="connsiteX282" fmla="*/ 604736 w 608129"/>
                <a:gd name="connsiteY282" fmla="*/ 263478 h 343858"/>
                <a:gd name="connsiteX283" fmla="*/ 603217 w 608129"/>
                <a:gd name="connsiteY283" fmla="*/ 264994 h 343858"/>
                <a:gd name="connsiteX284" fmla="*/ 550809 w 608129"/>
                <a:gd name="connsiteY284" fmla="*/ 296843 h 343858"/>
                <a:gd name="connsiteX285" fmla="*/ 544733 w 608129"/>
                <a:gd name="connsiteY285" fmla="*/ 312768 h 343858"/>
                <a:gd name="connsiteX286" fmla="*/ 516631 w 608129"/>
                <a:gd name="connsiteY286" fmla="*/ 343858 h 343858"/>
                <a:gd name="connsiteX287" fmla="*/ 91295 w 608129"/>
                <a:gd name="connsiteY287" fmla="*/ 343858 h 343858"/>
                <a:gd name="connsiteX288" fmla="*/ 63952 w 608129"/>
                <a:gd name="connsiteY288" fmla="*/ 312768 h 343858"/>
                <a:gd name="connsiteX289" fmla="*/ 57876 w 608129"/>
                <a:gd name="connsiteY289" fmla="*/ 296843 h 343858"/>
                <a:gd name="connsiteX290" fmla="*/ 4709 w 608129"/>
                <a:gd name="connsiteY290" fmla="*/ 264994 h 343858"/>
                <a:gd name="connsiteX291" fmla="*/ 3950 w 608129"/>
                <a:gd name="connsiteY291" fmla="*/ 263478 h 343858"/>
                <a:gd name="connsiteX292" fmla="*/ 2431 w 608129"/>
                <a:gd name="connsiteY292" fmla="*/ 243003 h 343858"/>
                <a:gd name="connsiteX293" fmla="*/ 19900 w 608129"/>
                <a:gd name="connsiteY293" fmla="*/ 232387 h 343858"/>
                <a:gd name="connsiteX294" fmla="*/ 31293 w 608129"/>
                <a:gd name="connsiteY294" fmla="*/ 232387 h 343858"/>
                <a:gd name="connsiteX295" fmla="*/ 49521 w 608129"/>
                <a:gd name="connsiteY295" fmla="*/ 208880 h 343858"/>
                <a:gd name="connsiteX296" fmla="*/ 57117 w 608129"/>
                <a:gd name="connsiteY296" fmla="*/ 187647 h 343858"/>
                <a:gd name="connsiteX297" fmla="*/ 68510 w 608129"/>
                <a:gd name="connsiteY297" fmla="*/ 182339 h 343858"/>
                <a:gd name="connsiteX298" fmla="*/ 76864 w 608129"/>
                <a:gd name="connsiteY298" fmla="*/ 177031 h 343858"/>
                <a:gd name="connsiteX299" fmla="*/ 79902 w 608129"/>
                <a:gd name="connsiteY299" fmla="*/ 167931 h 343858"/>
                <a:gd name="connsiteX300" fmla="*/ 79902 w 608129"/>
                <a:gd name="connsiteY300" fmla="*/ 164140 h 343858"/>
                <a:gd name="connsiteX301" fmla="*/ 73826 w 608129"/>
                <a:gd name="connsiteY301" fmla="*/ 139116 h 343858"/>
                <a:gd name="connsiteX302" fmla="*/ 87498 w 608129"/>
                <a:gd name="connsiteY302" fmla="*/ 111817 h 343858"/>
                <a:gd name="connsiteX303" fmla="*/ 99650 w 608129"/>
                <a:gd name="connsiteY303" fmla="*/ 101959 h 343858"/>
                <a:gd name="connsiteX304" fmla="*/ 114841 w 608129"/>
                <a:gd name="connsiteY304" fmla="*/ 103476 h 343858"/>
                <a:gd name="connsiteX305" fmla="*/ 142184 w 608129"/>
                <a:gd name="connsiteY305" fmla="*/ 117125 h 343858"/>
                <a:gd name="connsiteX306" fmla="*/ 152058 w 608129"/>
                <a:gd name="connsiteY306" fmla="*/ 129258 h 343858"/>
                <a:gd name="connsiteX307" fmla="*/ 152817 w 608129"/>
                <a:gd name="connsiteY307" fmla="*/ 136083 h 343858"/>
                <a:gd name="connsiteX308" fmla="*/ 178641 w 608129"/>
                <a:gd name="connsiteY308" fmla="*/ 130016 h 343858"/>
                <a:gd name="connsiteX309" fmla="*/ 220415 w 608129"/>
                <a:gd name="connsiteY309" fmla="*/ 84518 h 343858"/>
                <a:gd name="connsiteX310" fmla="*/ 233042 w 608129"/>
                <a:gd name="connsiteY310" fmla="*/ 78357 h 343858"/>
                <a:gd name="connsiteX311" fmla="*/ 162582 w 608129"/>
                <a:gd name="connsiteY311" fmla="*/ 60954 h 343858"/>
                <a:gd name="connsiteX312" fmla="*/ 142076 w 608129"/>
                <a:gd name="connsiteY312" fmla="*/ 80671 h 343858"/>
                <a:gd name="connsiteX313" fmla="*/ 162582 w 608129"/>
                <a:gd name="connsiteY313" fmla="*/ 101147 h 343858"/>
                <a:gd name="connsiteX314" fmla="*/ 182329 w 608129"/>
                <a:gd name="connsiteY314" fmla="*/ 80671 h 343858"/>
                <a:gd name="connsiteX315" fmla="*/ 162582 w 608129"/>
                <a:gd name="connsiteY315" fmla="*/ 60954 h 343858"/>
                <a:gd name="connsiteX316" fmla="*/ 162582 w 608129"/>
                <a:gd name="connsiteY316" fmla="*/ 40478 h 343858"/>
                <a:gd name="connsiteX317" fmla="*/ 202836 w 608129"/>
                <a:gd name="connsiteY317" fmla="*/ 80671 h 343858"/>
                <a:gd name="connsiteX318" fmla="*/ 162582 w 608129"/>
                <a:gd name="connsiteY318" fmla="*/ 121623 h 343858"/>
                <a:gd name="connsiteX319" fmla="*/ 121569 w 608129"/>
                <a:gd name="connsiteY319" fmla="*/ 80671 h 343858"/>
                <a:gd name="connsiteX320" fmla="*/ 162582 w 608129"/>
                <a:gd name="connsiteY320" fmla="*/ 40478 h 343858"/>
                <a:gd name="connsiteX321" fmla="*/ 285697 w 608129"/>
                <a:gd name="connsiteY321" fmla="*/ 32920 h 343858"/>
                <a:gd name="connsiteX322" fmla="*/ 256860 w 608129"/>
                <a:gd name="connsiteY322" fmla="*/ 41258 h 343858"/>
                <a:gd name="connsiteX323" fmla="*/ 265208 w 608129"/>
                <a:gd name="connsiteY323" fmla="*/ 70819 h 343858"/>
                <a:gd name="connsiteX324" fmla="*/ 294045 w 608129"/>
                <a:gd name="connsiteY324" fmla="*/ 62481 h 343858"/>
                <a:gd name="connsiteX325" fmla="*/ 364659 w 608129"/>
                <a:gd name="connsiteY325" fmla="*/ 20767 h 343858"/>
                <a:gd name="connsiteX326" fmla="*/ 355552 w 608129"/>
                <a:gd name="connsiteY326" fmla="*/ 23799 h 343858"/>
                <a:gd name="connsiteX327" fmla="*/ 376044 w 608129"/>
                <a:gd name="connsiteY327" fmla="*/ 81416 h 343858"/>
                <a:gd name="connsiteX328" fmla="*/ 385910 w 608129"/>
                <a:gd name="connsiteY328" fmla="*/ 77625 h 343858"/>
                <a:gd name="connsiteX329" fmla="*/ 280385 w 608129"/>
                <a:gd name="connsiteY329" fmla="*/ 13971 h 343858"/>
                <a:gd name="connsiteX330" fmla="*/ 295563 w 608129"/>
                <a:gd name="connsiteY330" fmla="*/ 15487 h 343858"/>
                <a:gd name="connsiteX331" fmla="*/ 305428 w 608129"/>
                <a:gd name="connsiteY331" fmla="*/ 27614 h 343858"/>
                <a:gd name="connsiteX332" fmla="*/ 313776 w 608129"/>
                <a:gd name="connsiteY332" fmla="*/ 57176 h 343858"/>
                <a:gd name="connsiteX333" fmla="*/ 311500 w 608129"/>
                <a:gd name="connsiteY333" fmla="*/ 72335 h 343858"/>
                <a:gd name="connsiteX334" fmla="*/ 299357 w 608129"/>
                <a:gd name="connsiteY334" fmla="*/ 82189 h 343858"/>
                <a:gd name="connsiteX335" fmla="*/ 270520 w 608129"/>
                <a:gd name="connsiteY335" fmla="*/ 90527 h 343858"/>
                <a:gd name="connsiteX336" fmla="*/ 265208 w 608129"/>
                <a:gd name="connsiteY336" fmla="*/ 91285 h 343858"/>
                <a:gd name="connsiteX337" fmla="*/ 255342 w 608129"/>
                <a:gd name="connsiteY337" fmla="*/ 88253 h 343858"/>
                <a:gd name="connsiteX338" fmla="*/ 245477 w 608129"/>
                <a:gd name="connsiteY338" fmla="*/ 76125 h 343858"/>
                <a:gd name="connsiteX339" fmla="*/ 237129 w 608129"/>
                <a:gd name="connsiteY339" fmla="*/ 47322 h 343858"/>
                <a:gd name="connsiteX340" fmla="*/ 238647 w 608129"/>
                <a:gd name="connsiteY340" fmla="*/ 32162 h 343858"/>
                <a:gd name="connsiteX341" fmla="*/ 250789 w 608129"/>
                <a:gd name="connsiteY341" fmla="*/ 22309 h 343858"/>
                <a:gd name="connsiteX342" fmla="*/ 359347 w 608129"/>
                <a:gd name="connsiteY342" fmla="*/ 1056 h 343858"/>
                <a:gd name="connsiteX343" fmla="*/ 373767 w 608129"/>
                <a:gd name="connsiteY343" fmla="*/ 1814 h 343858"/>
                <a:gd name="connsiteX344" fmla="*/ 383633 w 608129"/>
                <a:gd name="connsiteY344" fmla="*/ 12428 h 343858"/>
                <a:gd name="connsiteX345" fmla="*/ 404884 w 608129"/>
                <a:gd name="connsiteY345" fmla="*/ 72318 h 343858"/>
                <a:gd name="connsiteX346" fmla="*/ 404884 w 608129"/>
                <a:gd name="connsiteY346" fmla="*/ 86723 h 343858"/>
                <a:gd name="connsiteX347" fmla="*/ 394259 w 608129"/>
                <a:gd name="connsiteY347" fmla="*/ 95820 h 343858"/>
                <a:gd name="connsiteX348" fmla="*/ 381356 w 608129"/>
                <a:gd name="connsiteY348" fmla="*/ 100369 h 343858"/>
                <a:gd name="connsiteX349" fmla="*/ 375285 w 608129"/>
                <a:gd name="connsiteY349" fmla="*/ 101885 h 343858"/>
                <a:gd name="connsiteX350" fmla="*/ 367695 w 608129"/>
                <a:gd name="connsiteY350" fmla="*/ 100369 h 343858"/>
                <a:gd name="connsiteX351" fmla="*/ 357829 w 608129"/>
                <a:gd name="connsiteY351" fmla="*/ 89755 h 343858"/>
                <a:gd name="connsiteX352" fmla="*/ 335819 w 608129"/>
                <a:gd name="connsiteY352" fmla="*/ 29864 h 343858"/>
                <a:gd name="connsiteX353" fmla="*/ 336578 w 608129"/>
                <a:gd name="connsiteY353" fmla="*/ 15460 h 343858"/>
                <a:gd name="connsiteX354" fmla="*/ 347203 w 608129"/>
                <a:gd name="connsiteY354" fmla="*/ 5605 h 34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</a:cxnLst>
              <a:rect l="l" t="t" r="r" b="b"/>
              <a:pathLst>
                <a:path w="41014" h="40190">
                  <a:moveTo>
                    <a:pt x="20507" y="0"/>
                  </a:moveTo>
                  <a:cubicBezTo>
                    <a:pt x="9114" y="0"/>
                    <a:pt x="0" y="9099"/>
                    <a:pt x="0" y="20474"/>
                  </a:cubicBezTo>
                  <a:cubicBezTo>
                    <a:pt x="0" y="20474"/>
                    <a:pt x="760" y="21232"/>
                    <a:pt x="760" y="21991"/>
                  </a:cubicBezTo>
                  <a:lnTo>
                    <a:pt x="760" y="22749"/>
                  </a:lnTo>
                  <a:cubicBezTo>
                    <a:pt x="1519" y="28057"/>
                    <a:pt x="3798" y="31848"/>
                    <a:pt x="7595" y="35640"/>
                  </a:cubicBezTo>
                  <a:cubicBezTo>
                    <a:pt x="8355" y="36398"/>
                    <a:pt x="9114" y="37157"/>
                    <a:pt x="9874" y="37157"/>
                  </a:cubicBezTo>
                  <a:cubicBezTo>
                    <a:pt x="10633" y="37157"/>
                    <a:pt x="10633" y="37915"/>
                    <a:pt x="10633" y="37915"/>
                  </a:cubicBezTo>
                  <a:cubicBezTo>
                    <a:pt x="11393" y="37915"/>
                    <a:pt x="12152" y="38673"/>
                    <a:pt x="13671" y="38673"/>
                  </a:cubicBezTo>
                  <a:cubicBezTo>
                    <a:pt x="13671" y="39432"/>
                    <a:pt x="14431" y="39432"/>
                    <a:pt x="14431" y="39432"/>
                  </a:cubicBezTo>
                  <a:cubicBezTo>
                    <a:pt x="15191" y="39432"/>
                    <a:pt x="15950" y="40190"/>
                    <a:pt x="16710" y="40190"/>
                  </a:cubicBezTo>
                  <a:cubicBezTo>
                    <a:pt x="18229" y="40190"/>
                    <a:pt x="18988" y="40190"/>
                    <a:pt x="20507" y="40190"/>
                  </a:cubicBezTo>
                  <a:cubicBezTo>
                    <a:pt x="22026" y="40190"/>
                    <a:pt x="23545" y="40190"/>
                    <a:pt x="24305" y="40190"/>
                  </a:cubicBezTo>
                  <a:cubicBezTo>
                    <a:pt x="25064" y="40190"/>
                    <a:pt x="25064" y="39432"/>
                    <a:pt x="25824" y="39432"/>
                  </a:cubicBezTo>
                  <a:cubicBezTo>
                    <a:pt x="26583" y="39432"/>
                    <a:pt x="27343" y="39432"/>
                    <a:pt x="28103" y="38673"/>
                  </a:cubicBezTo>
                  <a:cubicBezTo>
                    <a:pt x="28862" y="38673"/>
                    <a:pt x="28862" y="38673"/>
                    <a:pt x="29622" y="37915"/>
                  </a:cubicBezTo>
                  <a:cubicBezTo>
                    <a:pt x="30381" y="37915"/>
                    <a:pt x="31141" y="37157"/>
                    <a:pt x="31900" y="37157"/>
                  </a:cubicBezTo>
                  <a:cubicBezTo>
                    <a:pt x="31900" y="36398"/>
                    <a:pt x="32660" y="36398"/>
                    <a:pt x="33419" y="35640"/>
                  </a:cubicBezTo>
                  <a:cubicBezTo>
                    <a:pt x="33419" y="35640"/>
                    <a:pt x="34179" y="34882"/>
                    <a:pt x="34179" y="34882"/>
                  </a:cubicBezTo>
                  <a:cubicBezTo>
                    <a:pt x="34938" y="34123"/>
                    <a:pt x="35698" y="33365"/>
                    <a:pt x="36457" y="32607"/>
                  </a:cubicBezTo>
                  <a:cubicBezTo>
                    <a:pt x="36457" y="32607"/>
                    <a:pt x="36457" y="32607"/>
                    <a:pt x="36457" y="31848"/>
                  </a:cubicBezTo>
                  <a:cubicBezTo>
                    <a:pt x="38736" y="29574"/>
                    <a:pt x="40255" y="25782"/>
                    <a:pt x="40255" y="21991"/>
                  </a:cubicBezTo>
                  <a:lnTo>
                    <a:pt x="41014" y="19716"/>
                  </a:lnTo>
                  <a:cubicBezTo>
                    <a:pt x="40255" y="9099"/>
                    <a:pt x="31900" y="0"/>
                    <a:pt x="20507" y="0"/>
                  </a:cubicBezTo>
                </a:path>
              </a:pathLst>
            </a:custGeom>
            <a:noFill/>
            <a:ln w="44450">
              <a:gradFill>
                <a:gsLst>
                  <a:gs pos="0">
                    <a:schemeClr val="accent3"/>
                  </a:gs>
                  <a:gs pos="100000">
                    <a:schemeClr val="accent3">
                      <a:lumMod val="5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zh-CN" altLang="en-US">
                <a:gradFill flip="none" rotWithShape="1">
                  <a:gsLst>
                    <a:gs pos="89000">
                      <a:schemeClr val="bg1"/>
                    </a:gs>
                    <a:gs pos="0">
                      <a:schemeClr val="accent2"/>
                    </a:gs>
                  </a:gsLst>
                  <a:lin ang="13500000" scaled="1"/>
                  <a:tileRect/>
                </a:gradFill>
              </a:endParaRPr>
            </a:p>
          </p:txBody>
        </p:sp>
        <p:sp>
          <p:nvSpPr>
            <p:cNvPr id="331" name="任意多边形: 形状 330"/>
            <p:cNvSpPr>
              <a:spLocks/>
            </p:cNvSpPr>
            <p:nvPr userDrawn="1"/>
          </p:nvSpPr>
          <p:spPr bwMode="auto">
            <a:xfrm>
              <a:off x="8394024" y="3690166"/>
              <a:ext cx="45719" cy="66185"/>
            </a:xfrm>
            <a:custGeom>
              <a:avLst/>
              <a:gdLst>
                <a:gd name="connsiteX0" fmla="*/ 193001 w 608129"/>
                <a:gd name="connsiteY0" fmla="*/ 283182 h 343858"/>
                <a:gd name="connsiteX1" fmla="*/ 506699 w 608129"/>
                <a:gd name="connsiteY1" fmla="*/ 283182 h 343858"/>
                <a:gd name="connsiteX2" fmla="*/ 516573 w 608129"/>
                <a:gd name="connsiteY2" fmla="*/ 293038 h 343858"/>
                <a:gd name="connsiteX3" fmla="*/ 506699 w 608129"/>
                <a:gd name="connsiteY3" fmla="*/ 303651 h 343858"/>
                <a:gd name="connsiteX4" fmla="*/ 193001 w 608129"/>
                <a:gd name="connsiteY4" fmla="*/ 303651 h 343858"/>
                <a:gd name="connsiteX5" fmla="*/ 182367 w 608129"/>
                <a:gd name="connsiteY5" fmla="*/ 293038 h 343858"/>
                <a:gd name="connsiteX6" fmla="*/ 193001 w 608129"/>
                <a:gd name="connsiteY6" fmla="*/ 283182 h 343858"/>
                <a:gd name="connsiteX7" fmla="*/ 101866 w 608129"/>
                <a:gd name="connsiteY7" fmla="*/ 283182 h 343858"/>
                <a:gd name="connsiteX8" fmla="*/ 142885 w 608129"/>
                <a:gd name="connsiteY8" fmla="*/ 283182 h 343858"/>
                <a:gd name="connsiteX9" fmla="*/ 152760 w 608129"/>
                <a:gd name="connsiteY9" fmla="*/ 293038 h 343858"/>
                <a:gd name="connsiteX10" fmla="*/ 142885 w 608129"/>
                <a:gd name="connsiteY10" fmla="*/ 303651 h 343858"/>
                <a:gd name="connsiteX11" fmla="*/ 101866 w 608129"/>
                <a:gd name="connsiteY11" fmla="*/ 303651 h 343858"/>
                <a:gd name="connsiteX12" fmla="*/ 91231 w 608129"/>
                <a:gd name="connsiteY12" fmla="*/ 293038 h 343858"/>
                <a:gd name="connsiteX13" fmla="*/ 101866 w 608129"/>
                <a:gd name="connsiteY13" fmla="*/ 283182 h 343858"/>
                <a:gd name="connsiteX14" fmla="*/ 23697 w 608129"/>
                <a:gd name="connsiteY14" fmla="*/ 252861 h 343858"/>
                <a:gd name="connsiteX15" fmla="*/ 72307 w 608129"/>
                <a:gd name="connsiteY15" fmla="*/ 281677 h 343858"/>
                <a:gd name="connsiteX16" fmla="*/ 73826 w 608129"/>
                <a:gd name="connsiteY16" fmla="*/ 283952 h 343858"/>
                <a:gd name="connsiteX17" fmla="*/ 82941 w 608129"/>
                <a:gd name="connsiteY17" fmla="*/ 307460 h 343858"/>
                <a:gd name="connsiteX18" fmla="*/ 91295 w 608129"/>
                <a:gd name="connsiteY18" fmla="*/ 323384 h 343858"/>
                <a:gd name="connsiteX19" fmla="*/ 516631 w 608129"/>
                <a:gd name="connsiteY19" fmla="*/ 323384 h 343858"/>
                <a:gd name="connsiteX20" fmla="*/ 525745 w 608129"/>
                <a:gd name="connsiteY20" fmla="*/ 307460 h 343858"/>
                <a:gd name="connsiteX21" fmla="*/ 534859 w 608129"/>
                <a:gd name="connsiteY21" fmla="*/ 283952 h 343858"/>
                <a:gd name="connsiteX22" fmla="*/ 536378 w 608129"/>
                <a:gd name="connsiteY22" fmla="*/ 281677 h 343858"/>
                <a:gd name="connsiteX23" fmla="*/ 584229 w 608129"/>
                <a:gd name="connsiteY23" fmla="*/ 252861 h 343858"/>
                <a:gd name="connsiteX24" fmla="*/ 569798 w 608129"/>
                <a:gd name="connsiteY24" fmla="*/ 252861 h 343858"/>
                <a:gd name="connsiteX25" fmla="*/ 413335 w 608129"/>
                <a:gd name="connsiteY25" fmla="*/ 252861 h 343858"/>
                <a:gd name="connsiteX26" fmla="*/ 401942 w 608129"/>
                <a:gd name="connsiteY26" fmla="*/ 252861 h 343858"/>
                <a:gd name="connsiteX27" fmla="*/ 35850 w 608129"/>
                <a:gd name="connsiteY27" fmla="*/ 252861 h 343858"/>
                <a:gd name="connsiteX28" fmla="*/ 254526 w 608129"/>
                <a:gd name="connsiteY28" fmla="*/ 201295 h 343858"/>
                <a:gd name="connsiteX29" fmla="*/ 257557 w 608129"/>
                <a:gd name="connsiteY29" fmla="*/ 214952 h 343858"/>
                <a:gd name="connsiteX30" fmla="*/ 249221 w 608129"/>
                <a:gd name="connsiteY30" fmla="*/ 227091 h 343858"/>
                <a:gd name="connsiteX31" fmla="*/ 240886 w 608129"/>
                <a:gd name="connsiteY31" fmla="*/ 231644 h 343858"/>
                <a:gd name="connsiteX32" fmla="*/ 235581 w 608129"/>
                <a:gd name="connsiteY32" fmla="*/ 229368 h 343858"/>
                <a:gd name="connsiteX33" fmla="*/ 232550 w 608129"/>
                <a:gd name="connsiteY33" fmla="*/ 215710 h 343858"/>
                <a:gd name="connsiteX34" fmla="*/ 240886 w 608129"/>
                <a:gd name="connsiteY34" fmla="*/ 203571 h 343858"/>
                <a:gd name="connsiteX35" fmla="*/ 254526 w 608129"/>
                <a:gd name="connsiteY35" fmla="*/ 201295 h 343858"/>
                <a:gd name="connsiteX36" fmla="*/ 293998 w 608129"/>
                <a:gd name="connsiteY36" fmla="*/ 199043 h 343858"/>
                <a:gd name="connsiteX37" fmla="*/ 307670 w 608129"/>
                <a:gd name="connsiteY37" fmla="*/ 202827 h 343858"/>
                <a:gd name="connsiteX38" fmla="*/ 314506 w 608129"/>
                <a:gd name="connsiteY38" fmla="*/ 214937 h 343858"/>
                <a:gd name="connsiteX39" fmla="*/ 304632 w 608129"/>
                <a:gd name="connsiteY39" fmla="*/ 222506 h 343858"/>
                <a:gd name="connsiteX40" fmla="*/ 302353 w 608129"/>
                <a:gd name="connsiteY40" fmla="*/ 221749 h 343858"/>
                <a:gd name="connsiteX41" fmla="*/ 288681 w 608129"/>
                <a:gd name="connsiteY41" fmla="*/ 218721 h 343858"/>
                <a:gd name="connsiteX42" fmla="*/ 281845 w 608129"/>
                <a:gd name="connsiteY42" fmla="*/ 205854 h 343858"/>
                <a:gd name="connsiteX43" fmla="*/ 293998 w 608129"/>
                <a:gd name="connsiteY43" fmla="*/ 199043 h 343858"/>
                <a:gd name="connsiteX44" fmla="*/ 113257 w 608129"/>
                <a:gd name="connsiteY44" fmla="*/ 193732 h 343858"/>
                <a:gd name="connsiteX45" fmla="*/ 125378 w 608129"/>
                <a:gd name="connsiteY45" fmla="*/ 201299 h 343858"/>
                <a:gd name="connsiteX46" fmla="*/ 128408 w 608129"/>
                <a:gd name="connsiteY46" fmla="*/ 214920 h 343858"/>
                <a:gd name="connsiteX47" fmla="*/ 120075 w 608129"/>
                <a:gd name="connsiteY47" fmla="*/ 219460 h 343858"/>
                <a:gd name="connsiteX48" fmla="*/ 114773 w 608129"/>
                <a:gd name="connsiteY48" fmla="*/ 217946 h 343858"/>
                <a:gd name="connsiteX49" fmla="*/ 102652 w 608129"/>
                <a:gd name="connsiteY49" fmla="*/ 211136 h 343858"/>
                <a:gd name="connsiteX50" fmla="*/ 99622 w 608129"/>
                <a:gd name="connsiteY50" fmla="*/ 196759 h 343858"/>
                <a:gd name="connsiteX51" fmla="*/ 113257 w 608129"/>
                <a:gd name="connsiteY51" fmla="*/ 193732 h 343858"/>
                <a:gd name="connsiteX52" fmla="*/ 367752 w 608129"/>
                <a:gd name="connsiteY52" fmla="*/ 192974 h 343858"/>
                <a:gd name="connsiteX53" fmla="*/ 380665 w 608129"/>
                <a:gd name="connsiteY53" fmla="*/ 199023 h 343858"/>
                <a:gd name="connsiteX54" fmla="*/ 373829 w 608129"/>
                <a:gd name="connsiteY54" fmla="*/ 211877 h 343858"/>
                <a:gd name="connsiteX55" fmla="*/ 360917 w 608129"/>
                <a:gd name="connsiteY55" fmla="*/ 216414 h 343858"/>
                <a:gd name="connsiteX56" fmla="*/ 357119 w 608129"/>
                <a:gd name="connsiteY56" fmla="*/ 216414 h 343858"/>
                <a:gd name="connsiteX57" fmla="*/ 348004 w 608129"/>
                <a:gd name="connsiteY57" fmla="*/ 209609 h 343858"/>
                <a:gd name="connsiteX58" fmla="*/ 354081 w 608129"/>
                <a:gd name="connsiteY58" fmla="*/ 196755 h 343858"/>
                <a:gd name="connsiteX59" fmla="*/ 473099 w 608129"/>
                <a:gd name="connsiteY59" fmla="*/ 187878 h 343858"/>
                <a:gd name="connsiteX60" fmla="*/ 480904 w 608129"/>
                <a:gd name="connsiteY60" fmla="*/ 189869 h 343858"/>
                <a:gd name="connsiteX61" fmla="*/ 483189 w 608129"/>
                <a:gd name="connsiteY61" fmla="*/ 203526 h 343858"/>
                <a:gd name="connsiteX62" fmla="*/ 475574 w 608129"/>
                <a:gd name="connsiteY62" fmla="*/ 214907 h 343858"/>
                <a:gd name="connsiteX63" fmla="*/ 467198 w 608129"/>
                <a:gd name="connsiteY63" fmla="*/ 219460 h 343858"/>
                <a:gd name="connsiteX64" fmla="*/ 461106 w 608129"/>
                <a:gd name="connsiteY64" fmla="*/ 217942 h 343858"/>
                <a:gd name="connsiteX65" fmla="*/ 458821 w 608129"/>
                <a:gd name="connsiteY65" fmla="*/ 203526 h 343858"/>
                <a:gd name="connsiteX66" fmla="*/ 466436 w 608129"/>
                <a:gd name="connsiteY66" fmla="*/ 192146 h 343858"/>
                <a:gd name="connsiteX67" fmla="*/ 473099 w 608129"/>
                <a:gd name="connsiteY67" fmla="*/ 187878 h 343858"/>
                <a:gd name="connsiteX68" fmla="*/ 410279 w 608129"/>
                <a:gd name="connsiteY68" fmla="*/ 182352 h 343858"/>
                <a:gd name="connsiteX69" fmla="*/ 422434 w 608129"/>
                <a:gd name="connsiteY69" fmla="*/ 189169 h 343858"/>
                <a:gd name="connsiteX70" fmla="*/ 426233 w 608129"/>
                <a:gd name="connsiteY70" fmla="*/ 202805 h 343858"/>
                <a:gd name="connsiteX71" fmla="*/ 418636 w 608129"/>
                <a:gd name="connsiteY71" fmla="*/ 215683 h 343858"/>
                <a:gd name="connsiteX72" fmla="*/ 416356 w 608129"/>
                <a:gd name="connsiteY72" fmla="*/ 215683 h 343858"/>
                <a:gd name="connsiteX73" fmla="*/ 406480 w 608129"/>
                <a:gd name="connsiteY73" fmla="*/ 208108 h 343858"/>
                <a:gd name="connsiteX74" fmla="*/ 402682 w 608129"/>
                <a:gd name="connsiteY74" fmla="*/ 194472 h 343858"/>
                <a:gd name="connsiteX75" fmla="*/ 410279 w 608129"/>
                <a:gd name="connsiteY75" fmla="*/ 182352 h 343858"/>
                <a:gd name="connsiteX76" fmla="*/ 188501 w 608129"/>
                <a:gd name="connsiteY76" fmla="*/ 179282 h 343858"/>
                <a:gd name="connsiteX77" fmla="*/ 202945 w 608129"/>
                <a:gd name="connsiteY77" fmla="*/ 180043 h 343858"/>
                <a:gd name="connsiteX78" fmla="*/ 212067 w 608129"/>
                <a:gd name="connsiteY78" fmla="*/ 191449 h 343858"/>
                <a:gd name="connsiteX79" fmla="*/ 202185 w 608129"/>
                <a:gd name="connsiteY79" fmla="*/ 200575 h 343858"/>
                <a:gd name="connsiteX80" fmla="*/ 201424 w 608129"/>
                <a:gd name="connsiteY80" fmla="*/ 200575 h 343858"/>
                <a:gd name="connsiteX81" fmla="*/ 186981 w 608129"/>
                <a:gd name="connsiteY81" fmla="*/ 199814 h 343858"/>
                <a:gd name="connsiteX82" fmla="*/ 177859 w 608129"/>
                <a:gd name="connsiteY82" fmla="*/ 188408 h 343858"/>
                <a:gd name="connsiteX83" fmla="*/ 188501 w 608129"/>
                <a:gd name="connsiteY83" fmla="*/ 179282 h 343858"/>
                <a:gd name="connsiteX84" fmla="*/ 160344 w 608129"/>
                <a:gd name="connsiteY84" fmla="*/ 165596 h 343858"/>
                <a:gd name="connsiteX85" fmla="*/ 163375 w 608129"/>
                <a:gd name="connsiteY85" fmla="*/ 180011 h 343858"/>
                <a:gd name="connsiteX86" fmla="*/ 155797 w 608129"/>
                <a:gd name="connsiteY86" fmla="*/ 191392 h 343858"/>
                <a:gd name="connsiteX87" fmla="*/ 147461 w 608129"/>
                <a:gd name="connsiteY87" fmla="*/ 195945 h 343858"/>
                <a:gd name="connsiteX88" fmla="*/ 141399 w 608129"/>
                <a:gd name="connsiteY88" fmla="*/ 194427 h 343858"/>
                <a:gd name="connsiteX89" fmla="*/ 139126 w 608129"/>
                <a:gd name="connsiteY89" fmla="*/ 180011 h 343858"/>
                <a:gd name="connsiteX90" fmla="*/ 146704 w 608129"/>
                <a:gd name="connsiteY90" fmla="*/ 168631 h 343858"/>
                <a:gd name="connsiteX91" fmla="*/ 160344 w 608129"/>
                <a:gd name="connsiteY91" fmla="*/ 165596 h 343858"/>
                <a:gd name="connsiteX92" fmla="*/ 338113 w 608129"/>
                <a:gd name="connsiteY92" fmla="*/ 164888 h 343858"/>
                <a:gd name="connsiteX93" fmla="*/ 352554 w 608129"/>
                <a:gd name="connsiteY93" fmla="*/ 164888 h 343858"/>
                <a:gd name="connsiteX94" fmla="*/ 352554 w 608129"/>
                <a:gd name="connsiteY94" fmla="*/ 179285 h 343858"/>
                <a:gd name="connsiteX95" fmla="*/ 342673 w 608129"/>
                <a:gd name="connsiteY95" fmla="*/ 189137 h 343858"/>
                <a:gd name="connsiteX96" fmla="*/ 335073 w 608129"/>
                <a:gd name="connsiteY96" fmla="*/ 192168 h 343858"/>
                <a:gd name="connsiteX97" fmla="*/ 328232 w 608129"/>
                <a:gd name="connsiteY97" fmla="*/ 189137 h 343858"/>
                <a:gd name="connsiteX98" fmla="*/ 328232 w 608129"/>
                <a:gd name="connsiteY98" fmla="*/ 174739 h 343858"/>
                <a:gd name="connsiteX99" fmla="*/ 438352 w 608129"/>
                <a:gd name="connsiteY99" fmla="*/ 163394 h 343858"/>
                <a:gd name="connsiteX100" fmla="*/ 449715 w 608129"/>
                <a:gd name="connsiteY100" fmla="*/ 170961 h 343858"/>
                <a:gd name="connsiteX101" fmla="*/ 453502 w 608129"/>
                <a:gd name="connsiteY101" fmla="*/ 184582 h 343858"/>
                <a:gd name="connsiteX102" fmla="*/ 444412 w 608129"/>
                <a:gd name="connsiteY102" fmla="*/ 189122 h 343858"/>
                <a:gd name="connsiteX103" fmla="*/ 439110 w 608129"/>
                <a:gd name="connsiteY103" fmla="*/ 187608 h 343858"/>
                <a:gd name="connsiteX104" fmla="*/ 427747 w 608129"/>
                <a:gd name="connsiteY104" fmla="*/ 180798 h 343858"/>
                <a:gd name="connsiteX105" fmla="*/ 423959 w 608129"/>
                <a:gd name="connsiteY105" fmla="*/ 166421 h 343858"/>
                <a:gd name="connsiteX106" fmla="*/ 438352 w 608129"/>
                <a:gd name="connsiteY106" fmla="*/ 163394 h 343858"/>
                <a:gd name="connsiteX107" fmla="*/ 237851 w 608129"/>
                <a:gd name="connsiteY107" fmla="*/ 158043 h 343858"/>
                <a:gd name="connsiteX108" fmla="*/ 249244 w 608129"/>
                <a:gd name="connsiteY108" fmla="*/ 165635 h 343858"/>
                <a:gd name="connsiteX109" fmla="*/ 253042 w 608129"/>
                <a:gd name="connsiteY109" fmla="*/ 179300 h 343858"/>
                <a:gd name="connsiteX110" fmla="*/ 243927 w 608129"/>
                <a:gd name="connsiteY110" fmla="*/ 184614 h 343858"/>
                <a:gd name="connsiteX111" fmla="*/ 238610 w 608129"/>
                <a:gd name="connsiteY111" fmla="*/ 183095 h 343858"/>
                <a:gd name="connsiteX112" fmla="*/ 227217 w 608129"/>
                <a:gd name="connsiteY112" fmla="*/ 175504 h 343858"/>
                <a:gd name="connsiteX113" fmla="*/ 223419 w 608129"/>
                <a:gd name="connsiteY113" fmla="*/ 161839 h 343858"/>
                <a:gd name="connsiteX114" fmla="*/ 237851 w 608129"/>
                <a:gd name="connsiteY114" fmla="*/ 158043 h 343858"/>
                <a:gd name="connsiteX115" fmla="*/ 285637 w 608129"/>
                <a:gd name="connsiteY115" fmla="*/ 155767 h 343858"/>
                <a:gd name="connsiteX116" fmla="*/ 299320 w 608129"/>
                <a:gd name="connsiteY116" fmla="*/ 156528 h 343858"/>
                <a:gd name="connsiteX117" fmla="*/ 308442 w 608129"/>
                <a:gd name="connsiteY117" fmla="*/ 167174 h 343858"/>
                <a:gd name="connsiteX118" fmla="*/ 298560 w 608129"/>
                <a:gd name="connsiteY118" fmla="*/ 177060 h 343858"/>
                <a:gd name="connsiteX119" fmla="*/ 297799 w 608129"/>
                <a:gd name="connsiteY119" fmla="*/ 177060 h 343858"/>
                <a:gd name="connsiteX120" fmla="*/ 284116 w 608129"/>
                <a:gd name="connsiteY120" fmla="*/ 175539 h 343858"/>
                <a:gd name="connsiteX121" fmla="*/ 274234 w 608129"/>
                <a:gd name="connsiteY121" fmla="*/ 164893 h 343858"/>
                <a:gd name="connsiteX122" fmla="*/ 285637 w 608129"/>
                <a:gd name="connsiteY122" fmla="*/ 155767 h 343858"/>
                <a:gd name="connsiteX123" fmla="*/ 374580 w 608129"/>
                <a:gd name="connsiteY123" fmla="*/ 140655 h 343858"/>
                <a:gd name="connsiteX124" fmla="*/ 388263 w 608129"/>
                <a:gd name="connsiteY124" fmla="*/ 141411 h 343858"/>
                <a:gd name="connsiteX125" fmla="*/ 398145 w 608129"/>
                <a:gd name="connsiteY125" fmla="*/ 152755 h 343858"/>
                <a:gd name="connsiteX126" fmla="*/ 387503 w 608129"/>
                <a:gd name="connsiteY126" fmla="*/ 161830 h 343858"/>
                <a:gd name="connsiteX127" fmla="*/ 386742 w 608129"/>
                <a:gd name="connsiteY127" fmla="*/ 161830 h 343858"/>
                <a:gd name="connsiteX128" fmla="*/ 373059 w 608129"/>
                <a:gd name="connsiteY128" fmla="*/ 160317 h 343858"/>
                <a:gd name="connsiteX129" fmla="*/ 363937 w 608129"/>
                <a:gd name="connsiteY129" fmla="*/ 149730 h 343858"/>
                <a:gd name="connsiteX130" fmla="*/ 374580 w 608129"/>
                <a:gd name="connsiteY130" fmla="*/ 140655 h 343858"/>
                <a:gd name="connsiteX131" fmla="*/ 363206 w 608129"/>
                <a:gd name="connsiteY131" fmla="*/ 133808 h 343858"/>
                <a:gd name="connsiteX132" fmla="*/ 362447 w 608129"/>
                <a:gd name="connsiteY132" fmla="*/ 134566 h 343858"/>
                <a:gd name="connsiteX133" fmla="*/ 360168 w 608129"/>
                <a:gd name="connsiteY133" fmla="*/ 139874 h 343858"/>
                <a:gd name="connsiteX134" fmla="*/ 344218 w 608129"/>
                <a:gd name="connsiteY134" fmla="*/ 156557 h 343858"/>
                <a:gd name="connsiteX135" fmla="*/ 341939 w 608129"/>
                <a:gd name="connsiteY135" fmla="*/ 157315 h 343858"/>
                <a:gd name="connsiteX136" fmla="*/ 338142 w 608129"/>
                <a:gd name="connsiteY136" fmla="*/ 158832 h 343858"/>
                <a:gd name="connsiteX137" fmla="*/ 335104 w 608129"/>
                <a:gd name="connsiteY137" fmla="*/ 160348 h 343858"/>
                <a:gd name="connsiteX138" fmla="*/ 332066 w 608129"/>
                <a:gd name="connsiteY138" fmla="*/ 161107 h 343858"/>
                <a:gd name="connsiteX139" fmla="*/ 324470 w 608129"/>
                <a:gd name="connsiteY139" fmla="*/ 161865 h 343858"/>
                <a:gd name="connsiteX140" fmla="*/ 317634 w 608129"/>
                <a:gd name="connsiteY140" fmla="*/ 161107 h 343858"/>
                <a:gd name="connsiteX141" fmla="*/ 314596 w 608129"/>
                <a:gd name="connsiteY141" fmla="*/ 160348 h 343858"/>
                <a:gd name="connsiteX142" fmla="*/ 310799 w 608129"/>
                <a:gd name="connsiteY142" fmla="*/ 158832 h 343858"/>
                <a:gd name="connsiteX143" fmla="*/ 307761 w 608129"/>
                <a:gd name="connsiteY143" fmla="*/ 158073 h 343858"/>
                <a:gd name="connsiteX144" fmla="*/ 304723 w 608129"/>
                <a:gd name="connsiteY144" fmla="*/ 156557 h 343858"/>
                <a:gd name="connsiteX145" fmla="*/ 297887 w 608129"/>
                <a:gd name="connsiteY145" fmla="*/ 151249 h 343858"/>
                <a:gd name="connsiteX146" fmla="*/ 297127 w 608129"/>
                <a:gd name="connsiteY146" fmla="*/ 150490 h 343858"/>
                <a:gd name="connsiteX147" fmla="*/ 294089 w 608129"/>
                <a:gd name="connsiteY147" fmla="*/ 147457 h 343858"/>
                <a:gd name="connsiteX148" fmla="*/ 292570 w 608129"/>
                <a:gd name="connsiteY148" fmla="*/ 145941 h 343858"/>
                <a:gd name="connsiteX149" fmla="*/ 289532 w 608129"/>
                <a:gd name="connsiteY149" fmla="*/ 142149 h 343858"/>
                <a:gd name="connsiteX150" fmla="*/ 289532 w 608129"/>
                <a:gd name="connsiteY150" fmla="*/ 140633 h 343858"/>
                <a:gd name="connsiteX151" fmla="*/ 287253 w 608129"/>
                <a:gd name="connsiteY151" fmla="*/ 136083 h 343858"/>
                <a:gd name="connsiteX152" fmla="*/ 237125 w 608129"/>
                <a:gd name="connsiteY152" fmla="*/ 141391 h 343858"/>
                <a:gd name="connsiteX153" fmla="*/ 215098 w 608129"/>
                <a:gd name="connsiteY153" fmla="*/ 165657 h 343858"/>
                <a:gd name="connsiteX154" fmla="*/ 214339 w 608129"/>
                <a:gd name="connsiteY154" fmla="*/ 166415 h 343858"/>
                <a:gd name="connsiteX155" fmla="*/ 212060 w 608129"/>
                <a:gd name="connsiteY155" fmla="*/ 168690 h 343858"/>
                <a:gd name="connsiteX156" fmla="*/ 211301 w 608129"/>
                <a:gd name="connsiteY156" fmla="*/ 168690 h 343858"/>
                <a:gd name="connsiteX157" fmla="*/ 209022 w 608129"/>
                <a:gd name="connsiteY157" fmla="*/ 170206 h 343858"/>
                <a:gd name="connsiteX158" fmla="*/ 207503 w 608129"/>
                <a:gd name="connsiteY158" fmla="*/ 170965 h 343858"/>
                <a:gd name="connsiteX159" fmla="*/ 205224 w 608129"/>
                <a:gd name="connsiteY159" fmla="*/ 171723 h 343858"/>
                <a:gd name="connsiteX160" fmla="*/ 203705 w 608129"/>
                <a:gd name="connsiteY160" fmla="*/ 171723 h 343858"/>
                <a:gd name="connsiteX161" fmla="*/ 202186 w 608129"/>
                <a:gd name="connsiteY161" fmla="*/ 171723 h 343858"/>
                <a:gd name="connsiteX162" fmla="*/ 201427 w 608129"/>
                <a:gd name="connsiteY162" fmla="*/ 171723 h 343858"/>
                <a:gd name="connsiteX163" fmla="*/ 199148 w 608129"/>
                <a:gd name="connsiteY163" fmla="*/ 171723 h 343858"/>
                <a:gd name="connsiteX164" fmla="*/ 198389 w 608129"/>
                <a:gd name="connsiteY164" fmla="*/ 171723 h 343858"/>
                <a:gd name="connsiteX165" fmla="*/ 191553 w 608129"/>
                <a:gd name="connsiteY165" fmla="*/ 169448 h 343858"/>
                <a:gd name="connsiteX166" fmla="*/ 188515 w 608129"/>
                <a:gd name="connsiteY166" fmla="*/ 167173 h 343858"/>
                <a:gd name="connsiteX167" fmla="*/ 178641 w 608129"/>
                <a:gd name="connsiteY167" fmla="*/ 158073 h 343858"/>
                <a:gd name="connsiteX168" fmla="*/ 176362 w 608129"/>
                <a:gd name="connsiteY168" fmla="*/ 155040 h 343858"/>
                <a:gd name="connsiteX169" fmla="*/ 175603 w 608129"/>
                <a:gd name="connsiteY169" fmla="*/ 154282 h 343858"/>
                <a:gd name="connsiteX170" fmla="*/ 174084 w 608129"/>
                <a:gd name="connsiteY170" fmla="*/ 152007 h 343858"/>
                <a:gd name="connsiteX171" fmla="*/ 142943 w 608129"/>
                <a:gd name="connsiteY171" fmla="*/ 159590 h 343858"/>
                <a:gd name="connsiteX172" fmla="*/ 136107 w 608129"/>
                <a:gd name="connsiteY172" fmla="*/ 171723 h 343858"/>
                <a:gd name="connsiteX173" fmla="*/ 135348 w 608129"/>
                <a:gd name="connsiteY173" fmla="*/ 173998 h 343858"/>
                <a:gd name="connsiteX174" fmla="*/ 134588 w 608129"/>
                <a:gd name="connsiteY174" fmla="*/ 174756 h 343858"/>
                <a:gd name="connsiteX175" fmla="*/ 133069 w 608129"/>
                <a:gd name="connsiteY175" fmla="*/ 175514 h 343858"/>
                <a:gd name="connsiteX176" fmla="*/ 131550 w 608129"/>
                <a:gd name="connsiteY176" fmla="*/ 177789 h 343858"/>
                <a:gd name="connsiteX177" fmla="*/ 130791 w 608129"/>
                <a:gd name="connsiteY177" fmla="*/ 177789 h 343858"/>
                <a:gd name="connsiteX178" fmla="*/ 124715 w 608129"/>
                <a:gd name="connsiteY178" fmla="*/ 181581 h 343858"/>
                <a:gd name="connsiteX179" fmla="*/ 119398 w 608129"/>
                <a:gd name="connsiteY179" fmla="*/ 182339 h 343858"/>
                <a:gd name="connsiteX180" fmla="*/ 118638 w 608129"/>
                <a:gd name="connsiteY180" fmla="*/ 182339 h 343858"/>
                <a:gd name="connsiteX181" fmla="*/ 117879 w 608129"/>
                <a:gd name="connsiteY181" fmla="*/ 182339 h 343858"/>
                <a:gd name="connsiteX182" fmla="*/ 114841 w 608129"/>
                <a:gd name="connsiteY182" fmla="*/ 182339 h 343858"/>
                <a:gd name="connsiteX183" fmla="*/ 113322 w 608129"/>
                <a:gd name="connsiteY183" fmla="*/ 181581 h 343858"/>
                <a:gd name="connsiteX184" fmla="*/ 109524 w 608129"/>
                <a:gd name="connsiteY184" fmla="*/ 180064 h 343858"/>
                <a:gd name="connsiteX185" fmla="*/ 108764 w 608129"/>
                <a:gd name="connsiteY185" fmla="*/ 180064 h 343858"/>
                <a:gd name="connsiteX186" fmla="*/ 99650 w 608129"/>
                <a:gd name="connsiteY186" fmla="*/ 175514 h 343858"/>
                <a:gd name="connsiteX187" fmla="*/ 92814 w 608129"/>
                <a:gd name="connsiteY187" fmla="*/ 189922 h 343858"/>
                <a:gd name="connsiteX188" fmla="*/ 71548 w 608129"/>
                <a:gd name="connsiteY188" fmla="*/ 202813 h 343858"/>
                <a:gd name="connsiteX189" fmla="*/ 70029 w 608129"/>
                <a:gd name="connsiteY189" fmla="*/ 214188 h 343858"/>
                <a:gd name="connsiteX190" fmla="*/ 61674 w 608129"/>
                <a:gd name="connsiteY190" fmla="*/ 225562 h 343858"/>
                <a:gd name="connsiteX191" fmla="*/ 51800 w 608129"/>
                <a:gd name="connsiteY191" fmla="*/ 232387 h 343858"/>
                <a:gd name="connsiteX192" fmla="*/ 159653 w 608129"/>
                <a:gd name="connsiteY192" fmla="*/ 232387 h 343858"/>
                <a:gd name="connsiteX193" fmla="*/ 158134 w 608129"/>
                <a:gd name="connsiteY193" fmla="*/ 224804 h 343858"/>
                <a:gd name="connsiteX194" fmla="*/ 159653 w 608129"/>
                <a:gd name="connsiteY194" fmla="*/ 211155 h 343858"/>
                <a:gd name="connsiteX195" fmla="*/ 171046 w 608129"/>
                <a:gd name="connsiteY195" fmla="*/ 202813 h 343858"/>
                <a:gd name="connsiteX196" fmla="*/ 179401 w 608129"/>
                <a:gd name="connsiteY196" fmla="*/ 213430 h 343858"/>
                <a:gd name="connsiteX197" fmla="*/ 177881 w 608129"/>
                <a:gd name="connsiteY197" fmla="*/ 227837 h 343858"/>
                <a:gd name="connsiteX198" fmla="*/ 175603 w 608129"/>
                <a:gd name="connsiteY198" fmla="*/ 232387 h 343858"/>
                <a:gd name="connsiteX199" fmla="*/ 402702 w 608129"/>
                <a:gd name="connsiteY199" fmla="*/ 232387 h 343858"/>
                <a:gd name="connsiteX200" fmla="*/ 537897 w 608129"/>
                <a:gd name="connsiteY200" fmla="*/ 232387 h 343858"/>
                <a:gd name="connsiteX201" fmla="*/ 528783 w 608129"/>
                <a:gd name="connsiteY201" fmla="*/ 208880 h 343858"/>
                <a:gd name="connsiteX202" fmla="*/ 528783 w 608129"/>
                <a:gd name="connsiteY202" fmla="*/ 205847 h 343858"/>
                <a:gd name="connsiteX203" fmla="*/ 519669 w 608129"/>
                <a:gd name="connsiteY203" fmla="*/ 196747 h 343858"/>
                <a:gd name="connsiteX204" fmla="*/ 512833 w 608129"/>
                <a:gd name="connsiteY204" fmla="*/ 196747 h 343858"/>
                <a:gd name="connsiteX205" fmla="*/ 501440 w 608129"/>
                <a:gd name="connsiteY205" fmla="*/ 186131 h 343858"/>
                <a:gd name="connsiteX206" fmla="*/ 492326 w 608129"/>
                <a:gd name="connsiteY206" fmla="*/ 177789 h 343858"/>
                <a:gd name="connsiteX207" fmla="*/ 472578 w 608129"/>
                <a:gd name="connsiteY207" fmla="*/ 162623 h 343858"/>
                <a:gd name="connsiteX208" fmla="*/ 463464 w 608129"/>
                <a:gd name="connsiteY208" fmla="*/ 150490 h 343858"/>
                <a:gd name="connsiteX209" fmla="*/ 458907 w 608129"/>
                <a:gd name="connsiteY209" fmla="*/ 152765 h 343858"/>
                <a:gd name="connsiteX210" fmla="*/ 429285 w 608129"/>
                <a:gd name="connsiteY210" fmla="*/ 161107 h 343858"/>
                <a:gd name="connsiteX211" fmla="*/ 424728 w 608129"/>
                <a:gd name="connsiteY211" fmla="*/ 161865 h 343858"/>
                <a:gd name="connsiteX212" fmla="*/ 423968 w 608129"/>
                <a:gd name="connsiteY212" fmla="*/ 161865 h 343858"/>
                <a:gd name="connsiteX213" fmla="*/ 423209 w 608129"/>
                <a:gd name="connsiteY213" fmla="*/ 161865 h 343858"/>
                <a:gd name="connsiteX214" fmla="*/ 420171 w 608129"/>
                <a:gd name="connsiteY214" fmla="*/ 161107 h 343858"/>
                <a:gd name="connsiteX215" fmla="*/ 418652 w 608129"/>
                <a:gd name="connsiteY215" fmla="*/ 161107 h 343858"/>
                <a:gd name="connsiteX216" fmla="*/ 414094 w 608129"/>
                <a:gd name="connsiteY216" fmla="*/ 159590 h 343858"/>
                <a:gd name="connsiteX217" fmla="*/ 407259 w 608129"/>
                <a:gd name="connsiteY217" fmla="*/ 152765 h 343858"/>
                <a:gd name="connsiteX218" fmla="*/ 404221 w 608129"/>
                <a:gd name="connsiteY218" fmla="*/ 147457 h 343858"/>
                <a:gd name="connsiteX219" fmla="*/ 401182 w 608129"/>
                <a:gd name="connsiteY219" fmla="*/ 135324 h 343858"/>
                <a:gd name="connsiteX220" fmla="*/ 363206 w 608129"/>
                <a:gd name="connsiteY220" fmla="*/ 133808 h 343858"/>
                <a:gd name="connsiteX221" fmla="*/ 105726 w 608129"/>
                <a:gd name="connsiteY221" fmla="*/ 121675 h 343858"/>
                <a:gd name="connsiteX222" fmla="*/ 91295 w 608129"/>
                <a:gd name="connsiteY222" fmla="*/ 148216 h 343858"/>
                <a:gd name="connsiteX223" fmla="*/ 117119 w 608129"/>
                <a:gd name="connsiteY223" fmla="*/ 161865 h 343858"/>
                <a:gd name="connsiteX224" fmla="*/ 118638 w 608129"/>
                <a:gd name="connsiteY224" fmla="*/ 162623 h 343858"/>
                <a:gd name="connsiteX225" fmla="*/ 132310 w 608129"/>
                <a:gd name="connsiteY225" fmla="*/ 135324 h 343858"/>
                <a:gd name="connsiteX226" fmla="*/ 445235 w 608129"/>
                <a:gd name="connsiteY226" fmla="*/ 104234 h 343858"/>
                <a:gd name="connsiteX227" fmla="*/ 415614 w 608129"/>
                <a:gd name="connsiteY227" fmla="*/ 112575 h 343858"/>
                <a:gd name="connsiteX228" fmla="*/ 423968 w 608129"/>
                <a:gd name="connsiteY228" fmla="*/ 141391 h 343858"/>
                <a:gd name="connsiteX229" fmla="*/ 453590 w 608129"/>
                <a:gd name="connsiteY229" fmla="*/ 133049 h 343858"/>
                <a:gd name="connsiteX230" fmla="*/ 324470 w 608129"/>
                <a:gd name="connsiteY230" fmla="*/ 101201 h 343858"/>
                <a:gd name="connsiteX231" fmla="*/ 303963 w 608129"/>
                <a:gd name="connsiteY231" fmla="*/ 121675 h 343858"/>
                <a:gd name="connsiteX232" fmla="*/ 304723 w 608129"/>
                <a:gd name="connsiteY232" fmla="*/ 123192 h 343858"/>
                <a:gd name="connsiteX233" fmla="*/ 304723 w 608129"/>
                <a:gd name="connsiteY233" fmla="*/ 123950 h 343858"/>
                <a:gd name="connsiteX234" fmla="*/ 311558 w 608129"/>
                <a:gd name="connsiteY234" fmla="*/ 136841 h 343858"/>
                <a:gd name="connsiteX235" fmla="*/ 313837 w 608129"/>
                <a:gd name="connsiteY235" fmla="*/ 138358 h 343858"/>
                <a:gd name="connsiteX236" fmla="*/ 314596 w 608129"/>
                <a:gd name="connsiteY236" fmla="*/ 139116 h 343858"/>
                <a:gd name="connsiteX237" fmla="*/ 317634 w 608129"/>
                <a:gd name="connsiteY237" fmla="*/ 139874 h 343858"/>
                <a:gd name="connsiteX238" fmla="*/ 318394 w 608129"/>
                <a:gd name="connsiteY238" fmla="*/ 140633 h 343858"/>
                <a:gd name="connsiteX239" fmla="*/ 320673 w 608129"/>
                <a:gd name="connsiteY239" fmla="*/ 141391 h 343858"/>
                <a:gd name="connsiteX240" fmla="*/ 324470 w 608129"/>
                <a:gd name="connsiteY240" fmla="*/ 141391 h 343858"/>
                <a:gd name="connsiteX241" fmla="*/ 328268 w 608129"/>
                <a:gd name="connsiteY241" fmla="*/ 141391 h 343858"/>
                <a:gd name="connsiteX242" fmla="*/ 329787 w 608129"/>
                <a:gd name="connsiteY242" fmla="*/ 140633 h 343858"/>
                <a:gd name="connsiteX243" fmla="*/ 332066 w 608129"/>
                <a:gd name="connsiteY243" fmla="*/ 139874 h 343858"/>
                <a:gd name="connsiteX244" fmla="*/ 333585 w 608129"/>
                <a:gd name="connsiteY244" fmla="*/ 139116 h 343858"/>
                <a:gd name="connsiteX245" fmla="*/ 335863 w 608129"/>
                <a:gd name="connsiteY245" fmla="*/ 138358 h 343858"/>
                <a:gd name="connsiteX246" fmla="*/ 337382 w 608129"/>
                <a:gd name="connsiteY246" fmla="*/ 136841 h 343858"/>
                <a:gd name="connsiteX247" fmla="*/ 338142 w 608129"/>
                <a:gd name="connsiteY247" fmla="*/ 136083 h 343858"/>
                <a:gd name="connsiteX248" fmla="*/ 340420 w 608129"/>
                <a:gd name="connsiteY248" fmla="*/ 133808 h 343858"/>
                <a:gd name="connsiteX249" fmla="*/ 340420 w 608129"/>
                <a:gd name="connsiteY249" fmla="*/ 133049 h 343858"/>
                <a:gd name="connsiteX250" fmla="*/ 344218 w 608129"/>
                <a:gd name="connsiteY250" fmla="*/ 123192 h 343858"/>
                <a:gd name="connsiteX251" fmla="*/ 344977 w 608129"/>
                <a:gd name="connsiteY251" fmla="*/ 120917 h 343858"/>
                <a:gd name="connsiteX252" fmla="*/ 324470 w 608129"/>
                <a:gd name="connsiteY252" fmla="*/ 101201 h 343858"/>
                <a:gd name="connsiteX253" fmla="*/ 234086 w 608129"/>
                <a:gd name="connsiteY253" fmla="*/ 98926 h 343858"/>
                <a:gd name="connsiteX254" fmla="*/ 193832 w 608129"/>
                <a:gd name="connsiteY254" fmla="*/ 144424 h 343858"/>
                <a:gd name="connsiteX255" fmla="*/ 201427 w 608129"/>
                <a:gd name="connsiteY255" fmla="*/ 151249 h 343858"/>
                <a:gd name="connsiteX256" fmla="*/ 227251 w 608129"/>
                <a:gd name="connsiteY256" fmla="*/ 121675 h 343858"/>
                <a:gd name="connsiteX257" fmla="*/ 241682 w 608129"/>
                <a:gd name="connsiteY257" fmla="*/ 105751 h 343858"/>
                <a:gd name="connsiteX258" fmla="*/ 233042 w 608129"/>
                <a:gd name="connsiteY258" fmla="*/ 78357 h 343858"/>
                <a:gd name="connsiteX259" fmla="*/ 246239 w 608129"/>
                <a:gd name="connsiteY259" fmla="*/ 83001 h 343858"/>
                <a:gd name="connsiteX260" fmla="*/ 256872 w 608129"/>
                <a:gd name="connsiteY260" fmla="*/ 92101 h 343858"/>
                <a:gd name="connsiteX261" fmla="*/ 257632 w 608129"/>
                <a:gd name="connsiteY261" fmla="*/ 118642 h 343858"/>
                <a:gd name="connsiteX262" fmla="*/ 284215 w 608129"/>
                <a:gd name="connsiteY262" fmla="*/ 116367 h 343858"/>
                <a:gd name="connsiteX263" fmla="*/ 324470 w 608129"/>
                <a:gd name="connsiteY263" fmla="*/ 80727 h 343858"/>
                <a:gd name="connsiteX264" fmla="*/ 363966 w 608129"/>
                <a:gd name="connsiteY264" fmla="*/ 114092 h 343858"/>
                <a:gd name="connsiteX265" fmla="*/ 395866 w 608129"/>
                <a:gd name="connsiteY265" fmla="*/ 114850 h 343858"/>
                <a:gd name="connsiteX266" fmla="*/ 398144 w 608129"/>
                <a:gd name="connsiteY266" fmla="*/ 102717 h 343858"/>
                <a:gd name="connsiteX267" fmla="*/ 410297 w 608129"/>
                <a:gd name="connsiteY267" fmla="*/ 92859 h 343858"/>
                <a:gd name="connsiteX268" fmla="*/ 439159 w 608129"/>
                <a:gd name="connsiteY268" fmla="*/ 84518 h 343858"/>
                <a:gd name="connsiteX269" fmla="*/ 454349 w 608129"/>
                <a:gd name="connsiteY269" fmla="*/ 86035 h 343858"/>
                <a:gd name="connsiteX270" fmla="*/ 464223 w 608129"/>
                <a:gd name="connsiteY270" fmla="*/ 98168 h 343858"/>
                <a:gd name="connsiteX271" fmla="*/ 472578 w 608129"/>
                <a:gd name="connsiteY271" fmla="*/ 127741 h 343858"/>
                <a:gd name="connsiteX272" fmla="*/ 473338 w 608129"/>
                <a:gd name="connsiteY272" fmla="*/ 132291 h 343858"/>
                <a:gd name="connsiteX273" fmla="*/ 492326 w 608129"/>
                <a:gd name="connsiteY273" fmla="*/ 157315 h 343858"/>
                <a:gd name="connsiteX274" fmla="*/ 519669 w 608129"/>
                <a:gd name="connsiteY274" fmla="*/ 176273 h 343858"/>
                <a:gd name="connsiteX275" fmla="*/ 524226 w 608129"/>
                <a:gd name="connsiteY275" fmla="*/ 177031 h 343858"/>
                <a:gd name="connsiteX276" fmla="*/ 547771 w 608129"/>
                <a:gd name="connsiteY276" fmla="*/ 199780 h 343858"/>
                <a:gd name="connsiteX277" fmla="*/ 548531 w 608129"/>
                <a:gd name="connsiteY277" fmla="*/ 210396 h 343858"/>
                <a:gd name="connsiteX278" fmla="*/ 553848 w 608129"/>
                <a:gd name="connsiteY278" fmla="*/ 219496 h 343858"/>
                <a:gd name="connsiteX279" fmla="*/ 564481 w 608129"/>
                <a:gd name="connsiteY279" fmla="*/ 232387 h 343858"/>
                <a:gd name="connsiteX280" fmla="*/ 588786 w 608129"/>
                <a:gd name="connsiteY280" fmla="*/ 232387 h 343858"/>
                <a:gd name="connsiteX281" fmla="*/ 606255 w 608129"/>
                <a:gd name="connsiteY281" fmla="*/ 243003 h 343858"/>
                <a:gd name="connsiteX282" fmla="*/ 604736 w 608129"/>
                <a:gd name="connsiteY282" fmla="*/ 263478 h 343858"/>
                <a:gd name="connsiteX283" fmla="*/ 603217 w 608129"/>
                <a:gd name="connsiteY283" fmla="*/ 264994 h 343858"/>
                <a:gd name="connsiteX284" fmla="*/ 550809 w 608129"/>
                <a:gd name="connsiteY284" fmla="*/ 296843 h 343858"/>
                <a:gd name="connsiteX285" fmla="*/ 544733 w 608129"/>
                <a:gd name="connsiteY285" fmla="*/ 312768 h 343858"/>
                <a:gd name="connsiteX286" fmla="*/ 516631 w 608129"/>
                <a:gd name="connsiteY286" fmla="*/ 343858 h 343858"/>
                <a:gd name="connsiteX287" fmla="*/ 91295 w 608129"/>
                <a:gd name="connsiteY287" fmla="*/ 343858 h 343858"/>
                <a:gd name="connsiteX288" fmla="*/ 63952 w 608129"/>
                <a:gd name="connsiteY288" fmla="*/ 312768 h 343858"/>
                <a:gd name="connsiteX289" fmla="*/ 57876 w 608129"/>
                <a:gd name="connsiteY289" fmla="*/ 296843 h 343858"/>
                <a:gd name="connsiteX290" fmla="*/ 4709 w 608129"/>
                <a:gd name="connsiteY290" fmla="*/ 264994 h 343858"/>
                <a:gd name="connsiteX291" fmla="*/ 3950 w 608129"/>
                <a:gd name="connsiteY291" fmla="*/ 263478 h 343858"/>
                <a:gd name="connsiteX292" fmla="*/ 2431 w 608129"/>
                <a:gd name="connsiteY292" fmla="*/ 243003 h 343858"/>
                <a:gd name="connsiteX293" fmla="*/ 19900 w 608129"/>
                <a:gd name="connsiteY293" fmla="*/ 232387 h 343858"/>
                <a:gd name="connsiteX294" fmla="*/ 31293 w 608129"/>
                <a:gd name="connsiteY294" fmla="*/ 232387 h 343858"/>
                <a:gd name="connsiteX295" fmla="*/ 49521 w 608129"/>
                <a:gd name="connsiteY295" fmla="*/ 208880 h 343858"/>
                <a:gd name="connsiteX296" fmla="*/ 57117 w 608129"/>
                <a:gd name="connsiteY296" fmla="*/ 187647 h 343858"/>
                <a:gd name="connsiteX297" fmla="*/ 68510 w 608129"/>
                <a:gd name="connsiteY297" fmla="*/ 182339 h 343858"/>
                <a:gd name="connsiteX298" fmla="*/ 76864 w 608129"/>
                <a:gd name="connsiteY298" fmla="*/ 177031 h 343858"/>
                <a:gd name="connsiteX299" fmla="*/ 79902 w 608129"/>
                <a:gd name="connsiteY299" fmla="*/ 167931 h 343858"/>
                <a:gd name="connsiteX300" fmla="*/ 79902 w 608129"/>
                <a:gd name="connsiteY300" fmla="*/ 164140 h 343858"/>
                <a:gd name="connsiteX301" fmla="*/ 73826 w 608129"/>
                <a:gd name="connsiteY301" fmla="*/ 139116 h 343858"/>
                <a:gd name="connsiteX302" fmla="*/ 87498 w 608129"/>
                <a:gd name="connsiteY302" fmla="*/ 111817 h 343858"/>
                <a:gd name="connsiteX303" fmla="*/ 99650 w 608129"/>
                <a:gd name="connsiteY303" fmla="*/ 101959 h 343858"/>
                <a:gd name="connsiteX304" fmla="*/ 114841 w 608129"/>
                <a:gd name="connsiteY304" fmla="*/ 103476 h 343858"/>
                <a:gd name="connsiteX305" fmla="*/ 142184 w 608129"/>
                <a:gd name="connsiteY305" fmla="*/ 117125 h 343858"/>
                <a:gd name="connsiteX306" fmla="*/ 152058 w 608129"/>
                <a:gd name="connsiteY306" fmla="*/ 129258 h 343858"/>
                <a:gd name="connsiteX307" fmla="*/ 152817 w 608129"/>
                <a:gd name="connsiteY307" fmla="*/ 136083 h 343858"/>
                <a:gd name="connsiteX308" fmla="*/ 178641 w 608129"/>
                <a:gd name="connsiteY308" fmla="*/ 130016 h 343858"/>
                <a:gd name="connsiteX309" fmla="*/ 220415 w 608129"/>
                <a:gd name="connsiteY309" fmla="*/ 84518 h 343858"/>
                <a:gd name="connsiteX310" fmla="*/ 233042 w 608129"/>
                <a:gd name="connsiteY310" fmla="*/ 78357 h 343858"/>
                <a:gd name="connsiteX311" fmla="*/ 162582 w 608129"/>
                <a:gd name="connsiteY311" fmla="*/ 60954 h 343858"/>
                <a:gd name="connsiteX312" fmla="*/ 142076 w 608129"/>
                <a:gd name="connsiteY312" fmla="*/ 80671 h 343858"/>
                <a:gd name="connsiteX313" fmla="*/ 162582 w 608129"/>
                <a:gd name="connsiteY313" fmla="*/ 101147 h 343858"/>
                <a:gd name="connsiteX314" fmla="*/ 182329 w 608129"/>
                <a:gd name="connsiteY314" fmla="*/ 80671 h 343858"/>
                <a:gd name="connsiteX315" fmla="*/ 162582 w 608129"/>
                <a:gd name="connsiteY315" fmla="*/ 60954 h 343858"/>
                <a:gd name="connsiteX316" fmla="*/ 162582 w 608129"/>
                <a:gd name="connsiteY316" fmla="*/ 40478 h 343858"/>
                <a:gd name="connsiteX317" fmla="*/ 202836 w 608129"/>
                <a:gd name="connsiteY317" fmla="*/ 80671 h 343858"/>
                <a:gd name="connsiteX318" fmla="*/ 162582 w 608129"/>
                <a:gd name="connsiteY318" fmla="*/ 121623 h 343858"/>
                <a:gd name="connsiteX319" fmla="*/ 121569 w 608129"/>
                <a:gd name="connsiteY319" fmla="*/ 80671 h 343858"/>
                <a:gd name="connsiteX320" fmla="*/ 162582 w 608129"/>
                <a:gd name="connsiteY320" fmla="*/ 40478 h 343858"/>
                <a:gd name="connsiteX321" fmla="*/ 285697 w 608129"/>
                <a:gd name="connsiteY321" fmla="*/ 32920 h 343858"/>
                <a:gd name="connsiteX322" fmla="*/ 256860 w 608129"/>
                <a:gd name="connsiteY322" fmla="*/ 41258 h 343858"/>
                <a:gd name="connsiteX323" fmla="*/ 265208 w 608129"/>
                <a:gd name="connsiteY323" fmla="*/ 70819 h 343858"/>
                <a:gd name="connsiteX324" fmla="*/ 294045 w 608129"/>
                <a:gd name="connsiteY324" fmla="*/ 62481 h 343858"/>
                <a:gd name="connsiteX325" fmla="*/ 364659 w 608129"/>
                <a:gd name="connsiteY325" fmla="*/ 20767 h 343858"/>
                <a:gd name="connsiteX326" fmla="*/ 355552 w 608129"/>
                <a:gd name="connsiteY326" fmla="*/ 23799 h 343858"/>
                <a:gd name="connsiteX327" fmla="*/ 376044 w 608129"/>
                <a:gd name="connsiteY327" fmla="*/ 81416 h 343858"/>
                <a:gd name="connsiteX328" fmla="*/ 385910 w 608129"/>
                <a:gd name="connsiteY328" fmla="*/ 77625 h 343858"/>
                <a:gd name="connsiteX329" fmla="*/ 280385 w 608129"/>
                <a:gd name="connsiteY329" fmla="*/ 13971 h 343858"/>
                <a:gd name="connsiteX330" fmla="*/ 295563 w 608129"/>
                <a:gd name="connsiteY330" fmla="*/ 15487 h 343858"/>
                <a:gd name="connsiteX331" fmla="*/ 305428 w 608129"/>
                <a:gd name="connsiteY331" fmla="*/ 27614 h 343858"/>
                <a:gd name="connsiteX332" fmla="*/ 313776 w 608129"/>
                <a:gd name="connsiteY332" fmla="*/ 57176 h 343858"/>
                <a:gd name="connsiteX333" fmla="*/ 311500 w 608129"/>
                <a:gd name="connsiteY333" fmla="*/ 72335 h 343858"/>
                <a:gd name="connsiteX334" fmla="*/ 299357 w 608129"/>
                <a:gd name="connsiteY334" fmla="*/ 82189 h 343858"/>
                <a:gd name="connsiteX335" fmla="*/ 270520 w 608129"/>
                <a:gd name="connsiteY335" fmla="*/ 90527 h 343858"/>
                <a:gd name="connsiteX336" fmla="*/ 265208 w 608129"/>
                <a:gd name="connsiteY336" fmla="*/ 91285 h 343858"/>
                <a:gd name="connsiteX337" fmla="*/ 255342 w 608129"/>
                <a:gd name="connsiteY337" fmla="*/ 88253 h 343858"/>
                <a:gd name="connsiteX338" fmla="*/ 245477 w 608129"/>
                <a:gd name="connsiteY338" fmla="*/ 76125 h 343858"/>
                <a:gd name="connsiteX339" fmla="*/ 237129 w 608129"/>
                <a:gd name="connsiteY339" fmla="*/ 47322 h 343858"/>
                <a:gd name="connsiteX340" fmla="*/ 238647 w 608129"/>
                <a:gd name="connsiteY340" fmla="*/ 32162 h 343858"/>
                <a:gd name="connsiteX341" fmla="*/ 250789 w 608129"/>
                <a:gd name="connsiteY341" fmla="*/ 22309 h 343858"/>
                <a:gd name="connsiteX342" fmla="*/ 359347 w 608129"/>
                <a:gd name="connsiteY342" fmla="*/ 1056 h 343858"/>
                <a:gd name="connsiteX343" fmla="*/ 373767 w 608129"/>
                <a:gd name="connsiteY343" fmla="*/ 1814 h 343858"/>
                <a:gd name="connsiteX344" fmla="*/ 383633 w 608129"/>
                <a:gd name="connsiteY344" fmla="*/ 12428 h 343858"/>
                <a:gd name="connsiteX345" fmla="*/ 404884 w 608129"/>
                <a:gd name="connsiteY345" fmla="*/ 72318 h 343858"/>
                <a:gd name="connsiteX346" fmla="*/ 404884 w 608129"/>
                <a:gd name="connsiteY346" fmla="*/ 86723 h 343858"/>
                <a:gd name="connsiteX347" fmla="*/ 394259 w 608129"/>
                <a:gd name="connsiteY347" fmla="*/ 95820 h 343858"/>
                <a:gd name="connsiteX348" fmla="*/ 381356 w 608129"/>
                <a:gd name="connsiteY348" fmla="*/ 100369 h 343858"/>
                <a:gd name="connsiteX349" fmla="*/ 375285 w 608129"/>
                <a:gd name="connsiteY349" fmla="*/ 101885 h 343858"/>
                <a:gd name="connsiteX350" fmla="*/ 367695 w 608129"/>
                <a:gd name="connsiteY350" fmla="*/ 100369 h 343858"/>
                <a:gd name="connsiteX351" fmla="*/ 357829 w 608129"/>
                <a:gd name="connsiteY351" fmla="*/ 89755 h 343858"/>
                <a:gd name="connsiteX352" fmla="*/ 335819 w 608129"/>
                <a:gd name="connsiteY352" fmla="*/ 29864 h 343858"/>
                <a:gd name="connsiteX353" fmla="*/ 336578 w 608129"/>
                <a:gd name="connsiteY353" fmla="*/ 15460 h 343858"/>
                <a:gd name="connsiteX354" fmla="*/ 347203 w 608129"/>
                <a:gd name="connsiteY354" fmla="*/ 5605 h 34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</a:cxnLst>
              <a:rect l="l" t="t" r="r" b="b"/>
              <a:pathLst>
                <a:path w="41014" h="40190">
                  <a:moveTo>
                    <a:pt x="20507" y="0"/>
                  </a:moveTo>
                  <a:cubicBezTo>
                    <a:pt x="9114" y="0"/>
                    <a:pt x="0" y="9099"/>
                    <a:pt x="0" y="20474"/>
                  </a:cubicBezTo>
                  <a:cubicBezTo>
                    <a:pt x="0" y="20474"/>
                    <a:pt x="760" y="21232"/>
                    <a:pt x="760" y="21991"/>
                  </a:cubicBezTo>
                  <a:lnTo>
                    <a:pt x="760" y="22749"/>
                  </a:lnTo>
                  <a:cubicBezTo>
                    <a:pt x="1519" y="28057"/>
                    <a:pt x="3798" y="31848"/>
                    <a:pt x="7595" y="35640"/>
                  </a:cubicBezTo>
                  <a:cubicBezTo>
                    <a:pt x="8355" y="36398"/>
                    <a:pt x="9114" y="37157"/>
                    <a:pt x="9874" y="37157"/>
                  </a:cubicBezTo>
                  <a:cubicBezTo>
                    <a:pt x="10633" y="37157"/>
                    <a:pt x="10633" y="37915"/>
                    <a:pt x="10633" y="37915"/>
                  </a:cubicBezTo>
                  <a:cubicBezTo>
                    <a:pt x="11393" y="37915"/>
                    <a:pt x="12152" y="38673"/>
                    <a:pt x="13671" y="38673"/>
                  </a:cubicBezTo>
                  <a:cubicBezTo>
                    <a:pt x="13671" y="39432"/>
                    <a:pt x="14431" y="39432"/>
                    <a:pt x="14431" y="39432"/>
                  </a:cubicBezTo>
                  <a:cubicBezTo>
                    <a:pt x="15191" y="39432"/>
                    <a:pt x="15950" y="40190"/>
                    <a:pt x="16710" y="40190"/>
                  </a:cubicBezTo>
                  <a:cubicBezTo>
                    <a:pt x="18229" y="40190"/>
                    <a:pt x="18988" y="40190"/>
                    <a:pt x="20507" y="40190"/>
                  </a:cubicBezTo>
                  <a:cubicBezTo>
                    <a:pt x="22026" y="40190"/>
                    <a:pt x="23545" y="40190"/>
                    <a:pt x="24305" y="40190"/>
                  </a:cubicBezTo>
                  <a:cubicBezTo>
                    <a:pt x="25064" y="40190"/>
                    <a:pt x="25064" y="39432"/>
                    <a:pt x="25824" y="39432"/>
                  </a:cubicBezTo>
                  <a:cubicBezTo>
                    <a:pt x="26583" y="39432"/>
                    <a:pt x="27343" y="39432"/>
                    <a:pt x="28103" y="38673"/>
                  </a:cubicBezTo>
                  <a:cubicBezTo>
                    <a:pt x="28862" y="38673"/>
                    <a:pt x="28862" y="38673"/>
                    <a:pt x="29622" y="37915"/>
                  </a:cubicBezTo>
                  <a:cubicBezTo>
                    <a:pt x="30381" y="37915"/>
                    <a:pt x="31141" y="37157"/>
                    <a:pt x="31900" y="37157"/>
                  </a:cubicBezTo>
                  <a:cubicBezTo>
                    <a:pt x="31900" y="36398"/>
                    <a:pt x="32660" y="36398"/>
                    <a:pt x="33419" y="35640"/>
                  </a:cubicBezTo>
                  <a:cubicBezTo>
                    <a:pt x="33419" y="35640"/>
                    <a:pt x="34179" y="34882"/>
                    <a:pt x="34179" y="34882"/>
                  </a:cubicBezTo>
                  <a:cubicBezTo>
                    <a:pt x="34938" y="34123"/>
                    <a:pt x="35698" y="33365"/>
                    <a:pt x="36457" y="32607"/>
                  </a:cubicBezTo>
                  <a:cubicBezTo>
                    <a:pt x="36457" y="32607"/>
                    <a:pt x="36457" y="32607"/>
                    <a:pt x="36457" y="31848"/>
                  </a:cubicBezTo>
                  <a:cubicBezTo>
                    <a:pt x="38736" y="29574"/>
                    <a:pt x="40255" y="25782"/>
                    <a:pt x="40255" y="21991"/>
                  </a:cubicBezTo>
                  <a:lnTo>
                    <a:pt x="41014" y="19716"/>
                  </a:lnTo>
                  <a:cubicBezTo>
                    <a:pt x="40255" y="9099"/>
                    <a:pt x="31900" y="0"/>
                    <a:pt x="20507" y="0"/>
                  </a:cubicBezTo>
                </a:path>
              </a:pathLst>
            </a:custGeom>
            <a:noFill/>
            <a:ln w="44450">
              <a:gradFill>
                <a:gsLst>
                  <a:gs pos="0">
                    <a:schemeClr val="accent3"/>
                  </a:gs>
                  <a:gs pos="100000">
                    <a:schemeClr val="accent3">
                      <a:lumMod val="5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zh-CN" altLang="en-US">
                <a:gradFill flip="none" rotWithShape="1">
                  <a:gsLst>
                    <a:gs pos="89000">
                      <a:schemeClr val="bg1"/>
                    </a:gs>
                    <a:gs pos="0">
                      <a:schemeClr val="accent2"/>
                    </a:gs>
                  </a:gsLst>
                  <a:lin ang="13500000" scaled="1"/>
                  <a:tileRect/>
                </a:gradFill>
              </a:endParaRPr>
            </a:p>
          </p:txBody>
        </p:sp>
        <p:sp>
          <p:nvSpPr>
            <p:cNvPr id="14" name="椭圆 13"/>
            <p:cNvSpPr/>
            <p:nvPr userDrawn="1"/>
          </p:nvSpPr>
          <p:spPr>
            <a:xfrm>
              <a:off x="9227308" y="3760319"/>
              <a:ext cx="156688" cy="111774"/>
            </a:xfrm>
            <a:prstGeom prst="ellipse">
              <a:avLst/>
            </a:prstGeom>
            <a:solidFill>
              <a:srgbClr val="D24F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38" name="椭圆 337"/>
            <p:cNvSpPr/>
            <p:nvPr userDrawn="1"/>
          </p:nvSpPr>
          <p:spPr>
            <a:xfrm>
              <a:off x="8788168" y="3417089"/>
              <a:ext cx="156688" cy="111774"/>
            </a:xfrm>
            <a:prstGeom prst="ellipse">
              <a:avLst/>
            </a:prstGeom>
            <a:solidFill>
              <a:srgbClr val="D24F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39" name="椭圆 338"/>
            <p:cNvSpPr/>
            <p:nvPr userDrawn="1"/>
          </p:nvSpPr>
          <p:spPr>
            <a:xfrm rot="1566099">
              <a:off x="8648826" y="4020218"/>
              <a:ext cx="156688" cy="111774"/>
            </a:xfrm>
            <a:prstGeom prst="ellipse">
              <a:avLst/>
            </a:prstGeom>
            <a:solidFill>
              <a:srgbClr val="D24F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0" name="椭圆 339"/>
            <p:cNvSpPr/>
            <p:nvPr userDrawn="1"/>
          </p:nvSpPr>
          <p:spPr>
            <a:xfrm rot="19871864">
              <a:off x="8519960" y="3492677"/>
              <a:ext cx="143914" cy="102662"/>
            </a:xfrm>
            <a:prstGeom prst="ellipse">
              <a:avLst/>
            </a:prstGeom>
            <a:solidFill>
              <a:srgbClr val="D24F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1" name="任意多边形: 形状 340"/>
            <p:cNvSpPr>
              <a:spLocks/>
            </p:cNvSpPr>
            <p:nvPr userDrawn="1"/>
          </p:nvSpPr>
          <p:spPr bwMode="auto">
            <a:xfrm>
              <a:off x="9413997" y="3820924"/>
              <a:ext cx="71508" cy="100729"/>
            </a:xfrm>
            <a:custGeom>
              <a:avLst/>
              <a:gdLst>
                <a:gd name="connsiteX0" fmla="*/ 193001 w 608129"/>
                <a:gd name="connsiteY0" fmla="*/ 283182 h 343858"/>
                <a:gd name="connsiteX1" fmla="*/ 506699 w 608129"/>
                <a:gd name="connsiteY1" fmla="*/ 283182 h 343858"/>
                <a:gd name="connsiteX2" fmla="*/ 516573 w 608129"/>
                <a:gd name="connsiteY2" fmla="*/ 293038 h 343858"/>
                <a:gd name="connsiteX3" fmla="*/ 506699 w 608129"/>
                <a:gd name="connsiteY3" fmla="*/ 303651 h 343858"/>
                <a:gd name="connsiteX4" fmla="*/ 193001 w 608129"/>
                <a:gd name="connsiteY4" fmla="*/ 303651 h 343858"/>
                <a:gd name="connsiteX5" fmla="*/ 182367 w 608129"/>
                <a:gd name="connsiteY5" fmla="*/ 293038 h 343858"/>
                <a:gd name="connsiteX6" fmla="*/ 193001 w 608129"/>
                <a:gd name="connsiteY6" fmla="*/ 283182 h 343858"/>
                <a:gd name="connsiteX7" fmla="*/ 101866 w 608129"/>
                <a:gd name="connsiteY7" fmla="*/ 283182 h 343858"/>
                <a:gd name="connsiteX8" fmla="*/ 142885 w 608129"/>
                <a:gd name="connsiteY8" fmla="*/ 283182 h 343858"/>
                <a:gd name="connsiteX9" fmla="*/ 152760 w 608129"/>
                <a:gd name="connsiteY9" fmla="*/ 293038 h 343858"/>
                <a:gd name="connsiteX10" fmla="*/ 142885 w 608129"/>
                <a:gd name="connsiteY10" fmla="*/ 303651 h 343858"/>
                <a:gd name="connsiteX11" fmla="*/ 101866 w 608129"/>
                <a:gd name="connsiteY11" fmla="*/ 303651 h 343858"/>
                <a:gd name="connsiteX12" fmla="*/ 91231 w 608129"/>
                <a:gd name="connsiteY12" fmla="*/ 293038 h 343858"/>
                <a:gd name="connsiteX13" fmla="*/ 101866 w 608129"/>
                <a:gd name="connsiteY13" fmla="*/ 283182 h 343858"/>
                <a:gd name="connsiteX14" fmla="*/ 23697 w 608129"/>
                <a:gd name="connsiteY14" fmla="*/ 252861 h 343858"/>
                <a:gd name="connsiteX15" fmla="*/ 72307 w 608129"/>
                <a:gd name="connsiteY15" fmla="*/ 281677 h 343858"/>
                <a:gd name="connsiteX16" fmla="*/ 73826 w 608129"/>
                <a:gd name="connsiteY16" fmla="*/ 283952 h 343858"/>
                <a:gd name="connsiteX17" fmla="*/ 82941 w 608129"/>
                <a:gd name="connsiteY17" fmla="*/ 307460 h 343858"/>
                <a:gd name="connsiteX18" fmla="*/ 91295 w 608129"/>
                <a:gd name="connsiteY18" fmla="*/ 323384 h 343858"/>
                <a:gd name="connsiteX19" fmla="*/ 516631 w 608129"/>
                <a:gd name="connsiteY19" fmla="*/ 323384 h 343858"/>
                <a:gd name="connsiteX20" fmla="*/ 525745 w 608129"/>
                <a:gd name="connsiteY20" fmla="*/ 307460 h 343858"/>
                <a:gd name="connsiteX21" fmla="*/ 534859 w 608129"/>
                <a:gd name="connsiteY21" fmla="*/ 283952 h 343858"/>
                <a:gd name="connsiteX22" fmla="*/ 536378 w 608129"/>
                <a:gd name="connsiteY22" fmla="*/ 281677 h 343858"/>
                <a:gd name="connsiteX23" fmla="*/ 584229 w 608129"/>
                <a:gd name="connsiteY23" fmla="*/ 252861 h 343858"/>
                <a:gd name="connsiteX24" fmla="*/ 569798 w 608129"/>
                <a:gd name="connsiteY24" fmla="*/ 252861 h 343858"/>
                <a:gd name="connsiteX25" fmla="*/ 413335 w 608129"/>
                <a:gd name="connsiteY25" fmla="*/ 252861 h 343858"/>
                <a:gd name="connsiteX26" fmla="*/ 401942 w 608129"/>
                <a:gd name="connsiteY26" fmla="*/ 252861 h 343858"/>
                <a:gd name="connsiteX27" fmla="*/ 35850 w 608129"/>
                <a:gd name="connsiteY27" fmla="*/ 252861 h 343858"/>
                <a:gd name="connsiteX28" fmla="*/ 254526 w 608129"/>
                <a:gd name="connsiteY28" fmla="*/ 201295 h 343858"/>
                <a:gd name="connsiteX29" fmla="*/ 257557 w 608129"/>
                <a:gd name="connsiteY29" fmla="*/ 214952 h 343858"/>
                <a:gd name="connsiteX30" fmla="*/ 249221 w 608129"/>
                <a:gd name="connsiteY30" fmla="*/ 227091 h 343858"/>
                <a:gd name="connsiteX31" fmla="*/ 240886 w 608129"/>
                <a:gd name="connsiteY31" fmla="*/ 231644 h 343858"/>
                <a:gd name="connsiteX32" fmla="*/ 235581 w 608129"/>
                <a:gd name="connsiteY32" fmla="*/ 229368 h 343858"/>
                <a:gd name="connsiteX33" fmla="*/ 232550 w 608129"/>
                <a:gd name="connsiteY33" fmla="*/ 215710 h 343858"/>
                <a:gd name="connsiteX34" fmla="*/ 240886 w 608129"/>
                <a:gd name="connsiteY34" fmla="*/ 203571 h 343858"/>
                <a:gd name="connsiteX35" fmla="*/ 254526 w 608129"/>
                <a:gd name="connsiteY35" fmla="*/ 201295 h 343858"/>
                <a:gd name="connsiteX36" fmla="*/ 293998 w 608129"/>
                <a:gd name="connsiteY36" fmla="*/ 199043 h 343858"/>
                <a:gd name="connsiteX37" fmla="*/ 307670 w 608129"/>
                <a:gd name="connsiteY37" fmla="*/ 202827 h 343858"/>
                <a:gd name="connsiteX38" fmla="*/ 314506 w 608129"/>
                <a:gd name="connsiteY38" fmla="*/ 214937 h 343858"/>
                <a:gd name="connsiteX39" fmla="*/ 304632 w 608129"/>
                <a:gd name="connsiteY39" fmla="*/ 222506 h 343858"/>
                <a:gd name="connsiteX40" fmla="*/ 302353 w 608129"/>
                <a:gd name="connsiteY40" fmla="*/ 221749 h 343858"/>
                <a:gd name="connsiteX41" fmla="*/ 288681 w 608129"/>
                <a:gd name="connsiteY41" fmla="*/ 218721 h 343858"/>
                <a:gd name="connsiteX42" fmla="*/ 281845 w 608129"/>
                <a:gd name="connsiteY42" fmla="*/ 205854 h 343858"/>
                <a:gd name="connsiteX43" fmla="*/ 293998 w 608129"/>
                <a:gd name="connsiteY43" fmla="*/ 199043 h 343858"/>
                <a:gd name="connsiteX44" fmla="*/ 113257 w 608129"/>
                <a:gd name="connsiteY44" fmla="*/ 193732 h 343858"/>
                <a:gd name="connsiteX45" fmla="*/ 125378 w 608129"/>
                <a:gd name="connsiteY45" fmla="*/ 201299 h 343858"/>
                <a:gd name="connsiteX46" fmla="*/ 128408 w 608129"/>
                <a:gd name="connsiteY46" fmla="*/ 214920 h 343858"/>
                <a:gd name="connsiteX47" fmla="*/ 120075 w 608129"/>
                <a:gd name="connsiteY47" fmla="*/ 219460 h 343858"/>
                <a:gd name="connsiteX48" fmla="*/ 114773 w 608129"/>
                <a:gd name="connsiteY48" fmla="*/ 217946 h 343858"/>
                <a:gd name="connsiteX49" fmla="*/ 102652 w 608129"/>
                <a:gd name="connsiteY49" fmla="*/ 211136 h 343858"/>
                <a:gd name="connsiteX50" fmla="*/ 99622 w 608129"/>
                <a:gd name="connsiteY50" fmla="*/ 196759 h 343858"/>
                <a:gd name="connsiteX51" fmla="*/ 113257 w 608129"/>
                <a:gd name="connsiteY51" fmla="*/ 193732 h 343858"/>
                <a:gd name="connsiteX52" fmla="*/ 367752 w 608129"/>
                <a:gd name="connsiteY52" fmla="*/ 192974 h 343858"/>
                <a:gd name="connsiteX53" fmla="*/ 380665 w 608129"/>
                <a:gd name="connsiteY53" fmla="*/ 199023 h 343858"/>
                <a:gd name="connsiteX54" fmla="*/ 373829 w 608129"/>
                <a:gd name="connsiteY54" fmla="*/ 211877 h 343858"/>
                <a:gd name="connsiteX55" fmla="*/ 360917 w 608129"/>
                <a:gd name="connsiteY55" fmla="*/ 216414 h 343858"/>
                <a:gd name="connsiteX56" fmla="*/ 357119 w 608129"/>
                <a:gd name="connsiteY56" fmla="*/ 216414 h 343858"/>
                <a:gd name="connsiteX57" fmla="*/ 348004 w 608129"/>
                <a:gd name="connsiteY57" fmla="*/ 209609 h 343858"/>
                <a:gd name="connsiteX58" fmla="*/ 354081 w 608129"/>
                <a:gd name="connsiteY58" fmla="*/ 196755 h 343858"/>
                <a:gd name="connsiteX59" fmla="*/ 473099 w 608129"/>
                <a:gd name="connsiteY59" fmla="*/ 187878 h 343858"/>
                <a:gd name="connsiteX60" fmla="*/ 480904 w 608129"/>
                <a:gd name="connsiteY60" fmla="*/ 189869 h 343858"/>
                <a:gd name="connsiteX61" fmla="*/ 483189 w 608129"/>
                <a:gd name="connsiteY61" fmla="*/ 203526 h 343858"/>
                <a:gd name="connsiteX62" fmla="*/ 475574 w 608129"/>
                <a:gd name="connsiteY62" fmla="*/ 214907 h 343858"/>
                <a:gd name="connsiteX63" fmla="*/ 467198 w 608129"/>
                <a:gd name="connsiteY63" fmla="*/ 219460 h 343858"/>
                <a:gd name="connsiteX64" fmla="*/ 461106 w 608129"/>
                <a:gd name="connsiteY64" fmla="*/ 217942 h 343858"/>
                <a:gd name="connsiteX65" fmla="*/ 458821 w 608129"/>
                <a:gd name="connsiteY65" fmla="*/ 203526 h 343858"/>
                <a:gd name="connsiteX66" fmla="*/ 466436 w 608129"/>
                <a:gd name="connsiteY66" fmla="*/ 192146 h 343858"/>
                <a:gd name="connsiteX67" fmla="*/ 473099 w 608129"/>
                <a:gd name="connsiteY67" fmla="*/ 187878 h 343858"/>
                <a:gd name="connsiteX68" fmla="*/ 410279 w 608129"/>
                <a:gd name="connsiteY68" fmla="*/ 182352 h 343858"/>
                <a:gd name="connsiteX69" fmla="*/ 422434 w 608129"/>
                <a:gd name="connsiteY69" fmla="*/ 189169 h 343858"/>
                <a:gd name="connsiteX70" fmla="*/ 426233 w 608129"/>
                <a:gd name="connsiteY70" fmla="*/ 202805 h 343858"/>
                <a:gd name="connsiteX71" fmla="*/ 418636 w 608129"/>
                <a:gd name="connsiteY71" fmla="*/ 215683 h 343858"/>
                <a:gd name="connsiteX72" fmla="*/ 416356 w 608129"/>
                <a:gd name="connsiteY72" fmla="*/ 215683 h 343858"/>
                <a:gd name="connsiteX73" fmla="*/ 406480 w 608129"/>
                <a:gd name="connsiteY73" fmla="*/ 208108 h 343858"/>
                <a:gd name="connsiteX74" fmla="*/ 402682 w 608129"/>
                <a:gd name="connsiteY74" fmla="*/ 194472 h 343858"/>
                <a:gd name="connsiteX75" fmla="*/ 410279 w 608129"/>
                <a:gd name="connsiteY75" fmla="*/ 182352 h 343858"/>
                <a:gd name="connsiteX76" fmla="*/ 188501 w 608129"/>
                <a:gd name="connsiteY76" fmla="*/ 179282 h 343858"/>
                <a:gd name="connsiteX77" fmla="*/ 202945 w 608129"/>
                <a:gd name="connsiteY77" fmla="*/ 180043 h 343858"/>
                <a:gd name="connsiteX78" fmla="*/ 212067 w 608129"/>
                <a:gd name="connsiteY78" fmla="*/ 191449 h 343858"/>
                <a:gd name="connsiteX79" fmla="*/ 202185 w 608129"/>
                <a:gd name="connsiteY79" fmla="*/ 200575 h 343858"/>
                <a:gd name="connsiteX80" fmla="*/ 201424 w 608129"/>
                <a:gd name="connsiteY80" fmla="*/ 200575 h 343858"/>
                <a:gd name="connsiteX81" fmla="*/ 186981 w 608129"/>
                <a:gd name="connsiteY81" fmla="*/ 199814 h 343858"/>
                <a:gd name="connsiteX82" fmla="*/ 177859 w 608129"/>
                <a:gd name="connsiteY82" fmla="*/ 188408 h 343858"/>
                <a:gd name="connsiteX83" fmla="*/ 188501 w 608129"/>
                <a:gd name="connsiteY83" fmla="*/ 179282 h 343858"/>
                <a:gd name="connsiteX84" fmla="*/ 160344 w 608129"/>
                <a:gd name="connsiteY84" fmla="*/ 165596 h 343858"/>
                <a:gd name="connsiteX85" fmla="*/ 163375 w 608129"/>
                <a:gd name="connsiteY85" fmla="*/ 180011 h 343858"/>
                <a:gd name="connsiteX86" fmla="*/ 155797 w 608129"/>
                <a:gd name="connsiteY86" fmla="*/ 191392 h 343858"/>
                <a:gd name="connsiteX87" fmla="*/ 147461 w 608129"/>
                <a:gd name="connsiteY87" fmla="*/ 195945 h 343858"/>
                <a:gd name="connsiteX88" fmla="*/ 141399 w 608129"/>
                <a:gd name="connsiteY88" fmla="*/ 194427 h 343858"/>
                <a:gd name="connsiteX89" fmla="*/ 139126 w 608129"/>
                <a:gd name="connsiteY89" fmla="*/ 180011 h 343858"/>
                <a:gd name="connsiteX90" fmla="*/ 146704 w 608129"/>
                <a:gd name="connsiteY90" fmla="*/ 168631 h 343858"/>
                <a:gd name="connsiteX91" fmla="*/ 160344 w 608129"/>
                <a:gd name="connsiteY91" fmla="*/ 165596 h 343858"/>
                <a:gd name="connsiteX92" fmla="*/ 338113 w 608129"/>
                <a:gd name="connsiteY92" fmla="*/ 164888 h 343858"/>
                <a:gd name="connsiteX93" fmla="*/ 352554 w 608129"/>
                <a:gd name="connsiteY93" fmla="*/ 164888 h 343858"/>
                <a:gd name="connsiteX94" fmla="*/ 352554 w 608129"/>
                <a:gd name="connsiteY94" fmla="*/ 179285 h 343858"/>
                <a:gd name="connsiteX95" fmla="*/ 342673 w 608129"/>
                <a:gd name="connsiteY95" fmla="*/ 189137 h 343858"/>
                <a:gd name="connsiteX96" fmla="*/ 335073 w 608129"/>
                <a:gd name="connsiteY96" fmla="*/ 192168 h 343858"/>
                <a:gd name="connsiteX97" fmla="*/ 328232 w 608129"/>
                <a:gd name="connsiteY97" fmla="*/ 189137 h 343858"/>
                <a:gd name="connsiteX98" fmla="*/ 328232 w 608129"/>
                <a:gd name="connsiteY98" fmla="*/ 174739 h 343858"/>
                <a:gd name="connsiteX99" fmla="*/ 438352 w 608129"/>
                <a:gd name="connsiteY99" fmla="*/ 163394 h 343858"/>
                <a:gd name="connsiteX100" fmla="*/ 449715 w 608129"/>
                <a:gd name="connsiteY100" fmla="*/ 170961 h 343858"/>
                <a:gd name="connsiteX101" fmla="*/ 453502 w 608129"/>
                <a:gd name="connsiteY101" fmla="*/ 184582 h 343858"/>
                <a:gd name="connsiteX102" fmla="*/ 444412 w 608129"/>
                <a:gd name="connsiteY102" fmla="*/ 189122 h 343858"/>
                <a:gd name="connsiteX103" fmla="*/ 439110 w 608129"/>
                <a:gd name="connsiteY103" fmla="*/ 187608 h 343858"/>
                <a:gd name="connsiteX104" fmla="*/ 427747 w 608129"/>
                <a:gd name="connsiteY104" fmla="*/ 180798 h 343858"/>
                <a:gd name="connsiteX105" fmla="*/ 423959 w 608129"/>
                <a:gd name="connsiteY105" fmla="*/ 166421 h 343858"/>
                <a:gd name="connsiteX106" fmla="*/ 438352 w 608129"/>
                <a:gd name="connsiteY106" fmla="*/ 163394 h 343858"/>
                <a:gd name="connsiteX107" fmla="*/ 237851 w 608129"/>
                <a:gd name="connsiteY107" fmla="*/ 158043 h 343858"/>
                <a:gd name="connsiteX108" fmla="*/ 249244 w 608129"/>
                <a:gd name="connsiteY108" fmla="*/ 165635 h 343858"/>
                <a:gd name="connsiteX109" fmla="*/ 253042 w 608129"/>
                <a:gd name="connsiteY109" fmla="*/ 179300 h 343858"/>
                <a:gd name="connsiteX110" fmla="*/ 243927 w 608129"/>
                <a:gd name="connsiteY110" fmla="*/ 184614 h 343858"/>
                <a:gd name="connsiteX111" fmla="*/ 238610 w 608129"/>
                <a:gd name="connsiteY111" fmla="*/ 183095 h 343858"/>
                <a:gd name="connsiteX112" fmla="*/ 227217 w 608129"/>
                <a:gd name="connsiteY112" fmla="*/ 175504 h 343858"/>
                <a:gd name="connsiteX113" fmla="*/ 223419 w 608129"/>
                <a:gd name="connsiteY113" fmla="*/ 161839 h 343858"/>
                <a:gd name="connsiteX114" fmla="*/ 237851 w 608129"/>
                <a:gd name="connsiteY114" fmla="*/ 158043 h 343858"/>
                <a:gd name="connsiteX115" fmla="*/ 285637 w 608129"/>
                <a:gd name="connsiteY115" fmla="*/ 155767 h 343858"/>
                <a:gd name="connsiteX116" fmla="*/ 299320 w 608129"/>
                <a:gd name="connsiteY116" fmla="*/ 156528 h 343858"/>
                <a:gd name="connsiteX117" fmla="*/ 308442 w 608129"/>
                <a:gd name="connsiteY117" fmla="*/ 167174 h 343858"/>
                <a:gd name="connsiteX118" fmla="*/ 298560 w 608129"/>
                <a:gd name="connsiteY118" fmla="*/ 177060 h 343858"/>
                <a:gd name="connsiteX119" fmla="*/ 297799 w 608129"/>
                <a:gd name="connsiteY119" fmla="*/ 177060 h 343858"/>
                <a:gd name="connsiteX120" fmla="*/ 284116 w 608129"/>
                <a:gd name="connsiteY120" fmla="*/ 175539 h 343858"/>
                <a:gd name="connsiteX121" fmla="*/ 274234 w 608129"/>
                <a:gd name="connsiteY121" fmla="*/ 164893 h 343858"/>
                <a:gd name="connsiteX122" fmla="*/ 285637 w 608129"/>
                <a:gd name="connsiteY122" fmla="*/ 155767 h 343858"/>
                <a:gd name="connsiteX123" fmla="*/ 374580 w 608129"/>
                <a:gd name="connsiteY123" fmla="*/ 140655 h 343858"/>
                <a:gd name="connsiteX124" fmla="*/ 388263 w 608129"/>
                <a:gd name="connsiteY124" fmla="*/ 141411 h 343858"/>
                <a:gd name="connsiteX125" fmla="*/ 398145 w 608129"/>
                <a:gd name="connsiteY125" fmla="*/ 152755 h 343858"/>
                <a:gd name="connsiteX126" fmla="*/ 387503 w 608129"/>
                <a:gd name="connsiteY126" fmla="*/ 161830 h 343858"/>
                <a:gd name="connsiteX127" fmla="*/ 386742 w 608129"/>
                <a:gd name="connsiteY127" fmla="*/ 161830 h 343858"/>
                <a:gd name="connsiteX128" fmla="*/ 373059 w 608129"/>
                <a:gd name="connsiteY128" fmla="*/ 160317 h 343858"/>
                <a:gd name="connsiteX129" fmla="*/ 363937 w 608129"/>
                <a:gd name="connsiteY129" fmla="*/ 149730 h 343858"/>
                <a:gd name="connsiteX130" fmla="*/ 374580 w 608129"/>
                <a:gd name="connsiteY130" fmla="*/ 140655 h 343858"/>
                <a:gd name="connsiteX131" fmla="*/ 363206 w 608129"/>
                <a:gd name="connsiteY131" fmla="*/ 133808 h 343858"/>
                <a:gd name="connsiteX132" fmla="*/ 362447 w 608129"/>
                <a:gd name="connsiteY132" fmla="*/ 134566 h 343858"/>
                <a:gd name="connsiteX133" fmla="*/ 360168 w 608129"/>
                <a:gd name="connsiteY133" fmla="*/ 139874 h 343858"/>
                <a:gd name="connsiteX134" fmla="*/ 344218 w 608129"/>
                <a:gd name="connsiteY134" fmla="*/ 156557 h 343858"/>
                <a:gd name="connsiteX135" fmla="*/ 341939 w 608129"/>
                <a:gd name="connsiteY135" fmla="*/ 157315 h 343858"/>
                <a:gd name="connsiteX136" fmla="*/ 338142 w 608129"/>
                <a:gd name="connsiteY136" fmla="*/ 158832 h 343858"/>
                <a:gd name="connsiteX137" fmla="*/ 335104 w 608129"/>
                <a:gd name="connsiteY137" fmla="*/ 160348 h 343858"/>
                <a:gd name="connsiteX138" fmla="*/ 332066 w 608129"/>
                <a:gd name="connsiteY138" fmla="*/ 161107 h 343858"/>
                <a:gd name="connsiteX139" fmla="*/ 324470 w 608129"/>
                <a:gd name="connsiteY139" fmla="*/ 161865 h 343858"/>
                <a:gd name="connsiteX140" fmla="*/ 317634 w 608129"/>
                <a:gd name="connsiteY140" fmla="*/ 161107 h 343858"/>
                <a:gd name="connsiteX141" fmla="*/ 314596 w 608129"/>
                <a:gd name="connsiteY141" fmla="*/ 160348 h 343858"/>
                <a:gd name="connsiteX142" fmla="*/ 310799 w 608129"/>
                <a:gd name="connsiteY142" fmla="*/ 158832 h 343858"/>
                <a:gd name="connsiteX143" fmla="*/ 307761 w 608129"/>
                <a:gd name="connsiteY143" fmla="*/ 158073 h 343858"/>
                <a:gd name="connsiteX144" fmla="*/ 304723 w 608129"/>
                <a:gd name="connsiteY144" fmla="*/ 156557 h 343858"/>
                <a:gd name="connsiteX145" fmla="*/ 297887 w 608129"/>
                <a:gd name="connsiteY145" fmla="*/ 151249 h 343858"/>
                <a:gd name="connsiteX146" fmla="*/ 297127 w 608129"/>
                <a:gd name="connsiteY146" fmla="*/ 150490 h 343858"/>
                <a:gd name="connsiteX147" fmla="*/ 294089 w 608129"/>
                <a:gd name="connsiteY147" fmla="*/ 147457 h 343858"/>
                <a:gd name="connsiteX148" fmla="*/ 292570 w 608129"/>
                <a:gd name="connsiteY148" fmla="*/ 145941 h 343858"/>
                <a:gd name="connsiteX149" fmla="*/ 289532 w 608129"/>
                <a:gd name="connsiteY149" fmla="*/ 142149 h 343858"/>
                <a:gd name="connsiteX150" fmla="*/ 289532 w 608129"/>
                <a:gd name="connsiteY150" fmla="*/ 140633 h 343858"/>
                <a:gd name="connsiteX151" fmla="*/ 287253 w 608129"/>
                <a:gd name="connsiteY151" fmla="*/ 136083 h 343858"/>
                <a:gd name="connsiteX152" fmla="*/ 237125 w 608129"/>
                <a:gd name="connsiteY152" fmla="*/ 141391 h 343858"/>
                <a:gd name="connsiteX153" fmla="*/ 215098 w 608129"/>
                <a:gd name="connsiteY153" fmla="*/ 165657 h 343858"/>
                <a:gd name="connsiteX154" fmla="*/ 214339 w 608129"/>
                <a:gd name="connsiteY154" fmla="*/ 166415 h 343858"/>
                <a:gd name="connsiteX155" fmla="*/ 212060 w 608129"/>
                <a:gd name="connsiteY155" fmla="*/ 168690 h 343858"/>
                <a:gd name="connsiteX156" fmla="*/ 211301 w 608129"/>
                <a:gd name="connsiteY156" fmla="*/ 168690 h 343858"/>
                <a:gd name="connsiteX157" fmla="*/ 209022 w 608129"/>
                <a:gd name="connsiteY157" fmla="*/ 170206 h 343858"/>
                <a:gd name="connsiteX158" fmla="*/ 207503 w 608129"/>
                <a:gd name="connsiteY158" fmla="*/ 170965 h 343858"/>
                <a:gd name="connsiteX159" fmla="*/ 205224 w 608129"/>
                <a:gd name="connsiteY159" fmla="*/ 171723 h 343858"/>
                <a:gd name="connsiteX160" fmla="*/ 203705 w 608129"/>
                <a:gd name="connsiteY160" fmla="*/ 171723 h 343858"/>
                <a:gd name="connsiteX161" fmla="*/ 202186 w 608129"/>
                <a:gd name="connsiteY161" fmla="*/ 171723 h 343858"/>
                <a:gd name="connsiteX162" fmla="*/ 201427 w 608129"/>
                <a:gd name="connsiteY162" fmla="*/ 171723 h 343858"/>
                <a:gd name="connsiteX163" fmla="*/ 199148 w 608129"/>
                <a:gd name="connsiteY163" fmla="*/ 171723 h 343858"/>
                <a:gd name="connsiteX164" fmla="*/ 198389 w 608129"/>
                <a:gd name="connsiteY164" fmla="*/ 171723 h 343858"/>
                <a:gd name="connsiteX165" fmla="*/ 191553 w 608129"/>
                <a:gd name="connsiteY165" fmla="*/ 169448 h 343858"/>
                <a:gd name="connsiteX166" fmla="*/ 188515 w 608129"/>
                <a:gd name="connsiteY166" fmla="*/ 167173 h 343858"/>
                <a:gd name="connsiteX167" fmla="*/ 178641 w 608129"/>
                <a:gd name="connsiteY167" fmla="*/ 158073 h 343858"/>
                <a:gd name="connsiteX168" fmla="*/ 176362 w 608129"/>
                <a:gd name="connsiteY168" fmla="*/ 155040 h 343858"/>
                <a:gd name="connsiteX169" fmla="*/ 175603 w 608129"/>
                <a:gd name="connsiteY169" fmla="*/ 154282 h 343858"/>
                <a:gd name="connsiteX170" fmla="*/ 174084 w 608129"/>
                <a:gd name="connsiteY170" fmla="*/ 152007 h 343858"/>
                <a:gd name="connsiteX171" fmla="*/ 142943 w 608129"/>
                <a:gd name="connsiteY171" fmla="*/ 159590 h 343858"/>
                <a:gd name="connsiteX172" fmla="*/ 136107 w 608129"/>
                <a:gd name="connsiteY172" fmla="*/ 171723 h 343858"/>
                <a:gd name="connsiteX173" fmla="*/ 135348 w 608129"/>
                <a:gd name="connsiteY173" fmla="*/ 173998 h 343858"/>
                <a:gd name="connsiteX174" fmla="*/ 134588 w 608129"/>
                <a:gd name="connsiteY174" fmla="*/ 174756 h 343858"/>
                <a:gd name="connsiteX175" fmla="*/ 133069 w 608129"/>
                <a:gd name="connsiteY175" fmla="*/ 175514 h 343858"/>
                <a:gd name="connsiteX176" fmla="*/ 131550 w 608129"/>
                <a:gd name="connsiteY176" fmla="*/ 177789 h 343858"/>
                <a:gd name="connsiteX177" fmla="*/ 130791 w 608129"/>
                <a:gd name="connsiteY177" fmla="*/ 177789 h 343858"/>
                <a:gd name="connsiteX178" fmla="*/ 124715 w 608129"/>
                <a:gd name="connsiteY178" fmla="*/ 181581 h 343858"/>
                <a:gd name="connsiteX179" fmla="*/ 119398 w 608129"/>
                <a:gd name="connsiteY179" fmla="*/ 182339 h 343858"/>
                <a:gd name="connsiteX180" fmla="*/ 118638 w 608129"/>
                <a:gd name="connsiteY180" fmla="*/ 182339 h 343858"/>
                <a:gd name="connsiteX181" fmla="*/ 117879 w 608129"/>
                <a:gd name="connsiteY181" fmla="*/ 182339 h 343858"/>
                <a:gd name="connsiteX182" fmla="*/ 114841 w 608129"/>
                <a:gd name="connsiteY182" fmla="*/ 182339 h 343858"/>
                <a:gd name="connsiteX183" fmla="*/ 113322 w 608129"/>
                <a:gd name="connsiteY183" fmla="*/ 181581 h 343858"/>
                <a:gd name="connsiteX184" fmla="*/ 109524 w 608129"/>
                <a:gd name="connsiteY184" fmla="*/ 180064 h 343858"/>
                <a:gd name="connsiteX185" fmla="*/ 108764 w 608129"/>
                <a:gd name="connsiteY185" fmla="*/ 180064 h 343858"/>
                <a:gd name="connsiteX186" fmla="*/ 99650 w 608129"/>
                <a:gd name="connsiteY186" fmla="*/ 175514 h 343858"/>
                <a:gd name="connsiteX187" fmla="*/ 92814 w 608129"/>
                <a:gd name="connsiteY187" fmla="*/ 189922 h 343858"/>
                <a:gd name="connsiteX188" fmla="*/ 71548 w 608129"/>
                <a:gd name="connsiteY188" fmla="*/ 202813 h 343858"/>
                <a:gd name="connsiteX189" fmla="*/ 70029 w 608129"/>
                <a:gd name="connsiteY189" fmla="*/ 214188 h 343858"/>
                <a:gd name="connsiteX190" fmla="*/ 61674 w 608129"/>
                <a:gd name="connsiteY190" fmla="*/ 225562 h 343858"/>
                <a:gd name="connsiteX191" fmla="*/ 51800 w 608129"/>
                <a:gd name="connsiteY191" fmla="*/ 232387 h 343858"/>
                <a:gd name="connsiteX192" fmla="*/ 159653 w 608129"/>
                <a:gd name="connsiteY192" fmla="*/ 232387 h 343858"/>
                <a:gd name="connsiteX193" fmla="*/ 158134 w 608129"/>
                <a:gd name="connsiteY193" fmla="*/ 224804 h 343858"/>
                <a:gd name="connsiteX194" fmla="*/ 159653 w 608129"/>
                <a:gd name="connsiteY194" fmla="*/ 211155 h 343858"/>
                <a:gd name="connsiteX195" fmla="*/ 171046 w 608129"/>
                <a:gd name="connsiteY195" fmla="*/ 202813 h 343858"/>
                <a:gd name="connsiteX196" fmla="*/ 179401 w 608129"/>
                <a:gd name="connsiteY196" fmla="*/ 213430 h 343858"/>
                <a:gd name="connsiteX197" fmla="*/ 177881 w 608129"/>
                <a:gd name="connsiteY197" fmla="*/ 227837 h 343858"/>
                <a:gd name="connsiteX198" fmla="*/ 175603 w 608129"/>
                <a:gd name="connsiteY198" fmla="*/ 232387 h 343858"/>
                <a:gd name="connsiteX199" fmla="*/ 402702 w 608129"/>
                <a:gd name="connsiteY199" fmla="*/ 232387 h 343858"/>
                <a:gd name="connsiteX200" fmla="*/ 537897 w 608129"/>
                <a:gd name="connsiteY200" fmla="*/ 232387 h 343858"/>
                <a:gd name="connsiteX201" fmla="*/ 528783 w 608129"/>
                <a:gd name="connsiteY201" fmla="*/ 208880 h 343858"/>
                <a:gd name="connsiteX202" fmla="*/ 528783 w 608129"/>
                <a:gd name="connsiteY202" fmla="*/ 205847 h 343858"/>
                <a:gd name="connsiteX203" fmla="*/ 519669 w 608129"/>
                <a:gd name="connsiteY203" fmla="*/ 196747 h 343858"/>
                <a:gd name="connsiteX204" fmla="*/ 512833 w 608129"/>
                <a:gd name="connsiteY204" fmla="*/ 196747 h 343858"/>
                <a:gd name="connsiteX205" fmla="*/ 501440 w 608129"/>
                <a:gd name="connsiteY205" fmla="*/ 186131 h 343858"/>
                <a:gd name="connsiteX206" fmla="*/ 492326 w 608129"/>
                <a:gd name="connsiteY206" fmla="*/ 177789 h 343858"/>
                <a:gd name="connsiteX207" fmla="*/ 472578 w 608129"/>
                <a:gd name="connsiteY207" fmla="*/ 162623 h 343858"/>
                <a:gd name="connsiteX208" fmla="*/ 463464 w 608129"/>
                <a:gd name="connsiteY208" fmla="*/ 150490 h 343858"/>
                <a:gd name="connsiteX209" fmla="*/ 458907 w 608129"/>
                <a:gd name="connsiteY209" fmla="*/ 152765 h 343858"/>
                <a:gd name="connsiteX210" fmla="*/ 429285 w 608129"/>
                <a:gd name="connsiteY210" fmla="*/ 161107 h 343858"/>
                <a:gd name="connsiteX211" fmla="*/ 424728 w 608129"/>
                <a:gd name="connsiteY211" fmla="*/ 161865 h 343858"/>
                <a:gd name="connsiteX212" fmla="*/ 423968 w 608129"/>
                <a:gd name="connsiteY212" fmla="*/ 161865 h 343858"/>
                <a:gd name="connsiteX213" fmla="*/ 423209 w 608129"/>
                <a:gd name="connsiteY213" fmla="*/ 161865 h 343858"/>
                <a:gd name="connsiteX214" fmla="*/ 420171 w 608129"/>
                <a:gd name="connsiteY214" fmla="*/ 161107 h 343858"/>
                <a:gd name="connsiteX215" fmla="*/ 418652 w 608129"/>
                <a:gd name="connsiteY215" fmla="*/ 161107 h 343858"/>
                <a:gd name="connsiteX216" fmla="*/ 414094 w 608129"/>
                <a:gd name="connsiteY216" fmla="*/ 159590 h 343858"/>
                <a:gd name="connsiteX217" fmla="*/ 407259 w 608129"/>
                <a:gd name="connsiteY217" fmla="*/ 152765 h 343858"/>
                <a:gd name="connsiteX218" fmla="*/ 404221 w 608129"/>
                <a:gd name="connsiteY218" fmla="*/ 147457 h 343858"/>
                <a:gd name="connsiteX219" fmla="*/ 401182 w 608129"/>
                <a:gd name="connsiteY219" fmla="*/ 135324 h 343858"/>
                <a:gd name="connsiteX220" fmla="*/ 363206 w 608129"/>
                <a:gd name="connsiteY220" fmla="*/ 133808 h 343858"/>
                <a:gd name="connsiteX221" fmla="*/ 105726 w 608129"/>
                <a:gd name="connsiteY221" fmla="*/ 121675 h 343858"/>
                <a:gd name="connsiteX222" fmla="*/ 91295 w 608129"/>
                <a:gd name="connsiteY222" fmla="*/ 148216 h 343858"/>
                <a:gd name="connsiteX223" fmla="*/ 117119 w 608129"/>
                <a:gd name="connsiteY223" fmla="*/ 161865 h 343858"/>
                <a:gd name="connsiteX224" fmla="*/ 118638 w 608129"/>
                <a:gd name="connsiteY224" fmla="*/ 162623 h 343858"/>
                <a:gd name="connsiteX225" fmla="*/ 132310 w 608129"/>
                <a:gd name="connsiteY225" fmla="*/ 135324 h 343858"/>
                <a:gd name="connsiteX226" fmla="*/ 445235 w 608129"/>
                <a:gd name="connsiteY226" fmla="*/ 104234 h 343858"/>
                <a:gd name="connsiteX227" fmla="*/ 415614 w 608129"/>
                <a:gd name="connsiteY227" fmla="*/ 112575 h 343858"/>
                <a:gd name="connsiteX228" fmla="*/ 423968 w 608129"/>
                <a:gd name="connsiteY228" fmla="*/ 141391 h 343858"/>
                <a:gd name="connsiteX229" fmla="*/ 453590 w 608129"/>
                <a:gd name="connsiteY229" fmla="*/ 133049 h 343858"/>
                <a:gd name="connsiteX230" fmla="*/ 324470 w 608129"/>
                <a:gd name="connsiteY230" fmla="*/ 101201 h 343858"/>
                <a:gd name="connsiteX231" fmla="*/ 303963 w 608129"/>
                <a:gd name="connsiteY231" fmla="*/ 121675 h 343858"/>
                <a:gd name="connsiteX232" fmla="*/ 304723 w 608129"/>
                <a:gd name="connsiteY232" fmla="*/ 123192 h 343858"/>
                <a:gd name="connsiteX233" fmla="*/ 304723 w 608129"/>
                <a:gd name="connsiteY233" fmla="*/ 123950 h 343858"/>
                <a:gd name="connsiteX234" fmla="*/ 311558 w 608129"/>
                <a:gd name="connsiteY234" fmla="*/ 136841 h 343858"/>
                <a:gd name="connsiteX235" fmla="*/ 313837 w 608129"/>
                <a:gd name="connsiteY235" fmla="*/ 138358 h 343858"/>
                <a:gd name="connsiteX236" fmla="*/ 314596 w 608129"/>
                <a:gd name="connsiteY236" fmla="*/ 139116 h 343858"/>
                <a:gd name="connsiteX237" fmla="*/ 317634 w 608129"/>
                <a:gd name="connsiteY237" fmla="*/ 139874 h 343858"/>
                <a:gd name="connsiteX238" fmla="*/ 318394 w 608129"/>
                <a:gd name="connsiteY238" fmla="*/ 140633 h 343858"/>
                <a:gd name="connsiteX239" fmla="*/ 320673 w 608129"/>
                <a:gd name="connsiteY239" fmla="*/ 141391 h 343858"/>
                <a:gd name="connsiteX240" fmla="*/ 324470 w 608129"/>
                <a:gd name="connsiteY240" fmla="*/ 141391 h 343858"/>
                <a:gd name="connsiteX241" fmla="*/ 328268 w 608129"/>
                <a:gd name="connsiteY241" fmla="*/ 141391 h 343858"/>
                <a:gd name="connsiteX242" fmla="*/ 329787 w 608129"/>
                <a:gd name="connsiteY242" fmla="*/ 140633 h 343858"/>
                <a:gd name="connsiteX243" fmla="*/ 332066 w 608129"/>
                <a:gd name="connsiteY243" fmla="*/ 139874 h 343858"/>
                <a:gd name="connsiteX244" fmla="*/ 333585 w 608129"/>
                <a:gd name="connsiteY244" fmla="*/ 139116 h 343858"/>
                <a:gd name="connsiteX245" fmla="*/ 335863 w 608129"/>
                <a:gd name="connsiteY245" fmla="*/ 138358 h 343858"/>
                <a:gd name="connsiteX246" fmla="*/ 337382 w 608129"/>
                <a:gd name="connsiteY246" fmla="*/ 136841 h 343858"/>
                <a:gd name="connsiteX247" fmla="*/ 338142 w 608129"/>
                <a:gd name="connsiteY247" fmla="*/ 136083 h 343858"/>
                <a:gd name="connsiteX248" fmla="*/ 340420 w 608129"/>
                <a:gd name="connsiteY248" fmla="*/ 133808 h 343858"/>
                <a:gd name="connsiteX249" fmla="*/ 340420 w 608129"/>
                <a:gd name="connsiteY249" fmla="*/ 133049 h 343858"/>
                <a:gd name="connsiteX250" fmla="*/ 344218 w 608129"/>
                <a:gd name="connsiteY250" fmla="*/ 123192 h 343858"/>
                <a:gd name="connsiteX251" fmla="*/ 344977 w 608129"/>
                <a:gd name="connsiteY251" fmla="*/ 120917 h 343858"/>
                <a:gd name="connsiteX252" fmla="*/ 324470 w 608129"/>
                <a:gd name="connsiteY252" fmla="*/ 101201 h 343858"/>
                <a:gd name="connsiteX253" fmla="*/ 234086 w 608129"/>
                <a:gd name="connsiteY253" fmla="*/ 98926 h 343858"/>
                <a:gd name="connsiteX254" fmla="*/ 193832 w 608129"/>
                <a:gd name="connsiteY254" fmla="*/ 144424 h 343858"/>
                <a:gd name="connsiteX255" fmla="*/ 201427 w 608129"/>
                <a:gd name="connsiteY255" fmla="*/ 151249 h 343858"/>
                <a:gd name="connsiteX256" fmla="*/ 227251 w 608129"/>
                <a:gd name="connsiteY256" fmla="*/ 121675 h 343858"/>
                <a:gd name="connsiteX257" fmla="*/ 241682 w 608129"/>
                <a:gd name="connsiteY257" fmla="*/ 105751 h 343858"/>
                <a:gd name="connsiteX258" fmla="*/ 233042 w 608129"/>
                <a:gd name="connsiteY258" fmla="*/ 78357 h 343858"/>
                <a:gd name="connsiteX259" fmla="*/ 246239 w 608129"/>
                <a:gd name="connsiteY259" fmla="*/ 83001 h 343858"/>
                <a:gd name="connsiteX260" fmla="*/ 256872 w 608129"/>
                <a:gd name="connsiteY260" fmla="*/ 92101 h 343858"/>
                <a:gd name="connsiteX261" fmla="*/ 257632 w 608129"/>
                <a:gd name="connsiteY261" fmla="*/ 118642 h 343858"/>
                <a:gd name="connsiteX262" fmla="*/ 284215 w 608129"/>
                <a:gd name="connsiteY262" fmla="*/ 116367 h 343858"/>
                <a:gd name="connsiteX263" fmla="*/ 324470 w 608129"/>
                <a:gd name="connsiteY263" fmla="*/ 80727 h 343858"/>
                <a:gd name="connsiteX264" fmla="*/ 363966 w 608129"/>
                <a:gd name="connsiteY264" fmla="*/ 114092 h 343858"/>
                <a:gd name="connsiteX265" fmla="*/ 395866 w 608129"/>
                <a:gd name="connsiteY265" fmla="*/ 114850 h 343858"/>
                <a:gd name="connsiteX266" fmla="*/ 398144 w 608129"/>
                <a:gd name="connsiteY266" fmla="*/ 102717 h 343858"/>
                <a:gd name="connsiteX267" fmla="*/ 410297 w 608129"/>
                <a:gd name="connsiteY267" fmla="*/ 92859 h 343858"/>
                <a:gd name="connsiteX268" fmla="*/ 439159 w 608129"/>
                <a:gd name="connsiteY268" fmla="*/ 84518 h 343858"/>
                <a:gd name="connsiteX269" fmla="*/ 454349 w 608129"/>
                <a:gd name="connsiteY269" fmla="*/ 86035 h 343858"/>
                <a:gd name="connsiteX270" fmla="*/ 464223 w 608129"/>
                <a:gd name="connsiteY270" fmla="*/ 98168 h 343858"/>
                <a:gd name="connsiteX271" fmla="*/ 472578 w 608129"/>
                <a:gd name="connsiteY271" fmla="*/ 127741 h 343858"/>
                <a:gd name="connsiteX272" fmla="*/ 473338 w 608129"/>
                <a:gd name="connsiteY272" fmla="*/ 132291 h 343858"/>
                <a:gd name="connsiteX273" fmla="*/ 492326 w 608129"/>
                <a:gd name="connsiteY273" fmla="*/ 157315 h 343858"/>
                <a:gd name="connsiteX274" fmla="*/ 519669 w 608129"/>
                <a:gd name="connsiteY274" fmla="*/ 176273 h 343858"/>
                <a:gd name="connsiteX275" fmla="*/ 524226 w 608129"/>
                <a:gd name="connsiteY275" fmla="*/ 177031 h 343858"/>
                <a:gd name="connsiteX276" fmla="*/ 547771 w 608129"/>
                <a:gd name="connsiteY276" fmla="*/ 199780 h 343858"/>
                <a:gd name="connsiteX277" fmla="*/ 548531 w 608129"/>
                <a:gd name="connsiteY277" fmla="*/ 210396 h 343858"/>
                <a:gd name="connsiteX278" fmla="*/ 553848 w 608129"/>
                <a:gd name="connsiteY278" fmla="*/ 219496 h 343858"/>
                <a:gd name="connsiteX279" fmla="*/ 564481 w 608129"/>
                <a:gd name="connsiteY279" fmla="*/ 232387 h 343858"/>
                <a:gd name="connsiteX280" fmla="*/ 588786 w 608129"/>
                <a:gd name="connsiteY280" fmla="*/ 232387 h 343858"/>
                <a:gd name="connsiteX281" fmla="*/ 606255 w 608129"/>
                <a:gd name="connsiteY281" fmla="*/ 243003 h 343858"/>
                <a:gd name="connsiteX282" fmla="*/ 604736 w 608129"/>
                <a:gd name="connsiteY282" fmla="*/ 263478 h 343858"/>
                <a:gd name="connsiteX283" fmla="*/ 603217 w 608129"/>
                <a:gd name="connsiteY283" fmla="*/ 264994 h 343858"/>
                <a:gd name="connsiteX284" fmla="*/ 550809 w 608129"/>
                <a:gd name="connsiteY284" fmla="*/ 296843 h 343858"/>
                <a:gd name="connsiteX285" fmla="*/ 544733 w 608129"/>
                <a:gd name="connsiteY285" fmla="*/ 312768 h 343858"/>
                <a:gd name="connsiteX286" fmla="*/ 516631 w 608129"/>
                <a:gd name="connsiteY286" fmla="*/ 343858 h 343858"/>
                <a:gd name="connsiteX287" fmla="*/ 91295 w 608129"/>
                <a:gd name="connsiteY287" fmla="*/ 343858 h 343858"/>
                <a:gd name="connsiteX288" fmla="*/ 63952 w 608129"/>
                <a:gd name="connsiteY288" fmla="*/ 312768 h 343858"/>
                <a:gd name="connsiteX289" fmla="*/ 57876 w 608129"/>
                <a:gd name="connsiteY289" fmla="*/ 296843 h 343858"/>
                <a:gd name="connsiteX290" fmla="*/ 4709 w 608129"/>
                <a:gd name="connsiteY290" fmla="*/ 264994 h 343858"/>
                <a:gd name="connsiteX291" fmla="*/ 3950 w 608129"/>
                <a:gd name="connsiteY291" fmla="*/ 263478 h 343858"/>
                <a:gd name="connsiteX292" fmla="*/ 2431 w 608129"/>
                <a:gd name="connsiteY292" fmla="*/ 243003 h 343858"/>
                <a:gd name="connsiteX293" fmla="*/ 19900 w 608129"/>
                <a:gd name="connsiteY293" fmla="*/ 232387 h 343858"/>
                <a:gd name="connsiteX294" fmla="*/ 31293 w 608129"/>
                <a:gd name="connsiteY294" fmla="*/ 232387 h 343858"/>
                <a:gd name="connsiteX295" fmla="*/ 49521 w 608129"/>
                <a:gd name="connsiteY295" fmla="*/ 208880 h 343858"/>
                <a:gd name="connsiteX296" fmla="*/ 57117 w 608129"/>
                <a:gd name="connsiteY296" fmla="*/ 187647 h 343858"/>
                <a:gd name="connsiteX297" fmla="*/ 68510 w 608129"/>
                <a:gd name="connsiteY297" fmla="*/ 182339 h 343858"/>
                <a:gd name="connsiteX298" fmla="*/ 76864 w 608129"/>
                <a:gd name="connsiteY298" fmla="*/ 177031 h 343858"/>
                <a:gd name="connsiteX299" fmla="*/ 79902 w 608129"/>
                <a:gd name="connsiteY299" fmla="*/ 167931 h 343858"/>
                <a:gd name="connsiteX300" fmla="*/ 79902 w 608129"/>
                <a:gd name="connsiteY300" fmla="*/ 164140 h 343858"/>
                <a:gd name="connsiteX301" fmla="*/ 73826 w 608129"/>
                <a:gd name="connsiteY301" fmla="*/ 139116 h 343858"/>
                <a:gd name="connsiteX302" fmla="*/ 87498 w 608129"/>
                <a:gd name="connsiteY302" fmla="*/ 111817 h 343858"/>
                <a:gd name="connsiteX303" fmla="*/ 99650 w 608129"/>
                <a:gd name="connsiteY303" fmla="*/ 101959 h 343858"/>
                <a:gd name="connsiteX304" fmla="*/ 114841 w 608129"/>
                <a:gd name="connsiteY304" fmla="*/ 103476 h 343858"/>
                <a:gd name="connsiteX305" fmla="*/ 142184 w 608129"/>
                <a:gd name="connsiteY305" fmla="*/ 117125 h 343858"/>
                <a:gd name="connsiteX306" fmla="*/ 152058 w 608129"/>
                <a:gd name="connsiteY306" fmla="*/ 129258 h 343858"/>
                <a:gd name="connsiteX307" fmla="*/ 152817 w 608129"/>
                <a:gd name="connsiteY307" fmla="*/ 136083 h 343858"/>
                <a:gd name="connsiteX308" fmla="*/ 178641 w 608129"/>
                <a:gd name="connsiteY308" fmla="*/ 130016 h 343858"/>
                <a:gd name="connsiteX309" fmla="*/ 220415 w 608129"/>
                <a:gd name="connsiteY309" fmla="*/ 84518 h 343858"/>
                <a:gd name="connsiteX310" fmla="*/ 233042 w 608129"/>
                <a:gd name="connsiteY310" fmla="*/ 78357 h 343858"/>
                <a:gd name="connsiteX311" fmla="*/ 162582 w 608129"/>
                <a:gd name="connsiteY311" fmla="*/ 60954 h 343858"/>
                <a:gd name="connsiteX312" fmla="*/ 142076 w 608129"/>
                <a:gd name="connsiteY312" fmla="*/ 80671 h 343858"/>
                <a:gd name="connsiteX313" fmla="*/ 162582 w 608129"/>
                <a:gd name="connsiteY313" fmla="*/ 101147 h 343858"/>
                <a:gd name="connsiteX314" fmla="*/ 182329 w 608129"/>
                <a:gd name="connsiteY314" fmla="*/ 80671 h 343858"/>
                <a:gd name="connsiteX315" fmla="*/ 162582 w 608129"/>
                <a:gd name="connsiteY315" fmla="*/ 60954 h 343858"/>
                <a:gd name="connsiteX316" fmla="*/ 162582 w 608129"/>
                <a:gd name="connsiteY316" fmla="*/ 40478 h 343858"/>
                <a:gd name="connsiteX317" fmla="*/ 202836 w 608129"/>
                <a:gd name="connsiteY317" fmla="*/ 80671 h 343858"/>
                <a:gd name="connsiteX318" fmla="*/ 162582 w 608129"/>
                <a:gd name="connsiteY318" fmla="*/ 121623 h 343858"/>
                <a:gd name="connsiteX319" fmla="*/ 121569 w 608129"/>
                <a:gd name="connsiteY319" fmla="*/ 80671 h 343858"/>
                <a:gd name="connsiteX320" fmla="*/ 162582 w 608129"/>
                <a:gd name="connsiteY320" fmla="*/ 40478 h 343858"/>
                <a:gd name="connsiteX321" fmla="*/ 285697 w 608129"/>
                <a:gd name="connsiteY321" fmla="*/ 32920 h 343858"/>
                <a:gd name="connsiteX322" fmla="*/ 256860 w 608129"/>
                <a:gd name="connsiteY322" fmla="*/ 41258 h 343858"/>
                <a:gd name="connsiteX323" fmla="*/ 265208 w 608129"/>
                <a:gd name="connsiteY323" fmla="*/ 70819 h 343858"/>
                <a:gd name="connsiteX324" fmla="*/ 294045 w 608129"/>
                <a:gd name="connsiteY324" fmla="*/ 62481 h 343858"/>
                <a:gd name="connsiteX325" fmla="*/ 364659 w 608129"/>
                <a:gd name="connsiteY325" fmla="*/ 20767 h 343858"/>
                <a:gd name="connsiteX326" fmla="*/ 355552 w 608129"/>
                <a:gd name="connsiteY326" fmla="*/ 23799 h 343858"/>
                <a:gd name="connsiteX327" fmla="*/ 376044 w 608129"/>
                <a:gd name="connsiteY327" fmla="*/ 81416 h 343858"/>
                <a:gd name="connsiteX328" fmla="*/ 385910 w 608129"/>
                <a:gd name="connsiteY328" fmla="*/ 77625 h 343858"/>
                <a:gd name="connsiteX329" fmla="*/ 280385 w 608129"/>
                <a:gd name="connsiteY329" fmla="*/ 13971 h 343858"/>
                <a:gd name="connsiteX330" fmla="*/ 295563 w 608129"/>
                <a:gd name="connsiteY330" fmla="*/ 15487 h 343858"/>
                <a:gd name="connsiteX331" fmla="*/ 305428 w 608129"/>
                <a:gd name="connsiteY331" fmla="*/ 27614 h 343858"/>
                <a:gd name="connsiteX332" fmla="*/ 313776 w 608129"/>
                <a:gd name="connsiteY332" fmla="*/ 57176 h 343858"/>
                <a:gd name="connsiteX333" fmla="*/ 311500 w 608129"/>
                <a:gd name="connsiteY333" fmla="*/ 72335 h 343858"/>
                <a:gd name="connsiteX334" fmla="*/ 299357 w 608129"/>
                <a:gd name="connsiteY334" fmla="*/ 82189 h 343858"/>
                <a:gd name="connsiteX335" fmla="*/ 270520 w 608129"/>
                <a:gd name="connsiteY335" fmla="*/ 90527 h 343858"/>
                <a:gd name="connsiteX336" fmla="*/ 265208 w 608129"/>
                <a:gd name="connsiteY336" fmla="*/ 91285 h 343858"/>
                <a:gd name="connsiteX337" fmla="*/ 255342 w 608129"/>
                <a:gd name="connsiteY337" fmla="*/ 88253 h 343858"/>
                <a:gd name="connsiteX338" fmla="*/ 245477 w 608129"/>
                <a:gd name="connsiteY338" fmla="*/ 76125 h 343858"/>
                <a:gd name="connsiteX339" fmla="*/ 237129 w 608129"/>
                <a:gd name="connsiteY339" fmla="*/ 47322 h 343858"/>
                <a:gd name="connsiteX340" fmla="*/ 238647 w 608129"/>
                <a:gd name="connsiteY340" fmla="*/ 32162 h 343858"/>
                <a:gd name="connsiteX341" fmla="*/ 250789 w 608129"/>
                <a:gd name="connsiteY341" fmla="*/ 22309 h 343858"/>
                <a:gd name="connsiteX342" fmla="*/ 359347 w 608129"/>
                <a:gd name="connsiteY342" fmla="*/ 1056 h 343858"/>
                <a:gd name="connsiteX343" fmla="*/ 373767 w 608129"/>
                <a:gd name="connsiteY343" fmla="*/ 1814 h 343858"/>
                <a:gd name="connsiteX344" fmla="*/ 383633 w 608129"/>
                <a:gd name="connsiteY344" fmla="*/ 12428 h 343858"/>
                <a:gd name="connsiteX345" fmla="*/ 404884 w 608129"/>
                <a:gd name="connsiteY345" fmla="*/ 72318 h 343858"/>
                <a:gd name="connsiteX346" fmla="*/ 404884 w 608129"/>
                <a:gd name="connsiteY346" fmla="*/ 86723 h 343858"/>
                <a:gd name="connsiteX347" fmla="*/ 394259 w 608129"/>
                <a:gd name="connsiteY347" fmla="*/ 95820 h 343858"/>
                <a:gd name="connsiteX348" fmla="*/ 381356 w 608129"/>
                <a:gd name="connsiteY348" fmla="*/ 100369 h 343858"/>
                <a:gd name="connsiteX349" fmla="*/ 375285 w 608129"/>
                <a:gd name="connsiteY349" fmla="*/ 101885 h 343858"/>
                <a:gd name="connsiteX350" fmla="*/ 367695 w 608129"/>
                <a:gd name="connsiteY350" fmla="*/ 100369 h 343858"/>
                <a:gd name="connsiteX351" fmla="*/ 357829 w 608129"/>
                <a:gd name="connsiteY351" fmla="*/ 89755 h 343858"/>
                <a:gd name="connsiteX352" fmla="*/ 335819 w 608129"/>
                <a:gd name="connsiteY352" fmla="*/ 29864 h 343858"/>
                <a:gd name="connsiteX353" fmla="*/ 336578 w 608129"/>
                <a:gd name="connsiteY353" fmla="*/ 15460 h 343858"/>
                <a:gd name="connsiteX354" fmla="*/ 347203 w 608129"/>
                <a:gd name="connsiteY354" fmla="*/ 5605 h 34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</a:cxnLst>
              <a:rect l="l" t="t" r="r" b="b"/>
              <a:pathLst>
                <a:path w="72860" h="102345">
                  <a:moveTo>
                    <a:pt x="25046" y="1516"/>
                  </a:moveTo>
                  <a:cubicBezTo>
                    <a:pt x="29599" y="0"/>
                    <a:pt x="34912" y="0"/>
                    <a:pt x="39466" y="2274"/>
                  </a:cubicBezTo>
                  <a:cubicBezTo>
                    <a:pt x="44020" y="4548"/>
                    <a:pt x="47055" y="8339"/>
                    <a:pt x="49332" y="12888"/>
                  </a:cubicBezTo>
                  <a:lnTo>
                    <a:pt x="70583" y="72778"/>
                  </a:lnTo>
                  <a:cubicBezTo>
                    <a:pt x="72860" y="77327"/>
                    <a:pt x="72101" y="82634"/>
                    <a:pt x="70583" y="87183"/>
                  </a:cubicBezTo>
                  <a:cubicBezTo>
                    <a:pt x="68306" y="91731"/>
                    <a:pt x="64511" y="94764"/>
                    <a:pt x="59958" y="96280"/>
                  </a:cubicBezTo>
                  <a:lnTo>
                    <a:pt x="47055" y="100829"/>
                  </a:lnTo>
                  <a:cubicBezTo>
                    <a:pt x="45537" y="101587"/>
                    <a:pt x="43261" y="102345"/>
                    <a:pt x="40984" y="102345"/>
                  </a:cubicBezTo>
                  <a:cubicBezTo>
                    <a:pt x="37948" y="102345"/>
                    <a:pt x="35671" y="101587"/>
                    <a:pt x="33394" y="100829"/>
                  </a:cubicBezTo>
                  <a:cubicBezTo>
                    <a:pt x="28840" y="98554"/>
                    <a:pt x="25046" y="94764"/>
                    <a:pt x="23528" y="90215"/>
                  </a:cubicBezTo>
                  <a:lnTo>
                    <a:pt x="1518" y="30324"/>
                  </a:lnTo>
                  <a:cubicBezTo>
                    <a:pt x="0" y="25017"/>
                    <a:pt x="0" y="20469"/>
                    <a:pt x="2277" y="15920"/>
                  </a:cubicBezTo>
                  <a:cubicBezTo>
                    <a:pt x="4554" y="11371"/>
                    <a:pt x="7590" y="7581"/>
                    <a:pt x="12902" y="6065"/>
                  </a:cubicBezTo>
                </a:path>
              </a:pathLst>
            </a:custGeom>
            <a:noFill/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zh-CN" altLang="en-US">
                <a:gradFill flip="none" rotWithShape="1">
                  <a:gsLst>
                    <a:gs pos="89000">
                      <a:schemeClr val="bg1"/>
                    </a:gs>
                    <a:gs pos="0">
                      <a:schemeClr val="accent2"/>
                    </a:gs>
                  </a:gsLst>
                  <a:lin ang="13500000" scaled="1"/>
                  <a:tileRect/>
                </a:gradFill>
              </a:endParaRPr>
            </a:p>
          </p:txBody>
        </p:sp>
        <p:sp>
          <p:nvSpPr>
            <p:cNvPr id="342" name="任意多边形: 形状 341"/>
            <p:cNvSpPr>
              <a:spLocks/>
            </p:cNvSpPr>
            <p:nvPr userDrawn="1"/>
          </p:nvSpPr>
          <p:spPr bwMode="auto">
            <a:xfrm rot="18571241">
              <a:off x="9093331" y="3527271"/>
              <a:ext cx="45719" cy="64402"/>
            </a:xfrm>
            <a:custGeom>
              <a:avLst/>
              <a:gdLst>
                <a:gd name="connsiteX0" fmla="*/ 193001 w 608129"/>
                <a:gd name="connsiteY0" fmla="*/ 283182 h 343858"/>
                <a:gd name="connsiteX1" fmla="*/ 506699 w 608129"/>
                <a:gd name="connsiteY1" fmla="*/ 283182 h 343858"/>
                <a:gd name="connsiteX2" fmla="*/ 516573 w 608129"/>
                <a:gd name="connsiteY2" fmla="*/ 293038 h 343858"/>
                <a:gd name="connsiteX3" fmla="*/ 506699 w 608129"/>
                <a:gd name="connsiteY3" fmla="*/ 303651 h 343858"/>
                <a:gd name="connsiteX4" fmla="*/ 193001 w 608129"/>
                <a:gd name="connsiteY4" fmla="*/ 303651 h 343858"/>
                <a:gd name="connsiteX5" fmla="*/ 182367 w 608129"/>
                <a:gd name="connsiteY5" fmla="*/ 293038 h 343858"/>
                <a:gd name="connsiteX6" fmla="*/ 193001 w 608129"/>
                <a:gd name="connsiteY6" fmla="*/ 283182 h 343858"/>
                <a:gd name="connsiteX7" fmla="*/ 101866 w 608129"/>
                <a:gd name="connsiteY7" fmla="*/ 283182 h 343858"/>
                <a:gd name="connsiteX8" fmla="*/ 142885 w 608129"/>
                <a:gd name="connsiteY8" fmla="*/ 283182 h 343858"/>
                <a:gd name="connsiteX9" fmla="*/ 152760 w 608129"/>
                <a:gd name="connsiteY9" fmla="*/ 293038 h 343858"/>
                <a:gd name="connsiteX10" fmla="*/ 142885 w 608129"/>
                <a:gd name="connsiteY10" fmla="*/ 303651 h 343858"/>
                <a:gd name="connsiteX11" fmla="*/ 101866 w 608129"/>
                <a:gd name="connsiteY11" fmla="*/ 303651 h 343858"/>
                <a:gd name="connsiteX12" fmla="*/ 91231 w 608129"/>
                <a:gd name="connsiteY12" fmla="*/ 293038 h 343858"/>
                <a:gd name="connsiteX13" fmla="*/ 101866 w 608129"/>
                <a:gd name="connsiteY13" fmla="*/ 283182 h 343858"/>
                <a:gd name="connsiteX14" fmla="*/ 23697 w 608129"/>
                <a:gd name="connsiteY14" fmla="*/ 252861 h 343858"/>
                <a:gd name="connsiteX15" fmla="*/ 72307 w 608129"/>
                <a:gd name="connsiteY15" fmla="*/ 281677 h 343858"/>
                <a:gd name="connsiteX16" fmla="*/ 73826 w 608129"/>
                <a:gd name="connsiteY16" fmla="*/ 283952 h 343858"/>
                <a:gd name="connsiteX17" fmla="*/ 82941 w 608129"/>
                <a:gd name="connsiteY17" fmla="*/ 307460 h 343858"/>
                <a:gd name="connsiteX18" fmla="*/ 91295 w 608129"/>
                <a:gd name="connsiteY18" fmla="*/ 323384 h 343858"/>
                <a:gd name="connsiteX19" fmla="*/ 516631 w 608129"/>
                <a:gd name="connsiteY19" fmla="*/ 323384 h 343858"/>
                <a:gd name="connsiteX20" fmla="*/ 525745 w 608129"/>
                <a:gd name="connsiteY20" fmla="*/ 307460 h 343858"/>
                <a:gd name="connsiteX21" fmla="*/ 534859 w 608129"/>
                <a:gd name="connsiteY21" fmla="*/ 283952 h 343858"/>
                <a:gd name="connsiteX22" fmla="*/ 536378 w 608129"/>
                <a:gd name="connsiteY22" fmla="*/ 281677 h 343858"/>
                <a:gd name="connsiteX23" fmla="*/ 584229 w 608129"/>
                <a:gd name="connsiteY23" fmla="*/ 252861 h 343858"/>
                <a:gd name="connsiteX24" fmla="*/ 569798 w 608129"/>
                <a:gd name="connsiteY24" fmla="*/ 252861 h 343858"/>
                <a:gd name="connsiteX25" fmla="*/ 413335 w 608129"/>
                <a:gd name="connsiteY25" fmla="*/ 252861 h 343858"/>
                <a:gd name="connsiteX26" fmla="*/ 401942 w 608129"/>
                <a:gd name="connsiteY26" fmla="*/ 252861 h 343858"/>
                <a:gd name="connsiteX27" fmla="*/ 35850 w 608129"/>
                <a:gd name="connsiteY27" fmla="*/ 252861 h 343858"/>
                <a:gd name="connsiteX28" fmla="*/ 254526 w 608129"/>
                <a:gd name="connsiteY28" fmla="*/ 201295 h 343858"/>
                <a:gd name="connsiteX29" fmla="*/ 257557 w 608129"/>
                <a:gd name="connsiteY29" fmla="*/ 214952 h 343858"/>
                <a:gd name="connsiteX30" fmla="*/ 249221 w 608129"/>
                <a:gd name="connsiteY30" fmla="*/ 227091 h 343858"/>
                <a:gd name="connsiteX31" fmla="*/ 240886 w 608129"/>
                <a:gd name="connsiteY31" fmla="*/ 231644 h 343858"/>
                <a:gd name="connsiteX32" fmla="*/ 235581 w 608129"/>
                <a:gd name="connsiteY32" fmla="*/ 229368 h 343858"/>
                <a:gd name="connsiteX33" fmla="*/ 232550 w 608129"/>
                <a:gd name="connsiteY33" fmla="*/ 215710 h 343858"/>
                <a:gd name="connsiteX34" fmla="*/ 240886 w 608129"/>
                <a:gd name="connsiteY34" fmla="*/ 203571 h 343858"/>
                <a:gd name="connsiteX35" fmla="*/ 254526 w 608129"/>
                <a:gd name="connsiteY35" fmla="*/ 201295 h 343858"/>
                <a:gd name="connsiteX36" fmla="*/ 293998 w 608129"/>
                <a:gd name="connsiteY36" fmla="*/ 199043 h 343858"/>
                <a:gd name="connsiteX37" fmla="*/ 307670 w 608129"/>
                <a:gd name="connsiteY37" fmla="*/ 202827 h 343858"/>
                <a:gd name="connsiteX38" fmla="*/ 314506 w 608129"/>
                <a:gd name="connsiteY38" fmla="*/ 214937 h 343858"/>
                <a:gd name="connsiteX39" fmla="*/ 304632 w 608129"/>
                <a:gd name="connsiteY39" fmla="*/ 222506 h 343858"/>
                <a:gd name="connsiteX40" fmla="*/ 302353 w 608129"/>
                <a:gd name="connsiteY40" fmla="*/ 221749 h 343858"/>
                <a:gd name="connsiteX41" fmla="*/ 288681 w 608129"/>
                <a:gd name="connsiteY41" fmla="*/ 218721 h 343858"/>
                <a:gd name="connsiteX42" fmla="*/ 281845 w 608129"/>
                <a:gd name="connsiteY42" fmla="*/ 205854 h 343858"/>
                <a:gd name="connsiteX43" fmla="*/ 293998 w 608129"/>
                <a:gd name="connsiteY43" fmla="*/ 199043 h 343858"/>
                <a:gd name="connsiteX44" fmla="*/ 113257 w 608129"/>
                <a:gd name="connsiteY44" fmla="*/ 193732 h 343858"/>
                <a:gd name="connsiteX45" fmla="*/ 125378 w 608129"/>
                <a:gd name="connsiteY45" fmla="*/ 201299 h 343858"/>
                <a:gd name="connsiteX46" fmla="*/ 128408 w 608129"/>
                <a:gd name="connsiteY46" fmla="*/ 214920 h 343858"/>
                <a:gd name="connsiteX47" fmla="*/ 120075 w 608129"/>
                <a:gd name="connsiteY47" fmla="*/ 219460 h 343858"/>
                <a:gd name="connsiteX48" fmla="*/ 114773 w 608129"/>
                <a:gd name="connsiteY48" fmla="*/ 217946 h 343858"/>
                <a:gd name="connsiteX49" fmla="*/ 102652 w 608129"/>
                <a:gd name="connsiteY49" fmla="*/ 211136 h 343858"/>
                <a:gd name="connsiteX50" fmla="*/ 99622 w 608129"/>
                <a:gd name="connsiteY50" fmla="*/ 196759 h 343858"/>
                <a:gd name="connsiteX51" fmla="*/ 113257 w 608129"/>
                <a:gd name="connsiteY51" fmla="*/ 193732 h 343858"/>
                <a:gd name="connsiteX52" fmla="*/ 367752 w 608129"/>
                <a:gd name="connsiteY52" fmla="*/ 192974 h 343858"/>
                <a:gd name="connsiteX53" fmla="*/ 380665 w 608129"/>
                <a:gd name="connsiteY53" fmla="*/ 199023 h 343858"/>
                <a:gd name="connsiteX54" fmla="*/ 373829 w 608129"/>
                <a:gd name="connsiteY54" fmla="*/ 211877 h 343858"/>
                <a:gd name="connsiteX55" fmla="*/ 360917 w 608129"/>
                <a:gd name="connsiteY55" fmla="*/ 216414 h 343858"/>
                <a:gd name="connsiteX56" fmla="*/ 357119 w 608129"/>
                <a:gd name="connsiteY56" fmla="*/ 216414 h 343858"/>
                <a:gd name="connsiteX57" fmla="*/ 348004 w 608129"/>
                <a:gd name="connsiteY57" fmla="*/ 209609 h 343858"/>
                <a:gd name="connsiteX58" fmla="*/ 354081 w 608129"/>
                <a:gd name="connsiteY58" fmla="*/ 196755 h 343858"/>
                <a:gd name="connsiteX59" fmla="*/ 473099 w 608129"/>
                <a:gd name="connsiteY59" fmla="*/ 187878 h 343858"/>
                <a:gd name="connsiteX60" fmla="*/ 480904 w 608129"/>
                <a:gd name="connsiteY60" fmla="*/ 189869 h 343858"/>
                <a:gd name="connsiteX61" fmla="*/ 483189 w 608129"/>
                <a:gd name="connsiteY61" fmla="*/ 203526 h 343858"/>
                <a:gd name="connsiteX62" fmla="*/ 475574 w 608129"/>
                <a:gd name="connsiteY62" fmla="*/ 214907 h 343858"/>
                <a:gd name="connsiteX63" fmla="*/ 467198 w 608129"/>
                <a:gd name="connsiteY63" fmla="*/ 219460 h 343858"/>
                <a:gd name="connsiteX64" fmla="*/ 461106 w 608129"/>
                <a:gd name="connsiteY64" fmla="*/ 217942 h 343858"/>
                <a:gd name="connsiteX65" fmla="*/ 458821 w 608129"/>
                <a:gd name="connsiteY65" fmla="*/ 203526 h 343858"/>
                <a:gd name="connsiteX66" fmla="*/ 466436 w 608129"/>
                <a:gd name="connsiteY66" fmla="*/ 192146 h 343858"/>
                <a:gd name="connsiteX67" fmla="*/ 473099 w 608129"/>
                <a:gd name="connsiteY67" fmla="*/ 187878 h 343858"/>
                <a:gd name="connsiteX68" fmla="*/ 410279 w 608129"/>
                <a:gd name="connsiteY68" fmla="*/ 182352 h 343858"/>
                <a:gd name="connsiteX69" fmla="*/ 422434 w 608129"/>
                <a:gd name="connsiteY69" fmla="*/ 189169 h 343858"/>
                <a:gd name="connsiteX70" fmla="*/ 426233 w 608129"/>
                <a:gd name="connsiteY70" fmla="*/ 202805 h 343858"/>
                <a:gd name="connsiteX71" fmla="*/ 418636 w 608129"/>
                <a:gd name="connsiteY71" fmla="*/ 215683 h 343858"/>
                <a:gd name="connsiteX72" fmla="*/ 416356 w 608129"/>
                <a:gd name="connsiteY72" fmla="*/ 215683 h 343858"/>
                <a:gd name="connsiteX73" fmla="*/ 406480 w 608129"/>
                <a:gd name="connsiteY73" fmla="*/ 208108 h 343858"/>
                <a:gd name="connsiteX74" fmla="*/ 402682 w 608129"/>
                <a:gd name="connsiteY74" fmla="*/ 194472 h 343858"/>
                <a:gd name="connsiteX75" fmla="*/ 410279 w 608129"/>
                <a:gd name="connsiteY75" fmla="*/ 182352 h 343858"/>
                <a:gd name="connsiteX76" fmla="*/ 188501 w 608129"/>
                <a:gd name="connsiteY76" fmla="*/ 179282 h 343858"/>
                <a:gd name="connsiteX77" fmla="*/ 202945 w 608129"/>
                <a:gd name="connsiteY77" fmla="*/ 180043 h 343858"/>
                <a:gd name="connsiteX78" fmla="*/ 212067 w 608129"/>
                <a:gd name="connsiteY78" fmla="*/ 191449 h 343858"/>
                <a:gd name="connsiteX79" fmla="*/ 202185 w 608129"/>
                <a:gd name="connsiteY79" fmla="*/ 200575 h 343858"/>
                <a:gd name="connsiteX80" fmla="*/ 201424 w 608129"/>
                <a:gd name="connsiteY80" fmla="*/ 200575 h 343858"/>
                <a:gd name="connsiteX81" fmla="*/ 186981 w 608129"/>
                <a:gd name="connsiteY81" fmla="*/ 199814 h 343858"/>
                <a:gd name="connsiteX82" fmla="*/ 177859 w 608129"/>
                <a:gd name="connsiteY82" fmla="*/ 188408 h 343858"/>
                <a:gd name="connsiteX83" fmla="*/ 188501 w 608129"/>
                <a:gd name="connsiteY83" fmla="*/ 179282 h 343858"/>
                <a:gd name="connsiteX84" fmla="*/ 160344 w 608129"/>
                <a:gd name="connsiteY84" fmla="*/ 165596 h 343858"/>
                <a:gd name="connsiteX85" fmla="*/ 163375 w 608129"/>
                <a:gd name="connsiteY85" fmla="*/ 180011 h 343858"/>
                <a:gd name="connsiteX86" fmla="*/ 155797 w 608129"/>
                <a:gd name="connsiteY86" fmla="*/ 191392 h 343858"/>
                <a:gd name="connsiteX87" fmla="*/ 147461 w 608129"/>
                <a:gd name="connsiteY87" fmla="*/ 195945 h 343858"/>
                <a:gd name="connsiteX88" fmla="*/ 141399 w 608129"/>
                <a:gd name="connsiteY88" fmla="*/ 194427 h 343858"/>
                <a:gd name="connsiteX89" fmla="*/ 139126 w 608129"/>
                <a:gd name="connsiteY89" fmla="*/ 180011 h 343858"/>
                <a:gd name="connsiteX90" fmla="*/ 146704 w 608129"/>
                <a:gd name="connsiteY90" fmla="*/ 168631 h 343858"/>
                <a:gd name="connsiteX91" fmla="*/ 160344 w 608129"/>
                <a:gd name="connsiteY91" fmla="*/ 165596 h 343858"/>
                <a:gd name="connsiteX92" fmla="*/ 338113 w 608129"/>
                <a:gd name="connsiteY92" fmla="*/ 164888 h 343858"/>
                <a:gd name="connsiteX93" fmla="*/ 352554 w 608129"/>
                <a:gd name="connsiteY93" fmla="*/ 164888 h 343858"/>
                <a:gd name="connsiteX94" fmla="*/ 352554 w 608129"/>
                <a:gd name="connsiteY94" fmla="*/ 179285 h 343858"/>
                <a:gd name="connsiteX95" fmla="*/ 342673 w 608129"/>
                <a:gd name="connsiteY95" fmla="*/ 189137 h 343858"/>
                <a:gd name="connsiteX96" fmla="*/ 335073 w 608129"/>
                <a:gd name="connsiteY96" fmla="*/ 192168 h 343858"/>
                <a:gd name="connsiteX97" fmla="*/ 328232 w 608129"/>
                <a:gd name="connsiteY97" fmla="*/ 189137 h 343858"/>
                <a:gd name="connsiteX98" fmla="*/ 328232 w 608129"/>
                <a:gd name="connsiteY98" fmla="*/ 174739 h 343858"/>
                <a:gd name="connsiteX99" fmla="*/ 438352 w 608129"/>
                <a:gd name="connsiteY99" fmla="*/ 163394 h 343858"/>
                <a:gd name="connsiteX100" fmla="*/ 449715 w 608129"/>
                <a:gd name="connsiteY100" fmla="*/ 170961 h 343858"/>
                <a:gd name="connsiteX101" fmla="*/ 453502 w 608129"/>
                <a:gd name="connsiteY101" fmla="*/ 184582 h 343858"/>
                <a:gd name="connsiteX102" fmla="*/ 444412 w 608129"/>
                <a:gd name="connsiteY102" fmla="*/ 189122 h 343858"/>
                <a:gd name="connsiteX103" fmla="*/ 439110 w 608129"/>
                <a:gd name="connsiteY103" fmla="*/ 187608 h 343858"/>
                <a:gd name="connsiteX104" fmla="*/ 427747 w 608129"/>
                <a:gd name="connsiteY104" fmla="*/ 180798 h 343858"/>
                <a:gd name="connsiteX105" fmla="*/ 423959 w 608129"/>
                <a:gd name="connsiteY105" fmla="*/ 166421 h 343858"/>
                <a:gd name="connsiteX106" fmla="*/ 438352 w 608129"/>
                <a:gd name="connsiteY106" fmla="*/ 163394 h 343858"/>
                <a:gd name="connsiteX107" fmla="*/ 237851 w 608129"/>
                <a:gd name="connsiteY107" fmla="*/ 158043 h 343858"/>
                <a:gd name="connsiteX108" fmla="*/ 249244 w 608129"/>
                <a:gd name="connsiteY108" fmla="*/ 165635 h 343858"/>
                <a:gd name="connsiteX109" fmla="*/ 253042 w 608129"/>
                <a:gd name="connsiteY109" fmla="*/ 179300 h 343858"/>
                <a:gd name="connsiteX110" fmla="*/ 243927 w 608129"/>
                <a:gd name="connsiteY110" fmla="*/ 184614 h 343858"/>
                <a:gd name="connsiteX111" fmla="*/ 238610 w 608129"/>
                <a:gd name="connsiteY111" fmla="*/ 183095 h 343858"/>
                <a:gd name="connsiteX112" fmla="*/ 227217 w 608129"/>
                <a:gd name="connsiteY112" fmla="*/ 175504 h 343858"/>
                <a:gd name="connsiteX113" fmla="*/ 223419 w 608129"/>
                <a:gd name="connsiteY113" fmla="*/ 161839 h 343858"/>
                <a:gd name="connsiteX114" fmla="*/ 237851 w 608129"/>
                <a:gd name="connsiteY114" fmla="*/ 158043 h 343858"/>
                <a:gd name="connsiteX115" fmla="*/ 285637 w 608129"/>
                <a:gd name="connsiteY115" fmla="*/ 155767 h 343858"/>
                <a:gd name="connsiteX116" fmla="*/ 299320 w 608129"/>
                <a:gd name="connsiteY116" fmla="*/ 156528 h 343858"/>
                <a:gd name="connsiteX117" fmla="*/ 308442 w 608129"/>
                <a:gd name="connsiteY117" fmla="*/ 167174 h 343858"/>
                <a:gd name="connsiteX118" fmla="*/ 298560 w 608129"/>
                <a:gd name="connsiteY118" fmla="*/ 177060 h 343858"/>
                <a:gd name="connsiteX119" fmla="*/ 297799 w 608129"/>
                <a:gd name="connsiteY119" fmla="*/ 177060 h 343858"/>
                <a:gd name="connsiteX120" fmla="*/ 284116 w 608129"/>
                <a:gd name="connsiteY120" fmla="*/ 175539 h 343858"/>
                <a:gd name="connsiteX121" fmla="*/ 274234 w 608129"/>
                <a:gd name="connsiteY121" fmla="*/ 164893 h 343858"/>
                <a:gd name="connsiteX122" fmla="*/ 285637 w 608129"/>
                <a:gd name="connsiteY122" fmla="*/ 155767 h 343858"/>
                <a:gd name="connsiteX123" fmla="*/ 374580 w 608129"/>
                <a:gd name="connsiteY123" fmla="*/ 140655 h 343858"/>
                <a:gd name="connsiteX124" fmla="*/ 388263 w 608129"/>
                <a:gd name="connsiteY124" fmla="*/ 141411 h 343858"/>
                <a:gd name="connsiteX125" fmla="*/ 398145 w 608129"/>
                <a:gd name="connsiteY125" fmla="*/ 152755 h 343858"/>
                <a:gd name="connsiteX126" fmla="*/ 387503 w 608129"/>
                <a:gd name="connsiteY126" fmla="*/ 161830 h 343858"/>
                <a:gd name="connsiteX127" fmla="*/ 386742 w 608129"/>
                <a:gd name="connsiteY127" fmla="*/ 161830 h 343858"/>
                <a:gd name="connsiteX128" fmla="*/ 373059 w 608129"/>
                <a:gd name="connsiteY128" fmla="*/ 160317 h 343858"/>
                <a:gd name="connsiteX129" fmla="*/ 363937 w 608129"/>
                <a:gd name="connsiteY129" fmla="*/ 149730 h 343858"/>
                <a:gd name="connsiteX130" fmla="*/ 374580 w 608129"/>
                <a:gd name="connsiteY130" fmla="*/ 140655 h 343858"/>
                <a:gd name="connsiteX131" fmla="*/ 363206 w 608129"/>
                <a:gd name="connsiteY131" fmla="*/ 133808 h 343858"/>
                <a:gd name="connsiteX132" fmla="*/ 362447 w 608129"/>
                <a:gd name="connsiteY132" fmla="*/ 134566 h 343858"/>
                <a:gd name="connsiteX133" fmla="*/ 360168 w 608129"/>
                <a:gd name="connsiteY133" fmla="*/ 139874 h 343858"/>
                <a:gd name="connsiteX134" fmla="*/ 344218 w 608129"/>
                <a:gd name="connsiteY134" fmla="*/ 156557 h 343858"/>
                <a:gd name="connsiteX135" fmla="*/ 341939 w 608129"/>
                <a:gd name="connsiteY135" fmla="*/ 157315 h 343858"/>
                <a:gd name="connsiteX136" fmla="*/ 338142 w 608129"/>
                <a:gd name="connsiteY136" fmla="*/ 158832 h 343858"/>
                <a:gd name="connsiteX137" fmla="*/ 335104 w 608129"/>
                <a:gd name="connsiteY137" fmla="*/ 160348 h 343858"/>
                <a:gd name="connsiteX138" fmla="*/ 332066 w 608129"/>
                <a:gd name="connsiteY138" fmla="*/ 161107 h 343858"/>
                <a:gd name="connsiteX139" fmla="*/ 324470 w 608129"/>
                <a:gd name="connsiteY139" fmla="*/ 161865 h 343858"/>
                <a:gd name="connsiteX140" fmla="*/ 317634 w 608129"/>
                <a:gd name="connsiteY140" fmla="*/ 161107 h 343858"/>
                <a:gd name="connsiteX141" fmla="*/ 314596 w 608129"/>
                <a:gd name="connsiteY141" fmla="*/ 160348 h 343858"/>
                <a:gd name="connsiteX142" fmla="*/ 310799 w 608129"/>
                <a:gd name="connsiteY142" fmla="*/ 158832 h 343858"/>
                <a:gd name="connsiteX143" fmla="*/ 307761 w 608129"/>
                <a:gd name="connsiteY143" fmla="*/ 158073 h 343858"/>
                <a:gd name="connsiteX144" fmla="*/ 304723 w 608129"/>
                <a:gd name="connsiteY144" fmla="*/ 156557 h 343858"/>
                <a:gd name="connsiteX145" fmla="*/ 297887 w 608129"/>
                <a:gd name="connsiteY145" fmla="*/ 151249 h 343858"/>
                <a:gd name="connsiteX146" fmla="*/ 297127 w 608129"/>
                <a:gd name="connsiteY146" fmla="*/ 150490 h 343858"/>
                <a:gd name="connsiteX147" fmla="*/ 294089 w 608129"/>
                <a:gd name="connsiteY147" fmla="*/ 147457 h 343858"/>
                <a:gd name="connsiteX148" fmla="*/ 292570 w 608129"/>
                <a:gd name="connsiteY148" fmla="*/ 145941 h 343858"/>
                <a:gd name="connsiteX149" fmla="*/ 289532 w 608129"/>
                <a:gd name="connsiteY149" fmla="*/ 142149 h 343858"/>
                <a:gd name="connsiteX150" fmla="*/ 289532 w 608129"/>
                <a:gd name="connsiteY150" fmla="*/ 140633 h 343858"/>
                <a:gd name="connsiteX151" fmla="*/ 287253 w 608129"/>
                <a:gd name="connsiteY151" fmla="*/ 136083 h 343858"/>
                <a:gd name="connsiteX152" fmla="*/ 237125 w 608129"/>
                <a:gd name="connsiteY152" fmla="*/ 141391 h 343858"/>
                <a:gd name="connsiteX153" fmla="*/ 215098 w 608129"/>
                <a:gd name="connsiteY153" fmla="*/ 165657 h 343858"/>
                <a:gd name="connsiteX154" fmla="*/ 214339 w 608129"/>
                <a:gd name="connsiteY154" fmla="*/ 166415 h 343858"/>
                <a:gd name="connsiteX155" fmla="*/ 212060 w 608129"/>
                <a:gd name="connsiteY155" fmla="*/ 168690 h 343858"/>
                <a:gd name="connsiteX156" fmla="*/ 211301 w 608129"/>
                <a:gd name="connsiteY156" fmla="*/ 168690 h 343858"/>
                <a:gd name="connsiteX157" fmla="*/ 209022 w 608129"/>
                <a:gd name="connsiteY157" fmla="*/ 170206 h 343858"/>
                <a:gd name="connsiteX158" fmla="*/ 207503 w 608129"/>
                <a:gd name="connsiteY158" fmla="*/ 170965 h 343858"/>
                <a:gd name="connsiteX159" fmla="*/ 205224 w 608129"/>
                <a:gd name="connsiteY159" fmla="*/ 171723 h 343858"/>
                <a:gd name="connsiteX160" fmla="*/ 203705 w 608129"/>
                <a:gd name="connsiteY160" fmla="*/ 171723 h 343858"/>
                <a:gd name="connsiteX161" fmla="*/ 202186 w 608129"/>
                <a:gd name="connsiteY161" fmla="*/ 171723 h 343858"/>
                <a:gd name="connsiteX162" fmla="*/ 201427 w 608129"/>
                <a:gd name="connsiteY162" fmla="*/ 171723 h 343858"/>
                <a:gd name="connsiteX163" fmla="*/ 199148 w 608129"/>
                <a:gd name="connsiteY163" fmla="*/ 171723 h 343858"/>
                <a:gd name="connsiteX164" fmla="*/ 198389 w 608129"/>
                <a:gd name="connsiteY164" fmla="*/ 171723 h 343858"/>
                <a:gd name="connsiteX165" fmla="*/ 191553 w 608129"/>
                <a:gd name="connsiteY165" fmla="*/ 169448 h 343858"/>
                <a:gd name="connsiteX166" fmla="*/ 188515 w 608129"/>
                <a:gd name="connsiteY166" fmla="*/ 167173 h 343858"/>
                <a:gd name="connsiteX167" fmla="*/ 178641 w 608129"/>
                <a:gd name="connsiteY167" fmla="*/ 158073 h 343858"/>
                <a:gd name="connsiteX168" fmla="*/ 176362 w 608129"/>
                <a:gd name="connsiteY168" fmla="*/ 155040 h 343858"/>
                <a:gd name="connsiteX169" fmla="*/ 175603 w 608129"/>
                <a:gd name="connsiteY169" fmla="*/ 154282 h 343858"/>
                <a:gd name="connsiteX170" fmla="*/ 174084 w 608129"/>
                <a:gd name="connsiteY170" fmla="*/ 152007 h 343858"/>
                <a:gd name="connsiteX171" fmla="*/ 142943 w 608129"/>
                <a:gd name="connsiteY171" fmla="*/ 159590 h 343858"/>
                <a:gd name="connsiteX172" fmla="*/ 136107 w 608129"/>
                <a:gd name="connsiteY172" fmla="*/ 171723 h 343858"/>
                <a:gd name="connsiteX173" fmla="*/ 135348 w 608129"/>
                <a:gd name="connsiteY173" fmla="*/ 173998 h 343858"/>
                <a:gd name="connsiteX174" fmla="*/ 134588 w 608129"/>
                <a:gd name="connsiteY174" fmla="*/ 174756 h 343858"/>
                <a:gd name="connsiteX175" fmla="*/ 133069 w 608129"/>
                <a:gd name="connsiteY175" fmla="*/ 175514 h 343858"/>
                <a:gd name="connsiteX176" fmla="*/ 131550 w 608129"/>
                <a:gd name="connsiteY176" fmla="*/ 177789 h 343858"/>
                <a:gd name="connsiteX177" fmla="*/ 130791 w 608129"/>
                <a:gd name="connsiteY177" fmla="*/ 177789 h 343858"/>
                <a:gd name="connsiteX178" fmla="*/ 124715 w 608129"/>
                <a:gd name="connsiteY178" fmla="*/ 181581 h 343858"/>
                <a:gd name="connsiteX179" fmla="*/ 119398 w 608129"/>
                <a:gd name="connsiteY179" fmla="*/ 182339 h 343858"/>
                <a:gd name="connsiteX180" fmla="*/ 118638 w 608129"/>
                <a:gd name="connsiteY180" fmla="*/ 182339 h 343858"/>
                <a:gd name="connsiteX181" fmla="*/ 117879 w 608129"/>
                <a:gd name="connsiteY181" fmla="*/ 182339 h 343858"/>
                <a:gd name="connsiteX182" fmla="*/ 114841 w 608129"/>
                <a:gd name="connsiteY182" fmla="*/ 182339 h 343858"/>
                <a:gd name="connsiteX183" fmla="*/ 113322 w 608129"/>
                <a:gd name="connsiteY183" fmla="*/ 181581 h 343858"/>
                <a:gd name="connsiteX184" fmla="*/ 109524 w 608129"/>
                <a:gd name="connsiteY184" fmla="*/ 180064 h 343858"/>
                <a:gd name="connsiteX185" fmla="*/ 108764 w 608129"/>
                <a:gd name="connsiteY185" fmla="*/ 180064 h 343858"/>
                <a:gd name="connsiteX186" fmla="*/ 99650 w 608129"/>
                <a:gd name="connsiteY186" fmla="*/ 175514 h 343858"/>
                <a:gd name="connsiteX187" fmla="*/ 92814 w 608129"/>
                <a:gd name="connsiteY187" fmla="*/ 189922 h 343858"/>
                <a:gd name="connsiteX188" fmla="*/ 71548 w 608129"/>
                <a:gd name="connsiteY188" fmla="*/ 202813 h 343858"/>
                <a:gd name="connsiteX189" fmla="*/ 70029 w 608129"/>
                <a:gd name="connsiteY189" fmla="*/ 214188 h 343858"/>
                <a:gd name="connsiteX190" fmla="*/ 61674 w 608129"/>
                <a:gd name="connsiteY190" fmla="*/ 225562 h 343858"/>
                <a:gd name="connsiteX191" fmla="*/ 51800 w 608129"/>
                <a:gd name="connsiteY191" fmla="*/ 232387 h 343858"/>
                <a:gd name="connsiteX192" fmla="*/ 159653 w 608129"/>
                <a:gd name="connsiteY192" fmla="*/ 232387 h 343858"/>
                <a:gd name="connsiteX193" fmla="*/ 158134 w 608129"/>
                <a:gd name="connsiteY193" fmla="*/ 224804 h 343858"/>
                <a:gd name="connsiteX194" fmla="*/ 159653 w 608129"/>
                <a:gd name="connsiteY194" fmla="*/ 211155 h 343858"/>
                <a:gd name="connsiteX195" fmla="*/ 171046 w 608129"/>
                <a:gd name="connsiteY195" fmla="*/ 202813 h 343858"/>
                <a:gd name="connsiteX196" fmla="*/ 179401 w 608129"/>
                <a:gd name="connsiteY196" fmla="*/ 213430 h 343858"/>
                <a:gd name="connsiteX197" fmla="*/ 177881 w 608129"/>
                <a:gd name="connsiteY197" fmla="*/ 227837 h 343858"/>
                <a:gd name="connsiteX198" fmla="*/ 175603 w 608129"/>
                <a:gd name="connsiteY198" fmla="*/ 232387 h 343858"/>
                <a:gd name="connsiteX199" fmla="*/ 402702 w 608129"/>
                <a:gd name="connsiteY199" fmla="*/ 232387 h 343858"/>
                <a:gd name="connsiteX200" fmla="*/ 537897 w 608129"/>
                <a:gd name="connsiteY200" fmla="*/ 232387 h 343858"/>
                <a:gd name="connsiteX201" fmla="*/ 528783 w 608129"/>
                <a:gd name="connsiteY201" fmla="*/ 208880 h 343858"/>
                <a:gd name="connsiteX202" fmla="*/ 528783 w 608129"/>
                <a:gd name="connsiteY202" fmla="*/ 205847 h 343858"/>
                <a:gd name="connsiteX203" fmla="*/ 519669 w 608129"/>
                <a:gd name="connsiteY203" fmla="*/ 196747 h 343858"/>
                <a:gd name="connsiteX204" fmla="*/ 512833 w 608129"/>
                <a:gd name="connsiteY204" fmla="*/ 196747 h 343858"/>
                <a:gd name="connsiteX205" fmla="*/ 501440 w 608129"/>
                <a:gd name="connsiteY205" fmla="*/ 186131 h 343858"/>
                <a:gd name="connsiteX206" fmla="*/ 492326 w 608129"/>
                <a:gd name="connsiteY206" fmla="*/ 177789 h 343858"/>
                <a:gd name="connsiteX207" fmla="*/ 472578 w 608129"/>
                <a:gd name="connsiteY207" fmla="*/ 162623 h 343858"/>
                <a:gd name="connsiteX208" fmla="*/ 463464 w 608129"/>
                <a:gd name="connsiteY208" fmla="*/ 150490 h 343858"/>
                <a:gd name="connsiteX209" fmla="*/ 458907 w 608129"/>
                <a:gd name="connsiteY209" fmla="*/ 152765 h 343858"/>
                <a:gd name="connsiteX210" fmla="*/ 429285 w 608129"/>
                <a:gd name="connsiteY210" fmla="*/ 161107 h 343858"/>
                <a:gd name="connsiteX211" fmla="*/ 424728 w 608129"/>
                <a:gd name="connsiteY211" fmla="*/ 161865 h 343858"/>
                <a:gd name="connsiteX212" fmla="*/ 423968 w 608129"/>
                <a:gd name="connsiteY212" fmla="*/ 161865 h 343858"/>
                <a:gd name="connsiteX213" fmla="*/ 423209 w 608129"/>
                <a:gd name="connsiteY213" fmla="*/ 161865 h 343858"/>
                <a:gd name="connsiteX214" fmla="*/ 420171 w 608129"/>
                <a:gd name="connsiteY214" fmla="*/ 161107 h 343858"/>
                <a:gd name="connsiteX215" fmla="*/ 418652 w 608129"/>
                <a:gd name="connsiteY215" fmla="*/ 161107 h 343858"/>
                <a:gd name="connsiteX216" fmla="*/ 414094 w 608129"/>
                <a:gd name="connsiteY216" fmla="*/ 159590 h 343858"/>
                <a:gd name="connsiteX217" fmla="*/ 407259 w 608129"/>
                <a:gd name="connsiteY217" fmla="*/ 152765 h 343858"/>
                <a:gd name="connsiteX218" fmla="*/ 404221 w 608129"/>
                <a:gd name="connsiteY218" fmla="*/ 147457 h 343858"/>
                <a:gd name="connsiteX219" fmla="*/ 401182 w 608129"/>
                <a:gd name="connsiteY219" fmla="*/ 135324 h 343858"/>
                <a:gd name="connsiteX220" fmla="*/ 363206 w 608129"/>
                <a:gd name="connsiteY220" fmla="*/ 133808 h 343858"/>
                <a:gd name="connsiteX221" fmla="*/ 105726 w 608129"/>
                <a:gd name="connsiteY221" fmla="*/ 121675 h 343858"/>
                <a:gd name="connsiteX222" fmla="*/ 91295 w 608129"/>
                <a:gd name="connsiteY222" fmla="*/ 148216 h 343858"/>
                <a:gd name="connsiteX223" fmla="*/ 117119 w 608129"/>
                <a:gd name="connsiteY223" fmla="*/ 161865 h 343858"/>
                <a:gd name="connsiteX224" fmla="*/ 118638 w 608129"/>
                <a:gd name="connsiteY224" fmla="*/ 162623 h 343858"/>
                <a:gd name="connsiteX225" fmla="*/ 132310 w 608129"/>
                <a:gd name="connsiteY225" fmla="*/ 135324 h 343858"/>
                <a:gd name="connsiteX226" fmla="*/ 445235 w 608129"/>
                <a:gd name="connsiteY226" fmla="*/ 104234 h 343858"/>
                <a:gd name="connsiteX227" fmla="*/ 415614 w 608129"/>
                <a:gd name="connsiteY227" fmla="*/ 112575 h 343858"/>
                <a:gd name="connsiteX228" fmla="*/ 423968 w 608129"/>
                <a:gd name="connsiteY228" fmla="*/ 141391 h 343858"/>
                <a:gd name="connsiteX229" fmla="*/ 453590 w 608129"/>
                <a:gd name="connsiteY229" fmla="*/ 133049 h 343858"/>
                <a:gd name="connsiteX230" fmla="*/ 324470 w 608129"/>
                <a:gd name="connsiteY230" fmla="*/ 101201 h 343858"/>
                <a:gd name="connsiteX231" fmla="*/ 303963 w 608129"/>
                <a:gd name="connsiteY231" fmla="*/ 121675 h 343858"/>
                <a:gd name="connsiteX232" fmla="*/ 304723 w 608129"/>
                <a:gd name="connsiteY232" fmla="*/ 123192 h 343858"/>
                <a:gd name="connsiteX233" fmla="*/ 304723 w 608129"/>
                <a:gd name="connsiteY233" fmla="*/ 123950 h 343858"/>
                <a:gd name="connsiteX234" fmla="*/ 311558 w 608129"/>
                <a:gd name="connsiteY234" fmla="*/ 136841 h 343858"/>
                <a:gd name="connsiteX235" fmla="*/ 313837 w 608129"/>
                <a:gd name="connsiteY235" fmla="*/ 138358 h 343858"/>
                <a:gd name="connsiteX236" fmla="*/ 314596 w 608129"/>
                <a:gd name="connsiteY236" fmla="*/ 139116 h 343858"/>
                <a:gd name="connsiteX237" fmla="*/ 317634 w 608129"/>
                <a:gd name="connsiteY237" fmla="*/ 139874 h 343858"/>
                <a:gd name="connsiteX238" fmla="*/ 318394 w 608129"/>
                <a:gd name="connsiteY238" fmla="*/ 140633 h 343858"/>
                <a:gd name="connsiteX239" fmla="*/ 320673 w 608129"/>
                <a:gd name="connsiteY239" fmla="*/ 141391 h 343858"/>
                <a:gd name="connsiteX240" fmla="*/ 324470 w 608129"/>
                <a:gd name="connsiteY240" fmla="*/ 141391 h 343858"/>
                <a:gd name="connsiteX241" fmla="*/ 328268 w 608129"/>
                <a:gd name="connsiteY241" fmla="*/ 141391 h 343858"/>
                <a:gd name="connsiteX242" fmla="*/ 329787 w 608129"/>
                <a:gd name="connsiteY242" fmla="*/ 140633 h 343858"/>
                <a:gd name="connsiteX243" fmla="*/ 332066 w 608129"/>
                <a:gd name="connsiteY243" fmla="*/ 139874 h 343858"/>
                <a:gd name="connsiteX244" fmla="*/ 333585 w 608129"/>
                <a:gd name="connsiteY244" fmla="*/ 139116 h 343858"/>
                <a:gd name="connsiteX245" fmla="*/ 335863 w 608129"/>
                <a:gd name="connsiteY245" fmla="*/ 138358 h 343858"/>
                <a:gd name="connsiteX246" fmla="*/ 337382 w 608129"/>
                <a:gd name="connsiteY246" fmla="*/ 136841 h 343858"/>
                <a:gd name="connsiteX247" fmla="*/ 338142 w 608129"/>
                <a:gd name="connsiteY247" fmla="*/ 136083 h 343858"/>
                <a:gd name="connsiteX248" fmla="*/ 340420 w 608129"/>
                <a:gd name="connsiteY248" fmla="*/ 133808 h 343858"/>
                <a:gd name="connsiteX249" fmla="*/ 340420 w 608129"/>
                <a:gd name="connsiteY249" fmla="*/ 133049 h 343858"/>
                <a:gd name="connsiteX250" fmla="*/ 344218 w 608129"/>
                <a:gd name="connsiteY250" fmla="*/ 123192 h 343858"/>
                <a:gd name="connsiteX251" fmla="*/ 344977 w 608129"/>
                <a:gd name="connsiteY251" fmla="*/ 120917 h 343858"/>
                <a:gd name="connsiteX252" fmla="*/ 324470 w 608129"/>
                <a:gd name="connsiteY252" fmla="*/ 101201 h 343858"/>
                <a:gd name="connsiteX253" fmla="*/ 234086 w 608129"/>
                <a:gd name="connsiteY253" fmla="*/ 98926 h 343858"/>
                <a:gd name="connsiteX254" fmla="*/ 193832 w 608129"/>
                <a:gd name="connsiteY254" fmla="*/ 144424 h 343858"/>
                <a:gd name="connsiteX255" fmla="*/ 201427 w 608129"/>
                <a:gd name="connsiteY255" fmla="*/ 151249 h 343858"/>
                <a:gd name="connsiteX256" fmla="*/ 227251 w 608129"/>
                <a:gd name="connsiteY256" fmla="*/ 121675 h 343858"/>
                <a:gd name="connsiteX257" fmla="*/ 241682 w 608129"/>
                <a:gd name="connsiteY257" fmla="*/ 105751 h 343858"/>
                <a:gd name="connsiteX258" fmla="*/ 233042 w 608129"/>
                <a:gd name="connsiteY258" fmla="*/ 78357 h 343858"/>
                <a:gd name="connsiteX259" fmla="*/ 246239 w 608129"/>
                <a:gd name="connsiteY259" fmla="*/ 83001 h 343858"/>
                <a:gd name="connsiteX260" fmla="*/ 256872 w 608129"/>
                <a:gd name="connsiteY260" fmla="*/ 92101 h 343858"/>
                <a:gd name="connsiteX261" fmla="*/ 257632 w 608129"/>
                <a:gd name="connsiteY261" fmla="*/ 118642 h 343858"/>
                <a:gd name="connsiteX262" fmla="*/ 284215 w 608129"/>
                <a:gd name="connsiteY262" fmla="*/ 116367 h 343858"/>
                <a:gd name="connsiteX263" fmla="*/ 324470 w 608129"/>
                <a:gd name="connsiteY263" fmla="*/ 80727 h 343858"/>
                <a:gd name="connsiteX264" fmla="*/ 363966 w 608129"/>
                <a:gd name="connsiteY264" fmla="*/ 114092 h 343858"/>
                <a:gd name="connsiteX265" fmla="*/ 395866 w 608129"/>
                <a:gd name="connsiteY265" fmla="*/ 114850 h 343858"/>
                <a:gd name="connsiteX266" fmla="*/ 398144 w 608129"/>
                <a:gd name="connsiteY266" fmla="*/ 102717 h 343858"/>
                <a:gd name="connsiteX267" fmla="*/ 410297 w 608129"/>
                <a:gd name="connsiteY267" fmla="*/ 92859 h 343858"/>
                <a:gd name="connsiteX268" fmla="*/ 439159 w 608129"/>
                <a:gd name="connsiteY268" fmla="*/ 84518 h 343858"/>
                <a:gd name="connsiteX269" fmla="*/ 454349 w 608129"/>
                <a:gd name="connsiteY269" fmla="*/ 86035 h 343858"/>
                <a:gd name="connsiteX270" fmla="*/ 464223 w 608129"/>
                <a:gd name="connsiteY270" fmla="*/ 98168 h 343858"/>
                <a:gd name="connsiteX271" fmla="*/ 472578 w 608129"/>
                <a:gd name="connsiteY271" fmla="*/ 127741 h 343858"/>
                <a:gd name="connsiteX272" fmla="*/ 473338 w 608129"/>
                <a:gd name="connsiteY272" fmla="*/ 132291 h 343858"/>
                <a:gd name="connsiteX273" fmla="*/ 492326 w 608129"/>
                <a:gd name="connsiteY273" fmla="*/ 157315 h 343858"/>
                <a:gd name="connsiteX274" fmla="*/ 519669 w 608129"/>
                <a:gd name="connsiteY274" fmla="*/ 176273 h 343858"/>
                <a:gd name="connsiteX275" fmla="*/ 524226 w 608129"/>
                <a:gd name="connsiteY275" fmla="*/ 177031 h 343858"/>
                <a:gd name="connsiteX276" fmla="*/ 547771 w 608129"/>
                <a:gd name="connsiteY276" fmla="*/ 199780 h 343858"/>
                <a:gd name="connsiteX277" fmla="*/ 548531 w 608129"/>
                <a:gd name="connsiteY277" fmla="*/ 210396 h 343858"/>
                <a:gd name="connsiteX278" fmla="*/ 553848 w 608129"/>
                <a:gd name="connsiteY278" fmla="*/ 219496 h 343858"/>
                <a:gd name="connsiteX279" fmla="*/ 564481 w 608129"/>
                <a:gd name="connsiteY279" fmla="*/ 232387 h 343858"/>
                <a:gd name="connsiteX280" fmla="*/ 588786 w 608129"/>
                <a:gd name="connsiteY280" fmla="*/ 232387 h 343858"/>
                <a:gd name="connsiteX281" fmla="*/ 606255 w 608129"/>
                <a:gd name="connsiteY281" fmla="*/ 243003 h 343858"/>
                <a:gd name="connsiteX282" fmla="*/ 604736 w 608129"/>
                <a:gd name="connsiteY282" fmla="*/ 263478 h 343858"/>
                <a:gd name="connsiteX283" fmla="*/ 603217 w 608129"/>
                <a:gd name="connsiteY283" fmla="*/ 264994 h 343858"/>
                <a:gd name="connsiteX284" fmla="*/ 550809 w 608129"/>
                <a:gd name="connsiteY284" fmla="*/ 296843 h 343858"/>
                <a:gd name="connsiteX285" fmla="*/ 544733 w 608129"/>
                <a:gd name="connsiteY285" fmla="*/ 312768 h 343858"/>
                <a:gd name="connsiteX286" fmla="*/ 516631 w 608129"/>
                <a:gd name="connsiteY286" fmla="*/ 343858 h 343858"/>
                <a:gd name="connsiteX287" fmla="*/ 91295 w 608129"/>
                <a:gd name="connsiteY287" fmla="*/ 343858 h 343858"/>
                <a:gd name="connsiteX288" fmla="*/ 63952 w 608129"/>
                <a:gd name="connsiteY288" fmla="*/ 312768 h 343858"/>
                <a:gd name="connsiteX289" fmla="*/ 57876 w 608129"/>
                <a:gd name="connsiteY289" fmla="*/ 296843 h 343858"/>
                <a:gd name="connsiteX290" fmla="*/ 4709 w 608129"/>
                <a:gd name="connsiteY290" fmla="*/ 264994 h 343858"/>
                <a:gd name="connsiteX291" fmla="*/ 3950 w 608129"/>
                <a:gd name="connsiteY291" fmla="*/ 263478 h 343858"/>
                <a:gd name="connsiteX292" fmla="*/ 2431 w 608129"/>
                <a:gd name="connsiteY292" fmla="*/ 243003 h 343858"/>
                <a:gd name="connsiteX293" fmla="*/ 19900 w 608129"/>
                <a:gd name="connsiteY293" fmla="*/ 232387 h 343858"/>
                <a:gd name="connsiteX294" fmla="*/ 31293 w 608129"/>
                <a:gd name="connsiteY294" fmla="*/ 232387 h 343858"/>
                <a:gd name="connsiteX295" fmla="*/ 49521 w 608129"/>
                <a:gd name="connsiteY295" fmla="*/ 208880 h 343858"/>
                <a:gd name="connsiteX296" fmla="*/ 57117 w 608129"/>
                <a:gd name="connsiteY296" fmla="*/ 187647 h 343858"/>
                <a:gd name="connsiteX297" fmla="*/ 68510 w 608129"/>
                <a:gd name="connsiteY297" fmla="*/ 182339 h 343858"/>
                <a:gd name="connsiteX298" fmla="*/ 76864 w 608129"/>
                <a:gd name="connsiteY298" fmla="*/ 177031 h 343858"/>
                <a:gd name="connsiteX299" fmla="*/ 79902 w 608129"/>
                <a:gd name="connsiteY299" fmla="*/ 167931 h 343858"/>
                <a:gd name="connsiteX300" fmla="*/ 79902 w 608129"/>
                <a:gd name="connsiteY300" fmla="*/ 164140 h 343858"/>
                <a:gd name="connsiteX301" fmla="*/ 73826 w 608129"/>
                <a:gd name="connsiteY301" fmla="*/ 139116 h 343858"/>
                <a:gd name="connsiteX302" fmla="*/ 87498 w 608129"/>
                <a:gd name="connsiteY302" fmla="*/ 111817 h 343858"/>
                <a:gd name="connsiteX303" fmla="*/ 99650 w 608129"/>
                <a:gd name="connsiteY303" fmla="*/ 101959 h 343858"/>
                <a:gd name="connsiteX304" fmla="*/ 114841 w 608129"/>
                <a:gd name="connsiteY304" fmla="*/ 103476 h 343858"/>
                <a:gd name="connsiteX305" fmla="*/ 142184 w 608129"/>
                <a:gd name="connsiteY305" fmla="*/ 117125 h 343858"/>
                <a:gd name="connsiteX306" fmla="*/ 152058 w 608129"/>
                <a:gd name="connsiteY306" fmla="*/ 129258 h 343858"/>
                <a:gd name="connsiteX307" fmla="*/ 152817 w 608129"/>
                <a:gd name="connsiteY307" fmla="*/ 136083 h 343858"/>
                <a:gd name="connsiteX308" fmla="*/ 178641 w 608129"/>
                <a:gd name="connsiteY308" fmla="*/ 130016 h 343858"/>
                <a:gd name="connsiteX309" fmla="*/ 220415 w 608129"/>
                <a:gd name="connsiteY309" fmla="*/ 84518 h 343858"/>
                <a:gd name="connsiteX310" fmla="*/ 233042 w 608129"/>
                <a:gd name="connsiteY310" fmla="*/ 78357 h 343858"/>
                <a:gd name="connsiteX311" fmla="*/ 162582 w 608129"/>
                <a:gd name="connsiteY311" fmla="*/ 60954 h 343858"/>
                <a:gd name="connsiteX312" fmla="*/ 142076 w 608129"/>
                <a:gd name="connsiteY312" fmla="*/ 80671 h 343858"/>
                <a:gd name="connsiteX313" fmla="*/ 162582 w 608129"/>
                <a:gd name="connsiteY313" fmla="*/ 101147 h 343858"/>
                <a:gd name="connsiteX314" fmla="*/ 182329 w 608129"/>
                <a:gd name="connsiteY314" fmla="*/ 80671 h 343858"/>
                <a:gd name="connsiteX315" fmla="*/ 162582 w 608129"/>
                <a:gd name="connsiteY315" fmla="*/ 60954 h 343858"/>
                <a:gd name="connsiteX316" fmla="*/ 162582 w 608129"/>
                <a:gd name="connsiteY316" fmla="*/ 40478 h 343858"/>
                <a:gd name="connsiteX317" fmla="*/ 202836 w 608129"/>
                <a:gd name="connsiteY317" fmla="*/ 80671 h 343858"/>
                <a:gd name="connsiteX318" fmla="*/ 162582 w 608129"/>
                <a:gd name="connsiteY318" fmla="*/ 121623 h 343858"/>
                <a:gd name="connsiteX319" fmla="*/ 121569 w 608129"/>
                <a:gd name="connsiteY319" fmla="*/ 80671 h 343858"/>
                <a:gd name="connsiteX320" fmla="*/ 162582 w 608129"/>
                <a:gd name="connsiteY320" fmla="*/ 40478 h 343858"/>
                <a:gd name="connsiteX321" fmla="*/ 285697 w 608129"/>
                <a:gd name="connsiteY321" fmla="*/ 32920 h 343858"/>
                <a:gd name="connsiteX322" fmla="*/ 256860 w 608129"/>
                <a:gd name="connsiteY322" fmla="*/ 41258 h 343858"/>
                <a:gd name="connsiteX323" fmla="*/ 265208 w 608129"/>
                <a:gd name="connsiteY323" fmla="*/ 70819 h 343858"/>
                <a:gd name="connsiteX324" fmla="*/ 294045 w 608129"/>
                <a:gd name="connsiteY324" fmla="*/ 62481 h 343858"/>
                <a:gd name="connsiteX325" fmla="*/ 364659 w 608129"/>
                <a:gd name="connsiteY325" fmla="*/ 20767 h 343858"/>
                <a:gd name="connsiteX326" fmla="*/ 355552 w 608129"/>
                <a:gd name="connsiteY326" fmla="*/ 23799 h 343858"/>
                <a:gd name="connsiteX327" fmla="*/ 376044 w 608129"/>
                <a:gd name="connsiteY327" fmla="*/ 81416 h 343858"/>
                <a:gd name="connsiteX328" fmla="*/ 385910 w 608129"/>
                <a:gd name="connsiteY328" fmla="*/ 77625 h 343858"/>
                <a:gd name="connsiteX329" fmla="*/ 280385 w 608129"/>
                <a:gd name="connsiteY329" fmla="*/ 13971 h 343858"/>
                <a:gd name="connsiteX330" fmla="*/ 295563 w 608129"/>
                <a:gd name="connsiteY330" fmla="*/ 15487 h 343858"/>
                <a:gd name="connsiteX331" fmla="*/ 305428 w 608129"/>
                <a:gd name="connsiteY331" fmla="*/ 27614 h 343858"/>
                <a:gd name="connsiteX332" fmla="*/ 313776 w 608129"/>
                <a:gd name="connsiteY332" fmla="*/ 57176 h 343858"/>
                <a:gd name="connsiteX333" fmla="*/ 311500 w 608129"/>
                <a:gd name="connsiteY333" fmla="*/ 72335 h 343858"/>
                <a:gd name="connsiteX334" fmla="*/ 299357 w 608129"/>
                <a:gd name="connsiteY334" fmla="*/ 82189 h 343858"/>
                <a:gd name="connsiteX335" fmla="*/ 270520 w 608129"/>
                <a:gd name="connsiteY335" fmla="*/ 90527 h 343858"/>
                <a:gd name="connsiteX336" fmla="*/ 265208 w 608129"/>
                <a:gd name="connsiteY336" fmla="*/ 91285 h 343858"/>
                <a:gd name="connsiteX337" fmla="*/ 255342 w 608129"/>
                <a:gd name="connsiteY337" fmla="*/ 88253 h 343858"/>
                <a:gd name="connsiteX338" fmla="*/ 245477 w 608129"/>
                <a:gd name="connsiteY338" fmla="*/ 76125 h 343858"/>
                <a:gd name="connsiteX339" fmla="*/ 237129 w 608129"/>
                <a:gd name="connsiteY339" fmla="*/ 47322 h 343858"/>
                <a:gd name="connsiteX340" fmla="*/ 238647 w 608129"/>
                <a:gd name="connsiteY340" fmla="*/ 32162 h 343858"/>
                <a:gd name="connsiteX341" fmla="*/ 250789 w 608129"/>
                <a:gd name="connsiteY341" fmla="*/ 22309 h 343858"/>
                <a:gd name="connsiteX342" fmla="*/ 359347 w 608129"/>
                <a:gd name="connsiteY342" fmla="*/ 1056 h 343858"/>
                <a:gd name="connsiteX343" fmla="*/ 373767 w 608129"/>
                <a:gd name="connsiteY343" fmla="*/ 1814 h 343858"/>
                <a:gd name="connsiteX344" fmla="*/ 383633 w 608129"/>
                <a:gd name="connsiteY344" fmla="*/ 12428 h 343858"/>
                <a:gd name="connsiteX345" fmla="*/ 404884 w 608129"/>
                <a:gd name="connsiteY345" fmla="*/ 72318 h 343858"/>
                <a:gd name="connsiteX346" fmla="*/ 404884 w 608129"/>
                <a:gd name="connsiteY346" fmla="*/ 86723 h 343858"/>
                <a:gd name="connsiteX347" fmla="*/ 394259 w 608129"/>
                <a:gd name="connsiteY347" fmla="*/ 95820 h 343858"/>
                <a:gd name="connsiteX348" fmla="*/ 381356 w 608129"/>
                <a:gd name="connsiteY348" fmla="*/ 100369 h 343858"/>
                <a:gd name="connsiteX349" fmla="*/ 375285 w 608129"/>
                <a:gd name="connsiteY349" fmla="*/ 101885 h 343858"/>
                <a:gd name="connsiteX350" fmla="*/ 367695 w 608129"/>
                <a:gd name="connsiteY350" fmla="*/ 100369 h 343858"/>
                <a:gd name="connsiteX351" fmla="*/ 357829 w 608129"/>
                <a:gd name="connsiteY351" fmla="*/ 89755 h 343858"/>
                <a:gd name="connsiteX352" fmla="*/ 335819 w 608129"/>
                <a:gd name="connsiteY352" fmla="*/ 29864 h 343858"/>
                <a:gd name="connsiteX353" fmla="*/ 336578 w 608129"/>
                <a:gd name="connsiteY353" fmla="*/ 15460 h 343858"/>
                <a:gd name="connsiteX354" fmla="*/ 347203 w 608129"/>
                <a:gd name="connsiteY354" fmla="*/ 5605 h 34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</a:cxnLst>
              <a:rect l="l" t="t" r="r" b="b"/>
              <a:pathLst>
                <a:path w="72860" h="102345">
                  <a:moveTo>
                    <a:pt x="25046" y="1516"/>
                  </a:moveTo>
                  <a:cubicBezTo>
                    <a:pt x="29599" y="0"/>
                    <a:pt x="34912" y="0"/>
                    <a:pt x="39466" y="2274"/>
                  </a:cubicBezTo>
                  <a:cubicBezTo>
                    <a:pt x="44020" y="4548"/>
                    <a:pt x="47055" y="8339"/>
                    <a:pt x="49332" y="12888"/>
                  </a:cubicBezTo>
                  <a:lnTo>
                    <a:pt x="70583" y="72778"/>
                  </a:lnTo>
                  <a:cubicBezTo>
                    <a:pt x="72860" y="77327"/>
                    <a:pt x="72101" y="82634"/>
                    <a:pt x="70583" y="87183"/>
                  </a:cubicBezTo>
                  <a:cubicBezTo>
                    <a:pt x="68306" y="91731"/>
                    <a:pt x="64511" y="94764"/>
                    <a:pt x="59958" y="96280"/>
                  </a:cubicBezTo>
                  <a:lnTo>
                    <a:pt x="47055" y="100829"/>
                  </a:lnTo>
                  <a:cubicBezTo>
                    <a:pt x="45537" y="101587"/>
                    <a:pt x="43261" y="102345"/>
                    <a:pt x="40984" y="102345"/>
                  </a:cubicBezTo>
                  <a:cubicBezTo>
                    <a:pt x="37948" y="102345"/>
                    <a:pt x="35671" y="101587"/>
                    <a:pt x="33394" y="100829"/>
                  </a:cubicBezTo>
                  <a:cubicBezTo>
                    <a:pt x="28840" y="98554"/>
                    <a:pt x="25046" y="94764"/>
                    <a:pt x="23528" y="90215"/>
                  </a:cubicBezTo>
                  <a:lnTo>
                    <a:pt x="1518" y="30324"/>
                  </a:lnTo>
                  <a:cubicBezTo>
                    <a:pt x="0" y="25017"/>
                    <a:pt x="0" y="20469"/>
                    <a:pt x="2277" y="15920"/>
                  </a:cubicBezTo>
                  <a:cubicBezTo>
                    <a:pt x="4554" y="11371"/>
                    <a:pt x="7590" y="7581"/>
                    <a:pt x="12902" y="6065"/>
                  </a:cubicBezTo>
                </a:path>
              </a:pathLst>
            </a:custGeom>
            <a:noFill/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zh-CN" altLang="en-US">
                <a:gradFill flip="none" rotWithShape="1">
                  <a:gsLst>
                    <a:gs pos="89000">
                      <a:schemeClr val="bg1"/>
                    </a:gs>
                    <a:gs pos="0">
                      <a:schemeClr val="accent2"/>
                    </a:gs>
                  </a:gsLst>
                  <a:lin ang="13500000" scaled="1"/>
                  <a:tileRect/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0" y="2078182"/>
            <a:ext cx="12192000" cy="3636818"/>
            <a:chOff x="0" y="0"/>
            <a:chExt cx="12192000" cy="6858000"/>
          </a:xfrm>
        </p:grpSpPr>
        <p:sp>
          <p:nvSpPr>
            <p:cNvPr id="10" name="矩形 9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 dpi="0" rotWithShape="1">
              <a:blip r:embed="rId2">
                <a:alphaModFix amt="10000"/>
              </a:blip>
              <a:srcRect/>
              <a:tile tx="0" ty="0" sx="100000" sy="100000" flip="none" algn="tl"/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233362" y="2582791"/>
            <a:ext cx="4765674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234478" y="3478141"/>
            <a:ext cx="4765674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任意多边形: 形状 7"/>
          <p:cNvSpPr/>
          <p:nvPr userDrawn="1"/>
        </p:nvSpPr>
        <p:spPr>
          <a:xfrm>
            <a:off x="1" y="4748725"/>
            <a:ext cx="4094018" cy="966275"/>
          </a:xfrm>
          <a:custGeom>
            <a:avLst/>
            <a:gdLst>
              <a:gd name="connsiteX0" fmla="*/ 591740 w 5288895"/>
              <a:gd name="connsiteY0" fmla="*/ 691904 h 1248291"/>
              <a:gd name="connsiteX1" fmla="*/ 710397 w 5288895"/>
              <a:gd name="connsiteY1" fmla="*/ 691904 h 1248291"/>
              <a:gd name="connsiteX2" fmla="*/ 710397 w 5288895"/>
              <a:gd name="connsiteY2" fmla="*/ 1248290 h 1248291"/>
              <a:gd name="connsiteX3" fmla="*/ 354427 w 5288895"/>
              <a:gd name="connsiteY3" fmla="*/ 1248290 h 1248291"/>
              <a:gd name="connsiteX4" fmla="*/ 354427 w 5288895"/>
              <a:gd name="connsiteY4" fmla="*/ 793610 h 1248291"/>
              <a:gd name="connsiteX5" fmla="*/ 591740 w 5288895"/>
              <a:gd name="connsiteY5" fmla="*/ 793610 h 1248291"/>
              <a:gd name="connsiteX6" fmla="*/ 0 w 5288895"/>
              <a:gd name="connsiteY6" fmla="*/ 691904 h 1248291"/>
              <a:gd name="connsiteX7" fmla="*/ 197247 w 5288895"/>
              <a:gd name="connsiteY7" fmla="*/ 691904 h 1248291"/>
              <a:gd name="connsiteX8" fmla="*/ 197247 w 5288895"/>
              <a:gd name="connsiteY8" fmla="*/ 867577 h 1248291"/>
              <a:gd name="connsiteX9" fmla="*/ 277379 w 5288895"/>
              <a:gd name="connsiteY9" fmla="*/ 867577 h 1248291"/>
              <a:gd name="connsiteX10" fmla="*/ 277379 w 5288895"/>
              <a:gd name="connsiteY10" fmla="*/ 1248290 h 1248291"/>
              <a:gd name="connsiteX11" fmla="*/ 0 w 5288895"/>
              <a:gd name="connsiteY11" fmla="*/ 1248290 h 1248291"/>
              <a:gd name="connsiteX12" fmla="*/ 5288895 w 5288895"/>
              <a:gd name="connsiteY12" fmla="*/ 488494 h 1248291"/>
              <a:gd name="connsiteX13" fmla="*/ 5288895 w 5288895"/>
              <a:gd name="connsiteY13" fmla="*/ 1248291 h 1248291"/>
              <a:gd name="connsiteX14" fmla="*/ 4781908 w 5288895"/>
              <a:gd name="connsiteY14" fmla="*/ 1248291 h 1248291"/>
              <a:gd name="connsiteX15" fmla="*/ 4781908 w 5288895"/>
              <a:gd name="connsiteY15" fmla="*/ 858332 h 1248291"/>
              <a:gd name="connsiteX16" fmla="*/ 4914434 w 5288895"/>
              <a:gd name="connsiteY16" fmla="*/ 727348 h 1248291"/>
              <a:gd name="connsiteX17" fmla="*/ 5014598 w 5288895"/>
              <a:gd name="connsiteY17" fmla="*/ 810562 h 1248291"/>
              <a:gd name="connsiteX18" fmla="*/ 5014598 w 5288895"/>
              <a:gd name="connsiteY18" fmla="*/ 667249 h 1248291"/>
              <a:gd name="connsiteX19" fmla="*/ 4499907 w 5288895"/>
              <a:gd name="connsiteY19" fmla="*/ 385248 h 1248291"/>
              <a:gd name="connsiteX20" fmla="*/ 4515317 w 5288895"/>
              <a:gd name="connsiteY20" fmla="*/ 385248 h 1248291"/>
              <a:gd name="connsiteX21" fmla="*/ 4515317 w 5288895"/>
              <a:gd name="connsiteY21" fmla="*/ 607151 h 1248291"/>
              <a:gd name="connsiteX22" fmla="*/ 4583121 w 5288895"/>
              <a:gd name="connsiteY22" fmla="*/ 607151 h 1248291"/>
              <a:gd name="connsiteX23" fmla="*/ 4583121 w 5288895"/>
              <a:gd name="connsiteY23" fmla="*/ 510069 h 1248291"/>
              <a:gd name="connsiteX24" fmla="*/ 4714105 w 5288895"/>
              <a:gd name="connsiteY24" fmla="*/ 510069 h 1248291"/>
              <a:gd name="connsiteX25" fmla="*/ 4714105 w 5288895"/>
              <a:gd name="connsiteY25" fmla="*/ 607151 h 1248291"/>
              <a:gd name="connsiteX26" fmla="*/ 4714105 w 5288895"/>
              <a:gd name="connsiteY26" fmla="*/ 636430 h 1248291"/>
              <a:gd name="connsiteX27" fmla="*/ 4714105 w 5288895"/>
              <a:gd name="connsiteY27" fmla="*/ 1248290 h 1248291"/>
              <a:gd name="connsiteX28" fmla="*/ 4330398 w 5288895"/>
              <a:gd name="connsiteY28" fmla="*/ 1248290 h 1248291"/>
              <a:gd name="connsiteX29" fmla="*/ 4330398 w 5288895"/>
              <a:gd name="connsiteY29" fmla="*/ 801316 h 1248291"/>
              <a:gd name="connsiteX30" fmla="*/ 4450596 w 5288895"/>
              <a:gd name="connsiteY30" fmla="*/ 801316 h 1248291"/>
              <a:gd name="connsiteX31" fmla="*/ 4450596 w 5288895"/>
              <a:gd name="connsiteY31" fmla="*/ 607151 h 1248291"/>
              <a:gd name="connsiteX32" fmla="*/ 4499907 w 5288895"/>
              <a:gd name="connsiteY32" fmla="*/ 607151 h 1248291"/>
              <a:gd name="connsiteX33" fmla="*/ 3022096 w 5288895"/>
              <a:gd name="connsiteY33" fmla="*/ 0 h 1248291"/>
              <a:gd name="connsiteX34" fmla="*/ 3094523 w 5288895"/>
              <a:gd name="connsiteY34" fmla="*/ 104787 h 1248291"/>
              <a:gd name="connsiteX35" fmla="*/ 3166949 w 5288895"/>
              <a:gd name="connsiteY35" fmla="*/ 212657 h 1248291"/>
              <a:gd name="connsiteX36" fmla="*/ 3166949 w 5288895"/>
              <a:gd name="connsiteY36" fmla="*/ 240394 h 1248291"/>
              <a:gd name="connsiteX37" fmla="*/ 3214902 w 5288895"/>
              <a:gd name="connsiteY37" fmla="*/ 240394 h 1248291"/>
              <a:gd name="connsiteX38" fmla="*/ 3273771 w 5288895"/>
              <a:gd name="connsiteY38" fmla="*/ 240394 h 1248291"/>
              <a:gd name="connsiteX39" fmla="*/ 3273771 w 5288895"/>
              <a:gd name="connsiteY39" fmla="*/ 317413 h 1248291"/>
              <a:gd name="connsiteX40" fmla="*/ 3334918 w 5288895"/>
              <a:gd name="connsiteY40" fmla="*/ 339418 h 1248291"/>
              <a:gd name="connsiteX41" fmla="*/ 3334918 w 5288895"/>
              <a:gd name="connsiteY41" fmla="*/ 496200 h 1248291"/>
              <a:gd name="connsiteX42" fmla="*/ 3485934 w 5288895"/>
              <a:gd name="connsiteY42" fmla="*/ 496200 h 1248291"/>
              <a:gd name="connsiteX43" fmla="*/ 3485934 w 5288895"/>
              <a:gd name="connsiteY43" fmla="*/ 425314 h 1248291"/>
              <a:gd name="connsiteX44" fmla="*/ 3542951 w 5288895"/>
              <a:gd name="connsiteY44" fmla="*/ 374461 h 1248291"/>
              <a:gd name="connsiteX45" fmla="*/ 3670853 w 5288895"/>
              <a:gd name="connsiteY45" fmla="*/ 425314 h 1248291"/>
              <a:gd name="connsiteX46" fmla="*/ 3670853 w 5288895"/>
              <a:gd name="connsiteY46" fmla="*/ 681119 h 1248291"/>
              <a:gd name="connsiteX47" fmla="*/ 3749444 w 5288895"/>
              <a:gd name="connsiteY47" fmla="*/ 681119 h 1248291"/>
              <a:gd name="connsiteX48" fmla="*/ 3749444 w 5288895"/>
              <a:gd name="connsiteY48" fmla="*/ 599446 h 1248291"/>
              <a:gd name="connsiteX49" fmla="*/ 3815706 w 5288895"/>
              <a:gd name="connsiteY49" fmla="*/ 599446 h 1248291"/>
              <a:gd name="connsiteX50" fmla="*/ 3815706 w 5288895"/>
              <a:gd name="connsiteY50" fmla="*/ 494659 h 1248291"/>
              <a:gd name="connsiteX51" fmla="*/ 3869641 w 5288895"/>
              <a:gd name="connsiteY51" fmla="*/ 494659 h 1248291"/>
              <a:gd name="connsiteX52" fmla="*/ 3869641 w 5288895"/>
              <a:gd name="connsiteY52" fmla="*/ 599446 h 1248291"/>
              <a:gd name="connsiteX53" fmla="*/ 3869641 w 5288895"/>
              <a:gd name="connsiteY53" fmla="*/ 927676 h 1248291"/>
              <a:gd name="connsiteX54" fmla="*/ 3903543 w 5288895"/>
              <a:gd name="connsiteY54" fmla="*/ 927676 h 1248291"/>
              <a:gd name="connsiteX55" fmla="*/ 3903543 w 5288895"/>
              <a:gd name="connsiteY55" fmla="*/ 804397 h 1248291"/>
              <a:gd name="connsiteX56" fmla="*/ 4062265 w 5288895"/>
              <a:gd name="connsiteY56" fmla="*/ 804397 h 1248291"/>
              <a:gd name="connsiteX57" fmla="*/ 4062265 w 5288895"/>
              <a:gd name="connsiteY57" fmla="*/ 645675 h 1248291"/>
              <a:gd name="connsiteX58" fmla="*/ 4071511 w 5288895"/>
              <a:gd name="connsiteY58" fmla="*/ 645675 h 1248291"/>
              <a:gd name="connsiteX59" fmla="*/ 4071511 w 5288895"/>
              <a:gd name="connsiteY59" fmla="*/ 530101 h 1248291"/>
              <a:gd name="connsiteX60" fmla="*/ 4140856 w 5288895"/>
              <a:gd name="connsiteY60" fmla="*/ 530101 h 1248291"/>
              <a:gd name="connsiteX61" fmla="*/ 4140856 w 5288895"/>
              <a:gd name="connsiteY61" fmla="*/ 454592 h 1248291"/>
              <a:gd name="connsiteX62" fmla="*/ 4147020 w 5288895"/>
              <a:gd name="connsiteY62" fmla="*/ 454592 h 1248291"/>
              <a:gd name="connsiteX63" fmla="*/ 4147020 w 5288895"/>
              <a:gd name="connsiteY63" fmla="*/ 241935 h 1248291"/>
              <a:gd name="connsiteX64" fmla="*/ 4165512 w 5288895"/>
              <a:gd name="connsiteY64" fmla="*/ 241935 h 1248291"/>
              <a:gd name="connsiteX65" fmla="*/ 4165512 w 5288895"/>
              <a:gd name="connsiteY65" fmla="*/ 454592 h 1248291"/>
              <a:gd name="connsiteX66" fmla="*/ 4213283 w 5288895"/>
              <a:gd name="connsiteY66" fmla="*/ 454592 h 1248291"/>
              <a:gd name="connsiteX67" fmla="*/ 4213283 w 5288895"/>
              <a:gd name="connsiteY67" fmla="*/ 645675 h 1248291"/>
              <a:gd name="connsiteX68" fmla="*/ 4273381 w 5288895"/>
              <a:gd name="connsiteY68" fmla="*/ 645675 h 1248291"/>
              <a:gd name="connsiteX69" fmla="*/ 4273381 w 5288895"/>
              <a:gd name="connsiteY69" fmla="*/ 821348 h 1248291"/>
              <a:gd name="connsiteX70" fmla="*/ 4302660 w 5288895"/>
              <a:gd name="connsiteY70" fmla="*/ 821348 h 1248291"/>
              <a:gd name="connsiteX71" fmla="*/ 4302660 w 5288895"/>
              <a:gd name="connsiteY71" fmla="*/ 1248290 h 1248291"/>
              <a:gd name="connsiteX72" fmla="*/ 753543 w 5288895"/>
              <a:gd name="connsiteY72" fmla="*/ 1248290 h 1248291"/>
              <a:gd name="connsiteX73" fmla="*/ 753543 w 5288895"/>
              <a:gd name="connsiteY73" fmla="*/ 636429 h 1248291"/>
              <a:gd name="connsiteX74" fmla="*/ 910724 w 5288895"/>
              <a:gd name="connsiteY74" fmla="*/ 636429 h 1248291"/>
              <a:gd name="connsiteX75" fmla="*/ 910724 w 5288895"/>
              <a:gd name="connsiteY75" fmla="*/ 348263 h 1248291"/>
              <a:gd name="connsiteX76" fmla="*/ 1120299 w 5288895"/>
              <a:gd name="connsiteY76" fmla="*/ 348263 h 1248291"/>
              <a:gd name="connsiteX77" fmla="*/ 1120299 w 5288895"/>
              <a:gd name="connsiteY77" fmla="*/ 437641 h 1248291"/>
              <a:gd name="connsiteX78" fmla="*/ 1163447 w 5288895"/>
              <a:gd name="connsiteY78" fmla="*/ 437641 h 1248291"/>
              <a:gd name="connsiteX79" fmla="*/ 1163447 w 5288895"/>
              <a:gd name="connsiteY79" fmla="*/ 489984 h 1248291"/>
              <a:gd name="connsiteX80" fmla="*/ 1192033 w 5288895"/>
              <a:gd name="connsiteY80" fmla="*/ 489984 h 1248291"/>
              <a:gd name="connsiteX81" fmla="*/ 1218230 w 5288895"/>
              <a:gd name="connsiteY81" fmla="*/ 489984 h 1248291"/>
              <a:gd name="connsiteX82" fmla="*/ 1218922 w 5288895"/>
              <a:gd name="connsiteY82" fmla="*/ 351345 h 1248291"/>
              <a:gd name="connsiteX83" fmla="*/ 1303677 w 5288895"/>
              <a:gd name="connsiteY83" fmla="*/ 335935 h 1248291"/>
              <a:gd name="connsiteX84" fmla="*/ 1329874 w 5288895"/>
              <a:gd name="connsiteY84" fmla="*/ 348263 h 1248291"/>
              <a:gd name="connsiteX85" fmla="*/ 1329874 w 5288895"/>
              <a:gd name="connsiteY85" fmla="*/ 277378 h 1248291"/>
              <a:gd name="connsiteX86" fmla="*/ 1440825 w 5288895"/>
              <a:gd name="connsiteY86" fmla="*/ 255804 h 1248291"/>
              <a:gd name="connsiteX87" fmla="*/ 1490138 w 5288895"/>
              <a:gd name="connsiteY87" fmla="*/ 280460 h 1248291"/>
              <a:gd name="connsiteX88" fmla="*/ 1490138 w 5288895"/>
              <a:gd name="connsiteY88" fmla="*/ 449969 h 1248291"/>
              <a:gd name="connsiteX89" fmla="*/ 1514793 w 5288895"/>
              <a:gd name="connsiteY89" fmla="*/ 449969 h 1248291"/>
              <a:gd name="connsiteX90" fmla="*/ 1514793 w 5288895"/>
              <a:gd name="connsiteY90" fmla="*/ 400657 h 1248291"/>
              <a:gd name="connsiteX91" fmla="*/ 1573352 w 5288895"/>
              <a:gd name="connsiteY91" fmla="*/ 400657 h 1248291"/>
              <a:gd name="connsiteX92" fmla="*/ 1573352 w 5288895"/>
              <a:gd name="connsiteY92" fmla="*/ 547052 h 1248291"/>
              <a:gd name="connsiteX93" fmla="*/ 1624203 w 5288895"/>
              <a:gd name="connsiteY93" fmla="*/ 547052 h 1248291"/>
              <a:gd name="connsiteX94" fmla="*/ 1624203 w 5288895"/>
              <a:gd name="connsiteY94" fmla="*/ 425313 h 1248291"/>
              <a:gd name="connsiteX95" fmla="*/ 1655023 w 5288895"/>
              <a:gd name="connsiteY95" fmla="*/ 425313 h 1248291"/>
              <a:gd name="connsiteX96" fmla="*/ 1655023 w 5288895"/>
              <a:gd name="connsiteY96" fmla="*/ 261968 h 1248291"/>
              <a:gd name="connsiteX97" fmla="*/ 1668892 w 5288895"/>
              <a:gd name="connsiteY97" fmla="*/ 261968 h 1248291"/>
              <a:gd name="connsiteX98" fmla="*/ 1668892 w 5288895"/>
              <a:gd name="connsiteY98" fmla="*/ 425313 h 1248291"/>
              <a:gd name="connsiteX99" fmla="*/ 1755187 w 5288895"/>
              <a:gd name="connsiteY99" fmla="*/ 425313 h 1248291"/>
              <a:gd name="connsiteX100" fmla="*/ 1755187 w 5288895"/>
              <a:gd name="connsiteY100" fmla="*/ 782824 h 1248291"/>
              <a:gd name="connsiteX101" fmla="*/ 1822992 w 5288895"/>
              <a:gd name="connsiteY101" fmla="*/ 782824 h 1248291"/>
              <a:gd name="connsiteX102" fmla="*/ 1822992 w 5288895"/>
              <a:gd name="connsiteY102" fmla="*/ 903021 h 1248291"/>
              <a:gd name="connsiteX103" fmla="*/ 1870763 w 5288895"/>
              <a:gd name="connsiteY103" fmla="*/ 903021 h 1248291"/>
              <a:gd name="connsiteX104" fmla="*/ 1870763 w 5288895"/>
              <a:gd name="connsiteY104" fmla="*/ 559380 h 1248291"/>
              <a:gd name="connsiteX105" fmla="*/ 1896960 w 5288895"/>
              <a:gd name="connsiteY105" fmla="*/ 559380 h 1248291"/>
              <a:gd name="connsiteX106" fmla="*/ 1896960 w 5288895"/>
              <a:gd name="connsiteY106" fmla="*/ 496199 h 1248291"/>
              <a:gd name="connsiteX107" fmla="*/ 1915452 w 5288895"/>
              <a:gd name="connsiteY107" fmla="*/ 496199 h 1248291"/>
              <a:gd name="connsiteX108" fmla="*/ 1915452 w 5288895"/>
              <a:gd name="connsiteY108" fmla="*/ 408362 h 1248291"/>
              <a:gd name="connsiteX109" fmla="*/ 1924697 w 5288895"/>
              <a:gd name="connsiteY109" fmla="*/ 408362 h 1248291"/>
              <a:gd name="connsiteX110" fmla="*/ 1924697 w 5288895"/>
              <a:gd name="connsiteY110" fmla="*/ 496199 h 1248291"/>
              <a:gd name="connsiteX111" fmla="*/ 1950896 w 5288895"/>
              <a:gd name="connsiteY111" fmla="*/ 496199 h 1248291"/>
              <a:gd name="connsiteX112" fmla="*/ 1950896 w 5288895"/>
              <a:gd name="connsiteY112" fmla="*/ 443806 h 1248291"/>
              <a:gd name="connsiteX113" fmla="*/ 1964763 w 5288895"/>
              <a:gd name="connsiteY113" fmla="*/ 443806 h 1248291"/>
              <a:gd name="connsiteX114" fmla="*/ 1964763 w 5288895"/>
              <a:gd name="connsiteY114" fmla="*/ 496199 h 1248291"/>
              <a:gd name="connsiteX115" fmla="*/ 1984796 w 5288895"/>
              <a:gd name="connsiteY115" fmla="*/ 496199 h 1248291"/>
              <a:gd name="connsiteX116" fmla="*/ 1984796 w 5288895"/>
              <a:gd name="connsiteY116" fmla="*/ 559380 h 1248291"/>
              <a:gd name="connsiteX117" fmla="*/ 2055682 w 5288895"/>
              <a:gd name="connsiteY117" fmla="*/ 559380 h 1248291"/>
              <a:gd name="connsiteX118" fmla="*/ 2055682 w 5288895"/>
              <a:gd name="connsiteY118" fmla="*/ 792070 h 1248291"/>
              <a:gd name="connsiteX119" fmla="*/ 2132030 w 5288895"/>
              <a:gd name="connsiteY119" fmla="*/ 792070 h 1248291"/>
              <a:gd name="connsiteX120" fmla="*/ 2145059 w 5288895"/>
              <a:gd name="connsiteY120" fmla="*/ 696528 h 1248291"/>
              <a:gd name="connsiteX121" fmla="*/ 2231354 w 5288895"/>
              <a:gd name="connsiteY121" fmla="*/ 696528 h 1248291"/>
              <a:gd name="connsiteX122" fmla="*/ 2249846 w 5288895"/>
              <a:gd name="connsiteY122" fmla="*/ 866037 h 1248291"/>
              <a:gd name="connsiteX123" fmla="*/ 2226732 w 5288895"/>
              <a:gd name="connsiteY123" fmla="*/ 866037 h 1248291"/>
              <a:gd name="connsiteX124" fmla="*/ 2226732 w 5288895"/>
              <a:gd name="connsiteY124" fmla="*/ 886070 h 1248291"/>
              <a:gd name="connsiteX125" fmla="*/ 2254470 w 5288895"/>
              <a:gd name="connsiteY125" fmla="*/ 886070 h 1248291"/>
              <a:gd name="connsiteX126" fmla="*/ 2254470 w 5288895"/>
              <a:gd name="connsiteY126" fmla="*/ 585577 h 1248291"/>
              <a:gd name="connsiteX127" fmla="*/ 2285289 w 5288895"/>
              <a:gd name="connsiteY127" fmla="*/ 585577 h 1248291"/>
              <a:gd name="connsiteX128" fmla="*/ 2285289 w 5288895"/>
              <a:gd name="connsiteY128" fmla="*/ 286624 h 1248291"/>
              <a:gd name="connsiteX129" fmla="*/ 2354634 w 5288895"/>
              <a:gd name="connsiteY129" fmla="*/ 166427 h 1248291"/>
              <a:gd name="connsiteX130" fmla="*/ 2388536 w 5288895"/>
              <a:gd name="connsiteY130" fmla="*/ 166427 h 1248291"/>
              <a:gd name="connsiteX131" fmla="*/ 2397782 w 5288895"/>
              <a:gd name="connsiteY131" fmla="*/ 107869 h 1248291"/>
              <a:gd name="connsiteX132" fmla="*/ 2410110 w 5288895"/>
              <a:gd name="connsiteY132" fmla="*/ 30820 h 1248291"/>
              <a:gd name="connsiteX133" fmla="*/ 2422438 w 5288895"/>
              <a:gd name="connsiteY133" fmla="*/ 107869 h 1248291"/>
              <a:gd name="connsiteX134" fmla="*/ 2431684 w 5288895"/>
              <a:gd name="connsiteY134" fmla="*/ 166427 h 1248291"/>
              <a:gd name="connsiteX135" fmla="*/ 2459422 w 5288895"/>
              <a:gd name="connsiteY135" fmla="*/ 166427 h 1248291"/>
              <a:gd name="connsiteX136" fmla="*/ 2525684 w 5288895"/>
              <a:gd name="connsiteY136" fmla="*/ 286624 h 1248291"/>
              <a:gd name="connsiteX137" fmla="*/ 2525684 w 5288895"/>
              <a:gd name="connsiteY137" fmla="*/ 465380 h 1248291"/>
              <a:gd name="connsiteX138" fmla="*/ 2558045 w 5288895"/>
              <a:gd name="connsiteY138" fmla="*/ 465380 h 1248291"/>
              <a:gd name="connsiteX139" fmla="*/ 2558045 w 5288895"/>
              <a:gd name="connsiteY139" fmla="*/ 255804 h 1248291"/>
              <a:gd name="connsiteX140" fmla="*/ 2749128 w 5288895"/>
              <a:gd name="connsiteY140" fmla="*/ 163345 h 1248291"/>
              <a:gd name="connsiteX141" fmla="*/ 2749128 w 5288895"/>
              <a:gd name="connsiteY141" fmla="*/ 465380 h 1248291"/>
              <a:gd name="connsiteX142" fmla="*/ 2809227 w 5288895"/>
              <a:gd name="connsiteY142" fmla="*/ 465380 h 1248291"/>
              <a:gd name="connsiteX143" fmla="*/ 2809227 w 5288895"/>
              <a:gd name="connsiteY143" fmla="*/ 869119 h 1248291"/>
              <a:gd name="connsiteX144" fmla="*/ 2877243 w 5288895"/>
              <a:gd name="connsiteY144" fmla="*/ 869119 h 1248291"/>
              <a:gd name="connsiteX145" fmla="*/ 2877243 w 5288895"/>
              <a:gd name="connsiteY145" fmla="*/ 212657 h 1248291"/>
              <a:gd name="connsiteX146" fmla="*/ 2949670 w 5288895"/>
              <a:gd name="connsiteY146" fmla="*/ 104787 h 1248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</a:cxnLst>
            <a:rect l="l" t="t" r="r" b="b"/>
            <a:pathLst>
              <a:path w="5288895" h="1248291">
                <a:moveTo>
                  <a:pt x="591740" y="691904"/>
                </a:moveTo>
                <a:lnTo>
                  <a:pt x="710397" y="691904"/>
                </a:lnTo>
                <a:lnTo>
                  <a:pt x="710397" y="1248290"/>
                </a:lnTo>
                <a:lnTo>
                  <a:pt x="354427" y="1248290"/>
                </a:lnTo>
                <a:lnTo>
                  <a:pt x="354427" y="793610"/>
                </a:lnTo>
                <a:lnTo>
                  <a:pt x="591740" y="793610"/>
                </a:lnTo>
                <a:close/>
                <a:moveTo>
                  <a:pt x="0" y="691904"/>
                </a:moveTo>
                <a:lnTo>
                  <a:pt x="197247" y="691904"/>
                </a:lnTo>
                <a:lnTo>
                  <a:pt x="197247" y="867577"/>
                </a:lnTo>
                <a:lnTo>
                  <a:pt x="277379" y="867577"/>
                </a:lnTo>
                <a:lnTo>
                  <a:pt x="277379" y="1248290"/>
                </a:lnTo>
                <a:lnTo>
                  <a:pt x="0" y="1248290"/>
                </a:lnTo>
                <a:close/>
                <a:moveTo>
                  <a:pt x="5288895" y="488494"/>
                </a:moveTo>
                <a:lnTo>
                  <a:pt x="5288895" y="1248291"/>
                </a:lnTo>
                <a:lnTo>
                  <a:pt x="4781908" y="1248291"/>
                </a:lnTo>
                <a:lnTo>
                  <a:pt x="4781908" y="858332"/>
                </a:lnTo>
                <a:lnTo>
                  <a:pt x="4914434" y="727348"/>
                </a:lnTo>
                <a:lnTo>
                  <a:pt x="5014598" y="810562"/>
                </a:lnTo>
                <a:lnTo>
                  <a:pt x="5014598" y="667249"/>
                </a:lnTo>
                <a:close/>
                <a:moveTo>
                  <a:pt x="4499907" y="385248"/>
                </a:moveTo>
                <a:lnTo>
                  <a:pt x="4515317" y="385248"/>
                </a:lnTo>
                <a:lnTo>
                  <a:pt x="4515317" y="607151"/>
                </a:lnTo>
                <a:lnTo>
                  <a:pt x="4583121" y="607151"/>
                </a:lnTo>
                <a:lnTo>
                  <a:pt x="4583121" y="510069"/>
                </a:lnTo>
                <a:lnTo>
                  <a:pt x="4714105" y="510069"/>
                </a:lnTo>
                <a:lnTo>
                  <a:pt x="4714105" y="607151"/>
                </a:lnTo>
                <a:lnTo>
                  <a:pt x="4714105" y="636430"/>
                </a:lnTo>
                <a:lnTo>
                  <a:pt x="4714105" y="1248290"/>
                </a:lnTo>
                <a:lnTo>
                  <a:pt x="4330398" y="1248290"/>
                </a:lnTo>
                <a:lnTo>
                  <a:pt x="4330398" y="801316"/>
                </a:lnTo>
                <a:lnTo>
                  <a:pt x="4450596" y="801316"/>
                </a:lnTo>
                <a:lnTo>
                  <a:pt x="4450596" y="607151"/>
                </a:lnTo>
                <a:lnTo>
                  <a:pt x="4499907" y="607151"/>
                </a:lnTo>
                <a:close/>
                <a:moveTo>
                  <a:pt x="3022096" y="0"/>
                </a:moveTo>
                <a:lnTo>
                  <a:pt x="3094523" y="104787"/>
                </a:lnTo>
                <a:lnTo>
                  <a:pt x="3166949" y="212657"/>
                </a:lnTo>
                <a:lnTo>
                  <a:pt x="3166949" y="240394"/>
                </a:lnTo>
                <a:lnTo>
                  <a:pt x="3214902" y="240394"/>
                </a:lnTo>
                <a:cubicBezTo>
                  <a:pt x="3273771" y="240394"/>
                  <a:pt x="3273771" y="240394"/>
                  <a:pt x="3273771" y="240394"/>
                </a:cubicBezTo>
                <a:cubicBezTo>
                  <a:pt x="3273771" y="317413"/>
                  <a:pt x="3273771" y="317413"/>
                  <a:pt x="3273771" y="317413"/>
                </a:cubicBezTo>
                <a:cubicBezTo>
                  <a:pt x="3334918" y="339418"/>
                  <a:pt x="3334918" y="339418"/>
                  <a:pt x="3334918" y="339418"/>
                </a:cubicBezTo>
                <a:lnTo>
                  <a:pt x="3334918" y="496200"/>
                </a:lnTo>
                <a:lnTo>
                  <a:pt x="3485934" y="496200"/>
                </a:lnTo>
                <a:lnTo>
                  <a:pt x="3485934" y="425314"/>
                </a:lnTo>
                <a:lnTo>
                  <a:pt x="3542951" y="374461"/>
                </a:lnTo>
                <a:lnTo>
                  <a:pt x="3670853" y="425314"/>
                </a:lnTo>
                <a:lnTo>
                  <a:pt x="3670853" y="681119"/>
                </a:lnTo>
                <a:lnTo>
                  <a:pt x="3749444" y="681119"/>
                </a:lnTo>
                <a:lnTo>
                  <a:pt x="3749444" y="599446"/>
                </a:lnTo>
                <a:lnTo>
                  <a:pt x="3815706" y="599446"/>
                </a:lnTo>
                <a:lnTo>
                  <a:pt x="3815706" y="494659"/>
                </a:lnTo>
                <a:lnTo>
                  <a:pt x="3869641" y="494659"/>
                </a:lnTo>
                <a:lnTo>
                  <a:pt x="3869641" y="599446"/>
                </a:lnTo>
                <a:lnTo>
                  <a:pt x="3869641" y="927676"/>
                </a:lnTo>
                <a:lnTo>
                  <a:pt x="3903543" y="927676"/>
                </a:lnTo>
                <a:lnTo>
                  <a:pt x="3903543" y="804397"/>
                </a:lnTo>
                <a:lnTo>
                  <a:pt x="4062265" y="804397"/>
                </a:lnTo>
                <a:lnTo>
                  <a:pt x="4062265" y="645675"/>
                </a:lnTo>
                <a:lnTo>
                  <a:pt x="4071511" y="645675"/>
                </a:lnTo>
                <a:lnTo>
                  <a:pt x="4071511" y="530101"/>
                </a:lnTo>
                <a:lnTo>
                  <a:pt x="4140856" y="530101"/>
                </a:lnTo>
                <a:lnTo>
                  <a:pt x="4140856" y="454592"/>
                </a:lnTo>
                <a:lnTo>
                  <a:pt x="4147020" y="454592"/>
                </a:lnTo>
                <a:lnTo>
                  <a:pt x="4147020" y="241935"/>
                </a:lnTo>
                <a:lnTo>
                  <a:pt x="4165512" y="241935"/>
                </a:lnTo>
                <a:lnTo>
                  <a:pt x="4165512" y="454592"/>
                </a:lnTo>
                <a:lnTo>
                  <a:pt x="4213283" y="454592"/>
                </a:lnTo>
                <a:lnTo>
                  <a:pt x="4213283" y="645675"/>
                </a:lnTo>
                <a:lnTo>
                  <a:pt x="4273381" y="645675"/>
                </a:lnTo>
                <a:lnTo>
                  <a:pt x="4273381" y="821348"/>
                </a:lnTo>
                <a:lnTo>
                  <a:pt x="4302660" y="821348"/>
                </a:lnTo>
                <a:lnTo>
                  <a:pt x="4302660" y="1248290"/>
                </a:lnTo>
                <a:lnTo>
                  <a:pt x="753543" y="1248290"/>
                </a:lnTo>
                <a:lnTo>
                  <a:pt x="753543" y="636429"/>
                </a:lnTo>
                <a:lnTo>
                  <a:pt x="910724" y="636429"/>
                </a:lnTo>
                <a:lnTo>
                  <a:pt x="910724" y="348263"/>
                </a:lnTo>
                <a:lnTo>
                  <a:pt x="1120299" y="348263"/>
                </a:lnTo>
                <a:lnTo>
                  <a:pt x="1120299" y="437641"/>
                </a:lnTo>
                <a:lnTo>
                  <a:pt x="1163447" y="437641"/>
                </a:lnTo>
                <a:lnTo>
                  <a:pt x="1163447" y="489984"/>
                </a:lnTo>
                <a:lnTo>
                  <a:pt x="1192033" y="489984"/>
                </a:lnTo>
                <a:lnTo>
                  <a:pt x="1218230" y="489984"/>
                </a:lnTo>
                <a:lnTo>
                  <a:pt x="1218922" y="351345"/>
                </a:lnTo>
                <a:lnTo>
                  <a:pt x="1303677" y="335935"/>
                </a:lnTo>
                <a:lnTo>
                  <a:pt x="1329874" y="348263"/>
                </a:lnTo>
                <a:lnTo>
                  <a:pt x="1329874" y="277378"/>
                </a:lnTo>
                <a:lnTo>
                  <a:pt x="1440825" y="255804"/>
                </a:lnTo>
                <a:lnTo>
                  <a:pt x="1490138" y="280460"/>
                </a:lnTo>
                <a:lnTo>
                  <a:pt x="1490138" y="449969"/>
                </a:lnTo>
                <a:lnTo>
                  <a:pt x="1514793" y="449969"/>
                </a:lnTo>
                <a:lnTo>
                  <a:pt x="1514793" y="400657"/>
                </a:lnTo>
                <a:lnTo>
                  <a:pt x="1573352" y="400657"/>
                </a:lnTo>
                <a:lnTo>
                  <a:pt x="1573352" y="547052"/>
                </a:lnTo>
                <a:lnTo>
                  <a:pt x="1624203" y="547052"/>
                </a:lnTo>
                <a:lnTo>
                  <a:pt x="1624203" y="425313"/>
                </a:lnTo>
                <a:lnTo>
                  <a:pt x="1655023" y="425313"/>
                </a:lnTo>
                <a:lnTo>
                  <a:pt x="1655023" y="261968"/>
                </a:lnTo>
                <a:lnTo>
                  <a:pt x="1668892" y="261968"/>
                </a:lnTo>
                <a:lnTo>
                  <a:pt x="1668892" y="425313"/>
                </a:lnTo>
                <a:lnTo>
                  <a:pt x="1755187" y="425313"/>
                </a:lnTo>
                <a:lnTo>
                  <a:pt x="1755187" y="782824"/>
                </a:lnTo>
                <a:lnTo>
                  <a:pt x="1822992" y="782824"/>
                </a:lnTo>
                <a:lnTo>
                  <a:pt x="1822992" y="903021"/>
                </a:lnTo>
                <a:lnTo>
                  <a:pt x="1870763" y="903021"/>
                </a:lnTo>
                <a:lnTo>
                  <a:pt x="1870763" y="559380"/>
                </a:lnTo>
                <a:lnTo>
                  <a:pt x="1896960" y="559380"/>
                </a:lnTo>
                <a:lnTo>
                  <a:pt x="1896960" y="496199"/>
                </a:lnTo>
                <a:lnTo>
                  <a:pt x="1915452" y="496199"/>
                </a:lnTo>
                <a:lnTo>
                  <a:pt x="1915452" y="408362"/>
                </a:lnTo>
                <a:lnTo>
                  <a:pt x="1924697" y="408362"/>
                </a:lnTo>
                <a:lnTo>
                  <a:pt x="1924697" y="496199"/>
                </a:lnTo>
                <a:lnTo>
                  <a:pt x="1950896" y="496199"/>
                </a:lnTo>
                <a:lnTo>
                  <a:pt x="1950896" y="443806"/>
                </a:lnTo>
                <a:lnTo>
                  <a:pt x="1964763" y="443806"/>
                </a:lnTo>
                <a:lnTo>
                  <a:pt x="1964763" y="496199"/>
                </a:lnTo>
                <a:lnTo>
                  <a:pt x="1984796" y="496199"/>
                </a:lnTo>
                <a:lnTo>
                  <a:pt x="1984796" y="559380"/>
                </a:lnTo>
                <a:lnTo>
                  <a:pt x="2055682" y="559380"/>
                </a:lnTo>
                <a:lnTo>
                  <a:pt x="2055682" y="792070"/>
                </a:lnTo>
                <a:lnTo>
                  <a:pt x="2132030" y="792070"/>
                </a:lnTo>
                <a:lnTo>
                  <a:pt x="2145059" y="696528"/>
                </a:lnTo>
                <a:lnTo>
                  <a:pt x="2231354" y="696528"/>
                </a:lnTo>
                <a:lnTo>
                  <a:pt x="2249846" y="866037"/>
                </a:lnTo>
                <a:lnTo>
                  <a:pt x="2226732" y="866037"/>
                </a:lnTo>
                <a:lnTo>
                  <a:pt x="2226732" y="886070"/>
                </a:lnTo>
                <a:lnTo>
                  <a:pt x="2254470" y="886070"/>
                </a:lnTo>
                <a:lnTo>
                  <a:pt x="2254470" y="585577"/>
                </a:lnTo>
                <a:lnTo>
                  <a:pt x="2285289" y="585577"/>
                </a:lnTo>
                <a:lnTo>
                  <a:pt x="2285289" y="286624"/>
                </a:lnTo>
                <a:lnTo>
                  <a:pt x="2354634" y="166427"/>
                </a:lnTo>
                <a:lnTo>
                  <a:pt x="2388536" y="166427"/>
                </a:lnTo>
                <a:lnTo>
                  <a:pt x="2397782" y="107869"/>
                </a:lnTo>
                <a:lnTo>
                  <a:pt x="2410110" y="30820"/>
                </a:lnTo>
                <a:lnTo>
                  <a:pt x="2422438" y="107869"/>
                </a:lnTo>
                <a:lnTo>
                  <a:pt x="2431684" y="166427"/>
                </a:lnTo>
                <a:lnTo>
                  <a:pt x="2459422" y="166427"/>
                </a:lnTo>
                <a:lnTo>
                  <a:pt x="2525684" y="286624"/>
                </a:lnTo>
                <a:lnTo>
                  <a:pt x="2525684" y="465380"/>
                </a:lnTo>
                <a:lnTo>
                  <a:pt x="2558045" y="465380"/>
                </a:lnTo>
                <a:lnTo>
                  <a:pt x="2558045" y="255804"/>
                </a:lnTo>
                <a:lnTo>
                  <a:pt x="2749128" y="163345"/>
                </a:lnTo>
                <a:lnTo>
                  <a:pt x="2749128" y="465380"/>
                </a:lnTo>
                <a:lnTo>
                  <a:pt x="2809227" y="465380"/>
                </a:lnTo>
                <a:lnTo>
                  <a:pt x="2809227" y="869119"/>
                </a:lnTo>
                <a:lnTo>
                  <a:pt x="2877243" y="869119"/>
                </a:lnTo>
                <a:lnTo>
                  <a:pt x="2877243" y="212657"/>
                </a:lnTo>
                <a:lnTo>
                  <a:pt x="2949670" y="104787"/>
                </a:lnTo>
                <a:close/>
              </a:path>
            </a:pathLst>
          </a:custGeom>
          <a:noFill/>
          <a:ln>
            <a:gradFill>
              <a:gsLst>
                <a:gs pos="0">
                  <a:schemeClr val="accent2"/>
                </a:gs>
                <a:gs pos="74000">
                  <a:schemeClr val="accent2"/>
                </a:gs>
                <a:gs pos="83000">
                  <a:schemeClr val="accent2">
                    <a:lumMod val="60000"/>
                    <a:lumOff val="4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组合 131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33" name="矩形 132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4" name="矩形 133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 dpi="0" rotWithShape="1">
              <a:blip r:embed="rId4">
                <a:alphaModFix amt="10000"/>
              </a:blip>
              <a:srcRect/>
              <a:tile tx="0" ty="0" sx="100000" sy="100000" flip="none" algn="tl"/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351812" y="1943101"/>
            <a:ext cx="5167086" cy="2083472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51812" y="4711299"/>
            <a:ext cx="516708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351814" y="4415028"/>
            <a:ext cx="5167086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5" name="组合 4"/>
          <p:cNvGrpSpPr/>
          <p:nvPr userDrawn="1"/>
        </p:nvGrpSpPr>
        <p:grpSpPr>
          <a:xfrm>
            <a:off x="756228" y="1472939"/>
            <a:ext cx="4939773" cy="4073195"/>
            <a:chOff x="673100" y="1472939"/>
            <a:chExt cx="4939773" cy="4073195"/>
          </a:xfrm>
        </p:grpSpPr>
        <p:grpSp>
          <p:nvGrpSpPr>
            <p:cNvPr id="195" name="组合 194"/>
            <p:cNvGrpSpPr/>
            <p:nvPr userDrawn="1"/>
          </p:nvGrpSpPr>
          <p:grpSpPr>
            <a:xfrm flipH="1">
              <a:off x="673100" y="1472939"/>
              <a:ext cx="4939773" cy="4073195"/>
              <a:chOff x="6369056" y="1472939"/>
              <a:chExt cx="5396597" cy="4449879"/>
            </a:xfrm>
          </p:grpSpPr>
          <p:grpSp>
            <p:nvGrpSpPr>
              <p:cNvPr id="209" name="组合 208"/>
              <p:cNvGrpSpPr/>
              <p:nvPr userDrawn="1"/>
            </p:nvGrpSpPr>
            <p:grpSpPr>
              <a:xfrm>
                <a:off x="6369056" y="1472939"/>
                <a:ext cx="5396597" cy="4449879"/>
                <a:chOff x="6811369" y="1604585"/>
                <a:chExt cx="4704904" cy="3879529"/>
              </a:xfrm>
            </p:grpSpPr>
            <p:sp>
              <p:nvSpPr>
                <p:cNvPr id="232" name="任意多边形: 形状 231"/>
                <p:cNvSpPr>
                  <a:spLocks noChangeAspect="1"/>
                </p:cNvSpPr>
                <p:nvPr userDrawn="1"/>
              </p:nvSpPr>
              <p:spPr bwMode="auto">
                <a:xfrm>
                  <a:off x="6811369" y="2662130"/>
                  <a:ext cx="4175719" cy="2821984"/>
                </a:xfrm>
                <a:custGeom>
                  <a:avLst/>
                  <a:gdLst>
                    <a:gd name="connsiteX0" fmla="*/ 261366 w 607286"/>
                    <a:gd name="connsiteY0" fmla="*/ 271255 h 410409"/>
                    <a:gd name="connsiteX1" fmla="*/ 256800 w 607286"/>
                    <a:gd name="connsiteY1" fmla="*/ 273535 h 410409"/>
                    <a:gd name="connsiteX2" fmla="*/ 256998 w 607286"/>
                    <a:gd name="connsiteY2" fmla="*/ 280574 h 410409"/>
                    <a:gd name="connsiteX3" fmla="*/ 266628 w 607286"/>
                    <a:gd name="connsiteY3" fmla="*/ 283152 h 410409"/>
                    <a:gd name="connsiteX4" fmla="*/ 297503 w 607286"/>
                    <a:gd name="connsiteY4" fmla="*/ 283053 h 410409"/>
                    <a:gd name="connsiteX5" fmla="*/ 305544 w 607286"/>
                    <a:gd name="connsiteY5" fmla="*/ 262729 h 410409"/>
                    <a:gd name="connsiteX6" fmla="*/ 286185 w 607286"/>
                    <a:gd name="connsiteY6" fmla="*/ 264612 h 410409"/>
                    <a:gd name="connsiteX7" fmla="*/ 284498 w 607286"/>
                    <a:gd name="connsiteY7" fmla="*/ 264910 h 410409"/>
                    <a:gd name="connsiteX8" fmla="*/ 332150 w 607286"/>
                    <a:gd name="connsiteY8" fmla="*/ 280475 h 410409"/>
                    <a:gd name="connsiteX9" fmla="*/ 342872 w 607286"/>
                    <a:gd name="connsiteY9" fmla="*/ 279087 h 410409"/>
                    <a:gd name="connsiteX10" fmla="*/ 305544 w 607286"/>
                    <a:gd name="connsiteY10" fmla="*/ 262729 h 410409"/>
                    <a:gd name="connsiteX11" fmla="*/ 174996 w 607286"/>
                    <a:gd name="connsiteY11" fmla="*/ 221287 h 410409"/>
                    <a:gd name="connsiteX12" fmla="*/ 169635 w 607286"/>
                    <a:gd name="connsiteY12" fmla="*/ 226740 h 410409"/>
                    <a:gd name="connsiteX13" fmla="*/ 163083 w 607286"/>
                    <a:gd name="connsiteY13" fmla="*/ 240620 h 410409"/>
                    <a:gd name="connsiteX14" fmla="*/ 196241 w 607286"/>
                    <a:gd name="connsiteY14" fmla="*/ 249345 h 410409"/>
                    <a:gd name="connsiteX15" fmla="*/ 197532 w 607286"/>
                    <a:gd name="connsiteY15" fmla="*/ 247461 h 410409"/>
                    <a:gd name="connsiteX16" fmla="*/ 174996 w 607286"/>
                    <a:gd name="connsiteY16" fmla="*/ 221287 h 410409"/>
                    <a:gd name="connsiteX17" fmla="*/ 440163 w 607286"/>
                    <a:gd name="connsiteY17" fmla="*/ 213058 h 410409"/>
                    <a:gd name="connsiteX18" fmla="*/ 438277 w 607286"/>
                    <a:gd name="connsiteY18" fmla="*/ 225650 h 410409"/>
                    <a:gd name="connsiteX19" fmla="*/ 453168 w 607286"/>
                    <a:gd name="connsiteY19" fmla="*/ 264117 h 410409"/>
                    <a:gd name="connsiteX20" fmla="*/ 415145 w 607286"/>
                    <a:gd name="connsiteY20" fmla="*/ 303972 h 410409"/>
                    <a:gd name="connsiteX21" fmla="*/ 379207 w 607286"/>
                    <a:gd name="connsiteY21" fmla="*/ 312399 h 410409"/>
                    <a:gd name="connsiteX22" fmla="*/ 273279 w 607286"/>
                    <a:gd name="connsiteY22" fmla="*/ 325486 h 410409"/>
                    <a:gd name="connsiteX23" fmla="*/ 272783 w 607286"/>
                    <a:gd name="connsiteY23" fmla="*/ 325486 h 410409"/>
                    <a:gd name="connsiteX24" fmla="*/ 193362 w 607286"/>
                    <a:gd name="connsiteY24" fmla="*/ 302386 h 410409"/>
                    <a:gd name="connsiteX25" fmla="*/ 217685 w 607286"/>
                    <a:gd name="connsiteY25" fmla="*/ 332723 h 410409"/>
                    <a:gd name="connsiteX26" fmla="*/ 375236 w 607286"/>
                    <a:gd name="connsiteY26" fmla="*/ 332228 h 410409"/>
                    <a:gd name="connsiteX27" fmla="*/ 467067 w 607286"/>
                    <a:gd name="connsiteY27" fmla="*/ 276212 h 410409"/>
                    <a:gd name="connsiteX28" fmla="*/ 457040 w 607286"/>
                    <a:gd name="connsiteY28" fmla="*/ 233977 h 410409"/>
                    <a:gd name="connsiteX29" fmla="*/ 440163 w 607286"/>
                    <a:gd name="connsiteY29" fmla="*/ 213058 h 410409"/>
                    <a:gd name="connsiteX30" fmla="*/ 329828 w 607286"/>
                    <a:gd name="connsiteY30" fmla="*/ 213041 h 410409"/>
                    <a:gd name="connsiteX31" fmla="*/ 276853 w 607286"/>
                    <a:gd name="connsiteY31" fmla="*/ 214347 h 410409"/>
                    <a:gd name="connsiteX32" fmla="*/ 195844 w 607286"/>
                    <a:gd name="connsiteY32" fmla="*/ 283648 h 410409"/>
                    <a:gd name="connsiteX33" fmla="*/ 196737 w 607286"/>
                    <a:gd name="connsiteY33" fmla="*/ 285928 h 410409"/>
                    <a:gd name="connsiteX34" fmla="*/ 213912 w 607286"/>
                    <a:gd name="connsiteY34" fmla="*/ 299412 h 410409"/>
                    <a:gd name="connsiteX35" fmla="*/ 211232 w 607286"/>
                    <a:gd name="connsiteY35" fmla="*/ 274130 h 410409"/>
                    <a:gd name="connsiteX36" fmla="*/ 277052 w 607286"/>
                    <a:gd name="connsiteY36" fmla="*/ 227831 h 410409"/>
                    <a:gd name="connsiteX37" fmla="*/ 326591 w 607286"/>
                    <a:gd name="connsiteY37" fmla="*/ 227632 h 410409"/>
                    <a:gd name="connsiteX38" fmla="*/ 385462 w 607286"/>
                    <a:gd name="connsiteY38" fmla="*/ 259556 h 410409"/>
                    <a:gd name="connsiteX39" fmla="*/ 391617 w 607286"/>
                    <a:gd name="connsiteY39" fmla="*/ 258367 h 410409"/>
                    <a:gd name="connsiteX40" fmla="*/ 395985 w 607286"/>
                    <a:gd name="connsiteY40" fmla="*/ 266595 h 410409"/>
                    <a:gd name="connsiteX41" fmla="*/ 353495 w 607286"/>
                    <a:gd name="connsiteY41" fmla="*/ 290687 h 410409"/>
                    <a:gd name="connsiteX42" fmla="*/ 325499 w 607286"/>
                    <a:gd name="connsiteY42" fmla="*/ 294454 h 410409"/>
                    <a:gd name="connsiteX43" fmla="*/ 277548 w 607286"/>
                    <a:gd name="connsiteY43" fmla="*/ 296536 h 410409"/>
                    <a:gd name="connsiteX44" fmla="*/ 266429 w 607286"/>
                    <a:gd name="connsiteY44" fmla="*/ 296437 h 410409"/>
                    <a:gd name="connsiteX45" fmla="*/ 239923 w 607286"/>
                    <a:gd name="connsiteY45" fmla="*/ 278195 h 410409"/>
                    <a:gd name="connsiteX46" fmla="*/ 284001 w 607286"/>
                    <a:gd name="connsiteY46" fmla="*/ 251526 h 410409"/>
                    <a:gd name="connsiteX47" fmla="*/ 342475 w 607286"/>
                    <a:gd name="connsiteY47" fmla="*/ 259655 h 410409"/>
                    <a:gd name="connsiteX48" fmla="*/ 356374 w 607286"/>
                    <a:gd name="connsiteY48" fmla="*/ 276510 h 410409"/>
                    <a:gd name="connsiteX49" fmla="*/ 376229 w 607286"/>
                    <a:gd name="connsiteY49" fmla="*/ 269768 h 410409"/>
                    <a:gd name="connsiteX50" fmla="*/ 326094 w 607286"/>
                    <a:gd name="connsiteY50" fmla="*/ 240917 h 410409"/>
                    <a:gd name="connsiteX51" fmla="*/ 325201 w 607286"/>
                    <a:gd name="connsiteY51" fmla="*/ 240818 h 410409"/>
                    <a:gd name="connsiteX52" fmla="*/ 223939 w 607286"/>
                    <a:gd name="connsiteY52" fmla="*/ 277798 h 410409"/>
                    <a:gd name="connsiteX53" fmla="*/ 226421 w 607286"/>
                    <a:gd name="connsiteY53" fmla="*/ 294157 h 410409"/>
                    <a:gd name="connsiteX54" fmla="*/ 289660 w 607286"/>
                    <a:gd name="connsiteY54" fmla="*/ 310119 h 410409"/>
                    <a:gd name="connsiteX55" fmla="*/ 339397 w 607286"/>
                    <a:gd name="connsiteY55" fmla="*/ 307938 h 410409"/>
                    <a:gd name="connsiteX56" fmla="*/ 408692 w 607286"/>
                    <a:gd name="connsiteY56" fmla="*/ 271453 h 410409"/>
                    <a:gd name="connsiteX57" fmla="*/ 400651 w 607286"/>
                    <a:gd name="connsiteY57" fmla="*/ 248551 h 410409"/>
                    <a:gd name="connsiteX58" fmla="*/ 329828 w 607286"/>
                    <a:gd name="connsiteY58" fmla="*/ 213041 h 410409"/>
                    <a:gd name="connsiteX59" fmla="*/ 210537 w 607286"/>
                    <a:gd name="connsiteY59" fmla="*/ 202450 h 410409"/>
                    <a:gd name="connsiteX60" fmla="*/ 186512 w 607286"/>
                    <a:gd name="connsiteY60" fmla="*/ 212761 h 410409"/>
                    <a:gd name="connsiteX61" fmla="*/ 205772 w 607286"/>
                    <a:gd name="connsiteY61" fmla="*/ 236555 h 410409"/>
                    <a:gd name="connsiteX62" fmla="*/ 207956 w 607286"/>
                    <a:gd name="connsiteY62" fmla="*/ 234077 h 410409"/>
                    <a:gd name="connsiteX63" fmla="*/ 210537 w 607286"/>
                    <a:gd name="connsiteY63" fmla="*/ 202450 h 410409"/>
                    <a:gd name="connsiteX64" fmla="*/ 292440 w 607286"/>
                    <a:gd name="connsiteY64" fmla="*/ 190355 h 410409"/>
                    <a:gd name="connsiteX65" fmla="*/ 290156 w 607286"/>
                    <a:gd name="connsiteY65" fmla="*/ 199377 h 410409"/>
                    <a:gd name="connsiteX66" fmla="*/ 411075 w 607286"/>
                    <a:gd name="connsiteY66" fmla="*/ 240323 h 410409"/>
                    <a:gd name="connsiteX67" fmla="*/ 420903 w 607286"/>
                    <a:gd name="connsiteY67" fmla="*/ 276410 h 410409"/>
                    <a:gd name="connsiteX68" fmla="*/ 412564 w 607286"/>
                    <a:gd name="connsiteY68" fmla="*/ 290786 h 410409"/>
                    <a:gd name="connsiteX69" fmla="*/ 439964 w 607286"/>
                    <a:gd name="connsiteY69" fmla="*/ 265207 h 410409"/>
                    <a:gd name="connsiteX70" fmla="*/ 368585 w 607286"/>
                    <a:gd name="connsiteY70" fmla="*/ 195808 h 410409"/>
                    <a:gd name="connsiteX71" fmla="*/ 339695 w 607286"/>
                    <a:gd name="connsiteY71" fmla="*/ 191644 h 410409"/>
                    <a:gd name="connsiteX72" fmla="*/ 292440 w 607286"/>
                    <a:gd name="connsiteY72" fmla="*/ 190355 h 410409"/>
                    <a:gd name="connsiteX73" fmla="*/ 440163 w 607286"/>
                    <a:gd name="connsiteY73" fmla="*/ 175979 h 410409"/>
                    <a:gd name="connsiteX74" fmla="*/ 441156 w 607286"/>
                    <a:gd name="connsiteY74" fmla="*/ 192338 h 410409"/>
                    <a:gd name="connsiteX75" fmla="*/ 441156 w 607286"/>
                    <a:gd name="connsiteY75" fmla="*/ 196700 h 410409"/>
                    <a:gd name="connsiteX76" fmla="*/ 480965 w 607286"/>
                    <a:gd name="connsiteY76" fmla="*/ 265207 h 410409"/>
                    <a:gd name="connsiteX77" fmla="*/ 487815 w 607286"/>
                    <a:gd name="connsiteY77" fmla="*/ 247362 h 410409"/>
                    <a:gd name="connsiteX78" fmla="*/ 458231 w 607286"/>
                    <a:gd name="connsiteY78" fmla="*/ 192932 h 410409"/>
                    <a:gd name="connsiteX79" fmla="*/ 440163 w 607286"/>
                    <a:gd name="connsiteY79" fmla="*/ 175979 h 410409"/>
                    <a:gd name="connsiteX80" fmla="*/ 217288 w 607286"/>
                    <a:gd name="connsiteY80" fmla="*/ 173897 h 410409"/>
                    <a:gd name="connsiteX81" fmla="*/ 138959 w 607286"/>
                    <a:gd name="connsiteY81" fmla="*/ 236654 h 410409"/>
                    <a:gd name="connsiteX82" fmla="*/ 141043 w 607286"/>
                    <a:gd name="connsiteY82" fmla="*/ 254500 h 410409"/>
                    <a:gd name="connsiteX83" fmla="*/ 184030 w 607286"/>
                    <a:gd name="connsiteY83" fmla="*/ 271751 h 410409"/>
                    <a:gd name="connsiteX84" fmla="*/ 188895 w 607286"/>
                    <a:gd name="connsiteY84" fmla="*/ 262332 h 410409"/>
                    <a:gd name="connsiteX85" fmla="*/ 151070 w 607286"/>
                    <a:gd name="connsiteY85" fmla="*/ 246172 h 410409"/>
                    <a:gd name="connsiteX86" fmla="*/ 159707 w 607286"/>
                    <a:gd name="connsiteY86" fmla="*/ 218016 h 410409"/>
                    <a:gd name="connsiteX87" fmla="*/ 213317 w 607286"/>
                    <a:gd name="connsiteY87" fmla="*/ 188174 h 410409"/>
                    <a:gd name="connsiteX88" fmla="*/ 217288 w 607286"/>
                    <a:gd name="connsiteY88" fmla="*/ 173897 h 410409"/>
                    <a:gd name="connsiteX89" fmla="*/ 475604 w 607286"/>
                    <a:gd name="connsiteY89" fmla="*/ 172608 h 410409"/>
                    <a:gd name="connsiteX90" fmla="*/ 482752 w 607286"/>
                    <a:gd name="connsiteY90" fmla="*/ 201360 h 410409"/>
                    <a:gd name="connsiteX91" fmla="*/ 484440 w 607286"/>
                    <a:gd name="connsiteY91" fmla="*/ 203739 h 410409"/>
                    <a:gd name="connsiteX92" fmla="*/ 486227 w 607286"/>
                    <a:gd name="connsiteY92" fmla="*/ 184803 h 410409"/>
                    <a:gd name="connsiteX93" fmla="*/ 475604 w 607286"/>
                    <a:gd name="connsiteY93" fmla="*/ 172608 h 410409"/>
                    <a:gd name="connsiteX94" fmla="*/ 136080 w 607286"/>
                    <a:gd name="connsiteY94" fmla="*/ 167949 h 410409"/>
                    <a:gd name="connsiteX95" fmla="*/ 116125 w 607286"/>
                    <a:gd name="connsiteY95" fmla="*/ 177665 h 410409"/>
                    <a:gd name="connsiteX96" fmla="*/ 116522 w 607286"/>
                    <a:gd name="connsiteY96" fmla="*/ 188075 h 410409"/>
                    <a:gd name="connsiteX97" fmla="*/ 127145 w 607286"/>
                    <a:gd name="connsiteY97" fmla="*/ 175979 h 410409"/>
                    <a:gd name="connsiteX98" fmla="*/ 136080 w 607286"/>
                    <a:gd name="connsiteY98" fmla="*/ 167949 h 410409"/>
                    <a:gd name="connsiteX99" fmla="*/ 337908 w 607286"/>
                    <a:gd name="connsiteY99" fmla="*/ 166957 h 410409"/>
                    <a:gd name="connsiteX100" fmla="*/ 344560 w 607286"/>
                    <a:gd name="connsiteY100" fmla="*/ 178953 h 410409"/>
                    <a:gd name="connsiteX101" fmla="*/ 360047 w 607286"/>
                    <a:gd name="connsiteY101" fmla="*/ 181035 h 410409"/>
                    <a:gd name="connsiteX102" fmla="*/ 358061 w 607286"/>
                    <a:gd name="connsiteY102" fmla="*/ 178160 h 410409"/>
                    <a:gd name="connsiteX103" fmla="*/ 337908 w 607286"/>
                    <a:gd name="connsiteY103" fmla="*/ 166957 h 410409"/>
                    <a:gd name="connsiteX104" fmla="*/ 322024 w 607286"/>
                    <a:gd name="connsiteY104" fmla="*/ 165569 h 410409"/>
                    <a:gd name="connsiteX105" fmla="*/ 302367 w 607286"/>
                    <a:gd name="connsiteY105" fmla="*/ 173501 h 410409"/>
                    <a:gd name="connsiteX106" fmla="*/ 299588 w 607286"/>
                    <a:gd name="connsiteY106" fmla="*/ 176673 h 410409"/>
                    <a:gd name="connsiteX107" fmla="*/ 328576 w 607286"/>
                    <a:gd name="connsiteY107" fmla="*/ 177367 h 410409"/>
                    <a:gd name="connsiteX108" fmla="*/ 478880 w 607286"/>
                    <a:gd name="connsiteY108" fmla="*/ 145443 h 410409"/>
                    <a:gd name="connsiteX109" fmla="*/ 474413 w 607286"/>
                    <a:gd name="connsiteY109" fmla="*/ 157241 h 410409"/>
                    <a:gd name="connsiteX110" fmla="*/ 498835 w 607286"/>
                    <a:gd name="connsiteY110" fmla="*/ 180639 h 410409"/>
                    <a:gd name="connsiteX111" fmla="*/ 492680 w 607286"/>
                    <a:gd name="connsiteY111" fmla="*/ 216925 h 410409"/>
                    <a:gd name="connsiteX112" fmla="*/ 495757 w 607286"/>
                    <a:gd name="connsiteY112" fmla="*/ 223171 h 410409"/>
                    <a:gd name="connsiteX113" fmla="*/ 510947 w 607286"/>
                    <a:gd name="connsiteY113" fmla="*/ 187579 h 410409"/>
                    <a:gd name="connsiteX114" fmla="*/ 478880 w 607286"/>
                    <a:gd name="connsiteY114" fmla="*/ 145443 h 410409"/>
                    <a:gd name="connsiteX115" fmla="*/ 320039 w 607286"/>
                    <a:gd name="connsiteY115" fmla="*/ 142866 h 410409"/>
                    <a:gd name="connsiteX116" fmla="*/ 276456 w 607286"/>
                    <a:gd name="connsiteY116" fmla="*/ 175880 h 410409"/>
                    <a:gd name="connsiteX117" fmla="*/ 270003 w 607286"/>
                    <a:gd name="connsiteY117" fmla="*/ 202153 h 410409"/>
                    <a:gd name="connsiteX118" fmla="*/ 276556 w 607286"/>
                    <a:gd name="connsiteY118" fmla="*/ 201062 h 410409"/>
                    <a:gd name="connsiteX119" fmla="*/ 293234 w 607286"/>
                    <a:gd name="connsiteY119" fmla="*/ 163983 h 410409"/>
                    <a:gd name="connsiteX120" fmla="*/ 326094 w 607286"/>
                    <a:gd name="connsiteY120" fmla="*/ 152383 h 410409"/>
                    <a:gd name="connsiteX121" fmla="*/ 375435 w 607286"/>
                    <a:gd name="connsiteY121" fmla="*/ 183811 h 410409"/>
                    <a:gd name="connsiteX122" fmla="*/ 385660 w 607286"/>
                    <a:gd name="connsiteY122" fmla="*/ 186786 h 410409"/>
                    <a:gd name="connsiteX123" fmla="*/ 373052 w 607286"/>
                    <a:gd name="connsiteY123" fmla="*/ 160909 h 410409"/>
                    <a:gd name="connsiteX124" fmla="*/ 320039 w 607286"/>
                    <a:gd name="connsiteY124" fmla="*/ 142866 h 410409"/>
                    <a:gd name="connsiteX125" fmla="*/ 231782 w 607286"/>
                    <a:gd name="connsiteY125" fmla="*/ 142072 h 410409"/>
                    <a:gd name="connsiteX126" fmla="*/ 136477 w 607286"/>
                    <a:gd name="connsiteY126" fmla="*/ 185398 h 410409"/>
                    <a:gd name="connsiteX127" fmla="*/ 108878 w 607286"/>
                    <a:gd name="connsiteY127" fmla="*/ 251625 h 410409"/>
                    <a:gd name="connsiteX128" fmla="*/ 180357 w 607286"/>
                    <a:gd name="connsiteY128" fmla="*/ 294157 h 410409"/>
                    <a:gd name="connsiteX129" fmla="*/ 180655 w 607286"/>
                    <a:gd name="connsiteY129" fmla="*/ 291976 h 410409"/>
                    <a:gd name="connsiteX130" fmla="*/ 182045 w 607286"/>
                    <a:gd name="connsiteY130" fmla="*/ 284838 h 410409"/>
                    <a:gd name="connsiteX131" fmla="*/ 130123 w 607286"/>
                    <a:gd name="connsiteY131" fmla="*/ 262035 h 410409"/>
                    <a:gd name="connsiteX132" fmla="*/ 126152 w 607286"/>
                    <a:gd name="connsiteY132" fmla="*/ 233085 h 410409"/>
                    <a:gd name="connsiteX133" fmla="*/ 222946 w 607286"/>
                    <a:gd name="connsiteY133" fmla="*/ 159026 h 410409"/>
                    <a:gd name="connsiteX134" fmla="*/ 231782 w 607286"/>
                    <a:gd name="connsiteY134" fmla="*/ 142072 h 410409"/>
                    <a:gd name="connsiteX135" fmla="*/ 430136 w 607286"/>
                    <a:gd name="connsiteY135" fmla="*/ 140090 h 410409"/>
                    <a:gd name="connsiteX136" fmla="*/ 436092 w 607286"/>
                    <a:gd name="connsiteY136" fmla="*/ 155655 h 410409"/>
                    <a:gd name="connsiteX137" fmla="*/ 464684 w 607286"/>
                    <a:gd name="connsiteY137" fmla="*/ 180639 h 410409"/>
                    <a:gd name="connsiteX138" fmla="*/ 430136 w 607286"/>
                    <a:gd name="connsiteY138" fmla="*/ 140090 h 410409"/>
                    <a:gd name="connsiteX139" fmla="*/ 162487 w 607286"/>
                    <a:gd name="connsiteY139" fmla="*/ 134934 h 410409"/>
                    <a:gd name="connsiteX140" fmla="*/ 102326 w 607286"/>
                    <a:gd name="connsiteY140" fmla="*/ 151788 h 410409"/>
                    <a:gd name="connsiteX141" fmla="*/ 85250 w 607286"/>
                    <a:gd name="connsiteY141" fmla="*/ 178953 h 410409"/>
                    <a:gd name="connsiteX142" fmla="*/ 99546 w 607286"/>
                    <a:gd name="connsiteY142" fmla="*/ 221486 h 410409"/>
                    <a:gd name="connsiteX143" fmla="*/ 107786 w 607286"/>
                    <a:gd name="connsiteY143" fmla="*/ 201459 h 410409"/>
                    <a:gd name="connsiteX144" fmla="*/ 104411 w 607286"/>
                    <a:gd name="connsiteY144" fmla="*/ 171617 h 410409"/>
                    <a:gd name="connsiteX145" fmla="*/ 153254 w 607286"/>
                    <a:gd name="connsiteY145" fmla="*/ 153176 h 410409"/>
                    <a:gd name="connsiteX146" fmla="*/ 162487 w 607286"/>
                    <a:gd name="connsiteY146" fmla="*/ 134934 h 410409"/>
                    <a:gd name="connsiteX147" fmla="*/ 340005 w 607286"/>
                    <a:gd name="connsiteY147" fmla="*/ 123012 h 410409"/>
                    <a:gd name="connsiteX148" fmla="*/ 305048 w 607286"/>
                    <a:gd name="connsiteY148" fmla="*/ 124326 h 410409"/>
                    <a:gd name="connsiteX149" fmla="*/ 256502 w 607286"/>
                    <a:gd name="connsiteY149" fmla="*/ 165073 h 410409"/>
                    <a:gd name="connsiteX150" fmla="*/ 242702 w 607286"/>
                    <a:gd name="connsiteY150" fmla="*/ 210282 h 410409"/>
                    <a:gd name="connsiteX151" fmla="*/ 256402 w 607286"/>
                    <a:gd name="connsiteY151" fmla="*/ 205424 h 410409"/>
                    <a:gd name="connsiteX152" fmla="*/ 264047 w 607286"/>
                    <a:gd name="connsiteY152" fmla="*/ 171319 h 410409"/>
                    <a:gd name="connsiteX153" fmla="*/ 319840 w 607286"/>
                    <a:gd name="connsiteY153" fmla="*/ 129680 h 410409"/>
                    <a:gd name="connsiteX154" fmla="*/ 382682 w 607286"/>
                    <a:gd name="connsiteY154" fmla="*/ 151788 h 410409"/>
                    <a:gd name="connsiteX155" fmla="*/ 399360 w 607286"/>
                    <a:gd name="connsiteY155" fmla="*/ 192635 h 410409"/>
                    <a:gd name="connsiteX156" fmla="*/ 407898 w 607286"/>
                    <a:gd name="connsiteY156" fmla="*/ 197493 h 410409"/>
                    <a:gd name="connsiteX157" fmla="*/ 387447 w 607286"/>
                    <a:gd name="connsiteY157" fmla="*/ 140684 h 410409"/>
                    <a:gd name="connsiteX158" fmla="*/ 385263 w 607286"/>
                    <a:gd name="connsiteY158" fmla="*/ 138602 h 410409"/>
                    <a:gd name="connsiteX159" fmla="*/ 363422 w 607286"/>
                    <a:gd name="connsiteY159" fmla="*/ 127498 h 410409"/>
                    <a:gd name="connsiteX160" fmla="*/ 340005 w 607286"/>
                    <a:gd name="connsiteY160" fmla="*/ 123012 h 410409"/>
                    <a:gd name="connsiteX161" fmla="*/ 255013 w 607286"/>
                    <a:gd name="connsiteY161" fmla="*/ 114907 h 410409"/>
                    <a:gd name="connsiteX162" fmla="*/ 183236 w 607286"/>
                    <a:gd name="connsiteY162" fmla="*/ 131464 h 410409"/>
                    <a:gd name="connsiteX163" fmla="*/ 170528 w 607286"/>
                    <a:gd name="connsiteY163" fmla="*/ 146831 h 410409"/>
                    <a:gd name="connsiteX164" fmla="*/ 242901 w 607286"/>
                    <a:gd name="connsiteY164" fmla="*/ 126804 h 410409"/>
                    <a:gd name="connsiteX165" fmla="*/ 247170 w 607286"/>
                    <a:gd name="connsiteY165" fmla="*/ 122244 h 410409"/>
                    <a:gd name="connsiteX166" fmla="*/ 255013 w 607286"/>
                    <a:gd name="connsiteY166" fmla="*/ 114907 h 410409"/>
                    <a:gd name="connsiteX167" fmla="*/ 335327 w 607286"/>
                    <a:gd name="connsiteY167" fmla="*/ 102118 h 410409"/>
                    <a:gd name="connsiteX168" fmla="*/ 256700 w 607286"/>
                    <a:gd name="connsiteY168" fmla="*/ 131365 h 410409"/>
                    <a:gd name="connsiteX169" fmla="*/ 221656 w 607286"/>
                    <a:gd name="connsiteY169" fmla="*/ 222080 h 410409"/>
                    <a:gd name="connsiteX170" fmla="*/ 228009 w 607286"/>
                    <a:gd name="connsiteY170" fmla="*/ 217817 h 410409"/>
                    <a:gd name="connsiteX171" fmla="*/ 244489 w 607286"/>
                    <a:gd name="connsiteY171" fmla="*/ 159323 h 410409"/>
                    <a:gd name="connsiteX172" fmla="*/ 303062 w 607286"/>
                    <a:gd name="connsiteY172" fmla="*/ 111239 h 410409"/>
                    <a:gd name="connsiteX173" fmla="*/ 394893 w 607286"/>
                    <a:gd name="connsiteY173" fmla="*/ 129580 h 410409"/>
                    <a:gd name="connsiteX174" fmla="*/ 396481 w 607286"/>
                    <a:gd name="connsiteY174" fmla="*/ 130968 h 410409"/>
                    <a:gd name="connsiteX175" fmla="*/ 420903 w 607286"/>
                    <a:gd name="connsiteY175" fmla="*/ 206912 h 410409"/>
                    <a:gd name="connsiteX176" fmla="*/ 426860 w 607286"/>
                    <a:gd name="connsiteY176" fmla="*/ 212364 h 410409"/>
                    <a:gd name="connsiteX177" fmla="*/ 409784 w 607286"/>
                    <a:gd name="connsiteY177" fmla="*/ 132158 h 410409"/>
                    <a:gd name="connsiteX178" fmla="*/ 335327 w 607286"/>
                    <a:gd name="connsiteY178" fmla="*/ 102118 h 410409"/>
                    <a:gd name="connsiteX179" fmla="*/ 259790 w 607286"/>
                    <a:gd name="connsiteY179" fmla="*/ 93815 h 410409"/>
                    <a:gd name="connsiteX180" fmla="*/ 221259 w 607286"/>
                    <a:gd name="connsiteY180" fmla="*/ 96070 h 410409"/>
                    <a:gd name="connsiteX181" fmla="*/ 166955 w 607286"/>
                    <a:gd name="connsiteY181" fmla="*/ 121748 h 410409"/>
                    <a:gd name="connsiteX182" fmla="*/ 174102 w 607286"/>
                    <a:gd name="connsiteY182" fmla="*/ 121946 h 410409"/>
                    <a:gd name="connsiteX183" fmla="*/ 174500 w 607286"/>
                    <a:gd name="connsiteY183" fmla="*/ 121550 h 410409"/>
                    <a:gd name="connsiteX184" fmla="*/ 270698 w 607286"/>
                    <a:gd name="connsiteY184" fmla="*/ 104002 h 410409"/>
                    <a:gd name="connsiteX185" fmla="*/ 283207 w 607286"/>
                    <a:gd name="connsiteY185" fmla="*/ 97954 h 410409"/>
                    <a:gd name="connsiteX186" fmla="*/ 259790 w 607286"/>
                    <a:gd name="connsiteY186" fmla="*/ 93815 h 410409"/>
                    <a:gd name="connsiteX187" fmla="*/ 375534 w 607286"/>
                    <a:gd name="connsiteY187" fmla="*/ 85066 h 410409"/>
                    <a:gd name="connsiteX188" fmla="*/ 349027 w 607286"/>
                    <a:gd name="connsiteY188" fmla="*/ 86354 h 410409"/>
                    <a:gd name="connsiteX189" fmla="*/ 351509 w 607286"/>
                    <a:gd name="connsiteY189" fmla="*/ 89824 h 410409"/>
                    <a:gd name="connsiteX190" fmla="*/ 414947 w 607286"/>
                    <a:gd name="connsiteY190" fmla="*/ 117882 h 410409"/>
                    <a:gd name="connsiteX191" fmla="*/ 437085 w 607286"/>
                    <a:gd name="connsiteY191" fmla="*/ 128986 h 410409"/>
                    <a:gd name="connsiteX192" fmla="*/ 410380 w 607286"/>
                    <a:gd name="connsiteY192" fmla="*/ 95376 h 410409"/>
                    <a:gd name="connsiteX193" fmla="*/ 375534 w 607286"/>
                    <a:gd name="connsiteY193" fmla="*/ 85066 h 410409"/>
                    <a:gd name="connsiteX194" fmla="*/ 273401 w 607286"/>
                    <a:gd name="connsiteY194" fmla="*/ 69636 h 410409"/>
                    <a:gd name="connsiteX195" fmla="*/ 235257 w 607286"/>
                    <a:gd name="connsiteY195" fmla="*/ 69698 h 410409"/>
                    <a:gd name="connsiteX196" fmla="*/ 140448 w 607286"/>
                    <a:gd name="connsiteY196" fmla="*/ 123334 h 410409"/>
                    <a:gd name="connsiteX197" fmla="*/ 151567 w 607286"/>
                    <a:gd name="connsiteY197" fmla="*/ 122145 h 410409"/>
                    <a:gd name="connsiteX198" fmla="*/ 219174 w 607286"/>
                    <a:gd name="connsiteY198" fmla="*/ 83083 h 410409"/>
                    <a:gd name="connsiteX199" fmla="*/ 301672 w 607286"/>
                    <a:gd name="connsiteY199" fmla="*/ 92204 h 410409"/>
                    <a:gd name="connsiteX200" fmla="*/ 332845 w 607286"/>
                    <a:gd name="connsiteY200" fmla="*/ 88932 h 410409"/>
                    <a:gd name="connsiteX201" fmla="*/ 273401 w 607286"/>
                    <a:gd name="connsiteY201" fmla="*/ 69636 h 410409"/>
                    <a:gd name="connsiteX202" fmla="*/ 356957 w 607286"/>
                    <a:gd name="connsiteY202" fmla="*/ 58061 h 410409"/>
                    <a:gd name="connsiteX203" fmla="*/ 309217 w 607286"/>
                    <a:gd name="connsiteY203" fmla="*/ 62560 h 410409"/>
                    <a:gd name="connsiteX204" fmla="*/ 337213 w 607286"/>
                    <a:gd name="connsiteY204" fmla="*/ 75548 h 410409"/>
                    <a:gd name="connsiteX205" fmla="*/ 416634 w 607286"/>
                    <a:gd name="connsiteY205" fmla="*/ 83777 h 410409"/>
                    <a:gd name="connsiteX206" fmla="*/ 449197 w 607286"/>
                    <a:gd name="connsiteY206" fmla="*/ 120658 h 410409"/>
                    <a:gd name="connsiteX207" fmla="*/ 449395 w 607286"/>
                    <a:gd name="connsiteY207" fmla="*/ 138107 h 410409"/>
                    <a:gd name="connsiteX208" fmla="*/ 462500 w 607286"/>
                    <a:gd name="connsiteY208" fmla="*/ 151293 h 410409"/>
                    <a:gd name="connsiteX209" fmla="*/ 466471 w 607286"/>
                    <a:gd name="connsiteY209" fmla="*/ 119666 h 410409"/>
                    <a:gd name="connsiteX210" fmla="*/ 422492 w 607286"/>
                    <a:gd name="connsiteY210" fmla="*/ 75647 h 410409"/>
                    <a:gd name="connsiteX211" fmla="*/ 356957 w 607286"/>
                    <a:gd name="connsiteY211" fmla="*/ 58061 h 410409"/>
                    <a:gd name="connsiteX212" fmla="*/ 332671 w 607286"/>
                    <a:gd name="connsiteY212" fmla="*/ 45049 h 410409"/>
                    <a:gd name="connsiteX213" fmla="*/ 428349 w 607286"/>
                    <a:gd name="connsiteY213" fmla="*/ 63849 h 410409"/>
                    <a:gd name="connsiteX214" fmla="*/ 479377 w 607286"/>
                    <a:gd name="connsiteY214" fmla="*/ 116692 h 410409"/>
                    <a:gd name="connsiteX215" fmla="*/ 480965 w 607286"/>
                    <a:gd name="connsiteY215" fmla="*/ 131068 h 410409"/>
                    <a:gd name="connsiteX216" fmla="*/ 524051 w 607286"/>
                    <a:gd name="connsiteY216" fmla="*/ 185993 h 410409"/>
                    <a:gd name="connsiteX217" fmla="*/ 500225 w 607286"/>
                    <a:gd name="connsiteY217" fmla="*/ 237348 h 410409"/>
                    <a:gd name="connsiteX218" fmla="*/ 501118 w 607286"/>
                    <a:gd name="connsiteY218" fmla="*/ 247659 h 410409"/>
                    <a:gd name="connsiteX219" fmla="*/ 478384 w 607286"/>
                    <a:gd name="connsiteY219" fmla="*/ 285036 h 410409"/>
                    <a:gd name="connsiteX220" fmla="*/ 377619 w 607286"/>
                    <a:gd name="connsiteY220" fmla="*/ 345215 h 410409"/>
                    <a:gd name="connsiteX221" fmla="*/ 284597 w 607286"/>
                    <a:gd name="connsiteY221" fmla="*/ 354733 h 410409"/>
                    <a:gd name="connsiteX222" fmla="*/ 213714 w 607286"/>
                    <a:gd name="connsiteY222" fmla="*/ 345414 h 410409"/>
                    <a:gd name="connsiteX223" fmla="*/ 180754 w 607286"/>
                    <a:gd name="connsiteY223" fmla="*/ 307442 h 410409"/>
                    <a:gd name="connsiteX224" fmla="*/ 95575 w 607286"/>
                    <a:gd name="connsiteY224" fmla="*/ 251922 h 410409"/>
                    <a:gd name="connsiteX225" fmla="*/ 96171 w 607286"/>
                    <a:gd name="connsiteY225" fmla="*/ 238835 h 410409"/>
                    <a:gd name="connsiteX226" fmla="*/ 72046 w 607286"/>
                    <a:gd name="connsiteY226" fmla="*/ 177665 h 410409"/>
                    <a:gd name="connsiteX227" fmla="*/ 94582 w 607286"/>
                    <a:gd name="connsiteY227" fmla="*/ 141081 h 410409"/>
                    <a:gd name="connsiteX228" fmla="*/ 125755 w 607286"/>
                    <a:gd name="connsiteY228" fmla="*/ 126507 h 410409"/>
                    <a:gd name="connsiteX229" fmla="*/ 141838 w 607286"/>
                    <a:gd name="connsiteY229" fmla="*/ 95773 h 410409"/>
                    <a:gd name="connsiteX230" fmla="*/ 234363 w 607286"/>
                    <a:gd name="connsiteY230" fmla="*/ 56512 h 410409"/>
                    <a:gd name="connsiteX231" fmla="*/ 283604 w 607286"/>
                    <a:gd name="connsiteY231" fmla="*/ 57405 h 410409"/>
                    <a:gd name="connsiteX232" fmla="*/ 332671 w 607286"/>
                    <a:gd name="connsiteY232" fmla="*/ 45049 h 410409"/>
                    <a:gd name="connsiteX233" fmla="*/ 303693 w 607286"/>
                    <a:gd name="connsiteY233" fmla="*/ 13185 h 410409"/>
                    <a:gd name="connsiteX234" fmla="*/ 13204 w 607286"/>
                    <a:gd name="connsiteY234" fmla="*/ 205204 h 410409"/>
                    <a:gd name="connsiteX235" fmla="*/ 303693 w 607286"/>
                    <a:gd name="connsiteY235" fmla="*/ 397125 h 410409"/>
                    <a:gd name="connsiteX236" fmla="*/ 594082 w 607286"/>
                    <a:gd name="connsiteY236" fmla="*/ 205204 h 410409"/>
                    <a:gd name="connsiteX237" fmla="*/ 303693 w 607286"/>
                    <a:gd name="connsiteY237" fmla="*/ 13185 h 410409"/>
                    <a:gd name="connsiteX238" fmla="*/ 303693 w 607286"/>
                    <a:gd name="connsiteY238" fmla="*/ 0 h 410409"/>
                    <a:gd name="connsiteX239" fmla="*/ 517439 w 607286"/>
                    <a:gd name="connsiteY239" fmla="*/ 59281 h 410409"/>
                    <a:gd name="connsiteX240" fmla="*/ 607286 w 607286"/>
                    <a:gd name="connsiteY240" fmla="*/ 205204 h 410409"/>
                    <a:gd name="connsiteX241" fmla="*/ 517439 w 607286"/>
                    <a:gd name="connsiteY241" fmla="*/ 351128 h 410409"/>
                    <a:gd name="connsiteX242" fmla="*/ 303693 w 607286"/>
                    <a:gd name="connsiteY242" fmla="*/ 410409 h 410409"/>
                    <a:gd name="connsiteX243" fmla="*/ 89946 w 607286"/>
                    <a:gd name="connsiteY243" fmla="*/ 351128 h 410409"/>
                    <a:gd name="connsiteX244" fmla="*/ 0 w 607286"/>
                    <a:gd name="connsiteY244" fmla="*/ 205204 h 410409"/>
                    <a:gd name="connsiteX245" fmla="*/ 89946 w 607286"/>
                    <a:gd name="connsiteY245" fmla="*/ 59281 h 410409"/>
                    <a:gd name="connsiteX246" fmla="*/ 303693 w 607286"/>
                    <a:gd name="connsiteY246" fmla="*/ 0 h 4104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</a:cxnLst>
                  <a:rect l="l" t="t" r="r" b="b"/>
                  <a:pathLst>
                    <a:path w="607286" h="410409">
                      <a:moveTo>
                        <a:pt x="261366" y="271255"/>
                      </a:moveTo>
                      <a:cubicBezTo>
                        <a:pt x="259480" y="272048"/>
                        <a:pt x="257991" y="272841"/>
                        <a:pt x="256800" y="273535"/>
                      </a:cubicBezTo>
                      <a:cubicBezTo>
                        <a:pt x="254218" y="275221"/>
                        <a:pt x="254318" y="279087"/>
                        <a:pt x="256998" y="280574"/>
                      </a:cubicBezTo>
                      <a:cubicBezTo>
                        <a:pt x="259579" y="281962"/>
                        <a:pt x="263054" y="283152"/>
                        <a:pt x="266628" y="283152"/>
                      </a:cubicBezTo>
                      <a:cubicBezTo>
                        <a:pt x="266628" y="283152"/>
                        <a:pt x="287277" y="283450"/>
                        <a:pt x="297503" y="283053"/>
                      </a:cubicBezTo>
                      <a:close/>
                      <a:moveTo>
                        <a:pt x="305544" y="262729"/>
                      </a:moveTo>
                      <a:cubicBezTo>
                        <a:pt x="299885" y="262729"/>
                        <a:pt x="293532" y="263324"/>
                        <a:pt x="286185" y="264612"/>
                      </a:cubicBezTo>
                      <a:cubicBezTo>
                        <a:pt x="285590" y="264712"/>
                        <a:pt x="285093" y="264811"/>
                        <a:pt x="284498" y="264910"/>
                      </a:cubicBezTo>
                      <a:lnTo>
                        <a:pt x="332150" y="280475"/>
                      </a:lnTo>
                      <a:cubicBezTo>
                        <a:pt x="335823" y="280079"/>
                        <a:pt x="339397" y="279583"/>
                        <a:pt x="342872" y="279087"/>
                      </a:cubicBezTo>
                      <a:cubicBezTo>
                        <a:pt x="338901" y="272346"/>
                        <a:pt x="329073" y="262729"/>
                        <a:pt x="305544" y="262729"/>
                      </a:cubicBezTo>
                      <a:close/>
                      <a:moveTo>
                        <a:pt x="174996" y="221287"/>
                      </a:moveTo>
                      <a:cubicBezTo>
                        <a:pt x="173209" y="222973"/>
                        <a:pt x="171323" y="224856"/>
                        <a:pt x="169635" y="226740"/>
                      </a:cubicBezTo>
                      <a:cubicBezTo>
                        <a:pt x="164175" y="232887"/>
                        <a:pt x="161792" y="237844"/>
                        <a:pt x="163083" y="240620"/>
                      </a:cubicBezTo>
                      <a:cubicBezTo>
                        <a:pt x="165763" y="246370"/>
                        <a:pt x="183037" y="249245"/>
                        <a:pt x="196241" y="249345"/>
                      </a:cubicBezTo>
                      <a:cubicBezTo>
                        <a:pt x="196638" y="248750"/>
                        <a:pt x="197035" y="248056"/>
                        <a:pt x="197532" y="247461"/>
                      </a:cubicBezTo>
                      <a:cubicBezTo>
                        <a:pt x="184924" y="241810"/>
                        <a:pt x="178173" y="230904"/>
                        <a:pt x="174996" y="221287"/>
                      </a:cubicBezTo>
                      <a:close/>
                      <a:moveTo>
                        <a:pt x="440163" y="213058"/>
                      </a:moveTo>
                      <a:cubicBezTo>
                        <a:pt x="439567" y="218610"/>
                        <a:pt x="438773" y="222973"/>
                        <a:pt x="438277" y="225650"/>
                      </a:cubicBezTo>
                      <a:cubicBezTo>
                        <a:pt x="446715" y="237547"/>
                        <a:pt x="452076" y="250733"/>
                        <a:pt x="453168" y="264117"/>
                      </a:cubicBezTo>
                      <a:cubicBezTo>
                        <a:pt x="454856" y="285432"/>
                        <a:pt x="433412" y="297528"/>
                        <a:pt x="415145" y="303972"/>
                      </a:cubicBezTo>
                      <a:cubicBezTo>
                        <a:pt x="399360" y="309524"/>
                        <a:pt x="383476" y="311804"/>
                        <a:pt x="379207" y="312399"/>
                      </a:cubicBezTo>
                      <a:cubicBezTo>
                        <a:pt x="356969" y="320231"/>
                        <a:pt x="323811" y="324891"/>
                        <a:pt x="273279" y="325486"/>
                      </a:cubicBezTo>
                      <a:cubicBezTo>
                        <a:pt x="273081" y="325486"/>
                        <a:pt x="272882" y="325486"/>
                        <a:pt x="272783" y="325486"/>
                      </a:cubicBezTo>
                      <a:cubicBezTo>
                        <a:pt x="266231" y="325089"/>
                        <a:pt x="215997" y="321223"/>
                        <a:pt x="193362" y="302386"/>
                      </a:cubicBezTo>
                      <a:cubicBezTo>
                        <a:pt x="194553" y="316167"/>
                        <a:pt x="203985" y="328460"/>
                        <a:pt x="217685" y="332723"/>
                      </a:cubicBezTo>
                      <a:cubicBezTo>
                        <a:pt x="255708" y="344620"/>
                        <a:pt x="308721" y="344422"/>
                        <a:pt x="375236" y="332228"/>
                      </a:cubicBezTo>
                      <a:cubicBezTo>
                        <a:pt x="430037" y="322115"/>
                        <a:pt x="461805" y="302782"/>
                        <a:pt x="467067" y="276212"/>
                      </a:cubicBezTo>
                      <a:cubicBezTo>
                        <a:pt x="470243" y="260052"/>
                        <a:pt x="463294" y="244387"/>
                        <a:pt x="457040" y="233977"/>
                      </a:cubicBezTo>
                      <a:cubicBezTo>
                        <a:pt x="451778" y="225352"/>
                        <a:pt x="445623" y="218313"/>
                        <a:pt x="440163" y="213058"/>
                      </a:cubicBezTo>
                      <a:close/>
                      <a:moveTo>
                        <a:pt x="329828" y="213041"/>
                      </a:moveTo>
                      <a:cubicBezTo>
                        <a:pt x="314876" y="211075"/>
                        <a:pt x="297304" y="211075"/>
                        <a:pt x="276853" y="214347"/>
                      </a:cubicBezTo>
                      <a:cubicBezTo>
                        <a:pt x="223741" y="222874"/>
                        <a:pt x="203290" y="254797"/>
                        <a:pt x="195844" y="283648"/>
                      </a:cubicBezTo>
                      <a:cubicBezTo>
                        <a:pt x="196142" y="284738"/>
                        <a:pt x="196440" y="285432"/>
                        <a:pt x="196737" y="285928"/>
                      </a:cubicBezTo>
                      <a:cubicBezTo>
                        <a:pt x="199120" y="291282"/>
                        <a:pt x="205573" y="295743"/>
                        <a:pt x="213912" y="299412"/>
                      </a:cubicBezTo>
                      <a:cubicBezTo>
                        <a:pt x="210438" y="293860"/>
                        <a:pt x="207856" y="285532"/>
                        <a:pt x="211232" y="274130"/>
                      </a:cubicBezTo>
                      <a:cubicBezTo>
                        <a:pt x="218677" y="248849"/>
                        <a:pt x="241412" y="232887"/>
                        <a:pt x="277052" y="227831"/>
                      </a:cubicBezTo>
                      <a:cubicBezTo>
                        <a:pt x="301077" y="224460"/>
                        <a:pt x="323017" y="227137"/>
                        <a:pt x="326591" y="227632"/>
                      </a:cubicBezTo>
                      <a:cubicBezTo>
                        <a:pt x="359550" y="227831"/>
                        <a:pt x="377420" y="247263"/>
                        <a:pt x="385462" y="259556"/>
                      </a:cubicBezTo>
                      <a:cubicBezTo>
                        <a:pt x="387149" y="258267"/>
                        <a:pt x="389433" y="257673"/>
                        <a:pt x="391617" y="258367"/>
                      </a:cubicBezTo>
                      <a:cubicBezTo>
                        <a:pt x="395091" y="259457"/>
                        <a:pt x="397077" y="263125"/>
                        <a:pt x="395985" y="266595"/>
                      </a:cubicBezTo>
                      <a:cubicBezTo>
                        <a:pt x="392609" y="277798"/>
                        <a:pt x="378612" y="285730"/>
                        <a:pt x="353495" y="290687"/>
                      </a:cubicBezTo>
                      <a:cubicBezTo>
                        <a:pt x="353395" y="290687"/>
                        <a:pt x="335823" y="293562"/>
                        <a:pt x="325499" y="294454"/>
                      </a:cubicBezTo>
                      <a:cubicBezTo>
                        <a:pt x="306736" y="296239"/>
                        <a:pt x="288667" y="296536"/>
                        <a:pt x="277548" y="296536"/>
                      </a:cubicBezTo>
                      <a:cubicBezTo>
                        <a:pt x="271294" y="296536"/>
                        <a:pt x="267224" y="296437"/>
                        <a:pt x="266429" y="296437"/>
                      </a:cubicBezTo>
                      <a:cubicBezTo>
                        <a:pt x="254615" y="296338"/>
                        <a:pt x="240816" y="288803"/>
                        <a:pt x="239923" y="278195"/>
                      </a:cubicBezTo>
                      <a:cubicBezTo>
                        <a:pt x="238334" y="259457"/>
                        <a:pt x="272684" y="253509"/>
                        <a:pt x="284001" y="251526"/>
                      </a:cubicBezTo>
                      <a:cubicBezTo>
                        <a:pt x="309118" y="247163"/>
                        <a:pt x="328775" y="249939"/>
                        <a:pt x="342475" y="259655"/>
                      </a:cubicBezTo>
                      <a:cubicBezTo>
                        <a:pt x="350119" y="265108"/>
                        <a:pt x="354190" y="271652"/>
                        <a:pt x="356374" y="276510"/>
                      </a:cubicBezTo>
                      <a:cubicBezTo>
                        <a:pt x="364614" y="274626"/>
                        <a:pt x="371464" y="272346"/>
                        <a:pt x="376229" y="269768"/>
                      </a:cubicBezTo>
                      <a:cubicBezTo>
                        <a:pt x="370967" y="260647"/>
                        <a:pt x="356274" y="240917"/>
                        <a:pt x="326094" y="240917"/>
                      </a:cubicBezTo>
                      <a:cubicBezTo>
                        <a:pt x="325797" y="240917"/>
                        <a:pt x="325499" y="240818"/>
                        <a:pt x="325201" y="240818"/>
                      </a:cubicBezTo>
                      <a:cubicBezTo>
                        <a:pt x="324307" y="240719"/>
                        <a:pt x="238334" y="228822"/>
                        <a:pt x="223939" y="277798"/>
                      </a:cubicBezTo>
                      <a:cubicBezTo>
                        <a:pt x="221954" y="284639"/>
                        <a:pt x="222748" y="289795"/>
                        <a:pt x="226421" y="294157"/>
                      </a:cubicBezTo>
                      <a:cubicBezTo>
                        <a:pt x="234562" y="303774"/>
                        <a:pt x="257097" y="309425"/>
                        <a:pt x="289660" y="310119"/>
                      </a:cubicBezTo>
                      <a:cubicBezTo>
                        <a:pt x="315670" y="310714"/>
                        <a:pt x="339397" y="307938"/>
                        <a:pt x="339397" y="307938"/>
                      </a:cubicBezTo>
                      <a:cubicBezTo>
                        <a:pt x="388638" y="300998"/>
                        <a:pt x="402438" y="286523"/>
                        <a:pt x="408692" y="271453"/>
                      </a:cubicBezTo>
                      <a:cubicBezTo>
                        <a:pt x="410479" y="267190"/>
                        <a:pt x="408593" y="258565"/>
                        <a:pt x="400651" y="248551"/>
                      </a:cubicBezTo>
                      <a:cubicBezTo>
                        <a:pt x="395960" y="242529"/>
                        <a:pt x="374684" y="218939"/>
                        <a:pt x="329828" y="213041"/>
                      </a:cubicBezTo>
                      <a:close/>
                      <a:moveTo>
                        <a:pt x="210537" y="202450"/>
                      </a:moveTo>
                      <a:cubicBezTo>
                        <a:pt x="202893" y="204631"/>
                        <a:pt x="194553" y="207804"/>
                        <a:pt x="186512" y="212761"/>
                      </a:cubicBezTo>
                      <a:cubicBezTo>
                        <a:pt x="187803" y="219205"/>
                        <a:pt x="191972" y="232094"/>
                        <a:pt x="205772" y="236555"/>
                      </a:cubicBezTo>
                      <a:cubicBezTo>
                        <a:pt x="206566" y="235762"/>
                        <a:pt x="207261" y="234870"/>
                        <a:pt x="207956" y="234077"/>
                      </a:cubicBezTo>
                      <a:cubicBezTo>
                        <a:pt x="207956" y="228921"/>
                        <a:pt x="208154" y="217123"/>
                        <a:pt x="210537" y="202450"/>
                      </a:cubicBezTo>
                      <a:close/>
                      <a:moveTo>
                        <a:pt x="292440" y="190355"/>
                      </a:moveTo>
                      <a:cubicBezTo>
                        <a:pt x="291348" y="193626"/>
                        <a:pt x="290653" y="196799"/>
                        <a:pt x="290156" y="199377"/>
                      </a:cubicBezTo>
                      <a:cubicBezTo>
                        <a:pt x="350715" y="194023"/>
                        <a:pt x="392014" y="216231"/>
                        <a:pt x="411075" y="240323"/>
                      </a:cubicBezTo>
                      <a:cubicBezTo>
                        <a:pt x="421300" y="253211"/>
                        <a:pt x="424974" y="266694"/>
                        <a:pt x="420903" y="276410"/>
                      </a:cubicBezTo>
                      <a:cubicBezTo>
                        <a:pt x="418818" y="281566"/>
                        <a:pt x="416138" y="286325"/>
                        <a:pt x="412564" y="290786"/>
                      </a:cubicBezTo>
                      <a:cubicBezTo>
                        <a:pt x="427753" y="285135"/>
                        <a:pt x="440957" y="276807"/>
                        <a:pt x="439964" y="265207"/>
                      </a:cubicBezTo>
                      <a:cubicBezTo>
                        <a:pt x="437482" y="234077"/>
                        <a:pt x="405416" y="202946"/>
                        <a:pt x="368585" y="195808"/>
                      </a:cubicBezTo>
                      <a:cubicBezTo>
                        <a:pt x="368485" y="195808"/>
                        <a:pt x="356076" y="193428"/>
                        <a:pt x="339695" y="191644"/>
                      </a:cubicBezTo>
                      <a:cubicBezTo>
                        <a:pt x="321329" y="189661"/>
                        <a:pt x="305048" y="189264"/>
                        <a:pt x="292440" y="190355"/>
                      </a:cubicBezTo>
                      <a:close/>
                      <a:moveTo>
                        <a:pt x="440163" y="175979"/>
                      </a:moveTo>
                      <a:cubicBezTo>
                        <a:pt x="440758" y="181234"/>
                        <a:pt x="441156" y="186687"/>
                        <a:pt x="441156" y="192338"/>
                      </a:cubicBezTo>
                      <a:cubicBezTo>
                        <a:pt x="441156" y="193825"/>
                        <a:pt x="441156" y="195312"/>
                        <a:pt x="441156" y="196700"/>
                      </a:cubicBezTo>
                      <a:cubicBezTo>
                        <a:pt x="457040" y="208399"/>
                        <a:pt x="479675" y="235960"/>
                        <a:pt x="480965" y="265207"/>
                      </a:cubicBezTo>
                      <a:cubicBezTo>
                        <a:pt x="485433" y="259854"/>
                        <a:pt x="487617" y="253905"/>
                        <a:pt x="487815" y="247362"/>
                      </a:cubicBezTo>
                      <a:cubicBezTo>
                        <a:pt x="488312" y="232391"/>
                        <a:pt x="477987" y="213653"/>
                        <a:pt x="458231" y="192932"/>
                      </a:cubicBezTo>
                      <a:cubicBezTo>
                        <a:pt x="451877" y="186389"/>
                        <a:pt x="445524" y="180540"/>
                        <a:pt x="440163" y="175979"/>
                      </a:cubicBezTo>
                      <a:close/>
                      <a:moveTo>
                        <a:pt x="217288" y="173897"/>
                      </a:moveTo>
                      <a:cubicBezTo>
                        <a:pt x="172117" y="185100"/>
                        <a:pt x="147695" y="204730"/>
                        <a:pt x="138959" y="236654"/>
                      </a:cubicBezTo>
                      <a:cubicBezTo>
                        <a:pt x="136973" y="243793"/>
                        <a:pt x="137668" y="249642"/>
                        <a:pt x="141043" y="254500"/>
                      </a:cubicBezTo>
                      <a:cubicBezTo>
                        <a:pt x="147000" y="263125"/>
                        <a:pt x="162289" y="269173"/>
                        <a:pt x="184030" y="271751"/>
                      </a:cubicBezTo>
                      <a:cubicBezTo>
                        <a:pt x="185122" y="268677"/>
                        <a:pt x="186810" y="265505"/>
                        <a:pt x="188895" y="262332"/>
                      </a:cubicBezTo>
                      <a:cubicBezTo>
                        <a:pt x="175889" y="261539"/>
                        <a:pt x="156729" y="258168"/>
                        <a:pt x="151070" y="246172"/>
                      </a:cubicBezTo>
                      <a:cubicBezTo>
                        <a:pt x="147298" y="238141"/>
                        <a:pt x="150177" y="228624"/>
                        <a:pt x="159707" y="218016"/>
                      </a:cubicBezTo>
                      <a:cubicBezTo>
                        <a:pt x="172812" y="203243"/>
                        <a:pt x="191277" y="193032"/>
                        <a:pt x="213317" y="188174"/>
                      </a:cubicBezTo>
                      <a:cubicBezTo>
                        <a:pt x="214409" y="183514"/>
                        <a:pt x="215699" y="178755"/>
                        <a:pt x="217288" y="173897"/>
                      </a:cubicBezTo>
                      <a:close/>
                      <a:moveTo>
                        <a:pt x="475604" y="172608"/>
                      </a:moveTo>
                      <a:cubicBezTo>
                        <a:pt x="479476" y="181630"/>
                        <a:pt x="481958" y="191247"/>
                        <a:pt x="482752" y="201360"/>
                      </a:cubicBezTo>
                      <a:cubicBezTo>
                        <a:pt x="483348" y="202153"/>
                        <a:pt x="483944" y="202946"/>
                        <a:pt x="484440" y="203739"/>
                      </a:cubicBezTo>
                      <a:cubicBezTo>
                        <a:pt x="486723" y="198385"/>
                        <a:pt x="488411" y="191346"/>
                        <a:pt x="486227" y="184803"/>
                      </a:cubicBezTo>
                      <a:cubicBezTo>
                        <a:pt x="484639" y="180044"/>
                        <a:pt x="481065" y="175979"/>
                        <a:pt x="475604" y="172608"/>
                      </a:cubicBezTo>
                      <a:close/>
                      <a:moveTo>
                        <a:pt x="136080" y="167949"/>
                      </a:moveTo>
                      <a:cubicBezTo>
                        <a:pt x="122380" y="170328"/>
                        <a:pt x="117714" y="174690"/>
                        <a:pt x="116125" y="177665"/>
                      </a:cubicBezTo>
                      <a:cubicBezTo>
                        <a:pt x="114239" y="181333"/>
                        <a:pt x="115430" y="185596"/>
                        <a:pt x="116522" y="188075"/>
                      </a:cubicBezTo>
                      <a:cubicBezTo>
                        <a:pt x="119600" y="184010"/>
                        <a:pt x="123074" y="179945"/>
                        <a:pt x="127145" y="175979"/>
                      </a:cubicBezTo>
                      <a:cubicBezTo>
                        <a:pt x="129925" y="173203"/>
                        <a:pt x="132903" y="170526"/>
                        <a:pt x="136080" y="167949"/>
                      </a:cubicBezTo>
                      <a:close/>
                      <a:moveTo>
                        <a:pt x="337908" y="166957"/>
                      </a:moveTo>
                      <a:lnTo>
                        <a:pt x="344560" y="178953"/>
                      </a:lnTo>
                      <a:cubicBezTo>
                        <a:pt x="350516" y="179647"/>
                        <a:pt x="355778" y="180341"/>
                        <a:pt x="360047" y="181035"/>
                      </a:cubicBezTo>
                      <a:cubicBezTo>
                        <a:pt x="359451" y="180044"/>
                        <a:pt x="358856" y="179053"/>
                        <a:pt x="358061" y="178160"/>
                      </a:cubicBezTo>
                      <a:cubicBezTo>
                        <a:pt x="353594" y="172608"/>
                        <a:pt x="346843" y="168841"/>
                        <a:pt x="337908" y="166957"/>
                      </a:cubicBezTo>
                      <a:close/>
                      <a:moveTo>
                        <a:pt x="322024" y="165569"/>
                      </a:moveTo>
                      <a:cubicBezTo>
                        <a:pt x="313983" y="165966"/>
                        <a:pt x="307530" y="168643"/>
                        <a:pt x="302367" y="173501"/>
                      </a:cubicBezTo>
                      <a:cubicBezTo>
                        <a:pt x="301375" y="174492"/>
                        <a:pt x="300382" y="175583"/>
                        <a:pt x="299588" y="176673"/>
                      </a:cubicBezTo>
                      <a:cubicBezTo>
                        <a:pt x="308225" y="176376"/>
                        <a:pt x="317854" y="176574"/>
                        <a:pt x="328576" y="177367"/>
                      </a:cubicBezTo>
                      <a:close/>
                      <a:moveTo>
                        <a:pt x="478880" y="145443"/>
                      </a:moveTo>
                      <a:cubicBezTo>
                        <a:pt x="477590" y="150103"/>
                        <a:pt x="475902" y="154069"/>
                        <a:pt x="474413" y="157241"/>
                      </a:cubicBezTo>
                      <a:cubicBezTo>
                        <a:pt x="487319" y="162595"/>
                        <a:pt x="495460" y="170526"/>
                        <a:pt x="498835" y="180639"/>
                      </a:cubicBezTo>
                      <a:cubicBezTo>
                        <a:pt x="503700" y="195312"/>
                        <a:pt x="496651" y="210183"/>
                        <a:pt x="492680" y="216925"/>
                      </a:cubicBezTo>
                      <a:cubicBezTo>
                        <a:pt x="493772" y="219007"/>
                        <a:pt x="494765" y="221089"/>
                        <a:pt x="495757" y="223171"/>
                      </a:cubicBezTo>
                      <a:cubicBezTo>
                        <a:pt x="507174" y="211274"/>
                        <a:pt x="512237" y="199278"/>
                        <a:pt x="510947" y="187579"/>
                      </a:cubicBezTo>
                      <a:cubicBezTo>
                        <a:pt x="508663" y="168147"/>
                        <a:pt x="489801" y="152780"/>
                        <a:pt x="478880" y="145443"/>
                      </a:cubicBezTo>
                      <a:close/>
                      <a:moveTo>
                        <a:pt x="320039" y="142866"/>
                      </a:moveTo>
                      <a:cubicBezTo>
                        <a:pt x="299687" y="143163"/>
                        <a:pt x="284994" y="154267"/>
                        <a:pt x="276456" y="175880"/>
                      </a:cubicBezTo>
                      <a:cubicBezTo>
                        <a:pt x="272584" y="185596"/>
                        <a:pt x="270798" y="195411"/>
                        <a:pt x="270003" y="202153"/>
                      </a:cubicBezTo>
                      <a:cubicBezTo>
                        <a:pt x="271592" y="201855"/>
                        <a:pt x="275960" y="201161"/>
                        <a:pt x="276556" y="201062"/>
                      </a:cubicBezTo>
                      <a:cubicBezTo>
                        <a:pt x="277648" y="192338"/>
                        <a:pt x="281222" y="175483"/>
                        <a:pt x="293234" y="163983"/>
                      </a:cubicBezTo>
                      <a:cubicBezTo>
                        <a:pt x="301772" y="155853"/>
                        <a:pt x="312891" y="151987"/>
                        <a:pt x="326094" y="152383"/>
                      </a:cubicBezTo>
                      <a:cubicBezTo>
                        <a:pt x="362529" y="153474"/>
                        <a:pt x="372655" y="173996"/>
                        <a:pt x="375435" y="183811"/>
                      </a:cubicBezTo>
                      <a:cubicBezTo>
                        <a:pt x="378909" y="184605"/>
                        <a:pt x="382285" y="185596"/>
                        <a:pt x="385660" y="186786"/>
                      </a:cubicBezTo>
                      <a:cubicBezTo>
                        <a:pt x="384171" y="177268"/>
                        <a:pt x="379803" y="167949"/>
                        <a:pt x="373052" y="160909"/>
                      </a:cubicBezTo>
                      <a:cubicBezTo>
                        <a:pt x="361437" y="148715"/>
                        <a:pt x="343170" y="142568"/>
                        <a:pt x="320039" y="142866"/>
                      </a:cubicBezTo>
                      <a:close/>
                      <a:moveTo>
                        <a:pt x="231782" y="142072"/>
                      </a:moveTo>
                      <a:cubicBezTo>
                        <a:pt x="189689" y="149806"/>
                        <a:pt x="157722" y="164280"/>
                        <a:pt x="136477" y="185398"/>
                      </a:cubicBezTo>
                      <a:cubicBezTo>
                        <a:pt x="112948" y="208696"/>
                        <a:pt x="108481" y="234275"/>
                        <a:pt x="108878" y="251625"/>
                      </a:cubicBezTo>
                      <a:cubicBezTo>
                        <a:pt x="109176" y="269669"/>
                        <a:pt x="122181" y="291183"/>
                        <a:pt x="180357" y="294157"/>
                      </a:cubicBezTo>
                      <a:cubicBezTo>
                        <a:pt x="180456" y="293463"/>
                        <a:pt x="180555" y="292670"/>
                        <a:pt x="180655" y="291976"/>
                      </a:cubicBezTo>
                      <a:cubicBezTo>
                        <a:pt x="181052" y="289696"/>
                        <a:pt x="181548" y="287316"/>
                        <a:pt x="182045" y="284838"/>
                      </a:cubicBezTo>
                      <a:cubicBezTo>
                        <a:pt x="156034" y="281764"/>
                        <a:pt x="138562" y="274130"/>
                        <a:pt x="130123" y="262035"/>
                      </a:cubicBezTo>
                      <a:cubicBezTo>
                        <a:pt x="124464" y="253905"/>
                        <a:pt x="123174" y="244189"/>
                        <a:pt x="126152" y="233085"/>
                      </a:cubicBezTo>
                      <a:cubicBezTo>
                        <a:pt x="136874" y="194519"/>
                        <a:pt x="167649" y="170923"/>
                        <a:pt x="222946" y="159026"/>
                      </a:cubicBezTo>
                      <a:cubicBezTo>
                        <a:pt x="225428" y="153276"/>
                        <a:pt x="228407" y="147624"/>
                        <a:pt x="231782" y="142072"/>
                      </a:cubicBezTo>
                      <a:close/>
                      <a:moveTo>
                        <a:pt x="430136" y="140090"/>
                      </a:moveTo>
                      <a:cubicBezTo>
                        <a:pt x="432518" y="145047"/>
                        <a:pt x="434504" y="150202"/>
                        <a:pt x="436092" y="155655"/>
                      </a:cubicBezTo>
                      <a:cubicBezTo>
                        <a:pt x="440560" y="159026"/>
                        <a:pt x="452374" y="168246"/>
                        <a:pt x="464684" y="180639"/>
                      </a:cubicBezTo>
                      <a:cubicBezTo>
                        <a:pt x="457139" y="160909"/>
                        <a:pt x="442446" y="147922"/>
                        <a:pt x="430136" y="140090"/>
                      </a:cubicBezTo>
                      <a:close/>
                      <a:moveTo>
                        <a:pt x="162487" y="134934"/>
                      </a:moveTo>
                      <a:cubicBezTo>
                        <a:pt x="143128" y="135132"/>
                        <a:pt x="120195" y="138900"/>
                        <a:pt x="102326" y="151788"/>
                      </a:cubicBezTo>
                      <a:cubicBezTo>
                        <a:pt x="91902" y="159323"/>
                        <a:pt x="86243" y="168246"/>
                        <a:pt x="85250" y="178953"/>
                      </a:cubicBezTo>
                      <a:cubicBezTo>
                        <a:pt x="83662" y="194816"/>
                        <a:pt x="92497" y="211175"/>
                        <a:pt x="99546" y="221486"/>
                      </a:cubicBezTo>
                      <a:cubicBezTo>
                        <a:pt x="101432" y="215041"/>
                        <a:pt x="104113" y="208300"/>
                        <a:pt x="107786" y="201459"/>
                      </a:cubicBezTo>
                      <a:cubicBezTo>
                        <a:pt x="104907" y="196502"/>
                        <a:pt x="98255" y="183217"/>
                        <a:pt x="104411" y="171617"/>
                      </a:cubicBezTo>
                      <a:cubicBezTo>
                        <a:pt x="110665" y="159819"/>
                        <a:pt x="126549" y="153771"/>
                        <a:pt x="153254" y="153176"/>
                      </a:cubicBezTo>
                      <a:cubicBezTo>
                        <a:pt x="154346" y="149706"/>
                        <a:pt x="157027" y="142667"/>
                        <a:pt x="162487" y="134934"/>
                      </a:cubicBezTo>
                      <a:close/>
                      <a:moveTo>
                        <a:pt x="340005" y="123012"/>
                      </a:moveTo>
                      <a:cubicBezTo>
                        <a:pt x="330264" y="122170"/>
                        <a:pt x="318599" y="122294"/>
                        <a:pt x="305048" y="124326"/>
                      </a:cubicBezTo>
                      <a:cubicBezTo>
                        <a:pt x="284299" y="127399"/>
                        <a:pt x="268018" y="141081"/>
                        <a:pt x="256502" y="165073"/>
                      </a:cubicBezTo>
                      <a:cubicBezTo>
                        <a:pt x="250446" y="177665"/>
                        <a:pt x="245780" y="192833"/>
                        <a:pt x="242702" y="210282"/>
                      </a:cubicBezTo>
                      <a:cubicBezTo>
                        <a:pt x="246971" y="208498"/>
                        <a:pt x="251538" y="206812"/>
                        <a:pt x="256402" y="205424"/>
                      </a:cubicBezTo>
                      <a:cubicBezTo>
                        <a:pt x="256998" y="198385"/>
                        <a:pt x="258686" y="185001"/>
                        <a:pt x="264047" y="171319"/>
                      </a:cubicBezTo>
                      <a:cubicBezTo>
                        <a:pt x="274570" y="144452"/>
                        <a:pt x="293830" y="130076"/>
                        <a:pt x="319840" y="129680"/>
                      </a:cubicBezTo>
                      <a:cubicBezTo>
                        <a:pt x="353792" y="129085"/>
                        <a:pt x="372754" y="141378"/>
                        <a:pt x="382682" y="151788"/>
                      </a:cubicBezTo>
                      <a:cubicBezTo>
                        <a:pt x="393205" y="162892"/>
                        <a:pt x="399162" y="177565"/>
                        <a:pt x="399360" y="192635"/>
                      </a:cubicBezTo>
                      <a:cubicBezTo>
                        <a:pt x="402239" y="194122"/>
                        <a:pt x="405118" y="195708"/>
                        <a:pt x="407898" y="197493"/>
                      </a:cubicBezTo>
                      <a:cubicBezTo>
                        <a:pt x="407997" y="159918"/>
                        <a:pt x="393801" y="146633"/>
                        <a:pt x="387447" y="140684"/>
                      </a:cubicBezTo>
                      <a:cubicBezTo>
                        <a:pt x="386554" y="139891"/>
                        <a:pt x="385859" y="139197"/>
                        <a:pt x="385263" y="138602"/>
                      </a:cubicBezTo>
                      <a:cubicBezTo>
                        <a:pt x="383774" y="137016"/>
                        <a:pt x="376527" y="131563"/>
                        <a:pt x="363422" y="127498"/>
                      </a:cubicBezTo>
                      <a:cubicBezTo>
                        <a:pt x="357565" y="125664"/>
                        <a:pt x="349747" y="123855"/>
                        <a:pt x="340005" y="123012"/>
                      </a:cubicBezTo>
                      <a:close/>
                      <a:moveTo>
                        <a:pt x="255013" y="114907"/>
                      </a:moveTo>
                      <a:cubicBezTo>
                        <a:pt x="224436" y="111338"/>
                        <a:pt x="199914" y="116989"/>
                        <a:pt x="183236" y="131464"/>
                      </a:cubicBezTo>
                      <a:cubicBezTo>
                        <a:pt x="177379" y="136620"/>
                        <a:pt x="173308" y="142172"/>
                        <a:pt x="170528" y="146831"/>
                      </a:cubicBezTo>
                      <a:cubicBezTo>
                        <a:pt x="190880" y="137512"/>
                        <a:pt x="215104" y="130869"/>
                        <a:pt x="242901" y="126804"/>
                      </a:cubicBezTo>
                      <a:cubicBezTo>
                        <a:pt x="244291" y="125218"/>
                        <a:pt x="245681" y="123731"/>
                        <a:pt x="247170" y="122244"/>
                      </a:cubicBezTo>
                      <a:cubicBezTo>
                        <a:pt x="249652" y="119666"/>
                        <a:pt x="252233" y="117188"/>
                        <a:pt x="255013" y="114907"/>
                      </a:cubicBezTo>
                      <a:close/>
                      <a:moveTo>
                        <a:pt x="335327" y="102118"/>
                      </a:moveTo>
                      <a:cubicBezTo>
                        <a:pt x="302169" y="101721"/>
                        <a:pt x="275861" y="111636"/>
                        <a:pt x="256700" y="131365"/>
                      </a:cubicBezTo>
                      <a:cubicBezTo>
                        <a:pt x="229598" y="159323"/>
                        <a:pt x="223145" y="200566"/>
                        <a:pt x="221656" y="222080"/>
                      </a:cubicBezTo>
                      <a:cubicBezTo>
                        <a:pt x="223741" y="220593"/>
                        <a:pt x="225825" y="219205"/>
                        <a:pt x="228009" y="217817"/>
                      </a:cubicBezTo>
                      <a:cubicBezTo>
                        <a:pt x="231286" y="195014"/>
                        <a:pt x="236845" y="175384"/>
                        <a:pt x="244489" y="159323"/>
                      </a:cubicBezTo>
                      <a:cubicBezTo>
                        <a:pt x="258090" y="131167"/>
                        <a:pt x="277747" y="115007"/>
                        <a:pt x="303062" y="111239"/>
                      </a:cubicBezTo>
                      <a:cubicBezTo>
                        <a:pt x="356671" y="103308"/>
                        <a:pt x="387546" y="121748"/>
                        <a:pt x="394893" y="129580"/>
                      </a:cubicBezTo>
                      <a:cubicBezTo>
                        <a:pt x="395290" y="129977"/>
                        <a:pt x="395886" y="130473"/>
                        <a:pt x="396481" y="130968"/>
                      </a:cubicBezTo>
                      <a:cubicBezTo>
                        <a:pt x="403927" y="138107"/>
                        <a:pt x="423584" y="156547"/>
                        <a:pt x="420903" y="206912"/>
                      </a:cubicBezTo>
                      <a:cubicBezTo>
                        <a:pt x="422889" y="208696"/>
                        <a:pt x="424974" y="210481"/>
                        <a:pt x="426860" y="212364"/>
                      </a:cubicBezTo>
                      <a:cubicBezTo>
                        <a:pt x="429044" y="193131"/>
                        <a:pt x="429640" y="157439"/>
                        <a:pt x="409784" y="132158"/>
                      </a:cubicBezTo>
                      <a:cubicBezTo>
                        <a:pt x="394496" y="112528"/>
                        <a:pt x="369478" y="102415"/>
                        <a:pt x="335327" y="102118"/>
                      </a:cubicBezTo>
                      <a:close/>
                      <a:moveTo>
                        <a:pt x="259790" y="93815"/>
                      </a:moveTo>
                      <a:cubicBezTo>
                        <a:pt x="249602" y="93195"/>
                        <a:pt x="236895" y="93641"/>
                        <a:pt x="221259" y="96070"/>
                      </a:cubicBezTo>
                      <a:cubicBezTo>
                        <a:pt x="187108" y="101424"/>
                        <a:pt x="172812" y="113619"/>
                        <a:pt x="166955" y="121748"/>
                      </a:cubicBezTo>
                      <a:cubicBezTo>
                        <a:pt x="169337" y="121748"/>
                        <a:pt x="171720" y="121847"/>
                        <a:pt x="174102" y="121946"/>
                      </a:cubicBezTo>
                      <a:cubicBezTo>
                        <a:pt x="174202" y="121847"/>
                        <a:pt x="174400" y="121649"/>
                        <a:pt x="174500" y="121550"/>
                      </a:cubicBezTo>
                      <a:cubicBezTo>
                        <a:pt x="190086" y="107967"/>
                        <a:pt x="219273" y="94087"/>
                        <a:pt x="270698" y="104002"/>
                      </a:cubicBezTo>
                      <a:cubicBezTo>
                        <a:pt x="274669" y="101721"/>
                        <a:pt x="278839" y="99739"/>
                        <a:pt x="283207" y="97954"/>
                      </a:cubicBezTo>
                      <a:cubicBezTo>
                        <a:pt x="277648" y="96120"/>
                        <a:pt x="269979" y="94435"/>
                        <a:pt x="259790" y="93815"/>
                      </a:cubicBezTo>
                      <a:close/>
                      <a:moveTo>
                        <a:pt x="375534" y="85066"/>
                      </a:moveTo>
                      <a:cubicBezTo>
                        <a:pt x="364887" y="84124"/>
                        <a:pt x="355629" y="85115"/>
                        <a:pt x="349027" y="86354"/>
                      </a:cubicBezTo>
                      <a:cubicBezTo>
                        <a:pt x="350020" y="87643"/>
                        <a:pt x="350814" y="88833"/>
                        <a:pt x="351509" y="89824"/>
                      </a:cubicBezTo>
                      <a:cubicBezTo>
                        <a:pt x="378512" y="92600"/>
                        <a:pt x="399857" y="102019"/>
                        <a:pt x="414947" y="117882"/>
                      </a:cubicBezTo>
                      <a:cubicBezTo>
                        <a:pt x="418421" y="119170"/>
                        <a:pt x="427058" y="122640"/>
                        <a:pt x="437085" y="128986"/>
                      </a:cubicBezTo>
                      <a:cubicBezTo>
                        <a:pt x="436787" y="120757"/>
                        <a:pt x="432419" y="107174"/>
                        <a:pt x="410380" y="95376"/>
                      </a:cubicBezTo>
                      <a:cubicBezTo>
                        <a:pt x="398218" y="88883"/>
                        <a:pt x="386181" y="86008"/>
                        <a:pt x="375534" y="85066"/>
                      </a:cubicBezTo>
                      <a:close/>
                      <a:moveTo>
                        <a:pt x="273401" y="69636"/>
                      </a:moveTo>
                      <a:cubicBezTo>
                        <a:pt x="262459" y="68794"/>
                        <a:pt x="249826" y="68707"/>
                        <a:pt x="235257" y="69698"/>
                      </a:cubicBezTo>
                      <a:cubicBezTo>
                        <a:pt x="167252" y="74358"/>
                        <a:pt x="146603" y="106976"/>
                        <a:pt x="140448" y="123334"/>
                      </a:cubicBezTo>
                      <a:cubicBezTo>
                        <a:pt x="144022" y="122839"/>
                        <a:pt x="147794" y="122442"/>
                        <a:pt x="151567" y="122145"/>
                      </a:cubicBezTo>
                      <a:cubicBezTo>
                        <a:pt x="155836" y="112032"/>
                        <a:pt x="170330" y="90617"/>
                        <a:pt x="219174" y="83083"/>
                      </a:cubicBezTo>
                      <a:cubicBezTo>
                        <a:pt x="270003" y="75151"/>
                        <a:pt x="293830" y="86850"/>
                        <a:pt x="301672" y="92204"/>
                      </a:cubicBezTo>
                      <a:cubicBezTo>
                        <a:pt x="311401" y="90023"/>
                        <a:pt x="321825" y="88932"/>
                        <a:pt x="332845" y="88932"/>
                      </a:cubicBezTo>
                      <a:cubicBezTo>
                        <a:pt x="323836" y="81497"/>
                        <a:pt x="306227" y="72165"/>
                        <a:pt x="273401" y="69636"/>
                      </a:cubicBezTo>
                      <a:close/>
                      <a:moveTo>
                        <a:pt x="356957" y="58061"/>
                      </a:moveTo>
                      <a:cubicBezTo>
                        <a:pt x="337585" y="56958"/>
                        <a:pt x="321180" y="59536"/>
                        <a:pt x="309217" y="62560"/>
                      </a:cubicBezTo>
                      <a:cubicBezTo>
                        <a:pt x="321528" y="66228"/>
                        <a:pt x="330562" y="70888"/>
                        <a:pt x="337213" y="75548"/>
                      </a:cubicBezTo>
                      <a:cubicBezTo>
                        <a:pt x="347935" y="72375"/>
                        <a:pt x="381391" y="64940"/>
                        <a:pt x="416634" y="83777"/>
                      </a:cubicBezTo>
                      <a:cubicBezTo>
                        <a:pt x="439369" y="95872"/>
                        <a:pt x="446914" y="110545"/>
                        <a:pt x="449197" y="120658"/>
                      </a:cubicBezTo>
                      <a:cubicBezTo>
                        <a:pt x="450984" y="128292"/>
                        <a:pt x="450190" y="134538"/>
                        <a:pt x="449395" y="138107"/>
                      </a:cubicBezTo>
                      <a:cubicBezTo>
                        <a:pt x="454260" y="142172"/>
                        <a:pt x="458727" y="146633"/>
                        <a:pt x="462500" y="151293"/>
                      </a:cubicBezTo>
                      <a:cubicBezTo>
                        <a:pt x="465776" y="144749"/>
                        <a:pt x="469747" y="132852"/>
                        <a:pt x="466471" y="119666"/>
                      </a:cubicBezTo>
                      <a:cubicBezTo>
                        <a:pt x="462301" y="102713"/>
                        <a:pt x="447509" y="87941"/>
                        <a:pt x="422492" y="75647"/>
                      </a:cubicBezTo>
                      <a:cubicBezTo>
                        <a:pt x="398666" y="63948"/>
                        <a:pt x="376328" y="59164"/>
                        <a:pt x="356957" y="58061"/>
                      </a:cubicBezTo>
                      <a:close/>
                      <a:moveTo>
                        <a:pt x="332671" y="45049"/>
                      </a:moveTo>
                      <a:cubicBezTo>
                        <a:pt x="358235" y="42806"/>
                        <a:pt x="391567" y="45756"/>
                        <a:pt x="428349" y="63849"/>
                      </a:cubicBezTo>
                      <a:cubicBezTo>
                        <a:pt x="457040" y="77927"/>
                        <a:pt x="474215" y="95674"/>
                        <a:pt x="479377" y="116692"/>
                      </a:cubicBezTo>
                      <a:cubicBezTo>
                        <a:pt x="480568" y="121649"/>
                        <a:pt x="481065" y="126507"/>
                        <a:pt x="480965" y="131068"/>
                      </a:cubicBezTo>
                      <a:cubicBezTo>
                        <a:pt x="491489" y="137413"/>
                        <a:pt x="520775" y="157340"/>
                        <a:pt x="524051" y="185993"/>
                      </a:cubicBezTo>
                      <a:cubicBezTo>
                        <a:pt x="526136" y="203640"/>
                        <a:pt x="518095" y="220891"/>
                        <a:pt x="500225" y="237348"/>
                      </a:cubicBezTo>
                      <a:cubicBezTo>
                        <a:pt x="500821" y="240818"/>
                        <a:pt x="501218" y="244288"/>
                        <a:pt x="501118" y="247659"/>
                      </a:cubicBezTo>
                      <a:cubicBezTo>
                        <a:pt x="500622" y="262530"/>
                        <a:pt x="492978" y="275122"/>
                        <a:pt x="478384" y="285036"/>
                      </a:cubicBezTo>
                      <a:cubicBezTo>
                        <a:pt x="468953" y="314481"/>
                        <a:pt x="435100" y="334607"/>
                        <a:pt x="377619" y="345215"/>
                      </a:cubicBezTo>
                      <a:cubicBezTo>
                        <a:pt x="343170" y="351560"/>
                        <a:pt x="312096" y="354733"/>
                        <a:pt x="284597" y="354733"/>
                      </a:cubicBezTo>
                      <a:cubicBezTo>
                        <a:pt x="257395" y="354733"/>
                        <a:pt x="233668" y="351560"/>
                        <a:pt x="213714" y="345414"/>
                      </a:cubicBezTo>
                      <a:cubicBezTo>
                        <a:pt x="196142" y="339862"/>
                        <a:pt x="183732" y="324792"/>
                        <a:pt x="180754" y="307442"/>
                      </a:cubicBezTo>
                      <a:cubicBezTo>
                        <a:pt x="126450" y="304765"/>
                        <a:pt x="96270" y="285234"/>
                        <a:pt x="95575" y="251922"/>
                      </a:cubicBezTo>
                      <a:cubicBezTo>
                        <a:pt x="95575" y="247957"/>
                        <a:pt x="95674" y="243594"/>
                        <a:pt x="96171" y="238835"/>
                      </a:cubicBezTo>
                      <a:cubicBezTo>
                        <a:pt x="89519" y="231003"/>
                        <a:pt x="69366" y="204830"/>
                        <a:pt x="72046" y="177665"/>
                      </a:cubicBezTo>
                      <a:cubicBezTo>
                        <a:pt x="73436" y="163190"/>
                        <a:pt x="81081" y="150797"/>
                        <a:pt x="94582" y="141081"/>
                      </a:cubicBezTo>
                      <a:cubicBezTo>
                        <a:pt x="103616" y="134538"/>
                        <a:pt x="114040" y="129680"/>
                        <a:pt x="125755" y="126507"/>
                      </a:cubicBezTo>
                      <a:cubicBezTo>
                        <a:pt x="127343" y="120063"/>
                        <a:pt x="131414" y="108067"/>
                        <a:pt x="141838" y="95773"/>
                      </a:cubicBezTo>
                      <a:cubicBezTo>
                        <a:pt x="166061" y="66922"/>
                        <a:pt x="205474" y="58495"/>
                        <a:pt x="234363" y="56512"/>
                      </a:cubicBezTo>
                      <a:cubicBezTo>
                        <a:pt x="253623" y="55224"/>
                        <a:pt x="269904" y="55719"/>
                        <a:pt x="283604" y="57405"/>
                      </a:cubicBezTo>
                      <a:cubicBezTo>
                        <a:pt x="289313" y="54728"/>
                        <a:pt x="307108" y="47292"/>
                        <a:pt x="332671" y="45049"/>
                      </a:cubicBezTo>
                      <a:close/>
                      <a:moveTo>
                        <a:pt x="303693" y="13185"/>
                      </a:moveTo>
                      <a:cubicBezTo>
                        <a:pt x="143557" y="13185"/>
                        <a:pt x="13204" y="99331"/>
                        <a:pt x="13204" y="205204"/>
                      </a:cubicBezTo>
                      <a:cubicBezTo>
                        <a:pt x="13204" y="311078"/>
                        <a:pt x="143557" y="397125"/>
                        <a:pt x="303693" y="397125"/>
                      </a:cubicBezTo>
                      <a:cubicBezTo>
                        <a:pt x="463829" y="397125"/>
                        <a:pt x="594082" y="311078"/>
                        <a:pt x="594082" y="205204"/>
                      </a:cubicBezTo>
                      <a:cubicBezTo>
                        <a:pt x="594082" y="99331"/>
                        <a:pt x="463829" y="13185"/>
                        <a:pt x="303693" y="13185"/>
                      </a:cubicBezTo>
                      <a:close/>
                      <a:moveTo>
                        <a:pt x="303693" y="0"/>
                      </a:moveTo>
                      <a:cubicBezTo>
                        <a:pt x="384307" y="0"/>
                        <a:pt x="460255" y="21016"/>
                        <a:pt x="517439" y="59281"/>
                      </a:cubicBezTo>
                      <a:cubicBezTo>
                        <a:pt x="575418" y="98042"/>
                        <a:pt x="607286" y="149888"/>
                        <a:pt x="607286" y="205204"/>
                      </a:cubicBezTo>
                      <a:cubicBezTo>
                        <a:pt x="607286" y="260520"/>
                        <a:pt x="575418" y="312268"/>
                        <a:pt x="517439" y="351128"/>
                      </a:cubicBezTo>
                      <a:cubicBezTo>
                        <a:pt x="460255" y="389294"/>
                        <a:pt x="384307" y="410409"/>
                        <a:pt x="303693" y="410409"/>
                      </a:cubicBezTo>
                      <a:cubicBezTo>
                        <a:pt x="222979" y="410409"/>
                        <a:pt x="147131" y="389294"/>
                        <a:pt x="89946" y="351128"/>
                      </a:cubicBezTo>
                      <a:cubicBezTo>
                        <a:pt x="31968" y="312268"/>
                        <a:pt x="0" y="260520"/>
                        <a:pt x="0" y="205204"/>
                      </a:cubicBezTo>
                      <a:cubicBezTo>
                        <a:pt x="0" y="149888"/>
                        <a:pt x="31968" y="98042"/>
                        <a:pt x="89946" y="59281"/>
                      </a:cubicBezTo>
                      <a:cubicBezTo>
                        <a:pt x="147131" y="21016"/>
                        <a:pt x="222979" y="0"/>
                        <a:pt x="303693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84000">
                      <a:schemeClr val="accent2">
                        <a:lumMod val="40000"/>
                        <a:lumOff val="60000"/>
                      </a:schemeClr>
                    </a:gs>
                    <a:gs pos="0">
                      <a:schemeClr val="accent2"/>
                    </a:gs>
                    <a:gs pos="55000">
                      <a:schemeClr val="accent2"/>
                    </a:gs>
                  </a:gsLst>
                  <a:lin ang="135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sp>
            <p:sp>
              <p:nvSpPr>
                <p:cNvPr id="233" name="任意多边形: 形状 232"/>
                <p:cNvSpPr>
                  <a:spLocks noChangeAspect="1"/>
                </p:cNvSpPr>
                <p:nvPr userDrawn="1"/>
              </p:nvSpPr>
              <p:spPr bwMode="auto">
                <a:xfrm rot="5090663">
                  <a:off x="8902696" y="1189227"/>
                  <a:ext cx="2198220" cy="3028935"/>
                </a:xfrm>
                <a:custGeom>
                  <a:avLst/>
                  <a:gdLst>
                    <a:gd name="connsiteX0" fmla="*/ 350405 w 438988"/>
                    <a:gd name="connsiteY0" fmla="*/ 511675 h 604882"/>
                    <a:gd name="connsiteX1" fmla="*/ 351090 w 438988"/>
                    <a:gd name="connsiteY1" fmla="*/ 511789 h 604882"/>
                    <a:gd name="connsiteX2" fmla="*/ 401879 w 438988"/>
                    <a:gd name="connsiteY2" fmla="*/ 581847 h 604882"/>
                    <a:gd name="connsiteX3" fmla="*/ 405417 w 438988"/>
                    <a:gd name="connsiteY3" fmla="*/ 603754 h 604882"/>
                    <a:gd name="connsiteX4" fmla="*/ 385330 w 438988"/>
                    <a:gd name="connsiteY4" fmla="*/ 594398 h 604882"/>
                    <a:gd name="connsiteX5" fmla="*/ 331459 w 438988"/>
                    <a:gd name="connsiteY5" fmla="*/ 526736 h 604882"/>
                    <a:gd name="connsiteX6" fmla="*/ 331459 w 438988"/>
                    <a:gd name="connsiteY6" fmla="*/ 526052 h 604882"/>
                    <a:gd name="connsiteX7" fmla="*/ 350405 w 438988"/>
                    <a:gd name="connsiteY7" fmla="*/ 511675 h 604882"/>
                    <a:gd name="connsiteX8" fmla="*/ 334159 w 438988"/>
                    <a:gd name="connsiteY8" fmla="*/ 489209 h 604882"/>
                    <a:gd name="connsiteX9" fmla="*/ 334615 w 438988"/>
                    <a:gd name="connsiteY9" fmla="*/ 489209 h 604882"/>
                    <a:gd name="connsiteX10" fmla="*/ 344323 w 438988"/>
                    <a:gd name="connsiteY10" fmla="*/ 502573 h 604882"/>
                    <a:gd name="connsiteX11" fmla="*/ 344209 w 438988"/>
                    <a:gd name="connsiteY11" fmla="*/ 503258 h 604882"/>
                    <a:gd name="connsiteX12" fmla="*/ 325022 w 438988"/>
                    <a:gd name="connsiteY12" fmla="*/ 517878 h 604882"/>
                    <a:gd name="connsiteX13" fmla="*/ 324336 w 438988"/>
                    <a:gd name="connsiteY13" fmla="*/ 517764 h 604882"/>
                    <a:gd name="connsiteX14" fmla="*/ 314172 w 438988"/>
                    <a:gd name="connsiteY14" fmla="*/ 504971 h 604882"/>
                    <a:gd name="connsiteX15" fmla="*/ 314172 w 438988"/>
                    <a:gd name="connsiteY15" fmla="*/ 504286 h 604882"/>
                    <a:gd name="connsiteX16" fmla="*/ 334159 w 438988"/>
                    <a:gd name="connsiteY16" fmla="*/ 489209 h 604882"/>
                    <a:gd name="connsiteX17" fmla="*/ 397994 w 438988"/>
                    <a:gd name="connsiteY17" fmla="*/ 485452 h 604882"/>
                    <a:gd name="connsiteX18" fmla="*/ 398566 w 438988"/>
                    <a:gd name="connsiteY18" fmla="*/ 485794 h 604882"/>
                    <a:gd name="connsiteX19" fmla="*/ 435710 w 438988"/>
                    <a:gd name="connsiteY19" fmla="*/ 563914 h 604882"/>
                    <a:gd name="connsiteX20" fmla="*/ 435139 w 438988"/>
                    <a:gd name="connsiteY20" fmla="*/ 586039 h 604882"/>
                    <a:gd name="connsiteX21" fmla="*/ 417081 w 438988"/>
                    <a:gd name="connsiteY21" fmla="*/ 573152 h 604882"/>
                    <a:gd name="connsiteX22" fmla="*/ 376508 w 438988"/>
                    <a:gd name="connsiteY22" fmla="*/ 496742 h 604882"/>
                    <a:gd name="connsiteX23" fmla="*/ 376622 w 438988"/>
                    <a:gd name="connsiteY23" fmla="*/ 496172 h 604882"/>
                    <a:gd name="connsiteX24" fmla="*/ 397994 w 438988"/>
                    <a:gd name="connsiteY24" fmla="*/ 485452 h 604882"/>
                    <a:gd name="connsiteX25" fmla="*/ 386117 w 438988"/>
                    <a:gd name="connsiteY25" fmla="*/ 460374 h 604882"/>
                    <a:gd name="connsiteX26" fmla="*/ 386688 w 438988"/>
                    <a:gd name="connsiteY26" fmla="*/ 460488 h 604882"/>
                    <a:gd name="connsiteX27" fmla="*/ 393649 w 438988"/>
                    <a:gd name="connsiteY27" fmla="*/ 475313 h 604882"/>
                    <a:gd name="connsiteX28" fmla="*/ 393420 w 438988"/>
                    <a:gd name="connsiteY28" fmla="*/ 476111 h 604882"/>
                    <a:gd name="connsiteX29" fmla="*/ 371853 w 438988"/>
                    <a:gd name="connsiteY29" fmla="*/ 486831 h 604882"/>
                    <a:gd name="connsiteX30" fmla="*/ 371169 w 438988"/>
                    <a:gd name="connsiteY30" fmla="*/ 486603 h 604882"/>
                    <a:gd name="connsiteX31" fmla="*/ 363523 w 438988"/>
                    <a:gd name="connsiteY31" fmla="*/ 472234 h 604882"/>
                    <a:gd name="connsiteX32" fmla="*/ 363751 w 438988"/>
                    <a:gd name="connsiteY32" fmla="*/ 471550 h 604882"/>
                    <a:gd name="connsiteX33" fmla="*/ 386117 w 438988"/>
                    <a:gd name="connsiteY33" fmla="*/ 460374 h 604882"/>
                    <a:gd name="connsiteX34" fmla="*/ 98781 w 438988"/>
                    <a:gd name="connsiteY34" fmla="*/ 166247 h 604882"/>
                    <a:gd name="connsiteX35" fmla="*/ 100380 w 438988"/>
                    <a:gd name="connsiteY35" fmla="*/ 166703 h 604882"/>
                    <a:gd name="connsiteX36" fmla="*/ 327909 w 438988"/>
                    <a:gd name="connsiteY36" fmla="*/ 479880 h 604882"/>
                    <a:gd name="connsiteX37" fmla="*/ 327909 w 438988"/>
                    <a:gd name="connsiteY37" fmla="*/ 480792 h 604882"/>
                    <a:gd name="connsiteX38" fmla="*/ 307806 w 438988"/>
                    <a:gd name="connsiteY38" fmla="*/ 496075 h 604882"/>
                    <a:gd name="connsiteX39" fmla="*/ 306778 w 438988"/>
                    <a:gd name="connsiteY39" fmla="*/ 495733 h 604882"/>
                    <a:gd name="connsiteX40" fmla="*/ 65657 w 438988"/>
                    <a:gd name="connsiteY40" fmla="*/ 192592 h 604882"/>
                    <a:gd name="connsiteX41" fmla="*/ 65771 w 438988"/>
                    <a:gd name="connsiteY41" fmla="*/ 191338 h 604882"/>
                    <a:gd name="connsiteX42" fmla="*/ 98781 w 438988"/>
                    <a:gd name="connsiteY42" fmla="*/ 166247 h 604882"/>
                    <a:gd name="connsiteX43" fmla="*/ 47969 w 438988"/>
                    <a:gd name="connsiteY43" fmla="*/ 111537 h 604882"/>
                    <a:gd name="connsiteX44" fmla="*/ 43857 w 438988"/>
                    <a:gd name="connsiteY44" fmla="*/ 115416 h 604882"/>
                    <a:gd name="connsiteX45" fmla="*/ 40202 w 438988"/>
                    <a:gd name="connsiteY45" fmla="*/ 115758 h 604882"/>
                    <a:gd name="connsiteX46" fmla="*/ 35291 w 438988"/>
                    <a:gd name="connsiteY46" fmla="*/ 112906 h 604882"/>
                    <a:gd name="connsiteX47" fmla="*/ 35176 w 438988"/>
                    <a:gd name="connsiteY47" fmla="*/ 118496 h 604882"/>
                    <a:gd name="connsiteX48" fmla="*/ 32778 w 438988"/>
                    <a:gd name="connsiteY48" fmla="*/ 121348 h 604882"/>
                    <a:gd name="connsiteX49" fmla="*/ 27409 w 438988"/>
                    <a:gd name="connsiteY49" fmla="*/ 122717 h 604882"/>
                    <a:gd name="connsiteX50" fmla="*/ 31179 w 438988"/>
                    <a:gd name="connsiteY50" fmla="*/ 126824 h 604882"/>
                    <a:gd name="connsiteX51" fmla="*/ 31636 w 438988"/>
                    <a:gd name="connsiteY51" fmla="*/ 130589 h 604882"/>
                    <a:gd name="connsiteX52" fmla="*/ 28666 w 438988"/>
                    <a:gd name="connsiteY52" fmla="*/ 135380 h 604882"/>
                    <a:gd name="connsiteX53" fmla="*/ 34377 w 438988"/>
                    <a:gd name="connsiteY53" fmla="*/ 135494 h 604882"/>
                    <a:gd name="connsiteX54" fmla="*/ 37232 w 438988"/>
                    <a:gd name="connsiteY54" fmla="*/ 137890 h 604882"/>
                    <a:gd name="connsiteX55" fmla="*/ 38603 w 438988"/>
                    <a:gd name="connsiteY55" fmla="*/ 143365 h 604882"/>
                    <a:gd name="connsiteX56" fmla="*/ 42715 w 438988"/>
                    <a:gd name="connsiteY56" fmla="*/ 139487 h 604882"/>
                    <a:gd name="connsiteX57" fmla="*/ 46370 w 438988"/>
                    <a:gd name="connsiteY57" fmla="*/ 139030 h 604882"/>
                    <a:gd name="connsiteX58" fmla="*/ 51281 w 438988"/>
                    <a:gd name="connsiteY58" fmla="*/ 141996 h 604882"/>
                    <a:gd name="connsiteX59" fmla="*/ 51396 w 438988"/>
                    <a:gd name="connsiteY59" fmla="*/ 136292 h 604882"/>
                    <a:gd name="connsiteX60" fmla="*/ 53794 w 438988"/>
                    <a:gd name="connsiteY60" fmla="*/ 133440 h 604882"/>
                    <a:gd name="connsiteX61" fmla="*/ 59162 w 438988"/>
                    <a:gd name="connsiteY61" fmla="*/ 132072 h 604882"/>
                    <a:gd name="connsiteX62" fmla="*/ 55393 w 438988"/>
                    <a:gd name="connsiteY62" fmla="*/ 127965 h 604882"/>
                    <a:gd name="connsiteX63" fmla="*/ 54936 w 438988"/>
                    <a:gd name="connsiteY63" fmla="*/ 124314 h 604882"/>
                    <a:gd name="connsiteX64" fmla="*/ 57906 w 438988"/>
                    <a:gd name="connsiteY64" fmla="*/ 119523 h 604882"/>
                    <a:gd name="connsiteX65" fmla="*/ 52195 w 438988"/>
                    <a:gd name="connsiteY65" fmla="*/ 119295 h 604882"/>
                    <a:gd name="connsiteX66" fmla="*/ 49340 w 438988"/>
                    <a:gd name="connsiteY66" fmla="*/ 117013 h 604882"/>
                    <a:gd name="connsiteX67" fmla="*/ 47969 w 438988"/>
                    <a:gd name="connsiteY67" fmla="*/ 111537 h 604882"/>
                    <a:gd name="connsiteX68" fmla="*/ 214238 w 438988"/>
                    <a:gd name="connsiteY68" fmla="*/ 99660 h 604882"/>
                    <a:gd name="connsiteX69" fmla="*/ 215836 w 438988"/>
                    <a:gd name="connsiteY69" fmla="*/ 100458 h 604882"/>
                    <a:gd name="connsiteX70" fmla="*/ 381652 w 438988"/>
                    <a:gd name="connsiteY70" fmla="*/ 450000 h 604882"/>
                    <a:gd name="connsiteX71" fmla="*/ 381538 w 438988"/>
                    <a:gd name="connsiteY71" fmla="*/ 450913 h 604882"/>
                    <a:gd name="connsiteX72" fmla="*/ 358927 w 438988"/>
                    <a:gd name="connsiteY72" fmla="*/ 462203 h 604882"/>
                    <a:gd name="connsiteX73" fmla="*/ 358013 w 438988"/>
                    <a:gd name="connsiteY73" fmla="*/ 461747 h 604882"/>
                    <a:gd name="connsiteX74" fmla="*/ 176895 w 438988"/>
                    <a:gd name="connsiteY74" fmla="*/ 119504 h 604882"/>
                    <a:gd name="connsiteX75" fmla="*/ 177237 w 438988"/>
                    <a:gd name="connsiteY75" fmla="*/ 118249 h 604882"/>
                    <a:gd name="connsiteX76" fmla="*/ 214238 w 438988"/>
                    <a:gd name="connsiteY76" fmla="*/ 99660 h 604882"/>
                    <a:gd name="connsiteX77" fmla="*/ 29466 w 438988"/>
                    <a:gd name="connsiteY77" fmla="*/ 78868 h 604882"/>
                    <a:gd name="connsiteX78" fmla="*/ 42144 w 438988"/>
                    <a:gd name="connsiteY78" fmla="*/ 86554 h 604882"/>
                    <a:gd name="connsiteX79" fmla="*/ 85890 w 438988"/>
                    <a:gd name="connsiteY79" fmla="*/ 146788 h 604882"/>
                    <a:gd name="connsiteX80" fmla="*/ 85776 w 438988"/>
                    <a:gd name="connsiteY80" fmla="*/ 148955 h 604882"/>
                    <a:gd name="connsiteX81" fmla="*/ 52538 w 438988"/>
                    <a:gd name="connsiteY81" fmla="*/ 174167 h 604882"/>
                    <a:gd name="connsiteX82" fmla="*/ 50368 w 438988"/>
                    <a:gd name="connsiteY82" fmla="*/ 173482 h 604882"/>
                    <a:gd name="connsiteX83" fmla="*/ 4223 w 438988"/>
                    <a:gd name="connsiteY83" fmla="*/ 115416 h 604882"/>
                    <a:gd name="connsiteX84" fmla="*/ 7535 w 438988"/>
                    <a:gd name="connsiteY84" fmla="*/ 88265 h 604882"/>
                    <a:gd name="connsiteX85" fmla="*/ 15074 w 438988"/>
                    <a:gd name="connsiteY85" fmla="*/ 82561 h 604882"/>
                    <a:gd name="connsiteX86" fmla="*/ 29466 w 438988"/>
                    <a:gd name="connsiteY86" fmla="*/ 78868 h 604882"/>
                    <a:gd name="connsiteX87" fmla="*/ 161834 w 438988"/>
                    <a:gd name="connsiteY87" fmla="*/ 35554 h 604882"/>
                    <a:gd name="connsiteX88" fmla="*/ 160578 w 438988"/>
                    <a:gd name="connsiteY88" fmla="*/ 41028 h 604882"/>
                    <a:gd name="connsiteX89" fmla="*/ 157723 w 438988"/>
                    <a:gd name="connsiteY89" fmla="*/ 43423 h 604882"/>
                    <a:gd name="connsiteX90" fmla="*/ 152127 w 438988"/>
                    <a:gd name="connsiteY90" fmla="*/ 43765 h 604882"/>
                    <a:gd name="connsiteX91" fmla="*/ 155210 w 438988"/>
                    <a:gd name="connsiteY91" fmla="*/ 48555 h 604882"/>
                    <a:gd name="connsiteX92" fmla="*/ 154868 w 438988"/>
                    <a:gd name="connsiteY92" fmla="*/ 52204 h 604882"/>
                    <a:gd name="connsiteX93" fmla="*/ 151213 w 438988"/>
                    <a:gd name="connsiteY93" fmla="*/ 56423 h 604882"/>
                    <a:gd name="connsiteX94" fmla="*/ 156695 w 438988"/>
                    <a:gd name="connsiteY94" fmla="*/ 57678 h 604882"/>
                    <a:gd name="connsiteX95" fmla="*/ 159093 w 438988"/>
                    <a:gd name="connsiteY95" fmla="*/ 60415 h 604882"/>
                    <a:gd name="connsiteX96" fmla="*/ 159436 w 438988"/>
                    <a:gd name="connsiteY96" fmla="*/ 66117 h 604882"/>
                    <a:gd name="connsiteX97" fmla="*/ 164118 w 438988"/>
                    <a:gd name="connsiteY97" fmla="*/ 63038 h 604882"/>
                    <a:gd name="connsiteX98" fmla="*/ 167887 w 438988"/>
                    <a:gd name="connsiteY98" fmla="*/ 63266 h 604882"/>
                    <a:gd name="connsiteX99" fmla="*/ 172113 w 438988"/>
                    <a:gd name="connsiteY99" fmla="*/ 67029 h 604882"/>
                    <a:gd name="connsiteX100" fmla="*/ 173255 w 438988"/>
                    <a:gd name="connsiteY100" fmla="*/ 61555 h 604882"/>
                    <a:gd name="connsiteX101" fmla="*/ 176110 w 438988"/>
                    <a:gd name="connsiteY101" fmla="*/ 59160 h 604882"/>
                    <a:gd name="connsiteX102" fmla="*/ 181706 w 438988"/>
                    <a:gd name="connsiteY102" fmla="*/ 58818 h 604882"/>
                    <a:gd name="connsiteX103" fmla="*/ 178737 w 438988"/>
                    <a:gd name="connsiteY103" fmla="*/ 54028 h 604882"/>
                    <a:gd name="connsiteX104" fmla="*/ 178965 w 438988"/>
                    <a:gd name="connsiteY104" fmla="*/ 50379 h 604882"/>
                    <a:gd name="connsiteX105" fmla="*/ 182734 w 438988"/>
                    <a:gd name="connsiteY105" fmla="*/ 46160 h 604882"/>
                    <a:gd name="connsiteX106" fmla="*/ 177252 w 438988"/>
                    <a:gd name="connsiteY106" fmla="*/ 44905 h 604882"/>
                    <a:gd name="connsiteX107" fmla="*/ 174854 w 438988"/>
                    <a:gd name="connsiteY107" fmla="*/ 42168 h 604882"/>
                    <a:gd name="connsiteX108" fmla="*/ 174511 w 438988"/>
                    <a:gd name="connsiteY108" fmla="*/ 36466 h 604882"/>
                    <a:gd name="connsiteX109" fmla="*/ 169714 w 438988"/>
                    <a:gd name="connsiteY109" fmla="*/ 39545 h 604882"/>
                    <a:gd name="connsiteX110" fmla="*/ 166060 w 438988"/>
                    <a:gd name="connsiteY110" fmla="*/ 39317 h 604882"/>
                    <a:gd name="connsiteX111" fmla="*/ 161834 w 438988"/>
                    <a:gd name="connsiteY111" fmla="*/ 35554 h 604882"/>
                    <a:gd name="connsiteX112" fmla="*/ 162334 w 438988"/>
                    <a:gd name="connsiteY112" fmla="*/ 1043 h 604882"/>
                    <a:gd name="connsiteX113" fmla="*/ 173369 w 438988"/>
                    <a:gd name="connsiteY113" fmla="*/ 10922 h 604882"/>
                    <a:gd name="connsiteX114" fmla="*/ 205232 w 438988"/>
                    <a:gd name="connsiteY114" fmla="*/ 78091 h 604882"/>
                    <a:gd name="connsiteX115" fmla="*/ 204776 w 438988"/>
                    <a:gd name="connsiteY115" fmla="*/ 80257 h 604882"/>
                    <a:gd name="connsiteX116" fmla="*/ 167430 w 438988"/>
                    <a:gd name="connsiteY116" fmla="*/ 98846 h 604882"/>
                    <a:gd name="connsiteX117" fmla="*/ 165489 w 438988"/>
                    <a:gd name="connsiteY117" fmla="*/ 97819 h 604882"/>
                    <a:gd name="connsiteX118" fmla="*/ 130770 w 438988"/>
                    <a:gd name="connsiteY118" fmla="*/ 32247 h 604882"/>
                    <a:gd name="connsiteX119" fmla="*/ 139107 w 438988"/>
                    <a:gd name="connsiteY119" fmla="*/ 6246 h 604882"/>
                    <a:gd name="connsiteX120" fmla="*/ 147444 w 438988"/>
                    <a:gd name="connsiteY120" fmla="*/ 2027 h 604882"/>
                    <a:gd name="connsiteX121" fmla="*/ 162334 w 438988"/>
                    <a:gd name="connsiteY121" fmla="*/ 1043 h 6048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</a:cxnLst>
                  <a:rect l="l" t="t" r="r" b="b"/>
                  <a:pathLst>
                    <a:path w="438988" h="604882">
                      <a:moveTo>
                        <a:pt x="350405" y="511675"/>
                      </a:moveTo>
                      <a:cubicBezTo>
                        <a:pt x="350748" y="511447"/>
                        <a:pt x="351090" y="511789"/>
                        <a:pt x="351090" y="511789"/>
                      </a:cubicBezTo>
                      <a:lnTo>
                        <a:pt x="401879" y="581847"/>
                      </a:lnTo>
                      <a:cubicBezTo>
                        <a:pt x="408270" y="590518"/>
                        <a:pt x="409868" y="600445"/>
                        <a:pt x="405417" y="603754"/>
                      </a:cubicBezTo>
                      <a:cubicBezTo>
                        <a:pt x="401080" y="607063"/>
                        <a:pt x="391949" y="602841"/>
                        <a:pt x="385330" y="594398"/>
                      </a:cubicBezTo>
                      <a:lnTo>
                        <a:pt x="331459" y="526736"/>
                      </a:lnTo>
                      <a:cubicBezTo>
                        <a:pt x="331459" y="526736"/>
                        <a:pt x="331117" y="526280"/>
                        <a:pt x="331459" y="526052"/>
                      </a:cubicBezTo>
                      <a:cubicBezTo>
                        <a:pt x="336253" y="522515"/>
                        <a:pt x="345726" y="515326"/>
                        <a:pt x="350405" y="511675"/>
                      </a:cubicBezTo>
                      <a:close/>
                      <a:moveTo>
                        <a:pt x="334159" y="489209"/>
                      </a:moveTo>
                      <a:cubicBezTo>
                        <a:pt x="334387" y="488866"/>
                        <a:pt x="334615" y="489209"/>
                        <a:pt x="334615" y="489209"/>
                      </a:cubicBezTo>
                      <a:lnTo>
                        <a:pt x="344323" y="502573"/>
                      </a:lnTo>
                      <a:cubicBezTo>
                        <a:pt x="344323" y="502573"/>
                        <a:pt x="344666" y="502915"/>
                        <a:pt x="344209" y="503258"/>
                      </a:cubicBezTo>
                      <a:cubicBezTo>
                        <a:pt x="339412" y="506913"/>
                        <a:pt x="329933" y="514223"/>
                        <a:pt x="325022" y="517878"/>
                      </a:cubicBezTo>
                      <a:cubicBezTo>
                        <a:pt x="324565" y="518221"/>
                        <a:pt x="324336" y="517764"/>
                        <a:pt x="324336" y="517764"/>
                      </a:cubicBezTo>
                      <a:lnTo>
                        <a:pt x="314172" y="504971"/>
                      </a:lnTo>
                      <a:cubicBezTo>
                        <a:pt x="314172" y="504971"/>
                        <a:pt x="313829" y="504629"/>
                        <a:pt x="314172" y="504286"/>
                      </a:cubicBezTo>
                      <a:cubicBezTo>
                        <a:pt x="319197" y="500402"/>
                        <a:pt x="329019" y="492978"/>
                        <a:pt x="334159" y="489209"/>
                      </a:cubicBezTo>
                      <a:close/>
                      <a:moveTo>
                        <a:pt x="397994" y="485452"/>
                      </a:moveTo>
                      <a:cubicBezTo>
                        <a:pt x="398337" y="485338"/>
                        <a:pt x="398566" y="485794"/>
                        <a:pt x="398566" y="485794"/>
                      </a:cubicBezTo>
                      <a:lnTo>
                        <a:pt x="435710" y="563914"/>
                      </a:lnTo>
                      <a:cubicBezTo>
                        <a:pt x="440282" y="573608"/>
                        <a:pt x="440053" y="583530"/>
                        <a:pt x="435139" y="586039"/>
                      </a:cubicBezTo>
                      <a:cubicBezTo>
                        <a:pt x="430224" y="588434"/>
                        <a:pt x="422110" y="582732"/>
                        <a:pt x="417081" y="573152"/>
                      </a:cubicBezTo>
                      <a:lnTo>
                        <a:pt x="376508" y="496742"/>
                      </a:lnTo>
                      <a:cubicBezTo>
                        <a:pt x="376508" y="496742"/>
                        <a:pt x="376279" y="496286"/>
                        <a:pt x="376622" y="496172"/>
                      </a:cubicBezTo>
                      <a:cubicBezTo>
                        <a:pt x="381994" y="493435"/>
                        <a:pt x="392623" y="488189"/>
                        <a:pt x="397994" y="485452"/>
                      </a:cubicBezTo>
                      <a:close/>
                      <a:moveTo>
                        <a:pt x="386117" y="460374"/>
                      </a:moveTo>
                      <a:cubicBezTo>
                        <a:pt x="386460" y="460146"/>
                        <a:pt x="386688" y="460488"/>
                        <a:pt x="386688" y="460488"/>
                      </a:cubicBezTo>
                      <a:lnTo>
                        <a:pt x="393649" y="475313"/>
                      </a:lnTo>
                      <a:cubicBezTo>
                        <a:pt x="393649" y="475313"/>
                        <a:pt x="393991" y="475769"/>
                        <a:pt x="393420" y="476111"/>
                      </a:cubicBezTo>
                      <a:cubicBezTo>
                        <a:pt x="388057" y="478734"/>
                        <a:pt x="377331" y="484094"/>
                        <a:pt x="371853" y="486831"/>
                      </a:cubicBezTo>
                      <a:cubicBezTo>
                        <a:pt x="371397" y="487173"/>
                        <a:pt x="371169" y="486603"/>
                        <a:pt x="371169" y="486603"/>
                      </a:cubicBezTo>
                      <a:lnTo>
                        <a:pt x="363523" y="472234"/>
                      </a:lnTo>
                      <a:cubicBezTo>
                        <a:pt x="363523" y="472234"/>
                        <a:pt x="363295" y="471778"/>
                        <a:pt x="363751" y="471550"/>
                      </a:cubicBezTo>
                      <a:cubicBezTo>
                        <a:pt x="369457" y="468699"/>
                        <a:pt x="380412" y="463225"/>
                        <a:pt x="386117" y="460374"/>
                      </a:cubicBezTo>
                      <a:close/>
                      <a:moveTo>
                        <a:pt x="98781" y="166247"/>
                      </a:moveTo>
                      <a:cubicBezTo>
                        <a:pt x="99581" y="165677"/>
                        <a:pt x="100380" y="166703"/>
                        <a:pt x="100380" y="166703"/>
                      </a:cubicBezTo>
                      <a:lnTo>
                        <a:pt x="327909" y="479880"/>
                      </a:lnTo>
                      <a:cubicBezTo>
                        <a:pt x="327909" y="479880"/>
                        <a:pt x="328366" y="480450"/>
                        <a:pt x="327909" y="480792"/>
                      </a:cubicBezTo>
                      <a:cubicBezTo>
                        <a:pt x="322883" y="484556"/>
                        <a:pt x="312832" y="492197"/>
                        <a:pt x="307806" y="496075"/>
                      </a:cubicBezTo>
                      <a:cubicBezTo>
                        <a:pt x="307235" y="496417"/>
                        <a:pt x="306778" y="495733"/>
                        <a:pt x="306778" y="495733"/>
                      </a:cubicBezTo>
                      <a:lnTo>
                        <a:pt x="65657" y="192592"/>
                      </a:lnTo>
                      <a:cubicBezTo>
                        <a:pt x="65657" y="192592"/>
                        <a:pt x="65086" y="191794"/>
                        <a:pt x="65771" y="191338"/>
                      </a:cubicBezTo>
                      <a:cubicBezTo>
                        <a:pt x="73995" y="185065"/>
                        <a:pt x="90329" y="172634"/>
                        <a:pt x="98781" y="166247"/>
                      </a:cubicBezTo>
                      <a:close/>
                      <a:moveTo>
                        <a:pt x="47969" y="111537"/>
                      </a:moveTo>
                      <a:cubicBezTo>
                        <a:pt x="46484" y="111081"/>
                        <a:pt x="44657" y="112792"/>
                        <a:pt x="43857" y="115416"/>
                      </a:cubicBezTo>
                      <a:cubicBezTo>
                        <a:pt x="43058" y="117926"/>
                        <a:pt x="41458" y="118154"/>
                        <a:pt x="40202" y="115758"/>
                      </a:cubicBezTo>
                      <a:cubicBezTo>
                        <a:pt x="38831" y="113477"/>
                        <a:pt x="36661" y="112108"/>
                        <a:pt x="35291" y="112906"/>
                      </a:cubicBezTo>
                      <a:cubicBezTo>
                        <a:pt x="33920" y="113591"/>
                        <a:pt x="33920" y="116101"/>
                        <a:pt x="35176" y="118496"/>
                      </a:cubicBezTo>
                      <a:cubicBezTo>
                        <a:pt x="36433" y="120778"/>
                        <a:pt x="35405" y="122147"/>
                        <a:pt x="32778" y="121348"/>
                      </a:cubicBezTo>
                      <a:cubicBezTo>
                        <a:pt x="30265" y="120664"/>
                        <a:pt x="27752" y="121234"/>
                        <a:pt x="27409" y="122717"/>
                      </a:cubicBezTo>
                      <a:cubicBezTo>
                        <a:pt x="26953" y="124200"/>
                        <a:pt x="28666" y="126139"/>
                        <a:pt x="31179" y="126824"/>
                      </a:cubicBezTo>
                      <a:cubicBezTo>
                        <a:pt x="33806" y="127622"/>
                        <a:pt x="33920" y="129220"/>
                        <a:pt x="31636" y="130589"/>
                      </a:cubicBezTo>
                      <a:cubicBezTo>
                        <a:pt x="29237" y="131843"/>
                        <a:pt x="27981" y="134011"/>
                        <a:pt x="28666" y="135380"/>
                      </a:cubicBezTo>
                      <a:cubicBezTo>
                        <a:pt x="29465" y="136749"/>
                        <a:pt x="31978" y="136863"/>
                        <a:pt x="34377" y="135494"/>
                      </a:cubicBezTo>
                      <a:cubicBezTo>
                        <a:pt x="36661" y="134239"/>
                        <a:pt x="38032" y="135266"/>
                        <a:pt x="37232" y="137890"/>
                      </a:cubicBezTo>
                      <a:cubicBezTo>
                        <a:pt x="36547" y="140399"/>
                        <a:pt x="37118" y="142909"/>
                        <a:pt x="38603" y="143365"/>
                      </a:cubicBezTo>
                      <a:cubicBezTo>
                        <a:pt x="40088" y="143822"/>
                        <a:pt x="41915" y="141996"/>
                        <a:pt x="42715" y="139487"/>
                      </a:cubicBezTo>
                      <a:cubicBezTo>
                        <a:pt x="43514" y="136863"/>
                        <a:pt x="45113" y="136749"/>
                        <a:pt x="46370" y="139030"/>
                      </a:cubicBezTo>
                      <a:cubicBezTo>
                        <a:pt x="47741" y="141426"/>
                        <a:pt x="49911" y="142681"/>
                        <a:pt x="51281" y="141996"/>
                      </a:cubicBezTo>
                      <a:cubicBezTo>
                        <a:pt x="52652" y="141198"/>
                        <a:pt x="52652" y="138688"/>
                        <a:pt x="51396" y="136292"/>
                      </a:cubicBezTo>
                      <a:cubicBezTo>
                        <a:pt x="50139" y="134011"/>
                        <a:pt x="51167" y="132756"/>
                        <a:pt x="53794" y="133440"/>
                      </a:cubicBezTo>
                      <a:cubicBezTo>
                        <a:pt x="56307" y="134239"/>
                        <a:pt x="58820" y="133555"/>
                        <a:pt x="59162" y="132072"/>
                      </a:cubicBezTo>
                      <a:cubicBezTo>
                        <a:pt x="59619" y="130589"/>
                        <a:pt x="57906" y="128763"/>
                        <a:pt x="55393" y="127965"/>
                      </a:cubicBezTo>
                      <a:cubicBezTo>
                        <a:pt x="52766" y="127280"/>
                        <a:pt x="52652" y="125569"/>
                        <a:pt x="54936" y="124314"/>
                      </a:cubicBezTo>
                      <a:cubicBezTo>
                        <a:pt x="57335" y="123059"/>
                        <a:pt x="58591" y="120892"/>
                        <a:pt x="57906" y="119523"/>
                      </a:cubicBezTo>
                      <a:cubicBezTo>
                        <a:pt x="57107" y="118154"/>
                        <a:pt x="54594" y="118040"/>
                        <a:pt x="52195" y="119295"/>
                      </a:cubicBezTo>
                      <a:cubicBezTo>
                        <a:pt x="49911" y="120550"/>
                        <a:pt x="48540" y="119523"/>
                        <a:pt x="49340" y="117013"/>
                      </a:cubicBezTo>
                      <a:cubicBezTo>
                        <a:pt x="50139" y="114389"/>
                        <a:pt x="49454" y="111994"/>
                        <a:pt x="47969" y="111537"/>
                      </a:cubicBezTo>
                      <a:close/>
                      <a:moveTo>
                        <a:pt x="214238" y="99660"/>
                      </a:moveTo>
                      <a:cubicBezTo>
                        <a:pt x="215265" y="99204"/>
                        <a:pt x="215836" y="100458"/>
                        <a:pt x="215836" y="100458"/>
                      </a:cubicBezTo>
                      <a:lnTo>
                        <a:pt x="381652" y="450000"/>
                      </a:lnTo>
                      <a:cubicBezTo>
                        <a:pt x="381652" y="450000"/>
                        <a:pt x="381995" y="450685"/>
                        <a:pt x="381538" y="450913"/>
                      </a:cubicBezTo>
                      <a:cubicBezTo>
                        <a:pt x="375828" y="453764"/>
                        <a:pt x="364523" y="459466"/>
                        <a:pt x="358927" y="462203"/>
                      </a:cubicBezTo>
                      <a:cubicBezTo>
                        <a:pt x="358356" y="462545"/>
                        <a:pt x="358013" y="461747"/>
                        <a:pt x="358013" y="461747"/>
                      </a:cubicBezTo>
                      <a:lnTo>
                        <a:pt x="176895" y="119504"/>
                      </a:lnTo>
                      <a:cubicBezTo>
                        <a:pt x="176895" y="119504"/>
                        <a:pt x="176438" y="118591"/>
                        <a:pt x="177237" y="118249"/>
                      </a:cubicBezTo>
                      <a:cubicBezTo>
                        <a:pt x="186487" y="113573"/>
                        <a:pt x="204759" y="104450"/>
                        <a:pt x="214238" y="99660"/>
                      </a:cubicBezTo>
                      <a:close/>
                      <a:moveTo>
                        <a:pt x="29466" y="78868"/>
                      </a:moveTo>
                      <a:cubicBezTo>
                        <a:pt x="34377" y="79595"/>
                        <a:pt x="39003" y="82219"/>
                        <a:pt x="42144" y="86554"/>
                      </a:cubicBezTo>
                      <a:lnTo>
                        <a:pt x="85890" y="146788"/>
                      </a:lnTo>
                      <a:cubicBezTo>
                        <a:pt x="85890" y="146788"/>
                        <a:pt x="87032" y="147928"/>
                        <a:pt x="85776" y="148955"/>
                      </a:cubicBezTo>
                      <a:cubicBezTo>
                        <a:pt x="77552" y="155115"/>
                        <a:pt x="60762" y="167892"/>
                        <a:pt x="52538" y="174167"/>
                      </a:cubicBezTo>
                      <a:cubicBezTo>
                        <a:pt x="51510" y="174851"/>
                        <a:pt x="50368" y="173482"/>
                        <a:pt x="50368" y="173482"/>
                      </a:cubicBezTo>
                      <a:lnTo>
                        <a:pt x="4223" y="115416"/>
                      </a:lnTo>
                      <a:cubicBezTo>
                        <a:pt x="-2516" y="106974"/>
                        <a:pt x="-1031" y="94768"/>
                        <a:pt x="7535" y="88265"/>
                      </a:cubicBezTo>
                      <a:lnTo>
                        <a:pt x="15074" y="82561"/>
                      </a:lnTo>
                      <a:cubicBezTo>
                        <a:pt x="19357" y="79310"/>
                        <a:pt x="24554" y="78141"/>
                        <a:pt x="29466" y="78868"/>
                      </a:cubicBezTo>
                      <a:close/>
                      <a:moveTo>
                        <a:pt x="161834" y="35554"/>
                      </a:moveTo>
                      <a:cubicBezTo>
                        <a:pt x="160350" y="36010"/>
                        <a:pt x="159778" y="38519"/>
                        <a:pt x="160578" y="41028"/>
                      </a:cubicBezTo>
                      <a:cubicBezTo>
                        <a:pt x="161377" y="43537"/>
                        <a:pt x="160121" y="44677"/>
                        <a:pt x="157723" y="43423"/>
                      </a:cubicBezTo>
                      <a:cubicBezTo>
                        <a:pt x="155439" y="42168"/>
                        <a:pt x="152812" y="42396"/>
                        <a:pt x="152127" y="43765"/>
                      </a:cubicBezTo>
                      <a:cubicBezTo>
                        <a:pt x="151441" y="45133"/>
                        <a:pt x="152812" y="47300"/>
                        <a:pt x="155210" y="48555"/>
                      </a:cubicBezTo>
                      <a:cubicBezTo>
                        <a:pt x="157609" y="49695"/>
                        <a:pt x="157494" y="51406"/>
                        <a:pt x="154868" y="52204"/>
                      </a:cubicBezTo>
                      <a:cubicBezTo>
                        <a:pt x="152355" y="53002"/>
                        <a:pt x="150642" y="54941"/>
                        <a:pt x="151213" y="56423"/>
                      </a:cubicBezTo>
                      <a:cubicBezTo>
                        <a:pt x="151670" y="57906"/>
                        <a:pt x="154068" y="58476"/>
                        <a:pt x="156695" y="57678"/>
                      </a:cubicBezTo>
                      <a:cubicBezTo>
                        <a:pt x="159207" y="56765"/>
                        <a:pt x="160235" y="58020"/>
                        <a:pt x="159093" y="60415"/>
                      </a:cubicBezTo>
                      <a:cubicBezTo>
                        <a:pt x="157837" y="62809"/>
                        <a:pt x="158065" y="65318"/>
                        <a:pt x="159436" y="66117"/>
                      </a:cubicBezTo>
                      <a:cubicBezTo>
                        <a:pt x="160806" y="66801"/>
                        <a:pt x="162976" y="65432"/>
                        <a:pt x="164118" y="63038"/>
                      </a:cubicBezTo>
                      <a:cubicBezTo>
                        <a:pt x="165375" y="60643"/>
                        <a:pt x="167088" y="60757"/>
                        <a:pt x="167887" y="63266"/>
                      </a:cubicBezTo>
                      <a:cubicBezTo>
                        <a:pt x="168687" y="65889"/>
                        <a:pt x="170628" y="67485"/>
                        <a:pt x="172113" y="67029"/>
                      </a:cubicBezTo>
                      <a:cubicBezTo>
                        <a:pt x="173597" y="66573"/>
                        <a:pt x="174168" y="64064"/>
                        <a:pt x="173255" y="61555"/>
                      </a:cubicBezTo>
                      <a:cubicBezTo>
                        <a:pt x="172455" y="59046"/>
                        <a:pt x="173712" y="57906"/>
                        <a:pt x="176110" y="59160"/>
                      </a:cubicBezTo>
                      <a:cubicBezTo>
                        <a:pt x="178508" y="60301"/>
                        <a:pt x="181021" y="60187"/>
                        <a:pt x="181706" y="58818"/>
                      </a:cubicBezTo>
                      <a:cubicBezTo>
                        <a:pt x="182391" y="57450"/>
                        <a:pt x="181135" y="55283"/>
                        <a:pt x="178737" y="54028"/>
                      </a:cubicBezTo>
                      <a:cubicBezTo>
                        <a:pt x="176338" y="52888"/>
                        <a:pt x="176453" y="51177"/>
                        <a:pt x="178965" y="50379"/>
                      </a:cubicBezTo>
                      <a:cubicBezTo>
                        <a:pt x="181478" y="49581"/>
                        <a:pt x="183191" y="47642"/>
                        <a:pt x="182734" y="46160"/>
                      </a:cubicBezTo>
                      <a:cubicBezTo>
                        <a:pt x="182277" y="44677"/>
                        <a:pt x="179764" y="44107"/>
                        <a:pt x="177252" y="44905"/>
                      </a:cubicBezTo>
                      <a:cubicBezTo>
                        <a:pt x="174739" y="45818"/>
                        <a:pt x="173597" y="44563"/>
                        <a:pt x="174854" y="42168"/>
                      </a:cubicBezTo>
                      <a:cubicBezTo>
                        <a:pt x="175996" y="39774"/>
                        <a:pt x="175881" y="37265"/>
                        <a:pt x="174511" y="36466"/>
                      </a:cubicBezTo>
                      <a:cubicBezTo>
                        <a:pt x="173026" y="35782"/>
                        <a:pt x="170971" y="37151"/>
                        <a:pt x="169714" y="39545"/>
                      </a:cubicBezTo>
                      <a:cubicBezTo>
                        <a:pt x="168572" y="41940"/>
                        <a:pt x="166859" y="41826"/>
                        <a:pt x="166060" y="39317"/>
                      </a:cubicBezTo>
                      <a:cubicBezTo>
                        <a:pt x="165146" y="36695"/>
                        <a:pt x="163319" y="35098"/>
                        <a:pt x="161834" y="35554"/>
                      </a:cubicBezTo>
                      <a:close/>
                      <a:moveTo>
                        <a:pt x="162334" y="1043"/>
                      </a:moveTo>
                      <a:cubicBezTo>
                        <a:pt x="167031" y="2654"/>
                        <a:pt x="171085" y="6075"/>
                        <a:pt x="173369" y="10922"/>
                      </a:cubicBezTo>
                      <a:lnTo>
                        <a:pt x="205232" y="78091"/>
                      </a:lnTo>
                      <a:cubicBezTo>
                        <a:pt x="205232" y="78091"/>
                        <a:pt x="206146" y="79459"/>
                        <a:pt x="204776" y="80257"/>
                      </a:cubicBezTo>
                      <a:cubicBezTo>
                        <a:pt x="195525" y="84819"/>
                        <a:pt x="176681" y="94284"/>
                        <a:pt x="167430" y="98846"/>
                      </a:cubicBezTo>
                      <a:cubicBezTo>
                        <a:pt x="166288" y="99416"/>
                        <a:pt x="165489" y="97819"/>
                        <a:pt x="165489" y="97819"/>
                      </a:cubicBezTo>
                      <a:lnTo>
                        <a:pt x="130770" y="32247"/>
                      </a:lnTo>
                      <a:cubicBezTo>
                        <a:pt x="125631" y="22782"/>
                        <a:pt x="129400" y="11036"/>
                        <a:pt x="139107" y="6246"/>
                      </a:cubicBezTo>
                      <a:lnTo>
                        <a:pt x="147444" y="2027"/>
                      </a:lnTo>
                      <a:cubicBezTo>
                        <a:pt x="152298" y="-368"/>
                        <a:pt x="157637" y="-568"/>
                        <a:pt x="162334" y="104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84000">
                      <a:schemeClr val="accent2">
                        <a:lumMod val="40000"/>
                        <a:lumOff val="60000"/>
                      </a:schemeClr>
                    </a:gs>
                    <a:gs pos="0">
                      <a:schemeClr val="accent2"/>
                    </a:gs>
                    <a:gs pos="55000">
                      <a:schemeClr val="accent2"/>
                    </a:gs>
                  </a:gsLst>
                  <a:lin ang="135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sp>
            <p:grpSp>
              <p:nvGrpSpPr>
                <p:cNvPr id="234" name="组合 233"/>
                <p:cNvGrpSpPr/>
                <p:nvPr userDrawn="1"/>
              </p:nvGrpSpPr>
              <p:grpSpPr>
                <a:xfrm rot="21407551">
                  <a:off x="6966056" y="1615974"/>
                  <a:ext cx="2733009" cy="1403350"/>
                  <a:chOff x="6966078" y="1616731"/>
                  <a:chExt cx="2733009" cy="1403350"/>
                </a:xfrm>
              </p:grpSpPr>
              <p:sp>
                <p:nvSpPr>
                  <p:cNvPr id="235" name="任意多边形: 形状 234">
                    <a:extLst>
                      <a:ext uri="{FF2B5EF4-FFF2-40B4-BE49-F238E27FC236}">
                        <a16:creationId xmlns:a16="http://schemas.microsoft.com/office/drawing/2014/main" id="{86DD90F3-C10D-4B1A-BE39-1CEF69A31E62}"/>
                      </a:ext>
                    </a:extLst>
                  </p:cNvPr>
                  <p:cNvSpPr/>
                  <p:nvPr/>
                </p:nvSpPr>
                <p:spPr bwMode="auto">
                  <a:xfrm rot="192449" flipH="1">
                    <a:off x="9154809" y="2144276"/>
                    <a:ext cx="544278" cy="530773"/>
                  </a:xfrm>
                  <a:custGeom>
                    <a:avLst/>
                    <a:gdLst>
                      <a:gd name="connsiteX0" fmla="*/ 923383 w 2752767"/>
                      <a:gd name="connsiteY0" fmla="*/ 2595557 h 2684463"/>
                      <a:gd name="connsiteX1" fmla="*/ 915962 w 2752767"/>
                      <a:gd name="connsiteY1" fmla="*/ 2610375 h 2684463"/>
                      <a:gd name="connsiteX2" fmla="*/ 918436 w 2752767"/>
                      <a:gd name="connsiteY2" fmla="*/ 2612845 h 2684463"/>
                      <a:gd name="connsiteX3" fmla="*/ 928331 w 2752767"/>
                      <a:gd name="connsiteY3" fmla="*/ 2598027 h 2684463"/>
                      <a:gd name="connsiteX4" fmla="*/ 923383 w 2752767"/>
                      <a:gd name="connsiteY4" fmla="*/ 2595557 h 2684463"/>
                      <a:gd name="connsiteX5" fmla="*/ 945647 w 2752767"/>
                      <a:gd name="connsiteY5" fmla="*/ 2558513 h 2684463"/>
                      <a:gd name="connsiteX6" fmla="*/ 938226 w 2752767"/>
                      <a:gd name="connsiteY6" fmla="*/ 2573331 h 2684463"/>
                      <a:gd name="connsiteX7" fmla="*/ 943173 w 2752767"/>
                      <a:gd name="connsiteY7" fmla="*/ 2575800 h 2684463"/>
                      <a:gd name="connsiteX8" fmla="*/ 950594 w 2752767"/>
                      <a:gd name="connsiteY8" fmla="*/ 2560983 h 2684463"/>
                      <a:gd name="connsiteX9" fmla="*/ 945647 w 2752767"/>
                      <a:gd name="connsiteY9" fmla="*/ 2558513 h 2684463"/>
                      <a:gd name="connsiteX10" fmla="*/ 1019858 w 2752767"/>
                      <a:gd name="connsiteY10" fmla="*/ 2452320 h 2684463"/>
                      <a:gd name="connsiteX11" fmla="*/ 1012437 w 2752767"/>
                      <a:gd name="connsiteY11" fmla="*/ 2464668 h 2684463"/>
                      <a:gd name="connsiteX12" fmla="*/ 1014911 w 2752767"/>
                      <a:gd name="connsiteY12" fmla="*/ 2467138 h 2684463"/>
                      <a:gd name="connsiteX13" fmla="*/ 1024806 w 2752767"/>
                      <a:gd name="connsiteY13" fmla="*/ 2454790 h 2684463"/>
                      <a:gd name="connsiteX14" fmla="*/ 1019858 w 2752767"/>
                      <a:gd name="connsiteY14" fmla="*/ 2452320 h 2684463"/>
                      <a:gd name="connsiteX15" fmla="*/ 1059438 w 2752767"/>
                      <a:gd name="connsiteY15" fmla="*/ 2397989 h 2684463"/>
                      <a:gd name="connsiteX16" fmla="*/ 1052016 w 2752767"/>
                      <a:gd name="connsiteY16" fmla="*/ 2410337 h 2684463"/>
                      <a:gd name="connsiteX17" fmla="*/ 1056964 w 2752767"/>
                      <a:gd name="connsiteY17" fmla="*/ 2415276 h 2684463"/>
                      <a:gd name="connsiteX18" fmla="*/ 1066859 w 2752767"/>
                      <a:gd name="connsiteY18" fmla="*/ 2405398 h 2684463"/>
                      <a:gd name="connsiteX19" fmla="*/ 1059438 w 2752767"/>
                      <a:gd name="connsiteY19" fmla="*/ 2397989 h 2684463"/>
                      <a:gd name="connsiteX20" fmla="*/ 1148491 w 2752767"/>
                      <a:gd name="connsiteY20" fmla="*/ 2311552 h 2684463"/>
                      <a:gd name="connsiteX21" fmla="*/ 1106438 w 2752767"/>
                      <a:gd name="connsiteY21" fmla="*/ 2333779 h 2684463"/>
                      <a:gd name="connsiteX22" fmla="*/ 1096543 w 2752767"/>
                      <a:gd name="connsiteY22" fmla="*/ 2348597 h 2684463"/>
                      <a:gd name="connsiteX23" fmla="*/ 1069332 w 2752767"/>
                      <a:gd name="connsiteY23" fmla="*/ 2383171 h 2684463"/>
                      <a:gd name="connsiteX24" fmla="*/ 1074280 w 2752767"/>
                      <a:gd name="connsiteY24" fmla="*/ 2388110 h 2684463"/>
                      <a:gd name="connsiteX25" fmla="*/ 1148491 w 2752767"/>
                      <a:gd name="connsiteY25" fmla="*/ 2311552 h 2684463"/>
                      <a:gd name="connsiteX26" fmla="*/ 1170755 w 2752767"/>
                      <a:gd name="connsiteY26" fmla="*/ 2276978 h 2684463"/>
                      <a:gd name="connsiteX27" fmla="*/ 1153439 w 2752767"/>
                      <a:gd name="connsiteY27" fmla="*/ 2294265 h 2684463"/>
                      <a:gd name="connsiteX28" fmla="*/ 1158386 w 2752767"/>
                      <a:gd name="connsiteY28" fmla="*/ 2299204 h 2684463"/>
                      <a:gd name="connsiteX29" fmla="*/ 1178176 w 2752767"/>
                      <a:gd name="connsiteY29" fmla="*/ 2281917 h 2684463"/>
                      <a:gd name="connsiteX30" fmla="*/ 1170755 w 2752767"/>
                      <a:gd name="connsiteY30" fmla="*/ 2276978 h 2684463"/>
                      <a:gd name="connsiteX31" fmla="*/ 715591 w 2752767"/>
                      <a:gd name="connsiteY31" fmla="*/ 1943581 h 2684463"/>
                      <a:gd name="connsiteX32" fmla="*/ 718065 w 2752767"/>
                      <a:gd name="connsiteY32" fmla="*/ 1965807 h 2684463"/>
                      <a:gd name="connsiteX33" fmla="*/ 715591 w 2752767"/>
                      <a:gd name="connsiteY33" fmla="*/ 1943581 h 2684463"/>
                      <a:gd name="connsiteX34" fmla="*/ 688084 w 2752767"/>
                      <a:gd name="connsiteY34" fmla="*/ 510472 h 2684463"/>
                      <a:gd name="connsiteX35" fmla="*/ 747541 w 2752767"/>
                      <a:gd name="connsiteY35" fmla="*/ 522832 h 2684463"/>
                      <a:gd name="connsiteX36" fmla="*/ 806998 w 2752767"/>
                      <a:gd name="connsiteY36" fmla="*/ 540136 h 2684463"/>
                      <a:gd name="connsiteX37" fmla="*/ 839204 w 2752767"/>
                      <a:gd name="connsiteY37" fmla="*/ 540136 h 2684463"/>
                      <a:gd name="connsiteX38" fmla="*/ 982892 w 2752767"/>
                      <a:gd name="connsiteY38" fmla="*/ 517888 h 2684463"/>
                      <a:gd name="connsiteX39" fmla="*/ 1020053 w 2752767"/>
                      <a:gd name="connsiteY39" fmla="*/ 515416 h 2684463"/>
                      <a:gd name="connsiteX40" fmla="*/ 1089420 w 2752767"/>
                      <a:gd name="connsiteY40" fmla="*/ 515416 h 2684463"/>
                      <a:gd name="connsiteX41" fmla="*/ 1188515 w 2752767"/>
                      <a:gd name="connsiteY41" fmla="*/ 525304 h 2684463"/>
                      <a:gd name="connsiteX42" fmla="*/ 1349545 w 2752767"/>
                      <a:gd name="connsiteY42" fmla="*/ 589575 h 2684463"/>
                      <a:gd name="connsiteX43" fmla="*/ 1361932 w 2752767"/>
                      <a:gd name="connsiteY43" fmla="*/ 601935 h 2684463"/>
                      <a:gd name="connsiteX44" fmla="*/ 1391660 w 2752767"/>
                      <a:gd name="connsiteY44" fmla="*/ 678566 h 2684463"/>
                      <a:gd name="connsiteX45" fmla="*/ 1379273 w 2752767"/>
                      <a:gd name="connsiteY45" fmla="*/ 732949 h 2684463"/>
                      <a:gd name="connsiteX46" fmla="*/ 1327248 w 2752767"/>
                      <a:gd name="connsiteY46" fmla="*/ 782388 h 2684463"/>
                      <a:gd name="connsiteX47" fmla="*/ 1250449 w 2752767"/>
                      <a:gd name="connsiteY47" fmla="*/ 819468 h 2684463"/>
                      <a:gd name="connsiteX48" fmla="*/ 1205857 w 2752767"/>
                      <a:gd name="connsiteY48" fmla="*/ 829355 h 2684463"/>
                      <a:gd name="connsiteX49" fmla="*/ 1121626 w 2752767"/>
                      <a:gd name="connsiteY49" fmla="*/ 846659 h 2684463"/>
                      <a:gd name="connsiteX50" fmla="*/ 1007666 w 2752767"/>
                      <a:gd name="connsiteY50" fmla="*/ 824412 h 2684463"/>
                      <a:gd name="connsiteX51" fmla="*/ 740109 w 2752767"/>
                      <a:gd name="connsiteY51" fmla="*/ 604407 h 2684463"/>
                      <a:gd name="connsiteX52" fmla="*/ 690561 w 2752767"/>
                      <a:gd name="connsiteY52" fmla="*/ 542608 h 2684463"/>
                      <a:gd name="connsiteX53" fmla="*/ 688084 w 2752767"/>
                      <a:gd name="connsiteY53" fmla="*/ 510472 h 2684463"/>
                      <a:gd name="connsiteX54" fmla="*/ 1472547 w 2752767"/>
                      <a:gd name="connsiteY54" fmla="*/ 59271 h 2684463"/>
                      <a:gd name="connsiteX55" fmla="*/ 1470074 w 2752767"/>
                      <a:gd name="connsiteY55" fmla="*/ 71619 h 2684463"/>
                      <a:gd name="connsiteX56" fmla="*/ 1484916 w 2752767"/>
                      <a:gd name="connsiteY56" fmla="*/ 232143 h 2684463"/>
                      <a:gd name="connsiteX57" fmla="*/ 1499758 w 2752767"/>
                      <a:gd name="connsiteY57" fmla="*/ 446999 h 2684463"/>
                      <a:gd name="connsiteX58" fmla="*/ 1504706 w 2752767"/>
                      <a:gd name="connsiteY58" fmla="*/ 488982 h 2684463"/>
                      <a:gd name="connsiteX59" fmla="*/ 1524495 w 2752767"/>
                      <a:gd name="connsiteY59" fmla="*/ 605054 h 2684463"/>
                      <a:gd name="connsiteX60" fmla="*/ 1551706 w 2752767"/>
                      <a:gd name="connsiteY60" fmla="*/ 805092 h 2684463"/>
                      <a:gd name="connsiteX61" fmla="*/ 1566549 w 2752767"/>
                      <a:gd name="connsiteY61" fmla="*/ 832258 h 2684463"/>
                      <a:gd name="connsiteX62" fmla="*/ 1561601 w 2752767"/>
                      <a:gd name="connsiteY62" fmla="*/ 760639 h 2684463"/>
                      <a:gd name="connsiteX63" fmla="*/ 1549233 w 2752767"/>
                      <a:gd name="connsiteY63" fmla="*/ 686551 h 2684463"/>
                      <a:gd name="connsiteX64" fmla="*/ 1541811 w 2752767"/>
                      <a:gd name="connsiteY64" fmla="*/ 617402 h 2684463"/>
                      <a:gd name="connsiteX65" fmla="*/ 1524495 w 2752767"/>
                      <a:gd name="connsiteY65" fmla="*/ 498861 h 2684463"/>
                      <a:gd name="connsiteX66" fmla="*/ 1522022 w 2752767"/>
                      <a:gd name="connsiteY66" fmla="*/ 427242 h 2684463"/>
                      <a:gd name="connsiteX67" fmla="*/ 1509653 w 2752767"/>
                      <a:gd name="connsiteY67" fmla="*/ 338336 h 2684463"/>
                      <a:gd name="connsiteX68" fmla="*/ 1497285 w 2752767"/>
                      <a:gd name="connsiteY68" fmla="*/ 190160 h 2684463"/>
                      <a:gd name="connsiteX69" fmla="*/ 1482442 w 2752767"/>
                      <a:gd name="connsiteY69" fmla="*/ 81497 h 2684463"/>
                      <a:gd name="connsiteX70" fmla="*/ 1472547 w 2752767"/>
                      <a:gd name="connsiteY70" fmla="*/ 59271 h 2684463"/>
                      <a:gd name="connsiteX71" fmla="*/ 1440389 w 2752767"/>
                      <a:gd name="connsiteY71" fmla="*/ 0 h 2684463"/>
                      <a:gd name="connsiteX72" fmla="*/ 1487390 w 2752767"/>
                      <a:gd name="connsiteY72" fmla="*/ 22226 h 2684463"/>
                      <a:gd name="connsiteX73" fmla="*/ 1672918 w 2752767"/>
                      <a:gd name="connsiteY73" fmla="*/ 150646 h 2684463"/>
                      <a:gd name="connsiteX74" fmla="*/ 1781762 w 2752767"/>
                      <a:gd name="connsiteY74" fmla="*/ 244491 h 2684463"/>
                      <a:gd name="connsiteX75" fmla="*/ 1831236 w 2752767"/>
                      <a:gd name="connsiteY75" fmla="*/ 284005 h 2684463"/>
                      <a:gd name="connsiteX76" fmla="*/ 1930184 w 2752767"/>
                      <a:gd name="connsiteY76" fmla="*/ 358093 h 2684463"/>
                      <a:gd name="connsiteX77" fmla="*/ 1967290 w 2752767"/>
                      <a:gd name="connsiteY77" fmla="*/ 449468 h 2684463"/>
                      <a:gd name="connsiteX78" fmla="*/ 1969764 w 2752767"/>
                      <a:gd name="connsiteY78" fmla="*/ 560601 h 2684463"/>
                      <a:gd name="connsiteX79" fmla="*/ 2068712 w 2752767"/>
                      <a:gd name="connsiteY79" fmla="*/ 518618 h 2684463"/>
                      <a:gd name="connsiteX80" fmla="*/ 2165187 w 2752767"/>
                      <a:gd name="connsiteY80" fmla="*/ 479104 h 2684463"/>
                      <a:gd name="connsiteX81" fmla="*/ 2014290 w 2752767"/>
                      <a:gd name="connsiteY81" fmla="*/ 526026 h 2684463"/>
                      <a:gd name="connsiteX82" fmla="*/ 2009343 w 2752767"/>
                      <a:gd name="connsiteY82" fmla="*/ 501330 h 2684463"/>
                      <a:gd name="connsiteX83" fmla="*/ 2078607 w 2752767"/>
                      <a:gd name="connsiteY83" fmla="*/ 409955 h 2684463"/>
                      <a:gd name="connsiteX84" fmla="*/ 2076133 w 2752767"/>
                      <a:gd name="connsiteY84" fmla="*/ 387728 h 2684463"/>
                      <a:gd name="connsiteX85" fmla="*/ 2058817 w 2752767"/>
                      <a:gd name="connsiteY85" fmla="*/ 370441 h 2684463"/>
                      <a:gd name="connsiteX86" fmla="*/ 1940079 w 2752767"/>
                      <a:gd name="connsiteY86" fmla="*/ 256839 h 2684463"/>
                      <a:gd name="connsiteX87" fmla="*/ 1920289 w 2752767"/>
                      <a:gd name="connsiteY87" fmla="*/ 222265 h 2684463"/>
                      <a:gd name="connsiteX88" fmla="*/ 1930184 w 2752767"/>
                      <a:gd name="connsiteY88" fmla="*/ 195099 h 2684463"/>
                      <a:gd name="connsiteX89" fmla="*/ 1954921 w 2752767"/>
                      <a:gd name="connsiteY89" fmla="*/ 180281 h 2684463"/>
                      <a:gd name="connsiteX90" fmla="*/ 1979659 w 2752767"/>
                      <a:gd name="connsiteY90" fmla="*/ 162994 h 2684463"/>
                      <a:gd name="connsiteX91" fmla="*/ 2095923 w 2752767"/>
                      <a:gd name="connsiteY91" fmla="*/ 111132 h 2684463"/>
                      <a:gd name="connsiteX92" fmla="*/ 2249293 w 2752767"/>
                      <a:gd name="connsiteY92" fmla="*/ 69149 h 2684463"/>
                      <a:gd name="connsiteX93" fmla="*/ 2306188 w 2752767"/>
                      <a:gd name="connsiteY93" fmla="*/ 86436 h 2684463"/>
                      <a:gd name="connsiteX94" fmla="*/ 2489243 w 2752767"/>
                      <a:gd name="connsiteY94" fmla="*/ 239552 h 2684463"/>
                      <a:gd name="connsiteX95" fmla="*/ 2523875 w 2752767"/>
                      <a:gd name="connsiteY95" fmla="*/ 303762 h 2684463"/>
                      <a:gd name="connsiteX96" fmla="*/ 2538717 w 2752767"/>
                      <a:gd name="connsiteY96" fmla="*/ 321049 h 2684463"/>
                      <a:gd name="connsiteX97" fmla="*/ 2585718 w 2752767"/>
                      <a:gd name="connsiteY97" fmla="*/ 375380 h 2684463"/>
                      <a:gd name="connsiteX98" fmla="*/ 2548612 w 2752767"/>
                      <a:gd name="connsiteY98" fmla="*/ 390198 h 2684463"/>
                      <a:gd name="connsiteX99" fmla="*/ 2457085 w 2752767"/>
                      <a:gd name="connsiteY99" fmla="*/ 407485 h 2684463"/>
                      <a:gd name="connsiteX100" fmla="*/ 2301241 w 2752767"/>
                      <a:gd name="connsiteY100" fmla="*/ 446999 h 2684463"/>
                      <a:gd name="connsiteX101" fmla="*/ 2199819 w 2752767"/>
                      <a:gd name="connsiteY101" fmla="*/ 481573 h 2684463"/>
                      <a:gd name="connsiteX102" fmla="*/ 2034080 w 2752767"/>
                      <a:gd name="connsiteY102" fmla="*/ 550722 h 2684463"/>
                      <a:gd name="connsiteX103" fmla="*/ 1972237 w 2752767"/>
                      <a:gd name="connsiteY103" fmla="*/ 575419 h 2684463"/>
                      <a:gd name="connsiteX104" fmla="*/ 1977185 w 2752767"/>
                      <a:gd name="connsiteY104" fmla="*/ 691490 h 2684463"/>
                      <a:gd name="connsiteX105" fmla="*/ 2039028 w 2752767"/>
                      <a:gd name="connsiteY105" fmla="*/ 669264 h 2684463"/>
                      <a:gd name="connsiteX106" fmla="*/ 2093449 w 2752767"/>
                      <a:gd name="connsiteY106" fmla="*/ 654446 h 2684463"/>
                      <a:gd name="connsiteX107" fmla="*/ 2103344 w 2752767"/>
                      <a:gd name="connsiteY107" fmla="*/ 654446 h 2684463"/>
                      <a:gd name="connsiteX108" fmla="*/ 2214661 w 2752767"/>
                      <a:gd name="connsiteY108" fmla="*/ 624811 h 2684463"/>
                      <a:gd name="connsiteX109" fmla="*/ 2298767 w 2752767"/>
                      <a:gd name="connsiteY109" fmla="*/ 607523 h 2684463"/>
                      <a:gd name="connsiteX110" fmla="*/ 2313610 w 2752767"/>
                      <a:gd name="connsiteY110" fmla="*/ 605054 h 2684463"/>
                      <a:gd name="connsiteX111" fmla="*/ 2476875 w 2752767"/>
                      <a:gd name="connsiteY111" fmla="*/ 577888 h 2684463"/>
                      <a:gd name="connsiteX112" fmla="*/ 2541191 w 2752767"/>
                      <a:gd name="connsiteY112" fmla="*/ 592706 h 2684463"/>
                      <a:gd name="connsiteX113" fmla="*/ 2701982 w 2752767"/>
                      <a:gd name="connsiteY113" fmla="*/ 733473 h 2684463"/>
                      <a:gd name="connsiteX114" fmla="*/ 2687140 w 2752767"/>
                      <a:gd name="connsiteY114" fmla="*/ 792744 h 2684463"/>
                      <a:gd name="connsiteX115" fmla="*/ 2669824 w 2752767"/>
                      <a:gd name="connsiteY115" fmla="*/ 805092 h 2684463"/>
                      <a:gd name="connsiteX116" fmla="*/ 2659929 w 2752767"/>
                      <a:gd name="connsiteY116" fmla="*/ 812501 h 2684463"/>
                      <a:gd name="connsiteX117" fmla="*/ 2518928 w 2752767"/>
                      <a:gd name="connsiteY117" fmla="*/ 859423 h 2684463"/>
                      <a:gd name="connsiteX118" fmla="*/ 2489243 w 2752767"/>
                      <a:gd name="connsiteY118" fmla="*/ 864363 h 2684463"/>
                      <a:gd name="connsiteX119" fmla="*/ 2372979 w 2752767"/>
                      <a:gd name="connsiteY119" fmla="*/ 881650 h 2684463"/>
                      <a:gd name="connsiteX120" fmla="*/ 2313610 w 2752767"/>
                      <a:gd name="connsiteY120" fmla="*/ 879180 h 2684463"/>
                      <a:gd name="connsiteX121" fmla="*/ 2244346 w 2752767"/>
                      <a:gd name="connsiteY121" fmla="*/ 884119 h 2684463"/>
                      <a:gd name="connsiteX122" fmla="*/ 2162713 w 2752767"/>
                      <a:gd name="connsiteY122" fmla="*/ 896468 h 2684463"/>
                      <a:gd name="connsiteX123" fmla="*/ 2155292 w 2752767"/>
                      <a:gd name="connsiteY123" fmla="*/ 893998 h 2684463"/>
                      <a:gd name="connsiteX124" fmla="*/ 2177555 w 2752767"/>
                      <a:gd name="connsiteY124" fmla="*/ 879180 h 2684463"/>
                      <a:gd name="connsiteX125" fmla="*/ 2204766 w 2752767"/>
                      <a:gd name="connsiteY125" fmla="*/ 854484 h 2684463"/>
                      <a:gd name="connsiteX126" fmla="*/ 2182503 w 2752767"/>
                      <a:gd name="connsiteY126" fmla="*/ 854484 h 2684463"/>
                      <a:gd name="connsiteX127" fmla="*/ 2118186 w 2752767"/>
                      <a:gd name="connsiteY127" fmla="*/ 869302 h 2684463"/>
                      <a:gd name="connsiteX128" fmla="*/ 2063765 w 2752767"/>
                      <a:gd name="connsiteY128" fmla="*/ 886589 h 2684463"/>
                      <a:gd name="connsiteX129" fmla="*/ 2041501 w 2752767"/>
                      <a:gd name="connsiteY129" fmla="*/ 893998 h 2684463"/>
                      <a:gd name="connsiteX130" fmla="*/ 2031606 w 2752767"/>
                      <a:gd name="connsiteY130" fmla="*/ 898937 h 2684463"/>
                      <a:gd name="connsiteX131" fmla="*/ 2021712 w 2752767"/>
                      <a:gd name="connsiteY131" fmla="*/ 906346 h 2684463"/>
                      <a:gd name="connsiteX132" fmla="*/ 1967290 w 2752767"/>
                      <a:gd name="connsiteY132" fmla="*/ 928572 h 2684463"/>
                      <a:gd name="connsiteX133" fmla="*/ 1952448 w 2752767"/>
                      <a:gd name="connsiteY133" fmla="*/ 960677 h 2684463"/>
                      <a:gd name="connsiteX134" fmla="*/ 1964816 w 2752767"/>
                      <a:gd name="connsiteY134" fmla="*/ 1024887 h 2684463"/>
                      <a:gd name="connsiteX135" fmla="*/ 1979659 w 2752767"/>
                      <a:gd name="connsiteY135" fmla="*/ 1126141 h 2684463"/>
                      <a:gd name="connsiteX136" fmla="*/ 1989553 w 2752767"/>
                      <a:gd name="connsiteY136" fmla="*/ 1168124 h 2684463"/>
                      <a:gd name="connsiteX137" fmla="*/ 2009343 w 2752767"/>
                      <a:gd name="connsiteY137" fmla="*/ 1281726 h 2684463"/>
                      <a:gd name="connsiteX138" fmla="*/ 2036554 w 2752767"/>
                      <a:gd name="connsiteY138" fmla="*/ 1392859 h 2684463"/>
                      <a:gd name="connsiteX139" fmla="*/ 2061291 w 2752767"/>
                      <a:gd name="connsiteY139" fmla="*/ 1513869 h 2684463"/>
                      <a:gd name="connsiteX140" fmla="*/ 2098397 w 2752767"/>
                      <a:gd name="connsiteY140" fmla="*/ 1689211 h 2684463"/>
                      <a:gd name="connsiteX141" fmla="*/ 2120660 w 2752767"/>
                      <a:gd name="connsiteY141" fmla="*/ 1780587 h 2684463"/>
                      <a:gd name="connsiteX142" fmla="*/ 2135502 w 2752767"/>
                      <a:gd name="connsiteY142" fmla="*/ 1822570 h 2684463"/>
                      <a:gd name="connsiteX143" fmla="*/ 2160239 w 2752767"/>
                      <a:gd name="connsiteY143" fmla="*/ 1913946 h 2684463"/>
                      <a:gd name="connsiteX144" fmla="*/ 2199819 w 2752767"/>
                      <a:gd name="connsiteY144" fmla="*/ 2032487 h 2684463"/>
                      <a:gd name="connsiteX145" fmla="*/ 2207240 w 2752767"/>
                      <a:gd name="connsiteY145" fmla="*/ 2054713 h 2684463"/>
                      <a:gd name="connsiteX146" fmla="*/ 2219609 w 2752767"/>
                      <a:gd name="connsiteY146" fmla="*/ 2064592 h 2684463"/>
                      <a:gd name="connsiteX147" fmla="*/ 2229503 w 2752767"/>
                      <a:gd name="connsiteY147" fmla="*/ 2054713 h 2684463"/>
                      <a:gd name="connsiteX148" fmla="*/ 2234451 w 2752767"/>
                      <a:gd name="connsiteY148" fmla="*/ 2042365 h 2684463"/>
                      <a:gd name="connsiteX149" fmla="*/ 2244346 w 2752767"/>
                      <a:gd name="connsiteY149" fmla="*/ 1904067 h 2684463"/>
                      <a:gd name="connsiteX150" fmla="*/ 2251767 w 2752767"/>
                      <a:gd name="connsiteY150" fmla="*/ 1805283 h 2684463"/>
                      <a:gd name="connsiteX151" fmla="*/ 2264135 w 2752767"/>
                      <a:gd name="connsiteY151" fmla="*/ 1629941 h 2684463"/>
                      <a:gd name="connsiteX152" fmla="*/ 2269083 w 2752767"/>
                      <a:gd name="connsiteY152" fmla="*/ 1610184 h 2684463"/>
                      <a:gd name="connsiteX153" fmla="*/ 2291346 w 2752767"/>
                      <a:gd name="connsiteY153" fmla="*/ 1696620 h 2684463"/>
                      <a:gd name="connsiteX154" fmla="*/ 2298767 w 2752767"/>
                      <a:gd name="connsiteY154" fmla="*/ 1694151 h 2684463"/>
                      <a:gd name="connsiteX155" fmla="*/ 2303715 w 2752767"/>
                      <a:gd name="connsiteY155" fmla="*/ 1617593 h 2684463"/>
                      <a:gd name="connsiteX156" fmla="*/ 2301241 w 2752767"/>
                      <a:gd name="connsiteY156" fmla="*/ 1605245 h 2684463"/>
                      <a:gd name="connsiteX157" fmla="*/ 2286399 w 2752767"/>
                      <a:gd name="connsiteY157" fmla="*/ 1469416 h 2684463"/>
                      <a:gd name="connsiteX158" fmla="*/ 2286399 w 2752767"/>
                      <a:gd name="connsiteY158" fmla="*/ 1415085 h 2684463"/>
                      <a:gd name="connsiteX159" fmla="*/ 2296294 w 2752767"/>
                      <a:gd name="connsiteY159" fmla="*/ 1397798 h 2684463"/>
                      <a:gd name="connsiteX160" fmla="*/ 2306188 w 2752767"/>
                      <a:gd name="connsiteY160" fmla="*/ 1368163 h 2684463"/>
                      <a:gd name="connsiteX161" fmla="*/ 2308662 w 2752767"/>
                      <a:gd name="connsiteY161" fmla="*/ 1326179 h 2684463"/>
                      <a:gd name="connsiteX162" fmla="*/ 2434822 w 2752767"/>
                      <a:gd name="connsiteY162" fmla="*/ 1496582 h 2684463"/>
                      <a:gd name="connsiteX163" fmla="*/ 2405137 w 2752767"/>
                      <a:gd name="connsiteY163" fmla="*/ 1420024 h 2684463"/>
                      <a:gd name="connsiteX164" fmla="*/ 2375452 w 2752767"/>
                      <a:gd name="connsiteY164" fmla="*/ 1343466 h 2684463"/>
                      <a:gd name="connsiteX165" fmla="*/ 2387821 w 2752767"/>
                      <a:gd name="connsiteY165" fmla="*/ 1355815 h 2684463"/>
                      <a:gd name="connsiteX166" fmla="*/ 2531296 w 2752767"/>
                      <a:gd name="connsiteY166" fmla="*/ 1612654 h 2684463"/>
                      <a:gd name="connsiteX167" fmla="*/ 2617876 w 2752767"/>
                      <a:gd name="connsiteY167" fmla="*/ 1807753 h 2684463"/>
                      <a:gd name="connsiteX168" fmla="*/ 2711877 w 2752767"/>
                      <a:gd name="connsiteY168" fmla="*/ 2076940 h 2684463"/>
                      <a:gd name="connsiteX169" fmla="*/ 2746509 w 2752767"/>
                      <a:gd name="connsiteY169" fmla="*/ 2232525 h 2684463"/>
                      <a:gd name="connsiteX170" fmla="*/ 2748983 w 2752767"/>
                      <a:gd name="connsiteY170" fmla="*/ 2336249 h 2684463"/>
                      <a:gd name="connsiteX171" fmla="*/ 2748983 w 2752767"/>
                      <a:gd name="connsiteY171" fmla="*/ 2390580 h 2684463"/>
                      <a:gd name="connsiteX172" fmla="*/ 2731667 w 2752767"/>
                      <a:gd name="connsiteY172" fmla="*/ 2462198 h 2684463"/>
                      <a:gd name="connsiteX173" fmla="*/ 2706930 w 2752767"/>
                      <a:gd name="connsiteY173" fmla="*/ 2516530 h 2684463"/>
                      <a:gd name="connsiteX174" fmla="*/ 2654982 w 2752767"/>
                      <a:gd name="connsiteY174" fmla="*/ 2563452 h 2684463"/>
                      <a:gd name="connsiteX175" fmla="*/ 2598087 w 2752767"/>
                      <a:gd name="connsiteY175" fmla="*/ 2593088 h 2684463"/>
                      <a:gd name="connsiteX176" fmla="*/ 2533770 w 2752767"/>
                      <a:gd name="connsiteY176" fmla="*/ 2588148 h 2684463"/>
                      <a:gd name="connsiteX177" fmla="*/ 2412558 w 2752767"/>
                      <a:gd name="connsiteY177" fmla="*/ 2526408 h 2684463"/>
                      <a:gd name="connsiteX178" fmla="*/ 2041501 w 2752767"/>
                      <a:gd name="connsiteY178" fmla="*/ 2195481 h 2684463"/>
                      <a:gd name="connsiteX179" fmla="*/ 1917816 w 2752767"/>
                      <a:gd name="connsiteY179" fmla="*/ 2015200 h 2684463"/>
                      <a:gd name="connsiteX180" fmla="*/ 1863394 w 2752767"/>
                      <a:gd name="connsiteY180" fmla="*/ 1913946 h 2684463"/>
                      <a:gd name="connsiteX181" fmla="*/ 1846078 w 2752767"/>
                      <a:gd name="connsiteY181" fmla="*/ 1874432 h 2684463"/>
                      <a:gd name="connsiteX182" fmla="*/ 1808972 w 2752767"/>
                      <a:gd name="connsiteY182" fmla="*/ 1785526 h 2684463"/>
                      <a:gd name="connsiteX183" fmla="*/ 1771867 w 2752767"/>
                      <a:gd name="connsiteY183" fmla="*/ 1664515 h 2684463"/>
                      <a:gd name="connsiteX184" fmla="*/ 1739708 w 2752767"/>
                      <a:gd name="connsiteY184" fmla="*/ 1563262 h 2684463"/>
                      <a:gd name="connsiteX185" fmla="*/ 1710024 w 2752767"/>
                      <a:gd name="connsiteY185" fmla="*/ 1444720 h 2684463"/>
                      <a:gd name="connsiteX186" fmla="*/ 1655602 w 2752767"/>
                      <a:gd name="connsiteY186" fmla="*/ 1279257 h 2684463"/>
                      <a:gd name="connsiteX187" fmla="*/ 1616023 w 2752767"/>
                      <a:gd name="connsiteY187" fmla="*/ 1128611 h 2684463"/>
                      <a:gd name="connsiteX188" fmla="*/ 1603654 w 2752767"/>
                      <a:gd name="connsiteY188" fmla="*/ 1079219 h 2684463"/>
                      <a:gd name="connsiteX189" fmla="*/ 1581391 w 2752767"/>
                      <a:gd name="connsiteY189" fmla="*/ 1084158 h 2684463"/>
                      <a:gd name="connsiteX190" fmla="*/ 1484916 w 2752767"/>
                      <a:gd name="connsiteY190" fmla="*/ 1126141 h 2684463"/>
                      <a:gd name="connsiteX191" fmla="*/ 1435442 w 2752767"/>
                      <a:gd name="connsiteY191" fmla="*/ 1158246 h 2684463"/>
                      <a:gd name="connsiteX192" fmla="*/ 1420600 w 2752767"/>
                      <a:gd name="connsiteY192" fmla="*/ 1163185 h 2684463"/>
                      <a:gd name="connsiteX193" fmla="*/ 1363704 w 2752767"/>
                      <a:gd name="connsiteY193" fmla="*/ 1182942 h 2684463"/>
                      <a:gd name="connsiteX194" fmla="*/ 1346388 w 2752767"/>
                      <a:gd name="connsiteY194" fmla="*/ 1207638 h 2684463"/>
                      <a:gd name="connsiteX195" fmla="*/ 1346388 w 2752767"/>
                      <a:gd name="connsiteY195" fmla="*/ 1217517 h 2684463"/>
                      <a:gd name="connsiteX196" fmla="*/ 1311756 w 2752767"/>
                      <a:gd name="connsiteY196" fmla="*/ 1279257 h 2684463"/>
                      <a:gd name="connsiteX197" fmla="*/ 1291966 w 2752767"/>
                      <a:gd name="connsiteY197" fmla="*/ 1343466 h 2684463"/>
                      <a:gd name="connsiteX198" fmla="*/ 1287019 w 2752767"/>
                      <a:gd name="connsiteY198" fmla="*/ 1365693 h 2684463"/>
                      <a:gd name="connsiteX199" fmla="*/ 1274650 w 2752767"/>
                      <a:gd name="connsiteY199" fmla="*/ 1432372 h 2684463"/>
                      <a:gd name="connsiteX200" fmla="*/ 1306809 w 2752767"/>
                      <a:gd name="connsiteY200" fmla="*/ 1447190 h 2684463"/>
                      <a:gd name="connsiteX201" fmla="*/ 1336493 w 2752767"/>
                      <a:gd name="connsiteY201" fmla="*/ 1432372 h 2684463"/>
                      <a:gd name="connsiteX202" fmla="*/ 1393389 w 2752767"/>
                      <a:gd name="connsiteY202" fmla="*/ 1439781 h 2684463"/>
                      <a:gd name="connsiteX203" fmla="*/ 1541811 w 2752767"/>
                      <a:gd name="connsiteY203" fmla="*/ 1568201 h 2684463"/>
                      <a:gd name="connsiteX204" fmla="*/ 1544285 w 2752767"/>
                      <a:gd name="connsiteY204" fmla="*/ 1622532 h 2684463"/>
                      <a:gd name="connsiteX205" fmla="*/ 1541811 w 2752767"/>
                      <a:gd name="connsiteY205" fmla="*/ 1629941 h 2684463"/>
                      <a:gd name="connsiteX206" fmla="*/ 1479969 w 2752767"/>
                      <a:gd name="connsiteY206" fmla="*/ 1699090 h 2684463"/>
                      <a:gd name="connsiteX207" fmla="*/ 1343914 w 2752767"/>
                      <a:gd name="connsiteY207" fmla="*/ 1770709 h 2684463"/>
                      <a:gd name="connsiteX208" fmla="*/ 1301861 w 2752767"/>
                      <a:gd name="connsiteY208" fmla="*/ 1812692 h 2684463"/>
                      <a:gd name="connsiteX209" fmla="*/ 1294440 w 2752767"/>
                      <a:gd name="connsiteY209" fmla="*/ 1829979 h 2684463"/>
                      <a:gd name="connsiteX210" fmla="*/ 1284545 w 2752767"/>
                      <a:gd name="connsiteY210" fmla="*/ 1916415 h 2684463"/>
                      <a:gd name="connsiteX211" fmla="*/ 1319177 w 2752767"/>
                      <a:gd name="connsiteY211" fmla="*/ 1901598 h 2684463"/>
                      <a:gd name="connsiteX212" fmla="*/ 1531917 w 2752767"/>
                      <a:gd name="connsiteY212" fmla="*/ 1795405 h 2684463"/>
                      <a:gd name="connsiteX213" fmla="*/ 1569022 w 2752767"/>
                      <a:gd name="connsiteY213" fmla="*/ 1787996 h 2684463"/>
                      <a:gd name="connsiteX214" fmla="*/ 1487390 w 2752767"/>
                      <a:gd name="connsiteY214" fmla="*/ 1837388 h 2684463"/>
                      <a:gd name="connsiteX215" fmla="*/ 1487390 w 2752767"/>
                      <a:gd name="connsiteY215" fmla="*/ 1839858 h 2684463"/>
                      <a:gd name="connsiteX216" fmla="*/ 1569022 w 2752767"/>
                      <a:gd name="connsiteY216" fmla="*/ 1817631 h 2684463"/>
                      <a:gd name="connsiteX217" fmla="*/ 1571496 w 2752767"/>
                      <a:gd name="connsiteY217" fmla="*/ 1825040 h 2684463"/>
                      <a:gd name="connsiteX218" fmla="*/ 1484916 w 2752767"/>
                      <a:gd name="connsiteY218" fmla="*/ 1886780 h 2684463"/>
                      <a:gd name="connsiteX219" fmla="*/ 1484916 w 2752767"/>
                      <a:gd name="connsiteY219" fmla="*/ 1918885 h 2684463"/>
                      <a:gd name="connsiteX220" fmla="*/ 1494811 w 2752767"/>
                      <a:gd name="connsiteY220" fmla="*/ 1923824 h 2684463"/>
                      <a:gd name="connsiteX221" fmla="*/ 1437915 w 2752767"/>
                      <a:gd name="connsiteY221" fmla="*/ 1978156 h 2684463"/>
                      <a:gd name="connsiteX222" fmla="*/ 1519548 w 2752767"/>
                      <a:gd name="connsiteY222" fmla="*/ 1941111 h 2684463"/>
                      <a:gd name="connsiteX223" fmla="*/ 1524495 w 2752767"/>
                      <a:gd name="connsiteY223" fmla="*/ 1943581 h 2684463"/>
                      <a:gd name="connsiteX224" fmla="*/ 1514601 w 2752767"/>
                      <a:gd name="connsiteY224" fmla="*/ 1958399 h 2684463"/>
                      <a:gd name="connsiteX225" fmla="*/ 1410705 w 2752767"/>
                      <a:gd name="connsiteY225" fmla="*/ 2059653 h 2684463"/>
                      <a:gd name="connsiteX226" fmla="*/ 1329072 w 2752767"/>
                      <a:gd name="connsiteY226" fmla="*/ 2138680 h 2684463"/>
                      <a:gd name="connsiteX227" fmla="*/ 1249913 w 2752767"/>
                      <a:gd name="connsiteY227" fmla="*/ 2215238 h 2684463"/>
                      <a:gd name="connsiteX228" fmla="*/ 1202913 w 2752767"/>
                      <a:gd name="connsiteY228" fmla="*/ 2247343 h 2684463"/>
                      <a:gd name="connsiteX229" fmla="*/ 1183123 w 2752767"/>
                      <a:gd name="connsiteY229" fmla="*/ 2269569 h 2684463"/>
                      <a:gd name="connsiteX230" fmla="*/ 1205387 w 2752767"/>
                      <a:gd name="connsiteY230" fmla="*/ 2269569 h 2684463"/>
                      <a:gd name="connsiteX231" fmla="*/ 1039648 w 2752767"/>
                      <a:gd name="connsiteY231" fmla="*/ 2469607 h 2684463"/>
                      <a:gd name="connsiteX232" fmla="*/ 898646 w 2752767"/>
                      <a:gd name="connsiteY232" fmla="*/ 2684463 h 2684463"/>
                      <a:gd name="connsiteX233" fmla="*/ 802171 w 2752767"/>
                      <a:gd name="connsiteY233" fmla="*/ 2632601 h 2684463"/>
                      <a:gd name="connsiteX234" fmla="*/ 784855 w 2752767"/>
                      <a:gd name="connsiteY234" fmla="*/ 2598027 h 2684463"/>
                      <a:gd name="connsiteX235" fmla="*/ 770013 w 2752767"/>
                      <a:gd name="connsiteY235" fmla="*/ 2474547 h 2684463"/>
                      <a:gd name="connsiteX236" fmla="*/ 760118 w 2752767"/>
                      <a:gd name="connsiteY236" fmla="*/ 2402928 h 2684463"/>
                      <a:gd name="connsiteX237" fmla="*/ 755171 w 2752767"/>
                      <a:gd name="connsiteY237" fmla="*/ 2393049 h 2684463"/>
                      <a:gd name="connsiteX238" fmla="*/ 720539 w 2752767"/>
                      <a:gd name="connsiteY238" fmla="*/ 2328840 h 2684463"/>
                      <a:gd name="connsiteX239" fmla="*/ 841751 w 2752767"/>
                      <a:gd name="connsiteY239" fmla="*/ 2222647 h 2684463"/>
                      <a:gd name="connsiteX240" fmla="*/ 817014 w 2752767"/>
                      <a:gd name="connsiteY240" fmla="*/ 2197951 h 2684463"/>
                      <a:gd name="connsiteX241" fmla="*/ 725486 w 2752767"/>
                      <a:gd name="connsiteY241" fmla="*/ 2109045 h 2684463"/>
                      <a:gd name="connsiteX242" fmla="*/ 683433 w 2752767"/>
                      <a:gd name="connsiteY242" fmla="*/ 2002852 h 2684463"/>
                      <a:gd name="connsiteX243" fmla="*/ 695802 w 2752767"/>
                      <a:gd name="connsiteY243" fmla="*/ 1899128 h 2684463"/>
                      <a:gd name="connsiteX244" fmla="*/ 700749 w 2752767"/>
                      <a:gd name="connsiteY244" fmla="*/ 1894189 h 2684463"/>
                      <a:gd name="connsiteX245" fmla="*/ 708170 w 2752767"/>
                      <a:gd name="connsiteY245" fmla="*/ 1921355 h 2684463"/>
                      <a:gd name="connsiteX246" fmla="*/ 715591 w 2752767"/>
                      <a:gd name="connsiteY246" fmla="*/ 1941111 h 2684463"/>
                      <a:gd name="connsiteX247" fmla="*/ 723013 w 2752767"/>
                      <a:gd name="connsiteY247" fmla="*/ 1871962 h 2684463"/>
                      <a:gd name="connsiteX248" fmla="*/ 732907 w 2752767"/>
                      <a:gd name="connsiteY248" fmla="*/ 1928763 h 2684463"/>
                      <a:gd name="connsiteX249" fmla="*/ 752697 w 2752767"/>
                      <a:gd name="connsiteY249" fmla="*/ 1884310 h 2684463"/>
                      <a:gd name="connsiteX250" fmla="*/ 774961 w 2752767"/>
                      <a:gd name="connsiteY250" fmla="*/ 1849736 h 2684463"/>
                      <a:gd name="connsiteX251" fmla="*/ 777434 w 2752767"/>
                      <a:gd name="connsiteY251" fmla="*/ 1844797 h 2684463"/>
                      <a:gd name="connsiteX252" fmla="*/ 804645 w 2752767"/>
                      <a:gd name="connsiteY252" fmla="*/ 1721316 h 2684463"/>
                      <a:gd name="connsiteX253" fmla="*/ 802171 w 2752767"/>
                      <a:gd name="connsiteY253" fmla="*/ 1686742 h 2684463"/>
                      <a:gd name="connsiteX254" fmla="*/ 821961 w 2752767"/>
                      <a:gd name="connsiteY254" fmla="*/ 1694151 h 2684463"/>
                      <a:gd name="connsiteX255" fmla="*/ 962963 w 2752767"/>
                      <a:gd name="connsiteY255" fmla="*/ 1862084 h 2684463"/>
                      <a:gd name="connsiteX256" fmla="*/ 975331 w 2752767"/>
                      <a:gd name="connsiteY256" fmla="*/ 1963338 h 2684463"/>
                      <a:gd name="connsiteX257" fmla="*/ 987700 w 2752767"/>
                      <a:gd name="connsiteY257" fmla="*/ 2042365 h 2684463"/>
                      <a:gd name="connsiteX258" fmla="*/ 987700 w 2752767"/>
                      <a:gd name="connsiteY258" fmla="*/ 2067061 h 2684463"/>
                      <a:gd name="connsiteX259" fmla="*/ 987700 w 2752767"/>
                      <a:gd name="connsiteY259" fmla="*/ 2094227 h 2684463"/>
                      <a:gd name="connsiteX260" fmla="*/ 1054490 w 2752767"/>
                      <a:gd name="connsiteY260" fmla="*/ 2049774 h 2684463"/>
                      <a:gd name="connsiteX261" fmla="*/ 1047069 w 2752767"/>
                      <a:gd name="connsiteY261" fmla="*/ 1983095 h 2684463"/>
                      <a:gd name="connsiteX262" fmla="*/ 1056964 w 2752767"/>
                      <a:gd name="connsiteY262" fmla="*/ 1909007 h 2684463"/>
                      <a:gd name="connsiteX263" fmla="*/ 1074280 w 2752767"/>
                      <a:gd name="connsiteY263" fmla="*/ 1760830 h 2684463"/>
                      <a:gd name="connsiteX264" fmla="*/ 1079227 w 2752767"/>
                      <a:gd name="connsiteY264" fmla="*/ 1736134 h 2684463"/>
                      <a:gd name="connsiteX265" fmla="*/ 1089122 w 2752767"/>
                      <a:gd name="connsiteY265" fmla="*/ 1659576 h 2684463"/>
                      <a:gd name="connsiteX266" fmla="*/ 1103964 w 2752767"/>
                      <a:gd name="connsiteY266" fmla="*/ 1573140 h 2684463"/>
                      <a:gd name="connsiteX267" fmla="*/ 1118807 w 2752767"/>
                      <a:gd name="connsiteY267" fmla="*/ 1508930 h 2684463"/>
                      <a:gd name="connsiteX268" fmla="*/ 1146017 w 2752767"/>
                      <a:gd name="connsiteY268" fmla="*/ 1387919 h 2684463"/>
                      <a:gd name="connsiteX269" fmla="*/ 1163333 w 2752767"/>
                      <a:gd name="connsiteY269" fmla="*/ 1313831 h 2684463"/>
                      <a:gd name="connsiteX270" fmla="*/ 1173228 w 2752767"/>
                      <a:gd name="connsiteY270" fmla="*/ 1289135 h 2684463"/>
                      <a:gd name="connsiteX271" fmla="*/ 1094069 w 2752767"/>
                      <a:gd name="connsiteY271" fmla="*/ 1333588 h 2684463"/>
                      <a:gd name="connsiteX272" fmla="*/ 1071806 w 2752767"/>
                      <a:gd name="connsiteY272" fmla="*/ 1348406 h 2684463"/>
                      <a:gd name="connsiteX273" fmla="*/ 1047069 w 2752767"/>
                      <a:gd name="connsiteY273" fmla="*/ 1365693 h 2684463"/>
                      <a:gd name="connsiteX274" fmla="*/ 1029753 w 2752767"/>
                      <a:gd name="connsiteY274" fmla="*/ 1375571 h 2684463"/>
                      <a:gd name="connsiteX275" fmla="*/ 997595 w 2752767"/>
                      <a:gd name="connsiteY275" fmla="*/ 1395328 h 2684463"/>
                      <a:gd name="connsiteX276" fmla="*/ 975331 w 2752767"/>
                      <a:gd name="connsiteY276" fmla="*/ 1407676 h 2684463"/>
                      <a:gd name="connsiteX277" fmla="*/ 930804 w 2752767"/>
                      <a:gd name="connsiteY277" fmla="*/ 1427433 h 2684463"/>
                      <a:gd name="connsiteX278" fmla="*/ 898646 w 2752767"/>
                      <a:gd name="connsiteY278" fmla="*/ 1459538 h 2684463"/>
                      <a:gd name="connsiteX279" fmla="*/ 878857 w 2752767"/>
                      <a:gd name="connsiteY279" fmla="*/ 1474356 h 2684463"/>
                      <a:gd name="connsiteX280" fmla="*/ 854119 w 2752767"/>
                      <a:gd name="connsiteY280" fmla="*/ 1489173 h 2684463"/>
                      <a:gd name="connsiteX281" fmla="*/ 834330 w 2752767"/>
                      <a:gd name="connsiteY281" fmla="*/ 1496582 h 2684463"/>
                      <a:gd name="connsiteX282" fmla="*/ 792277 w 2752767"/>
                      <a:gd name="connsiteY282" fmla="*/ 1521278 h 2684463"/>
                      <a:gd name="connsiteX283" fmla="*/ 782382 w 2752767"/>
                      <a:gd name="connsiteY283" fmla="*/ 1528687 h 2684463"/>
                      <a:gd name="connsiteX284" fmla="*/ 611695 w 2752767"/>
                      <a:gd name="connsiteY284" fmla="*/ 1642289 h 2684463"/>
                      <a:gd name="connsiteX285" fmla="*/ 535010 w 2752767"/>
                      <a:gd name="connsiteY285" fmla="*/ 1696620 h 2684463"/>
                      <a:gd name="connsiteX286" fmla="*/ 468220 w 2752767"/>
                      <a:gd name="connsiteY286" fmla="*/ 1733664 h 2684463"/>
                      <a:gd name="connsiteX287" fmla="*/ 441009 w 2752767"/>
                      <a:gd name="connsiteY287" fmla="*/ 1750952 h 2684463"/>
                      <a:gd name="connsiteX288" fmla="*/ 421219 w 2752767"/>
                      <a:gd name="connsiteY288" fmla="*/ 1760830 h 2684463"/>
                      <a:gd name="connsiteX289" fmla="*/ 391535 w 2752767"/>
                      <a:gd name="connsiteY289" fmla="*/ 1773178 h 2684463"/>
                      <a:gd name="connsiteX290" fmla="*/ 354429 w 2752767"/>
                      <a:gd name="connsiteY290" fmla="*/ 1775648 h 2684463"/>
                      <a:gd name="connsiteX291" fmla="*/ 270323 w 2752767"/>
                      <a:gd name="connsiteY291" fmla="*/ 1731195 h 2684463"/>
                      <a:gd name="connsiteX292" fmla="*/ 92216 w 2752767"/>
                      <a:gd name="connsiteY292" fmla="*/ 1583018 h 2684463"/>
                      <a:gd name="connsiteX293" fmla="*/ 22952 w 2752767"/>
                      <a:gd name="connsiteY293" fmla="*/ 1496582 h 2684463"/>
                      <a:gd name="connsiteX294" fmla="*/ 5636 w 2752767"/>
                      <a:gd name="connsiteY294" fmla="*/ 1432372 h 2684463"/>
                      <a:gd name="connsiteX295" fmla="*/ 3162 w 2752767"/>
                      <a:gd name="connsiteY295" fmla="*/ 1390389 h 2684463"/>
                      <a:gd name="connsiteX296" fmla="*/ 688 w 2752767"/>
                      <a:gd name="connsiteY296" fmla="*/ 1370632 h 2684463"/>
                      <a:gd name="connsiteX297" fmla="*/ 50163 w 2752767"/>
                      <a:gd name="connsiteY297" fmla="*/ 1313831 h 2684463"/>
                      <a:gd name="connsiteX298" fmla="*/ 87268 w 2752767"/>
                      <a:gd name="connsiteY298" fmla="*/ 1316301 h 2684463"/>
                      <a:gd name="connsiteX299" fmla="*/ 121900 w 2752767"/>
                      <a:gd name="connsiteY299" fmla="*/ 1308892 h 2684463"/>
                      <a:gd name="connsiteX300" fmla="*/ 270323 w 2752767"/>
                      <a:gd name="connsiteY300" fmla="*/ 1286666 h 2684463"/>
                      <a:gd name="connsiteX301" fmla="*/ 215901 w 2752767"/>
                      <a:gd name="connsiteY301" fmla="*/ 1350875 h 2684463"/>
                      <a:gd name="connsiteX302" fmla="*/ 386587 w 2752767"/>
                      <a:gd name="connsiteY302" fmla="*/ 1269378 h 2684463"/>
                      <a:gd name="connsiteX303" fmla="*/ 562221 w 2752767"/>
                      <a:gd name="connsiteY303" fmla="*/ 1200229 h 2684463"/>
                      <a:gd name="connsiteX304" fmla="*/ 544905 w 2752767"/>
                      <a:gd name="connsiteY304" fmla="*/ 1212577 h 2684463"/>
                      <a:gd name="connsiteX305" fmla="*/ 460799 w 2752767"/>
                      <a:gd name="connsiteY305" fmla="*/ 1259500 h 2684463"/>
                      <a:gd name="connsiteX306" fmla="*/ 394009 w 2752767"/>
                      <a:gd name="connsiteY306" fmla="*/ 1301483 h 2684463"/>
                      <a:gd name="connsiteX307" fmla="*/ 347008 w 2752767"/>
                      <a:gd name="connsiteY307" fmla="*/ 1328649 h 2684463"/>
                      <a:gd name="connsiteX308" fmla="*/ 277744 w 2752767"/>
                      <a:gd name="connsiteY308" fmla="*/ 1358284 h 2684463"/>
                      <a:gd name="connsiteX309" fmla="*/ 262902 w 2752767"/>
                      <a:gd name="connsiteY309" fmla="*/ 1368163 h 2684463"/>
                      <a:gd name="connsiteX310" fmla="*/ 334639 w 2752767"/>
                      <a:gd name="connsiteY310" fmla="*/ 1343466 h 2684463"/>
                      <a:gd name="connsiteX311" fmla="*/ 374219 w 2752767"/>
                      <a:gd name="connsiteY311" fmla="*/ 1328649 h 2684463"/>
                      <a:gd name="connsiteX312" fmla="*/ 381640 w 2752767"/>
                      <a:gd name="connsiteY312" fmla="*/ 1323710 h 2684463"/>
                      <a:gd name="connsiteX313" fmla="*/ 438535 w 2752767"/>
                      <a:gd name="connsiteY313" fmla="*/ 1299014 h 2684463"/>
                      <a:gd name="connsiteX314" fmla="*/ 485536 w 2752767"/>
                      <a:gd name="connsiteY314" fmla="*/ 1279257 h 2684463"/>
                      <a:gd name="connsiteX315" fmla="*/ 530063 w 2752767"/>
                      <a:gd name="connsiteY315" fmla="*/ 1264439 h 2684463"/>
                      <a:gd name="connsiteX316" fmla="*/ 535010 w 2752767"/>
                      <a:gd name="connsiteY316" fmla="*/ 1261969 h 2684463"/>
                      <a:gd name="connsiteX317" fmla="*/ 599327 w 2752767"/>
                      <a:gd name="connsiteY317" fmla="*/ 1222456 h 2684463"/>
                      <a:gd name="connsiteX318" fmla="*/ 614169 w 2752767"/>
                      <a:gd name="connsiteY318" fmla="*/ 1215047 h 2684463"/>
                      <a:gd name="connsiteX319" fmla="*/ 683433 w 2752767"/>
                      <a:gd name="connsiteY319" fmla="*/ 1187881 h 2684463"/>
                      <a:gd name="connsiteX320" fmla="*/ 745276 w 2752767"/>
                      <a:gd name="connsiteY320" fmla="*/ 1158246 h 2684463"/>
                      <a:gd name="connsiteX321" fmla="*/ 826909 w 2752767"/>
                      <a:gd name="connsiteY321" fmla="*/ 1121202 h 2684463"/>
                      <a:gd name="connsiteX322" fmla="*/ 841751 w 2752767"/>
                      <a:gd name="connsiteY322" fmla="*/ 1113793 h 2684463"/>
                      <a:gd name="connsiteX323" fmla="*/ 918436 w 2752767"/>
                      <a:gd name="connsiteY323" fmla="*/ 1089097 h 2684463"/>
                      <a:gd name="connsiteX324" fmla="*/ 1019858 w 2752767"/>
                      <a:gd name="connsiteY324" fmla="*/ 1049583 h 2684463"/>
                      <a:gd name="connsiteX325" fmla="*/ 1084175 w 2752767"/>
                      <a:gd name="connsiteY325" fmla="*/ 1019948 h 2684463"/>
                      <a:gd name="connsiteX326" fmla="*/ 1113859 w 2752767"/>
                      <a:gd name="connsiteY326" fmla="*/ 1007600 h 2684463"/>
                      <a:gd name="connsiteX327" fmla="*/ 1185597 w 2752767"/>
                      <a:gd name="connsiteY327" fmla="*/ 975495 h 2684463"/>
                      <a:gd name="connsiteX328" fmla="*/ 1217755 w 2752767"/>
                      <a:gd name="connsiteY328" fmla="*/ 963147 h 2684463"/>
                      <a:gd name="connsiteX329" fmla="*/ 1341441 w 2752767"/>
                      <a:gd name="connsiteY329" fmla="*/ 916224 h 2684463"/>
                      <a:gd name="connsiteX330" fmla="*/ 1413178 w 2752767"/>
                      <a:gd name="connsiteY330" fmla="*/ 891528 h 2684463"/>
                      <a:gd name="connsiteX331" fmla="*/ 1546759 w 2752767"/>
                      <a:gd name="connsiteY331" fmla="*/ 839667 h 2684463"/>
                      <a:gd name="connsiteX332" fmla="*/ 1536864 w 2752767"/>
                      <a:gd name="connsiteY332" fmla="*/ 772987 h 2684463"/>
                      <a:gd name="connsiteX333" fmla="*/ 1517074 w 2752767"/>
                      <a:gd name="connsiteY333" fmla="*/ 632220 h 2684463"/>
                      <a:gd name="connsiteX334" fmla="*/ 1487390 w 2752767"/>
                      <a:gd name="connsiteY334" fmla="*/ 405015 h 2684463"/>
                      <a:gd name="connsiteX335" fmla="*/ 1460179 w 2752767"/>
                      <a:gd name="connsiteY335" fmla="*/ 229673 h 2684463"/>
                      <a:gd name="connsiteX336" fmla="*/ 1445337 w 2752767"/>
                      <a:gd name="connsiteY336" fmla="*/ 91375 h 2684463"/>
                      <a:gd name="connsiteX337" fmla="*/ 1440389 w 2752767"/>
                      <a:gd name="connsiteY337" fmla="*/ 37044 h 2684463"/>
                      <a:gd name="connsiteX338" fmla="*/ 1428021 w 2752767"/>
                      <a:gd name="connsiteY338" fmla="*/ 2470 h 2684463"/>
                      <a:gd name="connsiteX339" fmla="*/ 1440389 w 2752767"/>
                      <a:gd name="connsiteY339" fmla="*/ 0 h 26844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  <a:cxn ang="0">
                        <a:pos x="connsiteX193" y="connsiteY193"/>
                      </a:cxn>
                      <a:cxn ang="0">
                        <a:pos x="connsiteX194" y="connsiteY194"/>
                      </a:cxn>
                      <a:cxn ang="0">
                        <a:pos x="connsiteX195" y="connsiteY195"/>
                      </a:cxn>
                      <a:cxn ang="0">
                        <a:pos x="connsiteX196" y="connsiteY196"/>
                      </a:cxn>
                      <a:cxn ang="0">
                        <a:pos x="connsiteX197" y="connsiteY197"/>
                      </a:cxn>
                      <a:cxn ang="0">
                        <a:pos x="connsiteX198" y="connsiteY198"/>
                      </a:cxn>
                      <a:cxn ang="0">
                        <a:pos x="connsiteX199" y="connsiteY199"/>
                      </a:cxn>
                      <a:cxn ang="0">
                        <a:pos x="connsiteX200" y="connsiteY200"/>
                      </a:cxn>
                      <a:cxn ang="0">
                        <a:pos x="connsiteX201" y="connsiteY201"/>
                      </a:cxn>
                      <a:cxn ang="0">
                        <a:pos x="connsiteX202" y="connsiteY202"/>
                      </a:cxn>
                      <a:cxn ang="0">
                        <a:pos x="connsiteX203" y="connsiteY203"/>
                      </a:cxn>
                      <a:cxn ang="0">
                        <a:pos x="connsiteX204" y="connsiteY204"/>
                      </a:cxn>
                      <a:cxn ang="0">
                        <a:pos x="connsiteX205" y="connsiteY205"/>
                      </a:cxn>
                      <a:cxn ang="0">
                        <a:pos x="connsiteX206" y="connsiteY206"/>
                      </a:cxn>
                      <a:cxn ang="0">
                        <a:pos x="connsiteX207" y="connsiteY207"/>
                      </a:cxn>
                      <a:cxn ang="0">
                        <a:pos x="connsiteX208" y="connsiteY208"/>
                      </a:cxn>
                      <a:cxn ang="0">
                        <a:pos x="connsiteX209" y="connsiteY209"/>
                      </a:cxn>
                      <a:cxn ang="0">
                        <a:pos x="connsiteX210" y="connsiteY210"/>
                      </a:cxn>
                      <a:cxn ang="0">
                        <a:pos x="connsiteX211" y="connsiteY211"/>
                      </a:cxn>
                      <a:cxn ang="0">
                        <a:pos x="connsiteX212" y="connsiteY212"/>
                      </a:cxn>
                      <a:cxn ang="0">
                        <a:pos x="connsiteX213" y="connsiteY213"/>
                      </a:cxn>
                      <a:cxn ang="0">
                        <a:pos x="connsiteX214" y="connsiteY214"/>
                      </a:cxn>
                      <a:cxn ang="0">
                        <a:pos x="connsiteX215" y="connsiteY215"/>
                      </a:cxn>
                      <a:cxn ang="0">
                        <a:pos x="connsiteX216" y="connsiteY216"/>
                      </a:cxn>
                      <a:cxn ang="0">
                        <a:pos x="connsiteX217" y="connsiteY217"/>
                      </a:cxn>
                      <a:cxn ang="0">
                        <a:pos x="connsiteX218" y="connsiteY218"/>
                      </a:cxn>
                      <a:cxn ang="0">
                        <a:pos x="connsiteX219" y="connsiteY219"/>
                      </a:cxn>
                      <a:cxn ang="0">
                        <a:pos x="connsiteX220" y="connsiteY220"/>
                      </a:cxn>
                      <a:cxn ang="0">
                        <a:pos x="connsiteX221" y="connsiteY221"/>
                      </a:cxn>
                      <a:cxn ang="0">
                        <a:pos x="connsiteX222" y="connsiteY222"/>
                      </a:cxn>
                      <a:cxn ang="0">
                        <a:pos x="connsiteX223" y="connsiteY223"/>
                      </a:cxn>
                      <a:cxn ang="0">
                        <a:pos x="connsiteX224" y="connsiteY224"/>
                      </a:cxn>
                      <a:cxn ang="0">
                        <a:pos x="connsiteX225" y="connsiteY225"/>
                      </a:cxn>
                      <a:cxn ang="0">
                        <a:pos x="connsiteX226" y="connsiteY226"/>
                      </a:cxn>
                      <a:cxn ang="0">
                        <a:pos x="connsiteX227" y="connsiteY227"/>
                      </a:cxn>
                      <a:cxn ang="0">
                        <a:pos x="connsiteX228" y="connsiteY228"/>
                      </a:cxn>
                      <a:cxn ang="0">
                        <a:pos x="connsiteX229" y="connsiteY229"/>
                      </a:cxn>
                      <a:cxn ang="0">
                        <a:pos x="connsiteX230" y="connsiteY230"/>
                      </a:cxn>
                      <a:cxn ang="0">
                        <a:pos x="connsiteX231" y="connsiteY231"/>
                      </a:cxn>
                      <a:cxn ang="0">
                        <a:pos x="connsiteX232" y="connsiteY232"/>
                      </a:cxn>
                      <a:cxn ang="0">
                        <a:pos x="connsiteX233" y="connsiteY233"/>
                      </a:cxn>
                      <a:cxn ang="0">
                        <a:pos x="connsiteX234" y="connsiteY234"/>
                      </a:cxn>
                      <a:cxn ang="0">
                        <a:pos x="connsiteX235" y="connsiteY235"/>
                      </a:cxn>
                      <a:cxn ang="0">
                        <a:pos x="connsiteX236" y="connsiteY236"/>
                      </a:cxn>
                      <a:cxn ang="0">
                        <a:pos x="connsiteX237" y="connsiteY237"/>
                      </a:cxn>
                      <a:cxn ang="0">
                        <a:pos x="connsiteX238" y="connsiteY238"/>
                      </a:cxn>
                      <a:cxn ang="0">
                        <a:pos x="connsiteX239" y="connsiteY239"/>
                      </a:cxn>
                      <a:cxn ang="0">
                        <a:pos x="connsiteX240" y="connsiteY240"/>
                      </a:cxn>
                      <a:cxn ang="0">
                        <a:pos x="connsiteX241" y="connsiteY241"/>
                      </a:cxn>
                      <a:cxn ang="0">
                        <a:pos x="connsiteX242" y="connsiteY242"/>
                      </a:cxn>
                      <a:cxn ang="0">
                        <a:pos x="connsiteX243" y="connsiteY243"/>
                      </a:cxn>
                      <a:cxn ang="0">
                        <a:pos x="connsiteX244" y="connsiteY244"/>
                      </a:cxn>
                      <a:cxn ang="0">
                        <a:pos x="connsiteX245" y="connsiteY245"/>
                      </a:cxn>
                      <a:cxn ang="0">
                        <a:pos x="connsiteX246" y="connsiteY246"/>
                      </a:cxn>
                      <a:cxn ang="0">
                        <a:pos x="connsiteX247" y="connsiteY247"/>
                      </a:cxn>
                      <a:cxn ang="0">
                        <a:pos x="connsiteX248" y="connsiteY248"/>
                      </a:cxn>
                      <a:cxn ang="0">
                        <a:pos x="connsiteX249" y="connsiteY249"/>
                      </a:cxn>
                      <a:cxn ang="0">
                        <a:pos x="connsiteX250" y="connsiteY250"/>
                      </a:cxn>
                      <a:cxn ang="0">
                        <a:pos x="connsiteX251" y="connsiteY251"/>
                      </a:cxn>
                      <a:cxn ang="0">
                        <a:pos x="connsiteX252" y="connsiteY252"/>
                      </a:cxn>
                      <a:cxn ang="0">
                        <a:pos x="connsiteX253" y="connsiteY253"/>
                      </a:cxn>
                      <a:cxn ang="0">
                        <a:pos x="connsiteX254" y="connsiteY254"/>
                      </a:cxn>
                      <a:cxn ang="0">
                        <a:pos x="connsiteX255" y="connsiteY255"/>
                      </a:cxn>
                      <a:cxn ang="0">
                        <a:pos x="connsiteX256" y="connsiteY256"/>
                      </a:cxn>
                      <a:cxn ang="0">
                        <a:pos x="connsiteX257" y="connsiteY257"/>
                      </a:cxn>
                      <a:cxn ang="0">
                        <a:pos x="connsiteX258" y="connsiteY258"/>
                      </a:cxn>
                      <a:cxn ang="0">
                        <a:pos x="connsiteX259" y="connsiteY259"/>
                      </a:cxn>
                      <a:cxn ang="0">
                        <a:pos x="connsiteX260" y="connsiteY260"/>
                      </a:cxn>
                      <a:cxn ang="0">
                        <a:pos x="connsiteX261" y="connsiteY261"/>
                      </a:cxn>
                      <a:cxn ang="0">
                        <a:pos x="connsiteX262" y="connsiteY262"/>
                      </a:cxn>
                      <a:cxn ang="0">
                        <a:pos x="connsiteX263" y="connsiteY263"/>
                      </a:cxn>
                      <a:cxn ang="0">
                        <a:pos x="connsiteX264" y="connsiteY264"/>
                      </a:cxn>
                      <a:cxn ang="0">
                        <a:pos x="connsiteX265" y="connsiteY265"/>
                      </a:cxn>
                      <a:cxn ang="0">
                        <a:pos x="connsiteX266" y="connsiteY266"/>
                      </a:cxn>
                      <a:cxn ang="0">
                        <a:pos x="connsiteX267" y="connsiteY267"/>
                      </a:cxn>
                      <a:cxn ang="0">
                        <a:pos x="connsiteX268" y="connsiteY268"/>
                      </a:cxn>
                      <a:cxn ang="0">
                        <a:pos x="connsiteX269" y="connsiteY269"/>
                      </a:cxn>
                      <a:cxn ang="0">
                        <a:pos x="connsiteX270" y="connsiteY270"/>
                      </a:cxn>
                      <a:cxn ang="0">
                        <a:pos x="connsiteX271" y="connsiteY271"/>
                      </a:cxn>
                      <a:cxn ang="0">
                        <a:pos x="connsiteX272" y="connsiteY272"/>
                      </a:cxn>
                      <a:cxn ang="0">
                        <a:pos x="connsiteX273" y="connsiteY273"/>
                      </a:cxn>
                      <a:cxn ang="0">
                        <a:pos x="connsiteX274" y="connsiteY274"/>
                      </a:cxn>
                      <a:cxn ang="0">
                        <a:pos x="connsiteX275" y="connsiteY275"/>
                      </a:cxn>
                      <a:cxn ang="0">
                        <a:pos x="connsiteX276" y="connsiteY276"/>
                      </a:cxn>
                      <a:cxn ang="0">
                        <a:pos x="connsiteX277" y="connsiteY277"/>
                      </a:cxn>
                      <a:cxn ang="0">
                        <a:pos x="connsiteX278" y="connsiteY278"/>
                      </a:cxn>
                      <a:cxn ang="0">
                        <a:pos x="connsiteX279" y="connsiteY279"/>
                      </a:cxn>
                      <a:cxn ang="0">
                        <a:pos x="connsiteX280" y="connsiteY280"/>
                      </a:cxn>
                      <a:cxn ang="0">
                        <a:pos x="connsiteX281" y="connsiteY281"/>
                      </a:cxn>
                      <a:cxn ang="0">
                        <a:pos x="connsiteX282" y="connsiteY282"/>
                      </a:cxn>
                      <a:cxn ang="0">
                        <a:pos x="connsiteX283" y="connsiteY283"/>
                      </a:cxn>
                      <a:cxn ang="0">
                        <a:pos x="connsiteX284" y="connsiteY284"/>
                      </a:cxn>
                      <a:cxn ang="0">
                        <a:pos x="connsiteX285" y="connsiteY285"/>
                      </a:cxn>
                      <a:cxn ang="0">
                        <a:pos x="connsiteX286" y="connsiteY286"/>
                      </a:cxn>
                      <a:cxn ang="0">
                        <a:pos x="connsiteX287" y="connsiteY287"/>
                      </a:cxn>
                      <a:cxn ang="0">
                        <a:pos x="connsiteX288" y="connsiteY288"/>
                      </a:cxn>
                      <a:cxn ang="0">
                        <a:pos x="connsiteX289" y="connsiteY289"/>
                      </a:cxn>
                      <a:cxn ang="0">
                        <a:pos x="connsiteX290" y="connsiteY290"/>
                      </a:cxn>
                      <a:cxn ang="0">
                        <a:pos x="connsiteX291" y="connsiteY291"/>
                      </a:cxn>
                      <a:cxn ang="0">
                        <a:pos x="connsiteX292" y="connsiteY292"/>
                      </a:cxn>
                      <a:cxn ang="0">
                        <a:pos x="connsiteX293" y="connsiteY293"/>
                      </a:cxn>
                      <a:cxn ang="0">
                        <a:pos x="connsiteX294" y="connsiteY294"/>
                      </a:cxn>
                      <a:cxn ang="0">
                        <a:pos x="connsiteX295" y="connsiteY295"/>
                      </a:cxn>
                      <a:cxn ang="0">
                        <a:pos x="connsiteX296" y="connsiteY296"/>
                      </a:cxn>
                      <a:cxn ang="0">
                        <a:pos x="connsiteX297" y="connsiteY297"/>
                      </a:cxn>
                      <a:cxn ang="0">
                        <a:pos x="connsiteX298" y="connsiteY298"/>
                      </a:cxn>
                      <a:cxn ang="0">
                        <a:pos x="connsiteX299" y="connsiteY299"/>
                      </a:cxn>
                      <a:cxn ang="0">
                        <a:pos x="connsiteX300" y="connsiteY300"/>
                      </a:cxn>
                      <a:cxn ang="0">
                        <a:pos x="connsiteX301" y="connsiteY301"/>
                      </a:cxn>
                      <a:cxn ang="0">
                        <a:pos x="connsiteX302" y="connsiteY302"/>
                      </a:cxn>
                      <a:cxn ang="0">
                        <a:pos x="connsiteX303" y="connsiteY303"/>
                      </a:cxn>
                      <a:cxn ang="0">
                        <a:pos x="connsiteX304" y="connsiteY304"/>
                      </a:cxn>
                      <a:cxn ang="0">
                        <a:pos x="connsiteX305" y="connsiteY305"/>
                      </a:cxn>
                      <a:cxn ang="0">
                        <a:pos x="connsiteX306" y="connsiteY306"/>
                      </a:cxn>
                      <a:cxn ang="0">
                        <a:pos x="connsiteX307" y="connsiteY307"/>
                      </a:cxn>
                      <a:cxn ang="0">
                        <a:pos x="connsiteX308" y="connsiteY308"/>
                      </a:cxn>
                      <a:cxn ang="0">
                        <a:pos x="connsiteX309" y="connsiteY309"/>
                      </a:cxn>
                      <a:cxn ang="0">
                        <a:pos x="connsiteX310" y="connsiteY310"/>
                      </a:cxn>
                      <a:cxn ang="0">
                        <a:pos x="connsiteX311" y="connsiteY311"/>
                      </a:cxn>
                      <a:cxn ang="0">
                        <a:pos x="connsiteX312" y="connsiteY312"/>
                      </a:cxn>
                      <a:cxn ang="0">
                        <a:pos x="connsiteX313" y="connsiteY313"/>
                      </a:cxn>
                      <a:cxn ang="0">
                        <a:pos x="connsiteX314" y="connsiteY314"/>
                      </a:cxn>
                      <a:cxn ang="0">
                        <a:pos x="connsiteX315" y="connsiteY315"/>
                      </a:cxn>
                      <a:cxn ang="0">
                        <a:pos x="connsiteX316" y="connsiteY316"/>
                      </a:cxn>
                      <a:cxn ang="0">
                        <a:pos x="connsiteX317" y="connsiteY317"/>
                      </a:cxn>
                      <a:cxn ang="0">
                        <a:pos x="connsiteX318" y="connsiteY318"/>
                      </a:cxn>
                      <a:cxn ang="0">
                        <a:pos x="connsiteX319" y="connsiteY319"/>
                      </a:cxn>
                      <a:cxn ang="0">
                        <a:pos x="connsiteX320" y="connsiteY320"/>
                      </a:cxn>
                      <a:cxn ang="0">
                        <a:pos x="connsiteX321" y="connsiteY321"/>
                      </a:cxn>
                      <a:cxn ang="0">
                        <a:pos x="connsiteX322" y="connsiteY322"/>
                      </a:cxn>
                      <a:cxn ang="0">
                        <a:pos x="connsiteX323" y="connsiteY323"/>
                      </a:cxn>
                      <a:cxn ang="0">
                        <a:pos x="connsiteX324" y="connsiteY324"/>
                      </a:cxn>
                      <a:cxn ang="0">
                        <a:pos x="connsiteX325" y="connsiteY325"/>
                      </a:cxn>
                      <a:cxn ang="0">
                        <a:pos x="connsiteX326" y="connsiteY326"/>
                      </a:cxn>
                      <a:cxn ang="0">
                        <a:pos x="connsiteX327" y="connsiteY327"/>
                      </a:cxn>
                      <a:cxn ang="0">
                        <a:pos x="connsiteX328" y="connsiteY328"/>
                      </a:cxn>
                      <a:cxn ang="0">
                        <a:pos x="connsiteX329" y="connsiteY329"/>
                      </a:cxn>
                      <a:cxn ang="0">
                        <a:pos x="connsiteX330" y="connsiteY330"/>
                      </a:cxn>
                      <a:cxn ang="0">
                        <a:pos x="connsiteX331" y="connsiteY331"/>
                      </a:cxn>
                      <a:cxn ang="0">
                        <a:pos x="connsiteX332" y="connsiteY332"/>
                      </a:cxn>
                      <a:cxn ang="0">
                        <a:pos x="connsiteX333" y="connsiteY333"/>
                      </a:cxn>
                      <a:cxn ang="0">
                        <a:pos x="connsiteX334" y="connsiteY334"/>
                      </a:cxn>
                      <a:cxn ang="0">
                        <a:pos x="connsiteX335" y="connsiteY335"/>
                      </a:cxn>
                      <a:cxn ang="0">
                        <a:pos x="connsiteX336" y="connsiteY336"/>
                      </a:cxn>
                      <a:cxn ang="0">
                        <a:pos x="connsiteX337" y="connsiteY337"/>
                      </a:cxn>
                      <a:cxn ang="0">
                        <a:pos x="connsiteX338" y="connsiteY338"/>
                      </a:cxn>
                      <a:cxn ang="0">
                        <a:pos x="connsiteX339" y="connsiteY339"/>
                      </a:cxn>
                    </a:cxnLst>
                    <a:rect l="l" t="t" r="r" b="b"/>
                    <a:pathLst>
                      <a:path w="2752767" h="2684463">
                        <a:moveTo>
                          <a:pt x="923383" y="2595557"/>
                        </a:moveTo>
                        <a:cubicBezTo>
                          <a:pt x="920910" y="2600496"/>
                          <a:pt x="918436" y="2605436"/>
                          <a:pt x="915962" y="2610375"/>
                        </a:cubicBezTo>
                        <a:cubicBezTo>
                          <a:pt x="915962" y="2612845"/>
                          <a:pt x="918436" y="2612845"/>
                          <a:pt x="918436" y="2612845"/>
                        </a:cubicBezTo>
                        <a:cubicBezTo>
                          <a:pt x="920910" y="2607905"/>
                          <a:pt x="923383" y="2602966"/>
                          <a:pt x="928331" y="2598027"/>
                        </a:cubicBezTo>
                        <a:cubicBezTo>
                          <a:pt x="925857" y="2595557"/>
                          <a:pt x="923383" y="2595557"/>
                          <a:pt x="923383" y="2595557"/>
                        </a:cubicBezTo>
                        <a:close/>
                        <a:moveTo>
                          <a:pt x="945647" y="2558513"/>
                        </a:moveTo>
                        <a:cubicBezTo>
                          <a:pt x="943173" y="2563452"/>
                          <a:pt x="940699" y="2568392"/>
                          <a:pt x="938226" y="2573331"/>
                        </a:cubicBezTo>
                        <a:cubicBezTo>
                          <a:pt x="938226" y="2573331"/>
                          <a:pt x="940699" y="2575800"/>
                          <a:pt x="943173" y="2575800"/>
                        </a:cubicBezTo>
                        <a:cubicBezTo>
                          <a:pt x="945647" y="2570861"/>
                          <a:pt x="948120" y="2565922"/>
                          <a:pt x="950594" y="2560983"/>
                        </a:cubicBezTo>
                        <a:cubicBezTo>
                          <a:pt x="950594" y="2558513"/>
                          <a:pt x="948120" y="2558513"/>
                          <a:pt x="945647" y="2558513"/>
                        </a:cubicBezTo>
                        <a:close/>
                        <a:moveTo>
                          <a:pt x="1019858" y="2452320"/>
                        </a:moveTo>
                        <a:cubicBezTo>
                          <a:pt x="1017384" y="2457259"/>
                          <a:pt x="1014911" y="2459729"/>
                          <a:pt x="1012437" y="2464668"/>
                        </a:cubicBezTo>
                        <a:cubicBezTo>
                          <a:pt x="1012437" y="2464668"/>
                          <a:pt x="1014911" y="2467138"/>
                          <a:pt x="1014911" y="2467138"/>
                        </a:cubicBezTo>
                        <a:cubicBezTo>
                          <a:pt x="1017384" y="2462198"/>
                          <a:pt x="1019858" y="2459729"/>
                          <a:pt x="1024806" y="2454790"/>
                        </a:cubicBezTo>
                        <a:cubicBezTo>
                          <a:pt x="1022332" y="2454790"/>
                          <a:pt x="1022332" y="2452320"/>
                          <a:pt x="1019858" y="2452320"/>
                        </a:cubicBezTo>
                        <a:close/>
                        <a:moveTo>
                          <a:pt x="1059438" y="2397989"/>
                        </a:moveTo>
                        <a:cubicBezTo>
                          <a:pt x="1056964" y="2402928"/>
                          <a:pt x="1054490" y="2405398"/>
                          <a:pt x="1052016" y="2410337"/>
                        </a:cubicBezTo>
                        <a:cubicBezTo>
                          <a:pt x="1054490" y="2410337"/>
                          <a:pt x="1054490" y="2412806"/>
                          <a:pt x="1056964" y="2415276"/>
                        </a:cubicBezTo>
                        <a:cubicBezTo>
                          <a:pt x="1059438" y="2410337"/>
                          <a:pt x="1064385" y="2407867"/>
                          <a:pt x="1066859" y="2405398"/>
                        </a:cubicBezTo>
                        <a:cubicBezTo>
                          <a:pt x="1064385" y="2402928"/>
                          <a:pt x="1061911" y="2400458"/>
                          <a:pt x="1059438" y="2397989"/>
                        </a:cubicBezTo>
                        <a:close/>
                        <a:moveTo>
                          <a:pt x="1148491" y="2311552"/>
                        </a:moveTo>
                        <a:cubicBezTo>
                          <a:pt x="1123754" y="2311552"/>
                          <a:pt x="1116333" y="2314022"/>
                          <a:pt x="1106438" y="2333779"/>
                        </a:cubicBezTo>
                        <a:cubicBezTo>
                          <a:pt x="1101491" y="2338718"/>
                          <a:pt x="1099017" y="2343657"/>
                          <a:pt x="1096543" y="2348597"/>
                        </a:cubicBezTo>
                        <a:cubicBezTo>
                          <a:pt x="1086648" y="2360945"/>
                          <a:pt x="1076753" y="2370823"/>
                          <a:pt x="1069332" y="2383171"/>
                        </a:cubicBezTo>
                        <a:cubicBezTo>
                          <a:pt x="1069332" y="2385641"/>
                          <a:pt x="1071806" y="2385641"/>
                          <a:pt x="1074280" y="2388110"/>
                        </a:cubicBezTo>
                        <a:cubicBezTo>
                          <a:pt x="1101491" y="2365884"/>
                          <a:pt x="1121280" y="2336249"/>
                          <a:pt x="1148491" y="2311552"/>
                        </a:cubicBezTo>
                        <a:close/>
                        <a:moveTo>
                          <a:pt x="1170755" y="2276978"/>
                        </a:moveTo>
                        <a:cubicBezTo>
                          <a:pt x="1165807" y="2281917"/>
                          <a:pt x="1158386" y="2289326"/>
                          <a:pt x="1153439" y="2294265"/>
                        </a:cubicBezTo>
                        <a:cubicBezTo>
                          <a:pt x="1153439" y="2296735"/>
                          <a:pt x="1155912" y="2299204"/>
                          <a:pt x="1158386" y="2299204"/>
                        </a:cubicBezTo>
                        <a:cubicBezTo>
                          <a:pt x="1163333" y="2294265"/>
                          <a:pt x="1170755" y="2289326"/>
                          <a:pt x="1178176" y="2281917"/>
                        </a:cubicBezTo>
                        <a:cubicBezTo>
                          <a:pt x="1175702" y="2279448"/>
                          <a:pt x="1173228" y="2279448"/>
                          <a:pt x="1170755" y="2276978"/>
                        </a:cubicBezTo>
                        <a:close/>
                        <a:moveTo>
                          <a:pt x="715591" y="1943581"/>
                        </a:moveTo>
                        <a:cubicBezTo>
                          <a:pt x="710644" y="1950990"/>
                          <a:pt x="710644" y="1958399"/>
                          <a:pt x="718065" y="1965807"/>
                        </a:cubicBezTo>
                        <a:cubicBezTo>
                          <a:pt x="718065" y="1958399"/>
                          <a:pt x="715591" y="1950990"/>
                          <a:pt x="715591" y="1943581"/>
                        </a:cubicBezTo>
                        <a:close/>
                        <a:moveTo>
                          <a:pt x="688084" y="510472"/>
                        </a:moveTo>
                        <a:cubicBezTo>
                          <a:pt x="710380" y="508000"/>
                          <a:pt x="727722" y="517888"/>
                          <a:pt x="747541" y="522832"/>
                        </a:cubicBezTo>
                        <a:cubicBezTo>
                          <a:pt x="767360" y="530248"/>
                          <a:pt x="787179" y="535192"/>
                          <a:pt x="806998" y="540136"/>
                        </a:cubicBezTo>
                        <a:cubicBezTo>
                          <a:pt x="816908" y="542608"/>
                          <a:pt x="829295" y="542608"/>
                          <a:pt x="839204" y="540136"/>
                        </a:cubicBezTo>
                        <a:cubicBezTo>
                          <a:pt x="886274" y="532720"/>
                          <a:pt x="935822" y="525304"/>
                          <a:pt x="982892" y="517888"/>
                        </a:cubicBezTo>
                        <a:cubicBezTo>
                          <a:pt x="995279" y="515416"/>
                          <a:pt x="1007666" y="515416"/>
                          <a:pt x="1020053" y="515416"/>
                        </a:cubicBezTo>
                        <a:cubicBezTo>
                          <a:pt x="1042349" y="512944"/>
                          <a:pt x="1064646" y="512944"/>
                          <a:pt x="1089420" y="515416"/>
                        </a:cubicBezTo>
                        <a:cubicBezTo>
                          <a:pt x="1121626" y="515416"/>
                          <a:pt x="1156309" y="517888"/>
                          <a:pt x="1188515" y="525304"/>
                        </a:cubicBezTo>
                        <a:cubicBezTo>
                          <a:pt x="1247972" y="535192"/>
                          <a:pt x="1297520" y="562383"/>
                          <a:pt x="1349545" y="589575"/>
                        </a:cubicBezTo>
                        <a:cubicBezTo>
                          <a:pt x="1354499" y="592047"/>
                          <a:pt x="1359454" y="596991"/>
                          <a:pt x="1361932" y="601935"/>
                        </a:cubicBezTo>
                        <a:cubicBezTo>
                          <a:pt x="1376796" y="626654"/>
                          <a:pt x="1386705" y="651374"/>
                          <a:pt x="1391660" y="678566"/>
                        </a:cubicBezTo>
                        <a:cubicBezTo>
                          <a:pt x="1399092" y="698341"/>
                          <a:pt x="1391660" y="720589"/>
                          <a:pt x="1379273" y="732949"/>
                        </a:cubicBezTo>
                        <a:cubicBezTo>
                          <a:pt x="1364409" y="752725"/>
                          <a:pt x="1347067" y="767556"/>
                          <a:pt x="1327248" y="782388"/>
                        </a:cubicBezTo>
                        <a:cubicBezTo>
                          <a:pt x="1302474" y="802164"/>
                          <a:pt x="1275223" y="807108"/>
                          <a:pt x="1250449" y="819468"/>
                        </a:cubicBezTo>
                        <a:cubicBezTo>
                          <a:pt x="1238062" y="826883"/>
                          <a:pt x="1220721" y="826883"/>
                          <a:pt x="1205857" y="829355"/>
                        </a:cubicBezTo>
                        <a:cubicBezTo>
                          <a:pt x="1178605" y="834299"/>
                          <a:pt x="1148877" y="839243"/>
                          <a:pt x="1121626" y="846659"/>
                        </a:cubicBezTo>
                        <a:cubicBezTo>
                          <a:pt x="1079510" y="854075"/>
                          <a:pt x="1042349" y="844187"/>
                          <a:pt x="1007666" y="824412"/>
                        </a:cubicBezTo>
                        <a:cubicBezTo>
                          <a:pt x="906093" y="765084"/>
                          <a:pt x="816908" y="690925"/>
                          <a:pt x="740109" y="604407"/>
                        </a:cubicBezTo>
                        <a:cubicBezTo>
                          <a:pt x="722767" y="584631"/>
                          <a:pt x="705426" y="562383"/>
                          <a:pt x="690561" y="542608"/>
                        </a:cubicBezTo>
                        <a:cubicBezTo>
                          <a:pt x="683129" y="527776"/>
                          <a:pt x="683129" y="527776"/>
                          <a:pt x="688084" y="510472"/>
                        </a:cubicBezTo>
                        <a:close/>
                        <a:moveTo>
                          <a:pt x="1472547" y="59271"/>
                        </a:moveTo>
                        <a:cubicBezTo>
                          <a:pt x="1470074" y="66679"/>
                          <a:pt x="1470074" y="69149"/>
                          <a:pt x="1470074" y="71619"/>
                        </a:cubicBezTo>
                        <a:cubicBezTo>
                          <a:pt x="1475021" y="125950"/>
                          <a:pt x="1482442" y="177812"/>
                          <a:pt x="1484916" y="232143"/>
                        </a:cubicBezTo>
                        <a:cubicBezTo>
                          <a:pt x="1492337" y="303762"/>
                          <a:pt x="1494811" y="375380"/>
                          <a:pt x="1499758" y="446999"/>
                        </a:cubicBezTo>
                        <a:cubicBezTo>
                          <a:pt x="1499758" y="459347"/>
                          <a:pt x="1502232" y="474164"/>
                          <a:pt x="1504706" y="488982"/>
                        </a:cubicBezTo>
                        <a:cubicBezTo>
                          <a:pt x="1512127" y="526026"/>
                          <a:pt x="1517074" y="565540"/>
                          <a:pt x="1524495" y="605054"/>
                        </a:cubicBezTo>
                        <a:cubicBezTo>
                          <a:pt x="1534390" y="671733"/>
                          <a:pt x="1541811" y="738413"/>
                          <a:pt x="1551706" y="805092"/>
                        </a:cubicBezTo>
                        <a:cubicBezTo>
                          <a:pt x="1554180" y="814970"/>
                          <a:pt x="1554180" y="824849"/>
                          <a:pt x="1566549" y="832258"/>
                        </a:cubicBezTo>
                        <a:cubicBezTo>
                          <a:pt x="1566549" y="805092"/>
                          <a:pt x="1566549" y="782866"/>
                          <a:pt x="1561601" y="760639"/>
                        </a:cubicBezTo>
                        <a:cubicBezTo>
                          <a:pt x="1554180" y="735943"/>
                          <a:pt x="1549233" y="711247"/>
                          <a:pt x="1549233" y="686551"/>
                        </a:cubicBezTo>
                        <a:cubicBezTo>
                          <a:pt x="1549233" y="661855"/>
                          <a:pt x="1544285" y="639628"/>
                          <a:pt x="1541811" y="617402"/>
                        </a:cubicBezTo>
                        <a:cubicBezTo>
                          <a:pt x="1531917" y="577888"/>
                          <a:pt x="1524495" y="538374"/>
                          <a:pt x="1524495" y="498861"/>
                        </a:cubicBezTo>
                        <a:cubicBezTo>
                          <a:pt x="1526969" y="474164"/>
                          <a:pt x="1524495" y="449468"/>
                          <a:pt x="1522022" y="427242"/>
                        </a:cubicBezTo>
                        <a:cubicBezTo>
                          <a:pt x="1519548" y="397607"/>
                          <a:pt x="1512127" y="367971"/>
                          <a:pt x="1509653" y="338336"/>
                        </a:cubicBezTo>
                        <a:cubicBezTo>
                          <a:pt x="1504706" y="288944"/>
                          <a:pt x="1502232" y="239552"/>
                          <a:pt x="1497285" y="190160"/>
                        </a:cubicBezTo>
                        <a:cubicBezTo>
                          <a:pt x="1494811" y="153116"/>
                          <a:pt x="1487390" y="116071"/>
                          <a:pt x="1482442" y="81497"/>
                        </a:cubicBezTo>
                        <a:cubicBezTo>
                          <a:pt x="1482442" y="74088"/>
                          <a:pt x="1477495" y="69149"/>
                          <a:pt x="1472547" y="59271"/>
                        </a:cubicBezTo>
                        <a:close/>
                        <a:moveTo>
                          <a:pt x="1440389" y="0"/>
                        </a:moveTo>
                        <a:cubicBezTo>
                          <a:pt x="1457705" y="7409"/>
                          <a:pt x="1475021" y="12348"/>
                          <a:pt x="1487390" y="22226"/>
                        </a:cubicBezTo>
                        <a:cubicBezTo>
                          <a:pt x="1549233" y="64210"/>
                          <a:pt x="1611075" y="106193"/>
                          <a:pt x="1672918" y="150646"/>
                        </a:cubicBezTo>
                        <a:cubicBezTo>
                          <a:pt x="1710024" y="180281"/>
                          <a:pt x="1744656" y="214856"/>
                          <a:pt x="1781762" y="244491"/>
                        </a:cubicBezTo>
                        <a:cubicBezTo>
                          <a:pt x="1796604" y="259309"/>
                          <a:pt x="1813920" y="274126"/>
                          <a:pt x="1831236" y="284005"/>
                        </a:cubicBezTo>
                        <a:cubicBezTo>
                          <a:pt x="1868341" y="306231"/>
                          <a:pt x="1900500" y="330927"/>
                          <a:pt x="1930184" y="358093"/>
                        </a:cubicBezTo>
                        <a:cubicBezTo>
                          <a:pt x="1954921" y="382789"/>
                          <a:pt x="1969764" y="412424"/>
                          <a:pt x="1967290" y="449468"/>
                        </a:cubicBezTo>
                        <a:cubicBezTo>
                          <a:pt x="1967290" y="484043"/>
                          <a:pt x="1969764" y="521087"/>
                          <a:pt x="1969764" y="560601"/>
                        </a:cubicBezTo>
                        <a:cubicBezTo>
                          <a:pt x="2004396" y="545783"/>
                          <a:pt x="2036554" y="530966"/>
                          <a:pt x="2068712" y="518618"/>
                        </a:cubicBezTo>
                        <a:cubicBezTo>
                          <a:pt x="2100870" y="506269"/>
                          <a:pt x="2133029" y="493921"/>
                          <a:pt x="2165187" y="479104"/>
                        </a:cubicBezTo>
                        <a:cubicBezTo>
                          <a:pt x="2110765" y="484043"/>
                          <a:pt x="2061291" y="503800"/>
                          <a:pt x="2014290" y="526026"/>
                        </a:cubicBezTo>
                        <a:cubicBezTo>
                          <a:pt x="1999448" y="518618"/>
                          <a:pt x="1999448" y="511209"/>
                          <a:pt x="2009343" y="501330"/>
                        </a:cubicBezTo>
                        <a:cubicBezTo>
                          <a:pt x="2031606" y="471695"/>
                          <a:pt x="2053870" y="439590"/>
                          <a:pt x="2078607" y="409955"/>
                        </a:cubicBezTo>
                        <a:cubicBezTo>
                          <a:pt x="2083554" y="402546"/>
                          <a:pt x="2083554" y="395137"/>
                          <a:pt x="2076133" y="387728"/>
                        </a:cubicBezTo>
                        <a:cubicBezTo>
                          <a:pt x="2071186" y="380319"/>
                          <a:pt x="2066238" y="375380"/>
                          <a:pt x="2058817" y="370441"/>
                        </a:cubicBezTo>
                        <a:cubicBezTo>
                          <a:pt x="2014290" y="338336"/>
                          <a:pt x="1974711" y="301292"/>
                          <a:pt x="1940079" y="256839"/>
                        </a:cubicBezTo>
                        <a:cubicBezTo>
                          <a:pt x="1932658" y="246961"/>
                          <a:pt x="1925237" y="234613"/>
                          <a:pt x="1920289" y="222265"/>
                        </a:cubicBezTo>
                        <a:cubicBezTo>
                          <a:pt x="1915342" y="209917"/>
                          <a:pt x="1920289" y="204977"/>
                          <a:pt x="1930184" y="195099"/>
                        </a:cubicBezTo>
                        <a:cubicBezTo>
                          <a:pt x="1940079" y="190160"/>
                          <a:pt x="1947500" y="185220"/>
                          <a:pt x="1954921" y="180281"/>
                        </a:cubicBezTo>
                        <a:cubicBezTo>
                          <a:pt x="1962343" y="172872"/>
                          <a:pt x="1969764" y="165464"/>
                          <a:pt x="1979659" y="162994"/>
                        </a:cubicBezTo>
                        <a:cubicBezTo>
                          <a:pt x="2016764" y="145707"/>
                          <a:pt x="2056344" y="125950"/>
                          <a:pt x="2095923" y="111132"/>
                        </a:cubicBezTo>
                        <a:cubicBezTo>
                          <a:pt x="2145397" y="91375"/>
                          <a:pt x="2194871" y="76558"/>
                          <a:pt x="2249293" y="69149"/>
                        </a:cubicBezTo>
                        <a:cubicBezTo>
                          <a:pt x="2269083" y="66679"/>
                          <a:pt x="2288872" y="74088"/>
                          <a:pt x="2306188" y="86436"/>
                        </a:cubicBezTo>
                        <a:cubicBezTo>
                          <a:pt x="2375452" y="128420"/>
                          <a:pt x="2437295" y="177812"/>
                          <a:pt x="2489243" y="239552"/>
                        </a:cubicBezTo>
                        <a:cubicBezTo>
                          <a:pt x="2504085" y="259309"/>
                          <a:pt x="2521401" y="276596"/>
                          <a:pt x="2523875" y="303762"/>
                        </a:cubicBezTo>
                        <a:cubicBezTo>
                          <a:pt x="2523875" y="308701"/>
                          <a:pt x="2533770" y="316110"/>
                          <a:pt x="2538717" y="321049"/>
                        </a:cubicBezTo>
                        <a:cubicBezTo>
                          <a:pt x="2556033" y="335866"/>
                          <a:pt x="2575823" y="350684"/>
                          <a:pt x="2585718" y="375380"/>
                        </a:cubicBezTo>
                        <a:cubicBezTo>
                          <a:pt x="2573349" y="382789"/>
                          <a:pt x="2563455" y="387728"/>
                          <a:pt x="2548612" y="390198"/>
                        </a:cubicBezTo>
                        <a:cubicBezTo>
                          <a:pt x="2518928" y="395137"/>
                          <a:pt x="2486769" y="400076"/>
                          <a:pt x="2457085" y="407485"/>
                        </a:cubicBezTo>
                        <a:cubicBezTo>
                          <a:pt x="2405137" y="419833"/>
                          <a:pt x="2353189" y="432181"/>
                          <a:pt x="2301241" y="446999"/>
                        </a:cubicBezTo>
                        <a:cubicBezTo>
                          <a:pt x="2266609" y="456877"/>
                          <a:pt x="2234451" y="469225"/>
                          <a:pt x="2199819" y="481573"/>
                        </a:cubicBezTo>
                        <a:cubicBezTo>
                          <a:pt x="2145397" y="503800"/>
                          <a:pt x="2088502" y="526026"/>
                          <a:pt x="2034080" y="550722"/>
                        </a:cubicBezTo>
                        <a:cubicBezTo>
                          <a:pt x="2014290" y="558131"/>
                          <a:pt x="1992027" y="565540"/>
                          <a:pt x="1972237" y="575419"/>
                        </a:cubicBezTo>
                        <a:cubicBezTo>
                          <a:pt x="1969764" y="612463"/>
                          <a:pt x="1977185" y="649507"/>
                          <a:pt x="1977185" y="691490"/>
                        </a:cubicBezTo>
                        <a:cubicBezTo>
                          <a:pt x="1999448" y="681612"/>
                          <a:pt x="2019238" y="674203"/>
                          <a:pt x="2039028" y="669264"/>
                        </a:cubicBezTo>
                        <a:cubicBezTo>
                          <a:pt x="2056344" y="661855"/>
                          <a:pt x="2073660" y="659385"/>
                          <a:pt x="2093449" y="654446"/>
                        </a:cubicBezTo>
                        <a:cubicBezTo>
                          <a:pt x="2095923" y="654446"/>
                          <a:pt x="2100870" y="656916"/>
                          <a:pt x="2103344" y="654446"/>
                        </a:cubicBezTo>
                        <a:cubicBezTo>
                          <a:pt x="2137976" y="637159"/>
                          <a:pt x="2177555" y="637159"/>
                          <a:pt x="2214661" y="624811"/>
                        </a:cubicBezTo>
                        <a:cubicBezTo>
                          <a:pt x="2241872" y="614932"/>
                          <a:pt x="2271557" y="612463"/>
                          <a:pt x="2298767" y="607523"/>
                        </a:cubicBezTo>
                        <a:cubicBezTo>
                          <a:pt x="2303715" y="607523"/>
                          <a:pt x="2308662" y="607523"/>
                          <a:pt x="2313610" y="605054"/>
                        </a:cubicBezTo>
                        <a:cubicBezTo>
                          <a:pt x="2365558" y="590236"/>
                          <a:pt x="2422453" y="587767"/>
                          <a:pt x="2476875" y="577888"/>
                        </a:cubicBezTo>
                        <a:cubicBezTo>
                          <a:pt x="2499138" y="572949"/>
                          <a:pt x="2521401" y="580358"/>
                          <a:pt x="2541191" y="592706"/>
                        </a:cubicBezTo>
                        <a:cubicBezTo>
                          <a:pt x="2600560" y="632220"/>
                          <a:pt x="2654982" y="676672"/>
                          <a:pt x="2701982" y="733473"/>
                        </a:cubicBezTo>
                        <a:cubicBezTo>
                          <a:pt x="2721772" y="758169"/>
                          <a:pt x="2729193" y="770518"/>
                          <a:pt x="2687140" y="792744"/>
                        </a:cubicBezTo>
                        <a:cubicBezTo>
                          <a:pt x="2679719" y="797683"/>
                          <a:pt x="2674772" y="802622"/>
                          <a:pt x="2669824" y="805092"/>
                        </a:cubicBezTo>
                        <a:cubicBezTo>
                          <a:pt x="2667350" y="807562"/>
                          <a:pt x="2664877" y="812501"/>
                          <a:pt x="2659929" y="812501"/>
                        </a:cubicBezTo>
                        <a:cubicBezTo>
                          <a:pt x="2612929" y="827318"/>
                          <a:pt x="2570876" y="856954"/>
                          <a:pt x="2518928" y="859423"/>
                        </a:cubicBezTo>
                        <a:cubicBezTo>
                          <a:pt x="2509033" y="859423"/>
                          <a:pt x="2499138" y="861893"/>
                          <a:pt x="2489243" y="864363"/>
                        </a:cubicBezTo>
                        <a:cubicBezTo>
                          <a:pt x="2452138" y="876711"/>
                          <a:pt x="2412558" y="881650"/>
                          <a:pt x="2372979" y="881650"/>
                        </a:cubicBezTo>
                        <a:cubicBezTo>
                          <a:pt x="2353189" y="881650"/>
                          <a:pt x="2333399" y="881650"/>
                          <a:pt x="2313610" y="879180"/>
                        </a:cubicBezTo>
                        <a:cubicBezTo>
                          <a:pt x="2291346" y="876711"/>
                          <a:pt x="2266609" y="881650"/>
                          <a:pt x="2244346" y="884119"/>
                        </a:cubicBezTo>
                        <a:cubicBezTo>
                          <a:pt x="2217135" y="886589"/>
                          <a:pt x="2189924" y="891528"/>
                          <a:pt x="2162713" y="896468"/>
                        </a:cubicBezTo>
                        <a:cubicBezTo>
                          <a:pt x="2160239" y="896468"/>
                          <a:pt x="2157766" y="893998"/>
                          <a:pt x="2155292" y="893998"/>
                        </a:cubicBezTo>
                        <a:cubicBezTo>
                          <a:pt x="2160239" y="884119"/>
                          <a:pt x="2165187" y="879180"/>
                          <a:pt x="2177555" y="879180"/>
                        </a:cubicBezTo>
                        <a:cubicBezTo>
                          <a:pt x="2197345" y="879180"/>
                          <a:pt x="2202293" y="874241"/>
                          <a:pt x="2204766" y="854484"/>
                        </a:cubicBezTo>
                        <a:cubicBezTo>
                          <a:pt x="2197345" y="847075"/>
                          <a:pt x="2189924" y="852015"/>
                          <a:pt x="2182503" y="854484"/>
                        </a:cubicBezTo>
                        <a:cubicBezTo>
                          <a:pt x="2162713" y="861893"/>
                          <a:pt x="2140450" y="869302"/>
                          <a:pt x="2118186" y="869302"/>
                        </a:cubicBezTo>
                        <a:cubicBezTo>
                          <a:pt x="2098397" y="871771"/>
                          <a:pt x="2081081" y="881650"/>
                          <a:pt x="2063765" y="886589"/>
                        </a:cubicBezTo>
                        <a:cubicBezTo>
                          <a:pt x="2056344" y="889059"/>
                          <a:pt x="2048922" y="889059"/>
                          <a:pt x="2041501" y="893998"/>
                        </a:cubicBezTo>
                        <a:cubicBezTo>
                          <a:pt x="2036554" y="893998"/>
                          <a:pt x="2034080" y="896468"/>
                          <a:pt x="2031606" y="898937"/>
                        </a:cubicBezTo>
                        <a:cubicBezTo>
                          <a:pt x="2026659" y="901407"/>
                          <a:pt x="2024185" y="908816"/>
                          <a:pt x="2021712" y="906346"/>
                        </a:cubicBezTo>
                        <a:cubicBezTo>
                          <a:pt x="1999448" y="901407"/>
                          <a:pt x="1987080" y="926103"/>
                          <a:pt x="1967290" y="928572"/>
                        </a:cubicBezTo>
                        <a:cubicBezTo>
                          <a:pt x="1952448" y="931042"/>
                          <a:pt x="1949974" y="940920"/>
                          <a:pt x="1952448" y="960677"/>
                        </a:cubicBezTo>
                        <a:cubicBezTo>
                          <a:pt x="1957395" y="982904"/>
                          <a:pt x="1962343" y="1002661"/>
                          <a:pt x="1964816" y="1024887"/>
                        </a:cubicBezTo>
                        <a:cubicBezTo>
                          <a:pt x="1972237" y="1059462"/>
                          <a:pt x="1974711" y="1091567"/>
                          <a:pt x="1979659" y="1126141"/>
                        </a:cubicBezTo>
                        <a:cubicBezTo>
                          <a:pt x="1982132" y="1138489"/>
                          <a:pt x="1987080" y="1153307"/>
                          <a:pt x="1989553" y="1168124"/>
                        </a:cubicBezTo>
                        <a:cubicBezTo>
                          <a:pt x="1996974" y="1205168"/>
                          <a:pt x="2001922" y="1242213"/>
                          <a:pt x="2009343" y="1281726"/>
                        </a:cubicBezTo>
                        <a:cubicBezTo>
                          <a:pt x="2016764" y="1318770"/>
                          <a:pt x="2029133" y="1355815"/>
                          <a:pt x="2036554" y="1392859"/>
                        </a:cubicBezTo>
                        <a:cubicBezTo>
                          <a:pt x="2046449" y="1434842"/>
                          <a:pt x="2048922" y="1474356"/>
                          <a:pt x="2061291" y="1513869"/>
                        </a:cubicBezTo>
                        <a:cubicBezTo>
                          <a:pt x="2078607" y="1570670"/>
                          <a:pt x="2081081" y="1632411"/>
                          <a:pt x="2098397" y="1689211"/>
                        </a:cubicBezTo>
                        <a:cubicBezTo>
                          <a:pt x="2108291" y="1718847"/>
                          <a:pt x="2113239" y="1750952"/>
                          <a:pt x="2120660" y="1780587"/>
                        </a:cubicBezTo>
                        <a:cubicBezTo>
                          <a:pt x="2125607" y="1795405"/>
                          <a:pt x="2130555" y="1807753"/>
                          <a:pt x="2135502" y="1822570"/>
                        </a:cubicBezTo>
                        <a:cubicBezTo>
                          <a:pt x="2145397" y="1852206"/>
                          <a:pt x="2155292" y="1884310"/>
                          <a:pt x="2160239" y="1913946"/>
                        </a:cubicBezTo>
                        <a:cubicBezTo>
                          <a:pt x="2167661" y="1955929"/>
                          <a:pt x="2184977" y="1995443"/>
                          <a:pt x="2199819" y="2032487"/>
                        </a:cubicBezTo>
                        <a:cubicBezTo>
                          <a:pt x="2202293" y="2039896"/>
                          <a:pt x="2202293" y="2047305"/>
                          <a:pt x="2207240" y="2054713"/>
                        </a:cubicBezTo>
                        <a:cubicBezTo>
                          <a:pt x="2209714" y="2059653"/>
                          <a:pt x="2214661" y="2064592"/>
                          <a:pt x="2219609" y="2064592"/>
                        </a:cubicBezTo>
                        <a:cubicBezTo>
                          <a:pt x="2222082" y="2064592"/>
                          <a:pt x="2227030" y="2059653"/>
                          <a:pt x="2229503" y="2054713"/>
                        </a:cubicBezTo>
                        <a:cubicBezTo>
                          <a:pt x="2231977" y="2052244"/>
                          <a:pt x="2231977" y="2047305"/>
                          <a:pt x="2234451" y="2042365"/>
                        </a:cubicBezTo>
                        <a:cubicBezTo>
                          <a:pt x="2236925" y="1995443"/>
                          <a:pt x="2239398" y="1950990"/>
                          <a:pt x="2244346" y="1904067"/>
                        </a:cubicBezTo>
                        <a:cubicBezTo>
                          <a:pt x="2246819" y="1871962"/>
                          <a:pt x="2249293" y="1839858"/>
                          <a:pt x="2251767" y="1805283"/>
                        </a:cubicBezTo>
                        <a:cubicBezTo>
                          <a:pt x="2256714" y="1746012"/>
                          <a:pt x="2259188" y="1686742"/>
                          <a:pt x="2264135" y="1629941"/>
                        </a:cubicBezTo>
                        <a:cubicBezTo>
                          <a:pt x="2264135" y="1622532"/>
                          <a:pt x="2264135" y="1617593"/>
                          <a:pt x="2269083" y="1610184"/>
                        </a:cubicBezTo>
                        <a:cubicBezTo>
                          <a:pt x="2276504" y="1639819"/>
                          <a:pt x="2283925" y="1666985"/>
                          <a:pt x="2291346" y="1696620"/>
                        </a:cubicBezTo>
                        <a:cubicBezTo>
                          <a:pt x="2296294" y="1694151"/>
                          <a:pt x="2298767" y="1694151"/>
                          <a:pt x="2298767" y="1694151"/>
                        </a:cubicBezTo>
                        <a:cubicBezTo>
                          <a:pt x="2306188" y="1669455"/>
                          <a:pt x="2316083" y="1644759"/>
                          <a:pt x="2303715" y="1617593"/>
                        </a:cubicBezTo>
                        <a:cubicBezTo>
                          <a:pt x="2301241" y="1612654"/>
                          <a:pt x="2301241" y="1610184"/>
                          <a:pt x="2301241" y="1605245"/>
                        </a:cubicBezTo>
                        <a:cubicBezTo>
                          <a:pt x="2296294" y="1560792"/>
                          <a:pt x="2288872" y="1513869"/>
                          <a:pt x="2286399" y="1469416"/>
                        </a:cubicBezTo>
                        <a:cubicBezTo>
                          <a:pt x="2283925" y="1452129"/>
                          <a:pt x="2283925" y="1432372"/>
                          <a:pt x="2286399" y="1415085"/>
                        </a:cubicBezTo>
                        <a:cubicBezTo>
                          <a:pt x="2286399" y="1410146"/>
                          <a:pt x="2291346" y="1400267"/>
                          <a:pt x="2296294" y="1397798"/>
                        </a:cubicBezTo>
                        <a:cubicBezTo>
                          <a:pt x="2306188" y="1390389"/>
                          <a:pt x="2306188" y="1380511"/>
                          <a:pt x="2306188" y="1368163"/>
                        </a:cubicBezTo>
                        <a:cubicBezTo>
                          <a:pt x="2306188" y="1353345"/>
                          <a:pt x="2306188" y="1340997"/>
                          <a:pt x="2308662" y="1326179"/>
                        </a:cubicBezTo>
                        <a:cubicBezTo>
                          <a:pt x="2358136" y="1378041"/>
                          <a:pt x="2392768" y="1439781"/>
                          <a:pt x="2434822" y="1496582"/>
                        </a:cubicBezTo>
                        <a:cubicBezTo>
                          <a:pt x="2432348" y="1469416"/>
                          <a:pt x="2415032" y="1447190"/>
                          <a:pt x="2405137" y="1420024"/>
                        </a:cubicBezTo>
                        <a:cubicBezTo>
                          <a:pt x="2395242" y="1395328"/>
                          <a:pt x="2385347" y="1370632"/>
                          <a:pt x="2375452" y="1343466"/>
                        </a:cubicBezTo>
                        <a:cubicBezTo>
                          <a:pt x="2380400" y="1348406"/>
                          <a:pt x="2382874" y="1350875"/>
                          <a:pt x="2387821" y="1355815"/>
                        </a:cubicBezTo>
                        <a:cubicBezTo>
                          <a:pt x="2447190" y="1434842"/>
                          <a:pt x="2494191" y="1521278"/>
                          <a:pt x="2531296" y="1612654"/>
                        </a:cubicBezTo>
                        <a:cubicBezTo>
                          <a:pt x="2558507" y="1679333"/>
                          <a:pt x="2585718" y="1743543"/>
                          <a:pt x="2617876" y="1807753"/>
                        </a:cubicBezTo>
                        <a:cubicBezTo>
                          <a:pt x="2657456" y="1894189"/>
                          <a:pt x="2684666" y="1985564"/>
                          <a:pt x="2711877" y="2076940"/>
                        </a:cubicBezTo>
                        <a:cubicBezTo>
                          <a:pt x="2726720" y="2128802"/>
                          <a:pt x="2741562" y="2180663"/>
                          <a:pt x="2746509" y="2232525"/>
                        </a:cubicBezTo>
                        <a:cubicBezTo>
                          <a:pt x="2751457" y="2267100"/>
                          <a:pt x="2756404" y="2299204"/>
                          <a:pt x="2748983" y="2336249"/>
                        </a:cubicBezTo>
                        <a:cubicBezTo>
                          <a:pt x="2744036" y="2353536"/>
                          <a:pt x="2748983" y="2373293"/>
                          <a:pt x="2748983" y="2390580"/>
                        </a:cubicBezTo>
                        <a:cubicBezTo>
                          <a:pt x="2751457" y="2417746"/>
                          <a:pt x="2746509" y="2439972"/>
                          <a:pt x="2731667" y="2462198"/>
                        </a:cubicBezTo>
                        <a:cubicBezTo>
                          <a:pt x="2719298" y="2477016"/>
                          <a:pt x="2714351" y="2499243"/>
                          <a:pt x="2706930" y="2516530"/>
                        </a:cubicBezTo>
                        <a:cubicBezTo>
                          <a:pt x="2694561" y="2536287"/>
                          <a:pt x="2679719" y="2553574"/>
                          <a:pt x="2654982" y="2563452"/>
                        </a:cubicBezTo>
                        <a:cubicBezTo>
                          <a:pt x="2635192" y="2573331"/>
                          <a:pt x="2620350" y="2588148"/>
                          <a:pt x="2598087" y="2593088"/>
                        </a:cubicBezTo>
                        <a:cubicBezTo>
                          <a:pt x="2575823" y="2595557"/>
                          <a:pt x="2556033" y="2595557"/>
                          <a:pt x="2533770" y="2588148"/>
                        </a:cubicBezTo>
                        <a:cubicBezTo>
                          <a:pt x="2489243" y="2575800"/>
                          <a:pt x="2449664" y="2551104"/>
                          <a:pt x="2412558" y="2526408"/>
                        </a:cubicBezTo>
                        <a:cubicBezTo>
                          <a:pt x="2274030" y="2432563"/>
                          <a:pt x="2150345" y="2321431"/>
                          <a:pt x="2041501" y="2195481"/>
                        </a:cubicBezTo>
                        <a:cubicBezTo>
                          <a:pt x="1992027" y="2141150"/>
                          <a:pt x="1949974" y="2081879"/>
                          <a:pt x="1917816" y="2015200"/>
                        </a:cubicBezTo>
                        <a:cubicBezTo>
                          <a:pt x="1900500" y="1980625"/>
                          <a:pt x="1880710" y="1948520"/>
                          <a:pt x="1863394" y="1913946"/>
                        </a:cubicBezTo>
                        <a:cubicBezTo>
                          <a:pt x="1858447" y="1901598"/>
                          <a:pt x="1851025" y="1886780"/>
                          <a:pt x="1846078" y="1874432"/>
                        </a:cubicBezTo>
                        <a:cubicBezTo>
                          <a:pt x="1833709" y="1844797"/>
                          <a:pt x="1818867" y="1815161"/>
                          <a:pt x="1808972" y="1785526"/>
                        </a:cubicBezTo>
                        <a:cubicBezTo>
                          <a:pt x="1796604" y="1746012"/>
                          <a:pt x="1784235" y="1706499"/>
                          <a:pt x="1771867" y="1664515"/>
                        </a:cubicBezTo>
                        <a:cubicBezTo>
                          <a:pt x="1759498" y="1629941"/>
                          <a:pt x="1749603" y="1597836"/>
                          <a:pt x="1739708" y="1563262"/>
                        </a:cubicBezTo>
                        <a:cubicBezTo>
                          <a:pt x="1729814" y="1523748"/>
                          <a:pt x="1722392" y="1484234"/>
                          <a:pt x="1710024" y="1444720"/>
                        </a:cubicBezTo>
                        <a:cubicBezTo>
                          <a:pt x="1692708" y="1390389"/>
                          <a:pt x="1672918" y="1336058"/>
                          <a:pt x="1655602" y="1279257"/>
                        </a:cubicBezTo>
                        <a:cubicBezTo>
                          <a:pt x="1640760" y="1229865"/>
                          <a:pt x="1628391" y="1180472"/>
                          <a:pt x="1616023" y="1128611"/>
                        </a:cubicBezTo>
                        <a:cubicBezTo>
                          <a:pt x="1611075" y="1113793"/>
                          <a:pt x="1606128" y="1096506"/>
                          <a:pt x="1603654" y="1079219"/>
                        </a:cubicBezTo>
                        <a:cubicBezTo>
                          <a:pt x="1596233" y="1079219"/>
                          <a:pt x="1588812" y="1081688"/>
                          <a:pt x="1581391" y="1084158"/>
                        </a:cubicBezTo>
                        <a:cubicBezTo>
                          <a:pt x="1549233" y="1098975"/>
                          <a:pt x="1517074" y="1111323"/>
                          <a:pt x="1484916" y="1126141"/>
                        </a:cubicBezTo>
                        <a:cubicBezTo>
                          <a:pt x="1467600" y="1136019"/>
                          <a:pt x="1450284" y="1148368"/>
                          <a:pt x="1435442" y="1158246"/>
                        </a:cubicBezTo>
                        <a:cubicBezTo>
                          <a:pt x="1430494" y="1160716"/>
                          <a:pt x="1425547" y="1160716"/>
                          <a:pt x="1420600" y="1163185"/>
                        </a:cubicBezTo>
                        <a:cubicBezTo>
                          <a:pt x="1403284" y="1170594"/>
                          <a:pt x="1383494" y="1175533"/>
                          <a:pt x="1363704" y="1182942"/>
                        </a:cubicBezTo>
                        <a:cubicBezTo>
                          <a:pt x="1351336" y="1187881"/>
                          <a:pt x="1338967" y="1190351"/>
                          <a:pt x="1346388" y="1207638"/>
                        </a:cubicBezTo>
                        <a:cubicBezTo>
                          <a:pt x="1348862" y="1210108"/>
                          <a:pt x="1346388" y="1215047"/>
                          <a:pt x="1346388" y="1217517"/>
                        </a:cubicBezTo>
                        <a:cubicBezTo>
                          <a:pt x="1334020" y="1237273"/>
                          <a:pt x="1321651" y="1257030"/>
                          <a:pt x="1311756" y="1279257"/>
                        </a:cubicBezTo>
                        <a:cubicBezTo>
                          <a:pt x="1304335" y="1299014"/>
                          <a:pt x="1299388" y="1321240"/>
                          <a:pt x="1291966" y="1343466"/>
                        </a:cubicBezTo>
                        <a:cubicBezTo>
                          <a:pt x="1289493" y="1350875"/>
                          <a:pt x="1287019" y="1358284"/>
                          <a:pt x="1287019" y="1365693"/>
                        </a:cubicBezTo>
                        <a:cubicBezTo>
                          <a:pt x="1282072" y="1387919"/>
                          <a:pt x="1277124" y="1410146"/>
                          <a:pt x="1274650" y="1432372"/>
                        </a:cubicBezTo>
                        <a:cubicBezTo>
                          <a:pt x="1274650" y="1447190"/>
                          <a:pt x="1289493" y="1454599"/>
                          <a:pt x="1306809" y="1447190"/>
                        </a:cubicBezTo>
                        <a:cubicBezTo>
                          <a:pt x="1316704" y="1442251"/>
                          <a:pt x="1326598" y="1437312"/>
                          <a:pt x="1336493" y="1432372"/>
                        </a:cubicBezTo>
                        <a:cubicBezTo>
                          <a:pt x="1356283" y="1422494"/>
                          <a:pt x="1376073" y="1427433"/>
                          <a:pt x="1393389" y="1439781"/>
                        </a:cubicBezTo>
                        <a:cubicBezTo>
                          <a:pt x="1450284" y="1474356"/>
                          <a:pt x="1499758" y="1516339"/>
                          <a:pt x="1541811" y="1568201"/>
                        </a:cubicBezTo>
                        <a:cubicBezTo>
                          <a:pt x="1561601" y="1592897"/>
                          <a:pt x="1561601" y="1597836"/>
                          <a:pt x="1544285" y="1622532"/>
                        </a:cubicBezTo>
                        <a:cubicBezTo>
                          <a:pt x="1544285" y="1625002"/>
                          <a:pt x="1541811" y="1627471"/>
                          <a:pt x="1541811" y="1629941"/>
                        </a:cubicBezTo>
                        <a:cubicBezTo>
                          <a:pt x="1534390" y="1664515"/>
                          <a:pt x="1507179" y="1681803"/>
                          <a:pt x="1479969" y="1699090"/>
                        </a:cubicBezTo>
                        <a:cubicBezTo>
                          <a:pt x="1435442" y="1726256"/>
                          <a:pt x="1388441" y="1746012"/>
                          <a:pt x="1343914" y="1770709"/>
                        </a:cubicBezTo>
                        <a:cubicBezTo>
                          <a:pt x="1326598" y="1783057"/>
                          <a:pt x="1311756" y="1795405"/>
                          <a:pt x="1301861" y="1812692"/>
                        </a:cubicBezTo>
                        <a:cubicBezTo>
                          <a:pt x="1296914" y="1817631"/>
                          <a:pt x="1294440" y="1822570"/>
                          <a:pt x="1294440" y="1829979"/>
                        </a:cubicBezTo>
                        <a:cubicBezTo>
                          <a:pt x="1291966" y="1857145"/>
                          <a:pt x="1289493" y="1884310"/>
                          <a:pt x="1284545" y="1916415"/>
                        </a:cubicBezTo>
                        <a:cubicBezTo>
                          <a:pt x="1296914" y="1911476"/>
                          <a:pt x="1309282" y="1909007"/>
                          <a:pt x="1319177" y="1901598"/>
                        </a:cubicBezTo>
                        <a:cubicBezTo>
                          <a:pt x="1385968" y="1859614"/>
                          <a:pt x="1460179" y="1827509"/>
                          <a:pt x="1531917" y="1795405"/>
                        </a:cubicBezTo>
                        <a:cubicBezTo>
                          <a:pt x="1544285" y="1790465"/>
                          <a:pt x="1556654" y="1787996"/>
                          <a:pt x="1569022" y="1787996"/>
                        </a:cubicBezTo>
                        <a:cubicBezTo>
                          <a:pt x="1541811" y="1805283"/>
                          <a:pt x="1514601" y="1820101"/>
                          <a:pt x="1487390" y="1837388"/>
                        </a:cubicBezTo>
                        <a:cubicBezTo>
                          <a:pt x="1487390" y="1837388"/>
                          <a:pt x="1487390" y="1839858"/>
                          <a:pt x="1487390" y="1839858"/>
                        </a:cubicBezTo>
                        <a:cubicBezTo>
                          <a:pt x="1514601" y="1832449"/>
                          <a:pt x="1541811" y="1825040"/>
                          <a:pt x="1569022" y="1817631"/>
                        </a:cubicBezTo>
                        <a:cubicBezTo>
                          <a:pt x="1571496" y="1820101"/>
                          <a:pt x="1571496" y="1822570"/>
                          <a:pt x="1571496" y="1825040"/>
                        </a:cubicBezTo>
                        <a:cubicBezTo>
                          <a:pt x="1546759" y="1849736"/>
                          <a:pt x="1512127" y="1864554"/>
                          <a:pt x="1484916" y="1886780"/>
                        </a:cubicBezTo>
                        <a:cubicBezTo>
                          <a:pt x="1497285" y="1896658"/>
                          <a:pt x="1489863" y="1906537"/>
                          <a:pt x="1484916" y="1918885"/>
                        </a:cubicBezTo>
                        <a:cubicBezTo>
                          <a:pt x="1487390" y="1921355"/>
                          <a:pt x="1489863" y="1921355"/>
                          <a:pt x="1494811" y="1923824"/>
                        </a:cubicBezTo>
                        <a:cubicBezTo>
                          <a:pt x="1477495" y="1943581"/>
                          <a:pt x="1452758" y="1950990"/>
                          <a:pt x="1437915" y="1978156"/>
                        </a:cubicBezTo>
                        <a:cubicBezTo>
                          <a:pt x="1467600" y="1965807"/>
                          <a:pt x="1494811" y="1953459"/>
                          <a:pt x="1519548" y="1941111"/>
                        </a:cubicBezTo>
                        <a:cubicBezTo>
                          <a:pt x="1522022" y="1941111"/>
                          <a:pt x="1522022" y="1943581"/>
                          <a:pt x="1524495" y="1943581"/>
                        </a:cubicBezTo>
                        <a:cubicBezTo>
                          <a:pt x="1519548" y="1948520"/>
                          <a:pt x="1517074" y="1953459"/>
                          <a:pt x="1514601" y="1958399"/>
                        </a:cubicBezTo>
                        <a:cubicBezTo>
                          <a:pt x="1479969" y="1992973"/>
                          <a:pt x="1445337" y="2027548"/>
                          <a:pt x="1410705" y="2059653"/>
                        </a:cubicBezTo>
                        <a:cubicBezTo>
                          <a:pt x="1381020" y="2084349"/>
                          <a:pt x="1356283" y="2111514"/>
                          <a:pt x="1329072" y="2138680"/>
                        </a:cubicBezTo>
                        <a:cubicBezTo>
                          <a:pt x="1304335" y="2165846"/>
                          <a:pt x="1277124" y="2190542"/>
                          <a:pt x="1249913" y="2215238"/>
                        </a:cubicBezTo>
                        <a:cubicBezTo>
                          <a:pt x="1235071" y="2227586"/>
                          <a:pt x="1217755" y="2237464"/>
                          <a:pt x="1202913" y="2247343"/>
                        </a:cubicBezTo>
                        <a:cubicBezTo>
                          <a:pt x="1197965" y="2252282"/>
                          <a:pt x="1193018" y="2259691"/>
                          <a:pt x="1183123" y="2269569"/>
                        </a:cubicBezTo>
                        <a:cubicBezTo>
                          <a:pt x="1193018" y="2269569"/>
                          <a:pt x="1197965" y="2269569"/>
                          <a:pt x="1205387" y="2269569"/>
                        </a:cubicBezTo>
                        <a:cubicBezTo>
                          <a:pt x="1148491" y="2336249"/>
                          <a:pt x="1089122" y="2400458"/>
                          <a:pt x="1039648" y="2469607"/>
                        </a:cubicBezTo>
                        <a:cubicBezTo>
                          <a:pt x="987700" y="2538756"/>
                          <a:pt x="945647" y="2612845"/>
                          <a:pt x="898646" y="2684463"/>
                        </a:cubicBezTo>
                        <a:cubicBezTo>
                          <a:pt x="859067" y="2677054"/>
                          <a:pt x="829382" y="2654828"/>
                          <a:pt x="802171" y="2632601"/>
                        </a:cubicBezTo>
                        <a:cubicBezTo>
                          <a:pt x="789803" y="2622723"/>
                          <a:pt x="784855" y="2612845"/>
                          <a:pt x="784855" y="2598027"/>
                        </a:cubicBezTo>
                        <a:cubicBezTo>
                          <a:pt x="779908" y="2556044"/>
                          <a:pt x="777434" y="2514060"/>
                          <a:pt x="770013" y="2474547"/>
                        </a:cubicBezTo>
                        <a:cubicBezTo>
                          <a:pt x="765066" y="2449850"/>
                          <a:pt x="760118" y="2427624"/>
                          <a:pt x="760118" y="2402928"/>
                        </a:cubicBezTo>
                        <a:cubicBezTo>
                          <a:pt x="757645" y="2400458"/>
                          <a:pt x="757645" y="2395519"/>
                          <a:pt x="755171" y="2393049"/>
                        </a:cubicBezTo>
                        <a:cubicBezTo>
                          <a:pt x="742802" y="2370823"/>
                          <a:pt x="732907" y="2351066"/>
                          <a:pt x="720539" y="2328840"/>
                        </a:cubicBezTo>
                        <a:cubicBezTo>
                          <a:pt x="762592" y="2291796"/>
                          <a:pt x="799698" y="2257221"/>
                          <a:pt x="841751" y="2222647"/>
                        </a:cubicBezTo>
                        <a:cubicBezTo>
                          <a:pt x="831856" y="2212768"/>
                          <a:pt x="824435" y="2205359"/>
                          <a:pt x="817014" y="2197951"/>
                        </a:cubicBezTo>
                        <a:cubicBezTo>
                          <a:pt x="787329" y="2168315"/>
                          <a:pt x="755171" y="2138680"/>
                          <a:pt x="725486" y="2109045"/>
                        </a:cubicBezTo>
                        <a:cubicBezTo>
                          <a:pt x="695802" y="2079409"/>
                          <a:pt x="683433" y="2044835"/>
                          <a:pt x="683433" y="2002852"/>
                        </a:cubicBezTo>
                        <a:cubicBezTo>
                          <a:pt x="683433" y="1968277"/>
                          <a:pt x="680959" y="1933703"/>
                          <a:pt x="695802" y="1899128"/>
                        </a:cubicBezTo>
                        <a:cubicBezTo>
                          <a:pt x="695802" y="1899128"/>
                          <a:pt x="698275" y="1896658"/>
                          <a:pt x="700749" y="1894189"/>
                        </a:cubicBezTo>
                        <a:cubicBezTo>
                          <a:pt x="703223" y="1904067"/>
                          <a:pt x="705697" y="1913946"/>
                          <a:pt x="708170" y="1921355"/>
                        </a:cubicBezTo>
                        <a:cubicBezTo>
                          <a:pt x="710644" y="1928763"/>
                          <a:pt x="713118" y="1933703"/>
                          <a:pt x="715591" y="1941111"/>
                        </a:cubicBezTo>
                        <a:cubicBezTo>
                          <a:pt x="715591" y="1918885"/>
                          <a:pt x="710644" y="1896658"/>
                          <a:pt x="723013" y="1871962"/>
                        </a:cubicBezTo>
                        <a:cubicBezTo>
                          <a:pt x="725486" y="1889250"/>
                          <a:pt x="727960" y="1906537"/>
                          <a:pt x="732907" y="1928763"/>
                        </a:cubicBezTo>
                        <a:cubicBezTo>
                          <a:pt x="740329" y="1911476"/>
                          <a:pt x="745276" y="1896658"/>
                          <a:pt x="752697" y="1884310"/>
                        </a:cubicBezTo>
                        <a:cubicBezTo>
                          <a:pt x="757645" y="1871962"/>
                          <a:pt x="757645" y="1857145"/>
                          <a:pt x="774961" y="1849736"/>
                        </a:cubicBezTo>
                        <a:cubicBezTo>
                          <a:pt x="774961" y="1849736"/>
                          <a:pt x="777434" y="1847266"/>
                          <a:pt x="777434" y="1844797"/>
                        </a:cubicBezTo>
                        <a:cubicBezTo>
                          <a:pt x="787329" y="1805283"/>
                          <a:pt x="802171" y="1765769"/>
                          <a:pt x="804645" y="1721316"/>
                        </a:cubicBezTo>
                        <a:cubicBezTo>
                          <a:pt x="804645" y="1711438"/>
                          <a:pt x="802171" y="1701560"/>
                          <a:pt x="802171" y="1686742"/>
                        </a:cubicBezTo>
                        <a:cubicBezTo>
                          <a:pt x="809593" y="1689211"/>
                          <a:pt x="817014" y="1689211"/>
                          <a:pt x="821961" y="1694151"/>
                        </a:cubicBezTo>
                        <a:cubicBezTo>
                          <a:pt x="873909" y="1726256"/>
                          <a:pt x="960489" y="1847266"/>
                          <a:pt x="962963" y="1862084"/>
                        </a:cubicBezTo>
                        <a:cubicBezTo>
                          <a:pt x="970384" y="1894189"/>
                          <a:pt x="975331" y="1928763"/>
                          <a:pt x="975331" y="1963338"/>
                        </a:cubicBezTo>
                        <a:cubicBezTo>
                          <a:pt x="975331" y="1988034"/>
                          <a:pt x="982752" y="2015200"/>
                          <a:pt x="987700" y="2042365"/>
                        </a:cubicBezTo>
                        <a:cubicBezTo>
                          <a:pt x="987700" y="2049774"/>
                          <a:pt x="987700" y="2059653"/>
                          <a:pt x="987700" y="2067061"/>
                        </a:cubicBezTo>
                        <a:cubicBezTo>
                          <a:pt x="987700" y="2076940"/>
                          <a:pt x="987700" y="2084349"/>
                          <a:pt x="987700" y="2094227"/>
                        </a:cubicBezTo>
                        <a:cubicBezTo>
                          <a:pt x="1017384" y="2086818"/>
                          <a:pt x="1034700" y="2067061"/>
                          <a:pt x="1054490" y="2049774"/>
                        </a:cubicBezTo>
                        <a:cubicBezTo>
                          <a:pt x="1032227" y="2030017"/>
                          <a:pt x="1044595" y="2005321"/>
                          <a:pt x="1047069" y="1983095"/>
                        </a:cubicBezTo>
                        <a:cubicBezTo>
                          <a:pt x="1047069" y="1958399"/>
                          <a:pt x="1054490" y="1933703"/>
                          <a:pt x="1056964" y="1909007"/>
                        </a:cubicBezTo>
                        <a:cubicBezTo>
                          <a:pt x="1064385" y="1859614"/>
                          <a:pt x="1069332" y="1810222"/>
                          <a:pt x="1074280" y="1760830"/>
                        </a:cubicBezTo>
                        <a:cubicBezTo>
                          <a:pt x="1076753" y="1750952"/>
                          <a:pt x="1079227" y="1743543"/>
                          <a:pt x="1079227" y="1736134"/>
                        </a:cubicBezTo>
                        <a:cubicBezTo>
                          <a:pt x="1084175" y="1711438"/>
                          <a:pt x="1086648" y="1684272"/>
                          <a:pt x="1089122" y="1659576"/>
                        </a:cubicBezTo>
                        <a:cubicBezTo>
                          <a:pt x="1094069" y="1629941"/>
                          <a:pt x="1099017" y="1602775"/>
                          <a:pt x="1103964" y="1573140"/>
                        </a:cubicBezTo>
                        <a:cubicBezTo>
                          <a:pt x="1108912" y="1553383"/>
                          <a:pt x="1113859" y="1531157"/>
                          <a:pt x="1118807" y="1508930"/>
                        </a:cubicBezTo>
                        <a:cubicBezTo>
                          <a:pt x="1128701" y="1469416"/>
                          <a:pt x="1136123" y="1427433"/>
                          <a:pt x="1146017" y="1387919"/>
                        </a:cubicBezTo>
                        <a:cubicBezTo>
                          <a:pt x="1150965" y="1363223"/>
                          <a:pt x="1155912" y="1338527"/>
                          <a:pt x="1163333" y="1313831"/>
                        </a:cubicBezTo>
                        <a:cubicBezTo>
                          <a:pt x="1165807" y="1306422"/>
                          <a:pt x="1168281" y="1296544"/>
                          <a:pt x="1173228" y="1289135"/>
                        </a:cubicBezTo>
                        <a:cubicBezTo>
                          <a:pt x="1153439" y="1291605"/>
                          <a:pt x="1106438" y="1318770"/>
                          <a:pt x="1094069" y="1333588"/>
                        </a:cubicBezTo>
                        <a:cubicBezTo>
                          <a:pt x="1086648" y="1338527"/>
                          <a:pt x="1079227" y="1343466"/>
                          <a:pt x="1071806" y="1348406"/>
                        </a:cubicBezTo>
                        <a:cubicBezTo>
                          <a:pt x="1064385" y="1355815"/>
                          <a:pt x="1056964" y="1360754"/>
                          <a:pt x="1047069" y="1365693"/>
                        </a:cubicBezTo>
                        <a:cubicBezTo>
                          <a:pt x="1042122" y="1368163"/>
                          <a:pt x="1034700" y="1370632"/>
                          <a:pt x="1029753" y="1375571"/>
                        </a:cubicBezTo>
                        <a:cubicBezTo>
                          <a:pt x="1017384" y="1382980"/>
                          <a:pt x="1007490" y="1387919"/>
                          <a:pt x="997595" y="1395328"/>
                        </a:cubicBezTo>
                        <a:cubicBezTo>
                          <a:pt x="990174" y="1400267"/>
                          <a:pt x="982752" y="1405207"/>
                          <a:pt x="975331" y="1407676"/>
                        </a:cubicBezTo>
                        <a:cubicBezTo>
                          <a:pt x="960489" y="1415085"/>
                          <a:pt x="945647" y="1420024"/>
                          <a:pt x="930804" y="1427433"/>
                        </a:cubicBezTo>
                        <a:cubicBezTo>
                          <a:pt x="915962" y="1434842"/>
                          <a:pt x="903594" y="1444720"/>
                          <a:pt x="898646" y="1459538"/>
                        </a:cubicBezTo>
                        <a:cubicBezTo>
                          <a:pt x="896173" y="1469416"/>
                          <a:pt x="888751" y="1474356"/>
                          <a:pt x="878857" y="1474356"/>
                        </a:cubicBezTo>
                        <a:cubicBezTo>
                          <a:pt x="868962" y="1474356"/>
                          <a:pt x="859067" y="1479295"/>
                          <a:pt x="854119" y="1489173"/>
                        </a:cubicBezTo>
                        <a:cubicBezTo>
                          <a:pt x="849172" y="1494113"/>
                          <a:pt x="841751" y="1496582"/>
                          <a:pt x="834330" y="1496582"/>
                        </a:cubicBezTo>
                        <a:cubicBezTo>
                          <a:pt x="817014" y="1501521"/>
                          <a:pt x="802171" y="1506461"/>
                          <a:pt x="792277" y="1521278"/>
                        </a:cubicBezTo>
                        <a:cubicBezTo>
                          <a:pt x="789803" y="1523748"/>
                          <a:pt x="787329" y="1526217"/>
                          <a:pt x="782382" y="1528687"/>
                        </a:cubicBezTo>
                        <a:cubicBezTo>
                          <a:pt x="725486" y="1565731"/>
                          <a:pt x="668591" y="1602775"/>
                          <a:pt x="611695" y="1642289"/>
                        </a:cubicBezTo>
                        <a:cubicBezTo>
                          <a:pt x="584484" y="1659576"/>
                          <a:pt x="562221" y="1679333"/>
                          <a:pt x="535010" y="1696620"/>
                        </a:cubicBezTo>
                        <a:cubicBezTo>
                          <a:pt x="512747" y="1708968"/>
                          <a:pt x="490483" y="1721316"/>
                          <a:pt x="468220" y="1733664"/>
                        </a:cubicBezTo>
                        <a:cubicBezTo>
                          <a:pt x="458325" y="1738604"/>
                          <a:pt x="450904" y="1746012"/>
                          <a:pt x="441009" y="1750952"/>
                        </a:cubicBezTo>
                        <a:cubicBezTo>
                          <a:pt x="436062" y="1753421"/>
                          <a:pt x="428641" y="1758360"/>
                          <a:pt x="421219" y="1760830"/>
                        </a:cubicBezTo>
                        <a:cubicBezTo>
                          <a:pt x="411325" y="1765769"/>
                          <a:pt x="401430" y="1768239"/>
                          <a:pt x="391535" y="1773178"/>
                        </a:cubicBezTo>
                        <a:cubicBezTo>
                          <a:pt x="379166" y="1778117"/>
                          <a:pt x="366798" y="1780587"/>
                          <a:pt x="354429" y="1775648"/>
                        </a:cubicBezTo>
                        <a:cubicBezTo>
                          <a:pt x="322271" y="1765769"/>
                          <a:pt x="295060" y="1748482"/>
                          <a:pt x="270323" y="1731195"/>
                        </a:cubicBezTo>
                        <a:cubicBezTo>
                          <a:pt x="203533" y="1689211"/>
                          <a:pt x="146637" y="1637350"/>
                          <a:pt x="92216" y="1583018"/>
                        </a:cubicBezTo>
                        <a:cubicBezTo>
                          <a:pt x="65005" y="1555853"/>
                          <a:pt x="42741" y="1526217"/>
                          <a:pt x="22952" y="1496582"/>
                        </a:cubicBezTo>
                        <a:cubicBezTo>
                          <a:pt x="8109" y="1476825"/>
                          <a:pt x="688" y="1457068"/>
                          <a:pt x="5636" y="1432372"/>
                        </a:cubicBezTo>
                        <a:cubicBezTo>
                          <a:pt x="8109" y="1417555"/>
                          <a:pt x="3162" y="1402737"/>
                          <a:pt x="3162" y="1390389"/>
                        </a:cubicBezTo>
                        <a:cubicBezTo>
                          <a:pt x="3162" y="1382980"/>
                          <a:pt x="688" y="1378041"/>
                          <a:pt x="688" y="1370632"/>
                        </a:cubicBezTo>
                        <a:cubicBezTo>
                          <a:pt x="-4259" y="1340997"/>
                          <a:pt x="18004" y="1313831"/>
                          <a:pt x="50163" y="1313831"/>
                        </a:cubicBezTo>
                        <a:cubicBezTo>
                          <a:pt x="62531" y="1313831"/>
                          <a:pt x="74900" y="1311362"/>
                          <a:pt x="87268" y="1316301"/>
                        </a:cubicBezTo>
                        <a:cubicBezTo>
                          <a:pt x="99637" y="1318770"/>
                          <a:pt x="112005" y="1313831"/>
                          <a:pt x="121900" y="1308892"/>
                        </a:cubicBezTo>
                        <a:cubicBezTo>
                          <a:pt x="168901" y="1291605"/>
                          <a:pt x="218375" y="1286666"/>
                          <a:pt x="270323" y="1286666"/>
                        </a:cubicBezTo>
                        <a:cubicBezTo>
                          <a:pt x="257954" y="1316301"/>
                          <a:pt x="230744" y="1326179"/>
                          <a:pt x="215901" y="1350875"/>
                        </a:cubicBezTo>
                        <a:cubicBezTo>
                          <a:pt x="272797" y="1323710"/>
                          <a:pt x="329692" y="1296544"/>
                          <a:pt x="386587" y="1269378"/>
                        </a:cubicBezTo>
                        <a:cubicBezTo>
                          <a:pt x="443483" y="1242213"/>
                          <a:pt x="500378" y="1215047"/>
                          <a:pt x="562221" y="1200229"/>
                        </a:cubicBezTo>
                        <a:cubicBezTo>
                          <a:pt x="557274" y="1205168"/>
                          <a:pt x="552326" y="1210108"/>
                          <a:pt x="544905" y="1212577"/>
                        </a:cubicBezTo>
                        <a:cubicBezTo>
                          <a:pt x="517694" y="1229865"/>
                          <a:pt x="490483" y="1244682"/>
                          <a:pt x="460799" y="1259500"/>
                        </a:cubicBezTo>
                        <a:cubicBezTo>
                          <a:pt x="438535" y="1271848"/>
                          <a:pt x="413798" y="1281726"/>
                          <a:pt x="394009" y="1301483"/>
                        </a:cubicBezTo>
                        <a:cubicBezTo>
                          <a:pt x="381640" y="1313831"/>
                          <a:pt x="361850" y="1318770"/>
                          <a:pt x="347008" y="1328649"/>
                        </a:cubicBezTo>
                        <a:cubicBezTo>
                          <a:pt x="324745" y="1338527"/>
                          <a:pt x="300007" y="1348406"/>
                          <a:pt x="277744" y="1358284"/>
                        </a:cubicBezTo>
                        <a:cubicBezTo>
                          <a:pt x="272797" y="1360754"/>
                          <a:pt x="270323" y="1363223"/>
                          <a:pt x="262902" y="1368163"/>
                        </a:cubicBezTo>
                        <a:cubicBezTo>
                          <a:pt x="292586" y="1365693"/>
                          <a:pt x="312376" y="1350875"/>
                          <a:pt x="334639" y="1343466"/>
                        </a:cubicBezTo>
                        <a:cubicBezTo>
                          <a:pt x="349482" y="1338527"/>
                          <a:pt x="361850" y="1333588"/>
                          <a:pt x="374219" y="1328649"/>
                        </a:cubicBezTo>
                        <a:cubicBezTo>
                          <a:pt x="376693" y="1326179"/>
                          <a:pt x="381640" y="1326179"/>
                          <a:pt x="381640" y="1323710"/>
                        </a:cubicBezTo>
                        <a:cubicBezTo>
                          <a:pt x="398956" y="1308892"/>
                          <a:pt x="418746" y="1306422"/>
                          <a:pt x="438535" y="1299014"/>
                        </a:cubicBezTo>
                        <a:cubicBezTo>
                          <a:pt x="453378" y="1294074"/>
                          <a:pt x="470694" y="1286666"/>
                          <a:pt x="485536" y="1279257"/>
                        </a:cubicBezTo>
                        <a:cubicBezTo>
                          <a:pt x="500378" y="1271848"/>
                          <a:pt x="510273" y="1259500"/>
                          <a:pt x="530063" y="1264439"/>
                        </a:cubicBezTo>
                        <a:cubicBezTo>
                          <a:pt x="530063" y="1264439"/>
                          <a:pt x="532536" y="1261969"/>
                          <a:pt x="535010" y="1261969"/>
                        </a:cubicBezTo>
                        <a:cubicBezTo>
                          <a:pt x="557274" y="1247152"/>
                          <a:pt x="577063" y="1234804"/>
                          <a:pt x="599327" y="1222456"/>
                        </a:cubicBezTo>
                        <a:cubicBezTo>
                          <a:pt x="604274" y="1219986"/>
                          <a:pt x="609222" y="1217517"/>
                          <a:pt x="614169" y="1215047"/>
                        </a:cubicBezTo>
                        <a:cubicBezTo>
                          <a:pt x="638906" y="1212577"/>
                          <a:pt x="661169" y="1202699"/>
                          <a:pt x="683433" y="1187881"/>
                        </a:cubicBezTo>
                        <a:cubicBezTo>
                          <a:pt x="703223" y="1175533"/>
                          <a:pt x="725486" y="1168124"/>
                          <a:pt x="745276" y="1158246"/>
                        </a:cubicBezTo>
                        <a:cubicBezTo>
                          <a:pt x="772487" y="1145898"/>
                          <a:pt x="799698" y="1133550"/>
                          <a:pt x="826909" y="1121202"/>
                        </a:cubicBezTo>
                        <a:cubicBezTo>
                          <a:pt x="831856" y="1118732"/>
                          <a:pt x="836803" y="1113793"/>
                          <a:pt x="841751" y="1113793"/>
                        </a:cubicBezTo>
                        <a:cubicBezTo>
                          <a:pt x="868962" y="1113793"/>
                          <a:pt x="891225" y="1098975"/>
                          <a:pt x="918436" y="1089097"/>
                        </a:cubicBezTo>
                        <a:cubicBezTo>
                          <a:pt x="950594" y="1076749"/>
                          <a:pt x="982752" y="1056992"/>
                          <a:pt x="1019858" y="1049583"/>
                        </a:cubicBezTo>
                        <a:cubicBezTo>
                          <a:pt x="1042122" y="1044644"/>
                          <a:pt x="1061911" y="1029826"/>
                          <a:pt x="1084175" y="1019948"/>
                        </a:cubicBezTo>
                        <a:cubicBezTo>
                          <a:pt x="1094069" y="1015009"/>
                          <a:pt x="1103964" y="1010069"/>
                          <a:pt x="1113859" y="1007600"/>
                        </a:cubicBezTo>
                        <a:cubicBezTo>
                          <a:pt x="1141070" y="1000191"/>
                          <a:pt x="1163333" y="992782"/>
                          <a:pt x="1185597" y="975495"/>
                        </a:cubicBezTo>
                        <a:cubicBezTo>
                          <a:pt x="1195492" y="970556"/>
                          <a:pt x="1207860" y="968086"/>
                          <a:pt x="1217755" y="963147"/>
                        </a:cubicBezTo>
                        <a:cubicBezTo>
                          <a:pt x="1259808" y="948329"/>
                          <a:pt x="1299388" y="933512"/>
                          <a:pt x="1341441" y="916224"/>
                        </a:cubicBezTo>
                        <a:cubicBezTo>
                          <a:pt x="1363704" y="908816"/>
                          <a:pt x="1390915" y="901407"/>
                          <a:pt x="1413178" y="891528"/>
                        </a:cubicBezTo>
                        <a:cubicBezTo>
                          <a:pt x="1457705" y="874241"/>
                          <a:pt x="1502232" y="856954"/>
                          <a:pt x="1546759" y="839667"/>
                        </a:cubicBezTo>
                        <a:cubicBezTo>
                          <a:pt x="1544285" y="817440"/>
                          <a:pt x="1539338" y="795214"/>
                          <a:pt x="1536864" y="772987"/>
                        </a:cubicBezTo>
                        <a:cubicBezTo>
                          <a:pt x="1529443" y="726065"/>
                          <a:pt x="1522022" y="679142"/>
                          <a:pt x="1517074" y="632220"/>
                        </a:cubicBezTo>
                        <a:cubicBezTo>
                          <a:pt x="1507179" y="558131"/>
                          <a:pt x="1497285" y="481573"/>
                          <a:pt x="1487390" y="405015"/>
                        </a:cubicBezTo>
                        <a:cubicBezTo>
                          <a:pt x="1479969" y="348215"/>
                          <a:pt x="1470074" y="288944"/>
                          <a:pt x="1460179" y="229673"/>
                        </a:cubicBezTo>
                        <a:cubicBezTo>
                          <a:pt x="1455231" y="185220"/>
                          <a:pt x="1450284" y="138298"/>
                          <a:pt x="1445337" y="91375"/>
                        </a:cubicBezTo>
                        <a:cubicBezTo>
                          <a:pt x="1442863" y="74088"/>
                          <a:pt x="1442863" y="56801"/>
                          <a:pt x="1440389" y="37044"/>
                        </a:cubicBezTo>
                        <a:cubicBezTo>
                          <a:pt x="1437915" y="27166"/>
                          <a:pt x="1430494" y="14818"/>
                          <a:pt x="1428021" y="2470"/>
                        </a:cubicBezTo>
                        <a:cubicBezTo>
                          <a:pt x="1430494" y="2470"/>
                          <a:pt x="1435442" y="0"/>
                          <a:pt x="1440389" y="0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84000">
                        <a:schemeClr val="accent2">
                          <a:lumMod val="40000"/>
                          <a:lumOff val="60000"/>
                        </a:schemeClr>
                      </a:gs>
                      <a:gs pos="0">
                        <a:schemeClr val="accent2"/>
                      </a:gs>
                    </a:gsLst>
                    <a:lin ang="135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>
                      <a:gradFill flip="none" rotWithShape="1">
                        <a:gsLst>
                          <a:gs pos="89000">
                            <a:schemeClr val="bg1"/>
                          </a:gs>
                          <a:gs pos="0">
                            <a:schemeClr val="accent2"/>
                          </a:gs>
                        </a:gsLst>
                        <a:lin ang="13500000" scaled="1"/>
                        <a:tileRect/>
                      </a:gradFill>
                    </a:endParaRPr>
                  </a:p>
                </p:txBody>
              </p:sp>
              <p:sp>
                <p:nvSpPr>
                  <p:cNvPr id="236" name="任意多边形: 形状 235">
                    <a:extLst>
                      <a:ext uri="{FF2B5EF4-FFF2-40B4-BE49-F238E27FC236}">
                        <a16:creationId xmlns:a16="http://schemas.microsoft.com/office/drawing/2014/main" id="{D11EBAC2-444B-4521-9CBF-007CF5F6FF22}"/>
                      </a:ext>
                    </a:extLst>
                  </p:cNvPr>
                  <p:cNvSpPr/>
                  <p:nvPr/>
                </p:nvSpPr>
                <p:spPr bwMode="auto">
                  <a:xfrm rot="21173478" flipH="1">
                    <a:off x="8369627" y="2179646"/>
                    <a:ext cx="664940" cy="402760"/>
                  </a:xfrm>
                  <a:custGeom>
                    <a:avLst/>
                    <a:gdLst>
                      <a:gd name="connsiteX0" fmla="*/ 527777 w 2333637"/>
                      <a:gd name="connsiteY0" fmla="*/ 919162 h 1413505"/>
                      <a:gd name="connsiteX1" fmla="*/ 535205 w 2333637"/>
                      <a:gd name="connsiteY1" fmla="*/ 946355 h 1413505"/>
                      <a:gd name="connsiteX2" fmla="*/ 545108 w 2333637"/>
                      <a:gd name="connsiteY2" fmla="*/ 995797 h 1413505"/>
                      <a:gd name="connsiteX3" fmla="*/ 589673 w 2333637"/>
                      <a:gd name="connsiteY3" fmla="*/ 1178730 h 1413505"/>
                      <a:gd name="connsiteX4" fmla="*/ 587198 w 2333637"/>
                      <a:gd name="connsiteY4" fmla="*/ 1265253 h 1413505"/>
                      <a:gd name="connsiteX5" fmla="*/ 577294 w 2333637"/>
                      <a:gd name="connsiteY5" fmla="*/ 1289974 h 1413505"/>
                      <a:gd name="connsiteX6" fmla="*/ 564915 w 2333637"/>
                      <a:gd name="connsiteY6" fmla="*/ 1319639 h 1413505"/>
                      <a:gd name="connsiteX7" fmla="*/ 532729 w 2333637"/>
                      <a:gd name="connsiteY7" fmla="*/ 1381441 h 1413505"/>
                      <a:gd name="connsiteX8" fmla="*/ 505495 w 2333637"/>
                      <a:gd name="connsiteY8" fmla="*/ 1401218 h 1413505"/>
                      <a:gd name="connsiteX9" fmla="*/ 455978 w 2333637"/>
                      <a:gd name="connsiteY9" fmla="*/ 1408634 h 1413505"/>
                      <a:gd name="connsiteX10" fmla="*/ 391606 w 2333637"/>
                      <a:gd name="connsiteY10" fmla="*/ 1376497 h 1413505"/>
                      <a:gd name="connsiteX11" fmla="*/ 213345 w 2333637"/>
                      <a:gd name="connsiteY11" fmla="*/ 1235588 h 1413505"/>
                      <a:gd name="connsiteX12" fmla="*/ 131642 w 2333637"/>
                      <a:gd name="connsiteY12" fmla="*/ 1144121 h 1413505"/>
                      <a:gd name="connsiteX13" fmla="*/ 114311 w 2333637"/>
                      <a:gd name="connsiteY13" fmla="*/ 1099624 h 1413505"/>
                      <a:gd name="connsiteX14" fmla="*/ 146497 w 2333637"/>
                      <a:gd name="connsiteY14" fmla="*/ 1099624 h 1413505"/>
                      <a:gd name="connsiteX15" fmla="*/ 198490 w 2333637"/>
                      <a:gd name="connsiteY15" fmla="*/ 1079847 h 1413505"/>
                      <a:gd name="connsiteX16" fmla="*/ 280193 w 2333637"/>
                      <a:gd name="connsiteY16" fmla="*/ 993325 h 1413505"/>
                      <a:gd name="connsiteX17" fmla="*/ 287620 w 2333637"/>
                      <a:gd name="connsiteY17" fmla="*/ 988380 h 1413505"/>
                      <a:gd name="connsiteX18" fmla="*/ 359420 w 2333637"/>
                      <a:gd name="connsiteY18" fmla="*/ 953771 h 1413505"/>
                      <a:gd name="connsiteX19" fmla="*/ 396558 w 2333637"/>
                      <a:gd name="connsiteY19" fmla="*/ 938939 h 1413505"/>
                      <a:gd name="connsiteX20" fmla="*/ 448550 w 2333637"/>
                      <a:gd name="connsiteY20" fmla="*/ 931523 h 1413505"/>
                      <a:gd name="connsiteX21" fmla="*/ 517874 w 2333637"/>
                      <a:gd name="connsiteY21" fmla="*/ 921634 h 1413505"/>
                      <a:gd name="connsiteX22" fmla="*/ 527777 w 2333637"/>
                      <a:gd name="connsiteY22" fmla="*/ 919162 h 1413505"/>
                      <a:gd name="connsiteX23" fmla="*/ 842279 w 2333637"/>
                      <a:gd name="connsiteY23" fmla="*/ 740642 h 1413505"/>
                      <a:gd name="connsiteX24" fmla="*/ 753243 w 2333637"/>
                      <a:gd name="connsiteY24" fmla="*/ 770268 h 1413505"/>
                      <a:gd name="connsiteX25" fmla="*/ 696359 w 2333637"/>
                      <a:gd name="connsiteY25" fmla="*/ 824582 h 1413505"/>
                      <a:gd name="connsiteX26" fmla="*/ 688939 w 2333637"/>
                      <a:gd name="connsiteY26" fmla="*/ 836926 h 1413505"/>
                      <a:gd name="connsiteX27" fmla="*/ 656787 w 2333637"/>
                      <a:gd name="connsiteY27" fmla="*/ 923334 h 1413505"/>
                      <a:gd name="connsiteX28" fmla="*/ 671626 w 2333637"/>
                      <a:gd name="connsiteY28" fmla="*/ 1123307 h 1413505"/>
                      <a:gd name="connsiteX29" fmla="*/ 708725 w 2333637"/>
                      <a:gd name="connsiteY29" fmla="*/ 1147995 h 1413505"/>
                      <a:gd name="connsiteX30" fmla="*/ 797761 w 2333637"/>
                      <a:gd name="connsiteY30" fmla="*/ 1130714 h 1413505"/>
                      <a:gd name="connsiteX31" fmla="*/ 857119 w 2333637"/>
                      <a:gd name="connsiteY31" fmla="*/ 1101088 h 1413505"/>
                      <a:gd name="connsiteX32" fmla="*/ 899164 w 2333637"/>
                      <a:gd name="connsiteY32" fmla="*/ 1068993 h 1413505"/>
                      <a:gd name="connsiteX33" fmla="*/ 958521 w 2333637"/>
                      <a:gd name="connsiteY33" fmla="*/ 1022086 h 1413505"/>
                      <a:gd name="connsiteX34" fmla="*/ 988200 w 2333637"/>
                      <a:gd name="connsiteY34" fmla="*/ 997398 h 1413505"/>
                      <a:gd name="connsiteX35" fmla="*/ 1054977 w 2333637"/>
                      <a:gd name="connsiteY35" fmla="*/ 925803 h 1413505"/>
                      <a:gd name="connsiteX36" fmla="*/ 1146487 w 2333637"/>
                      <a:gd name="connsiteY36" fmla="*/ 807300 h 1413505"/>
                      <a:gd name="connsiteX37" fmla="*/ 1124228 w 2333637"/>
                      <a:gd name="connsiteY37" fmla="*/ 794956 h 1413505"/>
                      <a:gd name="connsiteX38" fmla="*/ 990673 w 2333637"/>
                      <a:gd name="connsiteY38" fmla="*/ 748049 h 1413505"/>
                      <a:gd name="connsiteX39" fmla="*/ 918949 w 2333637"/>
                      <a:gd name="connsiteY39" fmla="*/ 740642 h 1413505"/>
                      <a:gd name="connsiteX40" fmla="*/ 842279 w 2333637"/>
                      <a:gd name="connsiteY40" fmla="*/ 740642 h 1413505"/>
                      <a:gd name="connsiteX41" fmla="*/ 326006 w 2333637"/>
                      <a:gd name="connsiteY41" fmla="*/ 127884 h 1413505"/>
                      <a:gd name="connsiteX42" fmla="*/ 338380 w 2333637"/>
                      <a:gd name="connsiteY42" fmla="*/ 130355 h 1413505"/>
                      <a:gd name="connsiteX43" fmla="*/ 380455 w 2333637"/>
                      <a:gd name="connsiteY43" fmla="*/ 150129 h 1413505"/>
                      <a:gd name="connsiteX44" fmla="*/ 585876 w 2333637"/>
                      <a:gd name="connsiteY44" fmla="*/ 303373 h 1413505"/>
                      <a:gd name="connsiteX45" fmla="*/ 674975 w 2333637"/>
                      <a:gd name="connsiteY45" fmla="*/ 412127 h 1413505"/>
                      <a:gd name="connsiteX46" fmla="*/ 709624 w 2333637"/>
                      <a:gd name="connsiteY46" fmla="*/ 471447 h 1413505"/>
                      <a:gd name="connsiteX47" fmla="*/ 672500 w 2333637"/>
                      <a:gd name="connsiteY47" fmla="*/ 486277 h 1413505"/>
                      <a:gd name="connsiteX48" fmla="*/ 536377 w 2333637"/>
                      <a:gd name="connsiteY48" fmla="*/ 501107 h 1413505"/>
                      <a:gd name="connsiteX49" fmla="*/ 516577 w 2333637"/>
                      <a:gd name="connsiteY49" fmla="*/ 506050 h 1413505"/>
                      <a:gd name="connsiteX50" fmla="*/ 479453 w 2333637"/>
                      <a:gd name="connsiteY50" fmla="*/ 513465 h 1413505"/>
                      <a:gd name="connsiteX51" fmla="*/ 462128 w 2333637"/>
                      <a:gd name="connsiteY51" fmla="*/ 515937 h 1413505"/>
                      <a:gd name="connsiteX52" fmla="*/ 400254 w 2333637"/>
                      <a:gd name="connsiteY52" fmla="*/ 518409 h 1413505"/>
                      <a:gd name="connsiteX53" fmla="*/ 348280 w 2333637"/>
                      <a:gd name="connsiteY53" fmla="*/ 543126 h 1413505"/>
                      <a:gd name="connsiteX54" fmla="*/ 345805 w 2333637"/>
                      <a:gd name="connsiteY54" fmla="*/ 550541 h 1413505"/>
                      <a:gd name="connsiteX55" fmla="*/ 298781 w 2333637"/>
                      <a:gd name="connsiteY55" fmla="*/ 607389 h 1413505"/>
                      <a:gd name="connsiteX56" fmla="*/ 266607 w 2333637"/>
                      <a:gd name="connsiteY56" fmla="*/ 664238 h 1413505"/>
                      <a:gd name="connsiteX57" fmla="*/ 259182 w 2333637"/>
                      <a:gd name="connsiteY57" fmla="*/ 684011 h 1413505"/>
                      <a:gd name="connsiteX58" fmla="*/ 254232 w 2333637"/>
                      <a:gd name="connsiteY58" fmla="*/ 711200 h 1413505"/>
                      <a:gd name="connsiteX59" fmla="*/ 397779 w 2333637"/>
                      <a:gd name="connsiteY59" fmla="*/ 639521 h 1413505"/>
                      <a:gd name="connsiteX60" fmla="*/ 561127 w 2333637"/>
                      <a:gd name="connsiteY60" fmla="*/ 627163 h 1413505"/>
                      <a:gd name="connsiteX61" fmla="*/ 509153 w 2333637"/>
                      <a:gd name="connsiteY61" fmla="*/ 686483 h 1413505"/>
                      <a:gd name="connsiteX62" fmla="*/ 536377 w 2333637"/>
                      <a:gd name="connsiteY62" fmla="*/ 740860 h 1413505"/>
                      <a:gd name="connsiteX63" fmla="*/ 519052 w 2333637"/>
                      <a:gd name="connsiteY63" fmla="*/ 805123 h 1413505"/>
                      <a:gd name="connsiteX64" fmla="*/ 444804 w 2333637"/>
                      <a:gd name="connsiteY64" fmla="*/ 854557 h 1413505"/>
                      <a:gd name="connsiteX65" fmla="*/ 442329 w 2333637"/>
                      <a:gd name="connsiteY65" fmla="*/ 854557 h 1413505"/>
                      <a:gd name="connsiteX66" fmla="*/ 343330 w 2333637"/>
                      <a:gd name="connsiteY66" fmla="*/ 894104 h 1413505"/>
                      <a:gd name="connsiteX67" fmla="*/ 246807 w 2333637"/>
                      <a:gd name="connsiteY67" fmla="*/ 886689 h 1413505"/>
                      <a:gd name="connsiteX68" fmla="*/ 93360 w 2333637"/>
                      <a:gd name="connsiteY68" fmla="*/ 755690 h 1413505"/>
                      <a:gd name="connsiteX69" fmla="*/ 90885 w 2333637"/>
                      <a:gd name="connsiteY69" fmla="*/ 693898 h 1413505"/>
                      <a:gd name="connsiteX70" fmla="*/ 113159 w 2333637"/>
                      <a:gd name="connsiteY70" fmla="*/ 649408 h 1413505"/>
                      <a:gd name="connsiteX71" fmla="*/ 167608 w 2333637"/>
                      <a:gd name="connsiteY71" fmla="*/ 580201 h 1413505"/>
                      <a:gd name="connsiteX72" fmla="*/ 261657 w 2333637"/>
                      <a:gd name="connsiteY72" fmla="*/ 496164 h 1413505"/>
                      <a:gd name="connsiteX73" fmla="*/ 293831 w 2333637"/>
                      <a:gd name="connsiteY73" fmla="*/ 471447 h 1413505"/>
                      <a:gd name="connsiteX74" fmla="*/ 251757 w 2333637"/>
                      <a:gd name="connsiteY74" fmla="*/ 436843 h 1413505"/>
                      <a:gd name="connsiteX75" fmla="*/ 53760 w 2333637"/>
                      <a:gd name="connsiteY75" fmla="*/ 261354 h 1413505"/>
                      <a:gd name="connsiteX76" fmla="*/ 11686 w 2333637"/>
                      <a:gd name="connsiteY76" fmla="*/ 206977 h 1413505"/>
                      <a:gd name="connsiteX77" fmla="*/ 1786 w 2333637"/>
                      <a:gd name="connsiteY77" fmla="*/ 187204 h 1413505"/>
                      <a:gd name="connsiteX78" fmla="*/ 21586 w 2333637"/>
                      <a:gd name="connsiteY78" fmla="*/ 160016 h 1413505"/>
                      <a:gd name="connsiteX79" fmla="*/ 80985 w 2333637"/>
                      <a:gd name="connsiteY79" fmla="*/ 164959 h 1413505"/>
                      <a:gd name="connsiteX80" fmla="*/ 140384 w 2333637"/>
                      <a:gd name="connsiteY80" fmla="*/ 182261 h 1413505"/>
                      <a:gd name="connsiteX81" fmla="*/ 160183 w 2333637"/>
                      <a:gd name="connsiteY81" fmla="*/ 184732 h 1413505"/>
                      <a:gd name="connsiteX82" fmla="*/ 132959 w 2333637"/>
                      <a:gd name="connsiteY82" fmla="*/ 152601 h 1413505"/>
                      <a:gd name="connsiteX83" fmla="*/ 135434 w 2333637"/>
                      <a:gd name="connsiteY83" fmla="*/ 147657 h 1413505"/>
                      <a:gd name="connsiteX84" fmla="*/ 197308 w 2333637"/>
                      <a:gd name="connsiteY84" fmla="*/ 167431 h 1413505"/>
                      <a:gd name="connsiteX85" fmla="*/ 172558 w 2333637"/>
                      <a:gd name="connsiteY85" fmla="*/ 135299 h 1413505"/>
                      <a:gd name="connsiteX86" fmla="*/ 256707 w 2333637"/>
                      <a:gd name="connsiteY86" fmla="*/ 142714 h 1413505"/>
                      <a:gd name="connsiteX87" fmla="*/ 254232 w 2333637"/>
                      <a:gd name="connsiteY87" fmla="*/ 130355 h 1413505"/>
                      <a:gd name="connsiteX88" fmla="*/ 283931 w 2333637"/>
                      <a:gd name="connsiteY88" fmla="*/ 130355 h 1413505"/>
                      <a:gd name="connsiteX89" fmla="*/ 326006 w 2333637"/>
                      <a:gd name="connsiteY89" fmla="*/ 127884 h 1413505"/>
                      <a:gd name="connsiteX90" fmla="*/ 1465533 w 2333637"/>
                      <a:gd name="connsiteY90" fmla="*/ 0 h 1413505"/>
                      <a:gd name="connsiteX91" fmla="*/ 1539730 w 2333637"/>
                      <a:gd name="connsiteY91" fmla="*/ 17282 h 1413505"/>
                      <a:gd name="connsiteX92" fmla="*/ 1628767 w 2333637"/>
                      <a:gd name="connsiteY92" fmla="*/ 74064 h 1413505"/>
                      <a:gd name="connsiteX93" fmla="*/ 1801893 w 2333637"/>
                      <a:gd name="connsiteY93" fmla="*/ 227130 h 1413505"/>
                      <a:gd name="connsiteX94" fmla="*/ 1853831 w 2333637"/>
                      <a:gd name="connsiteY94" fmla="*/ 288851 h 1413505"/>
                      <a:gd name="connsiteX95" fmla="*/ 1851357 w 2333637"/>
                      <a:gd name="connsiteY95" fmla="*/ 399947 h 1413505"/>
                      <a:gd name="connsiteX96" fmla="*/ 1811786 w 2333637"/>
                      <a:gd name="connsiteY96" fmla="*/ 459198 h 1413505"/>
                      <a:gd name="connsiteX97" fmla="*/ 1742535 w 2333637"/>
                      <a:gd name="connsiteY97" fmla="*/ 550544 h 1413505"/>
                      <a:gd name="connsiteX98" fmla="*/ 1715330 w 2333637"/>
                      <a:gd name="connsiteY98" fmla="*/ 592514 h 1413505"/>
                      <a:gd name="connsiteX99" fmla="*/ 1707910 w 2333637"/>
                      <a:gd name="connsiteY99" fmla="*/ 599920 h 1413505"/>
                      <a:gd name="connsiteX100" fmla="*/ 1646079 w 2333637"/>
                      <a:gd name="connsiteY100" fmla="*/ 654234 h 1413505"/>
                      <a:gd name="connsiteX101" fmla="*/ 1623820 w 2333637"/>
                      <a:gd name="connsiteY101" fmla="*/ 678922 h 1413505"/>
                      <a:gd name="connsiteX102" fmla="*/ 1648552 w 2333637"/>
                      <a:gd name="connsiteY102" fmla="*/ 683860 h 1413505"/>
                      <a:gd name="connsiteX103" fmla="*/ 1774687 w 2333637"/>
                      <a:gd name="connsiteY103" fmla="*/ 701141 h 1413505"/>
                      <a:gd name="connsiteX104" fmla="*/ 1997278 w 2333637"/>
                      <a:gd name="connsiteY104" fmla="*/ 743111 h 1413505"/>
                      <a:gd name="connsiteX105" fmla="*/ 2022010 w 2333637"/>
                      <a:gd name="connsiteY105" fmla="*/ 755455 h 1413505"/>
                      <a:gd name="connsiteX106" fmla="*/ 2096207 w 2333637"/>
                      <a:gd name="connsiteY106" fmla="*/ 841863 h 1413505"/>
                      <a:gd name="connsiteX107" fmla="*/ 2256967 w 2333637"/>
                      <a:gd name="connsiteY107" fmla="*/ 1162808 h 1413505"/>
                      <a:gd name="connsiteX108" fmla="*/ 2326217 w 2333637"/>
                      <a:gd name="connsiteY108" fmla="*/ 1345500 h 1413505"/>
                      <a:gd name="connsiteX109" fmla="*/ 2333637 w 2333637"/>
                      <a:gd name="connsiteY109" fmla="*/ 1365250 h 1413505"/>
                      <a:gd name="connsiteX110" fmla="*/ 2096207 w 2333637"/>
                      <a:gd name="connsiteY110" fmla="*/ 1214653 h 1413505"/>
                      <a:gd name="connsiteX111" fmla="*/ 1947813 w 2333637"/>
                      <a:gd name="connsiteY111" fmla="*/ 1147995 h 1413505"/>
                      <a:gd name="connsiteX112" fmla="*/ 1866197 w 2333637"/>
                      <a:gd name="connsiteY112" fmla="*/ 1110963 h 1413505"/>
                      <a:gd name="connsiteX113" fmla="*/ 1796946 w 2333637"/>
                      <a:gd name="connsiteY113" fmla="*/ 1081337 h 1413505"/>
                      <a:gd name="connsiteX114" fmla="*/ 1586722 w 2333637"/>
                      <a:gd name="connsiteY114" fmla="*/ 999867 h 1413505"/>
                      <a:gd name="connsiteX115" fmla="*/ 1514998 w 2333637"/>
                      <a:gd name="connsiteY115" fmla="*/ 977648 h 1413505"/>
                      <a:gd name="connsiteX116" fmla="*/ 1416069 w 2333637"/>
                      <a:gd name="connsiteY116" fmla="*/ 940615 h 1413505"/>
                      <a:gd name="connsiteX117" fmla="*/ 1374024 w 2333637"/>
                      <a:gd name="connsiteY117" fmla="*/ 933209 h 1413505"/>
                      <a:gd name="connsiteX118" fmla="*/ 1356711 w 2333637"/>
                      <a:gd name="connsiteY118" fmla="*/ 923334 h 1413505"/>
                      <a:gd name="connsiteX119" fmla="*/ 1275095 w 2333637"/>
                      <a:gd name="connsiteY119" fmla="*/ 1002336 h 1413505"/>
                      <a:gd name="connsiteX120" fmla="*/ 1186058 w 2333637"/>
                      <a:gd name="connsiteY120" fmla="*/ 1071462 h 1413505"/>
                      <a:gd name="connsiteX121" fmla="*/ 1084656 w 2333637"/>
                      <a:gd name="connsiteY121" fmla="*/ 1143058 h 1413505"/>
                      <a:gd name="connsiteX122" fmla="*/ 1027772 w 2333637"/>
                      <a:gd name="connsiteY122" fmla="*/ 1177621 h 1413505"/>
                      <a:gd name="connsiteX123" fmla="*/ 951101 w 2333637"/>
                      <a:gd name="connsiteY123" fmla="*/ 1209715 h 1413505"/>
                      <a:gd name="connsiteX124" fmla="*/ 921423 w 2333637"/>
                      <a:gd name="connsiteY124" fmla="*/ 1224528 h 1413505"/>
                      <a:gd name="connsiteX125" fmla="*/ 847226 w 2333637"/>
                      <a:gd name="connsiteY125" fmla="*/ 1246747 h 1413505"/>
                      <a:gd name="connsiteX126" fmla="*/ 775502 w 2333637"/>
                      <a:gd name="connsiteY126" fmla="*/ 1236872 h 1413505"/>
                      <a:gd name="connsiteX127" fmla="*/ 661734 w 2333637"/>
                      <a:gd name="connsiteY127" fmla="*/ 1147995 h 1413505"/>
                      <a:gd name="connsiteX128" fmla="*/ 617215 w 2333637"/>
                      <a:gd name="connsiteY128" fmla="*/ 1044305 h 1413505"/>
                      <a:gd name="connsiteX129" fmla="*/ 622162 w 2333637"/>
                      <a:gd name="connsiteY129" fmla="*/ 878895 h 1413505"/>
                      <a:gd name="connsiteX130" fmla="*/ 654314 w 2333637"/>
                      <a:gd name="connsiteY130" fmla="*/ 807300 h 1413505"/>
                      <a:gd name="connsiteX131" fmla="*/ 686466 w 2333637"/>
                      <a:gd name="connsiteY131" fmla="*/ 752986 h 1413505"/>
                      <a:gd name="connsiteX132" fmla="*/ 857119 w 2333637"/>
                      <a:gd name="connsiteY132" fmla="*/ 644359 h 1413505"/>
                      <a:gd name="connsiteX133" fmla="*/ 1042611 w 2333637"/>
                      <a:gd name="connsiteY133" fmla="*/ 624608 h 1413505"/>
                      <a:gd name="connsiteX134" fmla="*/ 1131647 w 2333637"/>
                      <a:gd name="connsiteY134" fmla="*/ 622139 h 1413505"/>
                      <a:gd name="connsiteX135" fmla="*/ 1242943 w 2333637"/>
                      <a:gd name="connsiteY135" fmla="*/ 636952 h 1413505"/>
                      <a:gd name="connsiteX136" fmla="*/ 1255309 w 2333637"/>
                      <a:gd name="connsiteY136" fmla="*/ 639421 h 1413505"/>
                      <a:gd name="connsiteX137" fmla="*/ 1282514 w 2333637"/>
                      <a:gd name="connsiteY137" fmla="*/ 622139 h 1413505"/>
                      <a:gd name="connsiteX138" fmla="*/ 1287461 w 2333637"/>
                      <a:gd name="connsiteY138" fmla="*/ 609795 h 1413505"/>
                      <a:gd name="connsiteX139" fmla="*/ 1319613 w 2333637"/>
                      <a:gd name="connsiteY139" fmla="*/ 548075 h 1413505"/>
                      <a:gd name="connsiteX140" fmla="*/ 1378970 w 2333637"/>
                      <a:gd name="connsiteY140" fmla="*/ 429572 h 1413505"/>
                      <a:gd name="connsiteX141" fmla="*/ 1381444 w 2333637"/>
                      <a:gd name="connsiteY141" fmla="*/ 419697 h 1413505"/>
                      <a:gd name="connsiteX142" fmla="*/ 1299827 w 2333637"/>
                      <a:gd name="connsiteY142" fmla="*/ 422166 h 1413505"/>
                      <a:gd name="connsiteX143" fmla="*/ 1193478 w 2333637"/>
                      <a:gd name="connsiteY143" fmla="*/ 478949 h 1413505"/>
                      <a:gd name="connsiteX144" fmla="*/ 1168746 w 2333637"/>
                      <a:gd name="connsiteY144" fmla="*/ 486355 h 1413505"/>
                      <a:gd name="connsiteX145" fmla="*/ 1114335 w 2333637"/>
                      <a:gd name="connsiteY145" fmla="*/ 498699 h 1413505"/>
                      <a:gd name="connsiteX146" fmla="*/ 1064870 w 2333637"/>
                      <a:gd name="connsiteY146" fmla="*/ 493761 h 1413505"/>
                      <a:gd name="connsiteX147" fmla="*/ 980780 w 2333637"/>
                      <a:gd name="connsiteY147" fmla="*/ 444385 h 1413505"/>
                      <a:gd name="connsiteX148" fmla="*/ 777975 w 2333637"/>
                      <a:gd name="connsiteY148" fmla="*/ 261694 h 1413505"/>
                      <a:gd name="connsiteX149" fmla="*/ 748297 w 2333637"/>
                      <a:gd name="connsiteY149" fmla="*/ 212317 h 1413505"/>
                      <a:gd name="connsiteX150" fmla="*/ 745823 w 2333637"/>
                      <a:gd name="connsiteY150" fmla="*/ 199973 h 1413505"/>
                      <a:gd name="connsiteX151" fmla="*/ 733457 w 2333637"/>
                      <a:gd name="connsiteY151" fmla="*/ 162941 h 1413505"/>
                      <a:gd name="connsiteX152" fmla="*/ 716145 w 2333637"/>
                      <a:gd name="connsiteY152" fmla="*/ 125909 h 1413505"/>
                      <a:gd name="connsiteX153" fmla="*/ 765609 w 2333637"/>
                      <a:gd name="connsiteY153" fmla="*/ 120971 h 1413505"/>
                      <a:gd name="connsiteX154" fmla="*/ 874431 w 2333637"/>
                      <a:gd name="connsiteY154" fmla="*/ 120971 h 1413505"/>
                      <a:gd name="connsiteX155" fmla="*/ 1022825 w 2333637"/>
                      <a:gd name="connsiteY155" fmla="*/ 91346 h 1413505"/>
                      <a:gd name="connsiteX156" fmla="*/ 1037665 w 2333637"/>
                      <a:gd name="connsiteY156" fmla="*/ 88877 h 1413505"/>
                      <a:gd name="connsiteX157" fmla="*/ 1136594 w 2333637"/>
                      <a:gd name="connsiteY157" fmla="*/ 51845 h 1413505"/>
                      <a:gd name="connsiteX158" fmla="*/ 1148960 w 2333637"/>
                      <a:gd name="connsiteY158" fmla="*/ 49376 h 1413505"/>
                      <a:gd name="connsiteX159" fmla="*/ 1193478 w 2333637"/>
                      <a:gd name="connsiteY159" fmla="*/ 44438 h 1413505"/>
                      <a:gd name="connsiteX160" fmla="*/ 1309720 w 2333637"/>
                      <a:gd name="connsiteY160" fmla="*/ 7406 h 1413505"/>
                      <a:gd name="connsiteX161" fmla="*/ 1339399 w 2333637"/>
                      <a:gd name="connsiteY161" fmla="*/ 2469 h 1413505"/>
                      <a:gd name="connsiteX162" fmla="*/ 1465533 w 2333637"/>
                      <a:gd name="connsiteY162" fmla="*/ 0 h 14135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</a:cxnLst>
                    <a:rect l="l" t="t" r="r" b="b"/>
                    <a:pathLst>
                      <a:path w="2333637" h="1413505">
                        <a:moveTo>
                          <a:pt x="527777" y="919162"/>
                        </a:moveTo>
                        <a:cubicBezTo>
                          <a:pt x="530253" y="929050"/>
                          <a:pt x="532729" y="936467"/>
                          <a:pt x="535205" y="946355"/>
                        </a:cubicBezTo>
                        <a:cubicBezTo>
                          <a:pt x="537681" y="963660"/>
                          <a:pt x="540156" y="980964"/>
                          <a:pt x="545108" y="995797"/>
                        </a:cubicBezTo>
                        <a:cubicBezTo>
                          <a:pt x="574818" y="1055127"/>
                          <a:pt x="582246" y="1116929"/>
                          <a:pt x="589673" y="1178730"/>
                        </a:cubicBezTo>
                        <a:cubicBezTo>
                          <a:pt x="592149" y="1208395"/>
                          <a:pt x="589673" y="1235588"/>
                          <a:pt x="587198" y="1265253"/>
                        </a:cubicBezTo>
                        <a:cubicBezTo>
                          <a:pt x="587198" y="1272670"/>
                          <a:pt x="579770" y="1282558"/>
                          <a:pt x="577294" y="1289974"/>
                        </a:cubicBezTo>
                        <a:cubicBezTo>
                          <a:pt x="572342" y="1299862"/>
                          <a:pt x="567391" y="1309751"/>
                          <a:pt x="564915" y="1319639"/>
                        </a:cubicBezTo>
                        <a:cubicBezTo>
                          <a:pt x="564915" y="1344360"/>
                          <a:pt x="552536" y="1364136"/>
                          <a:pt x="532729" y="1381441"/>
                        </a:cubicBezTo>
                        <a:cubicBezTo>
                          <a:pt x="522826" y="1386385"/>
                          <a:pt x="512922" y="1393801"/>
                          <a:pt x="505495" y="1401218"/>
                        </a:cubicBezTo>
                        <a:cubicBezTo>
                          <a:pt x="490640" y="1416050"/>
                          <a:pt x="473309" y="1416050"/>
                          <a:pt x="455978" y="1408634"/>
                        </a:cubicBezTo>
                        <a:cubicBezTo>
                          <a:pt x="433695" y="1398746"/>
                          <a:pt x="411413" y="1388857"/>
                          <a:pt x="391606" y="1376497"/>
                        </a:cubicBezTo>
                        <a:cubicBezTo>
                          <a:pt x="327234" y="1336944"/>
                          <a:pt x="267814" y="1289974"/>
                          <a:pt x="213345" y="1235588"/>
                        </a:cubicBezTo>
                        <a:cubicBezTo>
                          <a:pt x="186111" y="1205923"/>
                          <a:pt x="158876" y="1173786"/>
                          <a:pt x="131642" y="1144121"/>
                        </a:cubicBezTo>
                        <a:cubicBezTo>
                          <a:pt x="121739" y="1131761"/>
                          <a:pt x="116787" y="1116929"/>
                          <a:pt x="114311" y="1099624"/>
                        </a:cubicBezTo>
                        <a:cubicBezTo>
                          <a:pt x="126690" y="1099624"/>
                          <a:pt x="136594" y="1099624"/>
                          <a:pt x="146497" y="1099624"/>
                        </a:cubicBezTo>
                        <a:cubicBezTo>
                          <a:pt x="166304" y="1102096"/>
                          <a:pt x="183635" y="1097152"/>
                          <a:pt x="198490" y="1079847"/>
                        </a:cubicBezTo>
                        <a:cubicBezTo>
                          <a:pt x="225724" y="1052654"/>
                          <a:pt x="252959" y="1022989"/>
                          <a:pt x="280193" y="993325"/>
                        </a:cubicBezTo>
                        <a:cubicBezTo>
                          <a:pt x="282669" y="993325"/>
                          <a:pt x="285145" y="990852"/>
                          <a:pt x="287620" y="988380"/>
                        </a:cubicBezTo>
                        <a:cubicBezTo>
                          <a:pt x="309903" y="978492"/>
                          <a:pt x="334661" y="966132"/>
                          <a:pt x="359420" y="953771"/>
                        </a:cubicBezTo>
                        <a:cubicBezTo>
                          <a:pt x="369323" y="948827"/>
                          <a:pt x="381702" y="941411"/>
                          <a:pt x="396558" y="938939"/>
                        </a:cubicBezTo>
                        <a:cubicBezTo>
                          <a:pt x="413888" y="933995"/>
                          <a:pt x="431219" y="931523"/>
                          <a:pt x="448550" y="931523"/>
                        </a:cubicBezTo>
                        <a:cubicBezTo>
                          <a:pt x="473309" y="933995"/>
                          <a:pt x="495591" y="933995"/>
                          <a:pt x="517874" y="921634"/>
                        </a:cubicBezTo>
                        <a:cubicBezTo>
                          <a:pt x="520350" y="919162"/>
                          <a:pt x="522826" y="921634"/>
                          <a:pt x="527777" y="919162"/>
                        </a:cubicBezTo>
                        <a:close/>
                        <a:moveTo>
                          <a:pt x="842279" y="740642"/>
                        </a:moveTo>
                        <a:cubicBezTo>
                          <a:pt x="807654" y="740642"/>
                          <a:pt x="777975" y="748049"/>
                          <a:pt x="753243" y="770268"/>
                        </a:cubicBezTo>
                        <a:cubicBezTo>
                          <a:pt x="733457" y="787549"/>
                          <a:pt x="713671" y="807300"/>
                          <a:pt x="696359" y="824582"/>
                        </a:cubicBezTo>
                        <a:cubicBezTo>
                          <a:pt x="693886" y="827050"/>
                          <a:pt x="691412" y="831988"/>
                          <a:pt x="688939" y="836926"/>
                        </a:cubicBezTo>
                        <a:cubicBezTo>
                          <a:pt x="671626" y="864082"/>
                          <a:pt x="664207" y="893708"/>
                          <a:pt x="656787" y="923334"/>
                        </a:cubicBezTo>
                        <a:cubicBezTo>
                          <a:pt x="637001" y="992460"/>
                          <a:pt x="646894" y="1059118"/>
                          <a:pt x="671626" y="1123307"/>
                        </a:cubicBezTo>
                        <a:cubicBezTo>
                          <a:pt x="679046" y="1138120"/>
                          <a:pt x="691412" y="1145526"/>
                          <a:pt x="708725" y="1147995"/>
                        </a:cubicBezTo>
                        <a:cubicBezTo>
                          <a:pt x="738404" y="1147995"/>
                          <a:pt x="768082" y="1143058"/>
                          <a:pt x="797761" y="1130714"/>
                        </a:cubicBezTo>
                        <a:cubicBezTo>
                          <a:pt x="817547" y="1123307"/>
                          <a:pt x="839806" y="1118370"/>
                          <a:pt x="857119" y="1101088"/>
                        </a:cubicBezTo>
                        <a:cubicBezTo>
                          <a:pt x="869485" y="1088744"/>
                          <a:pt x="884324" y="1078869"/>
                          <a:pt x="899164" y="1068993"/>
                        </a:cubicBezTo>
                        <a:cubicBezTo>
                          <a:pt x="918949" y="1054181"/>
                          <a:pt x="938735" y="1039368"/>
                          <a:pt x="958521" y="1022086"/>
                        </a:cubicBezTo>
                        <a:cubicBezTo>
                          <a:pt x="968414" y="1014680"/>
                          <a:pt x="980780" y="1007273"/>
                          <a:pt x="988200" y="997398"/>
                        </a:cubicBezTo>
                        <a:cubicBezTo>
                          <a:pt x="1010459" y="972710"/>
                          <a:pt x="1032718" y="948022"/>
                          <a:pt x="1054977" y="925803"/>
                        </a:cubicBezTo>
                        <a:cubicBezTo>
                          <a:pt x="1092076" y="891239"/>
                          <a:pt x="1116808" y="849270"/>
                          <a:pt x="1146487" y="807300"/>
                        </a:cubicBezTo>
                        <a:cubicBezTo>
                          <a:pt x="1139067" y="802362"/>
                          <a:pt x="1131647" y="797425"/>
                          <a:pt x="1124228" y="794956"/>
                        </a:cubicBezTo>
                        <a:cubicBezTo>
                          <a:pt x="1079709" y="777674"/>
                          <a:pt x="1035191" y="762861"/>
                          <a:pt x="990673" y="748049"/>
                        </a:cubicBezTo>
                        <a:cubicBezTo>
                          <a:pt x="968414" y="743111"/>
                          <a:pt x="943682" y="740642"/>
                          <a:pt x="918949" y="740642"/>
                        </a:cubicBezTo>
                        <a:cubicBezTo>
                          <a:pt x="894217" y="738173"/>
                          <a:pt x="867012" y="740642"/>
                          <a:pt x="842279" y="740642"/>
                        </a:cubicBezTo>
                        <a:close/>
                        <a:moveTo>
                          <a:pt x="326006" y="127884"/>
                        </a:moveTo>
                        <a:cubicBezTo>
                          <a:pt x="328481" y="125412"/>
                          <a:pt x="335906" y="127884"/>
                          <a:pt x="338380" y="130355"/>
                        </a:cubicBezTo>
                        <a:cubicBezTo>
                          <a:pt x="353230" y="137771"/>
                          <a:pt x="368080" y="142714"/>
                          <a:pt x="380455" y="150129"/>
                        </a:cubicBezTo>
                        <a:cubicBezTo>
                          <a:pt x="452229" y="197091"/>
                          <a:pt x="524002" y="244053"/>
                          <a:pt x="585876" y="303373"/>
                        </a:cubicBezTo>
                        <a:cubicBezTo>
                          <a:pt x="620526" y="337976"/>
                          <a:pt x="650225" y="372580"/>
                          <a:pt x="674975" y="412127"/>
                        </a:cubicBezTo>
                        <a:cubicBezTo>
                          <a:pt x="684875" y="431900"/>
                          <a:pt x="697249" y="451674"/>
                          <a:pt x="709624" y="471447"/>
                        </a:cubicBezTo>
                        <a:cubicBezTo>
                          <a:pt x="697249" y="483805"/>
                          <a:pt x="682400" y="483805"/>
                          <a:pt x="672500" y="486277"/>
                        </a:cubicBezTo>
                        <a:cubicBezTo>
                          <a:pt x="625476" y="491220"/>
                          <a:pt x="580926" y="496164"/>
                          <a:pt x="536377" y="501107"/>
                        </a:cubicBezTo>
                        <a:cubicBezTo>
                          <a:pt x="528952" y="501107"/>
                          <a:pt x="524002" y="503579"/>
                          <a:pt x="516577" y="506050"/>
                        </a:cubicBezTo>
                        <a:cubicBezTo>
                          <a:pt x="504203" y="508522"/>
                          <a:pt x="491828" y="510994"/>
                          <a:pt x="479453" y="513465"/>
                        </a:cubicBezTo>
                        <a:cubicBezTo>
                          <a:pt x="472028" y="513465"/>
                          <a:pt x="467078" y="513465"/>
                          <a:pt x="462128" y="515937"/>
                        </a:cubicBezTo>
                        <a:cubicBezTo>
                          <a:pt x="442329" y="523352"/>
                          <a:pt x="420054" y="520880"/>
                          <a:pt x="400254" y="518409"/>
                        </a:cubicBezTo>
                        <a:cubicBezTo>
                          <a:pt x="377980" y="513465"/>
                          <a:pt x="358180" y="518409"/>
                          <a:pt x="348280" y="543126"/>
                        </a:cubicBezTo>
                        <a:cubicBezTo>
                          <a:pt x="348280" y="545597"/>
                          <a:pt x="345805" y="548069"/>
                          <a:pt x="345805" y="550541"/>
                        </a:cubicBezTo>
                        <a:cubicBezTo>
                          <a:pt x="323531" y="565371"/>
                          <a:pt x="311156" y="587616"/>
                          <a:pt x="298781" y="607389"/>
                        </a:cubicBezTo>
                        <a:cubicBezTo>
                          <a:pt x="286406" y="624691"/>
                          <a:pt x="276507" y="644464"/>
                          <a:pt x="266607" y="664238"/>
                        </a:cubicBezTo>
                        <a:cubicBezTo>
                          <a:pt x="264132" y="669181"/>
                          <a:pt x="259182" y="676596"/>
                          <a:pt x="259182" y="684011"/>
                        </a:cubicBezTo>
                        <a:cubicBezTo>
                          <a:pt x="254232" y="691426"/>
                          <a:pt x="254232" y="701313"/>
                          <a:pt x="254232" y="711200"/>
                        </a:cubicBezTo>
                        <a:cubicBezTo>
                          <a:pt x="298781" y="681540"/>
                          <a:pt x="345805" y="654351"/>
                          <a:pt x="397779" y="639521"/>
                        </a:cubicBezTo>
                        <a:cubicBezTo>
                          <a:pt x="452229" y="622219"/>
                          <a:pt x="504203" y="624691"/>
                          <a:pt x="561127" y="627163"/>
                        </a:cubicBezTo>
                        <a:cubicBezTo>
                          <a:pt x="543802" y="646936"/>
                          <a:pt x="511628" y="651879"/>
                          <a:pt x="509153" y="686483"/>
                        </a:cubicBezTo>
                        <a:cubicBezTo>
                          <a:pt x="516577" y="703785"/>
                          <a:pt x="528952" y="721086"/>
                          <a:pt x="536377" y="740860"/>
                        </a:cubicBezTo>
                        <a:cubicBezTo>
                          <a:pt x="548752" y="765577"/>
                          <a:pt x="533902" y="787822"/>
                          <a:pt x="519052" y="805123"/>
                        </a:cubicBezTo>
                        <a:cubicBezTo>
                          <a:pt x="499253" y="827368"/>
                          <a:pt x="472028" y="842199"/>
                          <a:pt x="444804" y="854557"/>
                        </a:cubicBezTo>
                        <a:cubicBezTo>
                          <a:pt x="442329" y="854557"/>
                          <a:pt x="442329" y="854557"/>
                          <a:pt x="442329" y="854557"/>
                        </a:cubicBezTo>
                        <a:cubicBezTo>
                          <a:pt x="410154" y="874330"/>
                          <a:pt x="377980" y="884217"/>
                          <a:pt x="343330" y="894104"/>
                        </a:cubicBezTo>
                        <a:cubicBezTo>
                          <a:pt x="308681" y="906462"/>
                          <a:pt x="278981" y="903990"/>
                          <a:pt x="246807" y="886689"/>
                        </a:cubicBezTo>
                        <a:cubicBezTo>
                          <a:pt x="187408" y="852085"/>
                          <a:pt x="137909" y="807595"/>
                          <a:pt x="93360" y="755690"/>
                        </a:cubicBezTo>
                        <a:cubicBezTo>
                          <a:pt x="78510" y="735916"/>
                          <a:pt x="78510" y="716143"/>
                          <a:pt x="90885" y="693898"/>
                        </a:cubicBezTo>
                        <a:cubicBezTo>
                          <a:pt x="98310" y="679068"/>
                          <a:pt x="103259" y="664238"/>
                          <a:pt x="113159" y="649408"/>
                        </a:cubicBezTo>
                        <a:cubicBezTo>
                          <a:pt x="128009" y="624691"/>
                          <a:pt x="142859" y="599974"/>
                          <a:pt x="167608" y="580201"/>
                        </a:cubicBezTo>
                        <a:cubicBezTo>
                          <a:pt x="202258" y="557956"/>
                          <a:pt x="234432" y="530767"/>
                          <a:pt x="261657" y="496164"/>
                        </a:cubicBezTo>
                        <a:cubicBezTo>
                          <a:pt x="269082" y="488749"/>
                          <a:pt x="278981" y="483805"/>
                          <a:pt x="293831" y="471447"/>
                        </a:cubicBezTo>
                        <a:cubicBezTo>
                          <a:pt x="274032" y="456617"/>
                          <a:pt x="264132" y="444259"/>
                          <a:pt x="251757" y="436843"/>
                        </a:cubicBezTo>
                        <a:cubicBezTo>
                          <a:pt x="177508" y="384938"/>
                          <a:pt x="113159" y="325618"/>
                          <a:pt x="53760" y="261354"/>
                        </a:cubicBezTo>
                        <a:cubicBezTo>
                          <a:pt x="38911" y="244053"/>
                          <a:pt x="26536" y="224279"/>
                          <a:pt x="11686" y="206977"/>
                        </a:cubicBezTo>
                        <a:cubicBezTo>
                          <a:pt x="9211" y="202034"/>
                          <a:pt x="6736" y="194619"/>
                          <a:pt x="1786" y="187204"/>
                        </a:cubicBezTo>
                        <a:cubicBezTo>
                          <a:pt x="-3164" y="169902"/>
                          <a:pt x="1786" y="160016"/>
                          <a:pt x="21586" y="160016"/>
                        </a:cubicBezTo>
                        <a:cubicBezTo>
                          <a:pt x="41385" y="162487"/>
                          <a:pt x="61185" y="164959"/>
                          <a:pt x="80985" y="164959"/>
                        </a:cubicBezTo>
                        <a:cubicBezTo>
                          <a:pt x="100784" y="167431"/>
                          <a:pt x="120584" y="174846"/>
                          <a:pt x="140384" y="182261"/>
                        </a:cubicBezTo>
                        <a:cubicBezTo>
                          <a:pt x="145334" y="184732"/>
                          <a:pt x="150284" y="182261"/>
                          <a:pt x="160183" y="184732"/>
                        </a:cubicBezTo>
                        <a:cubicBezTo>
                          <a:pt x="150284" y="172374"/>
                          <a:pt x="142859" y="162487"/>
                          <a:pt x="132959" y="152601"/>
                        </a:cubicBezTo>
                        <a:cubicBezTo>
                          <a:pt x="135434" y="150129"/>
                          <a:pt x="135434" y="147657"/>
                          <a:pt x="135434" y="147657"/>
                        </a:cubicBezTo>
                        <a:cubicBezTo>
                          <a:pt x="155234" y="152601"/>
                          <a:pt x="175033" y="160016"/>
                          <a:pt x="197308" y="167431"/>
                        </a:cubicBezTo>
                        <a:cubicBezTo>
                          <a:pt x="187408" y="155072"/>
                          <a:pt x="182458" y="147657"/>
                          <a:pt x="172558" y="135299"/>
                        </a:cubicBezTo>
                        <a:cubicBezTo>
                          <a:pt x="204733" y="137771"/>
                          <a:pt x="229482" y="140242"/>
                          <a:pt x="256707" y="142714"/>
                        </a:cubicBezTo>
                        <a:cubicBezTo>
                          <a:pt x="256707" y="137771"/>
                          <a:pt x="254232" y="135299"/>
                          <a:pt x="254232" y="130355"/>
                        </a:cubicBezTo>
                        <a:cubicBezTo>
                          <a:pt x="264132" y="130355"/>
                          <a:pt x="274032" y="130355"/>
                          <a:pt x="283931" y="130355"/>
                        </a:cubicBezTo>
                        <a:cubicBezTo>
                          <a:pt x="298781" y="130355"/>
                          <a:pt x="311156" y="140242"/>
                          <a:pt x="326006" y="127884"/>
                        </a:cubicBezTo>
                        <a:close/>
                        <a:moveTo>
                          <a:pt x="1465533" y="0"/>
                        </a:moveTo>
                        <a:cubicBezTo>
                          <a:pt x="1490266" y="0"/>
                          <a:pt x="1517471" y="4938"/>
                          <a:pt x="1539730" y="17282"/>
                        </a:cubicBezTo>
                        <a:cubicBezTo>
                          <a:pt x="1569409" y="34563"/>
                          <a:pt x="1599088" y="51845"/>
                          <a:pt x="1628767" y="74064"/>
                        </a:cubicBezTo>
                        <a:cubicBezTo>
                          <a:pt x="1690597" y="118503"/>
                          <a:pt x="1749955" y="167879"/>
                          <a:pt x="1801893" y="227130"/>
                        </a:cubicBezTo>
                        <a:cubicBezTo>
                          <a:pt x="1819205" y="246881"/>
                          <a:pt x="1836518" y="266631"/>
                          <a:pt x="1853831" y="288851"/>
                        </a:cubicBezTo>
                        <a:cubicBezTo>
                          <a:pt x="1883509" y="328351"/>
                          <a:pt x="1876090" y="353039"/>
                          <a:pt x="1851357" y="399947"/>
                        </a:cubicBezTo>
                        <a:cubicBezTo>
                          <a:pt x="1841464" y="419697"/>
                          <a:pt x="1826625" y="439448"/>
                          <a:pt x="1811786" y="459198"/>
                        </a:cubicBezTo>
                        <a:cubicBezTo>
                          <a:pt x="1789527" y="488824"/>
                          <a:pt x="1767267" y="520918"/>
                          <a:pt x="1742535" y="550544"/>
                        </a:cubicBezTo>
                        <a:cubicBezTo>
                          <a:pt x="1732642" y="565357"/>
                          <a:pt x="1725223" y="577701"/>
                          <a:pt x="1715330" y="592514"/>
                        </a:cubicBezTo>
                        <a:cubicBezTo>
                          <a:pt x="1712856" y="594983"/>
                          <a:pt x="1710383" y="597451"/>
                          <a:pt x="1707910" y="599920"/>
                        </a:cubicBezTo>
                        <a:cubicBezTo>
                          <a:pt x="1688124" y="617202"/>
                          <a:pt x="1665865" y="634483"/>
                          <a:pt x="1646079" y="654234"/>
                        </a:cubicBezTo>
                        <a:cubicBezTo>
                          <a:pt x="1638659" y="659171"/>
                          <a:pt x="1633713" y="669047"/>
                          <a:pt x="1623820" y="678922"/>
                        </a:cubicBezTo>
                        <a:cubicBezTo>
                          <a:pt x="1633713" y="681391"/>
                          <a:pt x="1641133" y="683860"/>
                          <a:pt x="1648552" y="683860"/>
                        </a:cubicBezTo>
                        <a:cubicBezTo>
                          <a:pt x="1690597" y="688797"/>
                          <a:pt x="1732642" y="693735"/>
                          <a:pt x="1774687" y="701141"/>
                        </a:cubicBezTo>
                        <a:cubicBezTo>
                          <a:pt x="1848884" y="713485"/>
                          <a:pt x="1923081" y="728298"/>
                          <a:pt x="1997278" y="743111"/>
                        </a:cubicBezTo>
                        <a:cubicBezTo>
                          <a:pt x="2004698" y="745580"/>
                          <a:pt x="2014590" y="750517"/>
                          <a:pt x="2022010" y="755455"/>
                        </a:cubicBezTo>
                        <a:cubicBezTo>
                          <a:pt x="2051689" y="780143"/>
                          <a:pt x="2076421" y="809769"/>
                          <a:pt x="2096207" y="841863"/>
                        </a:cubicBezTo>
                        <a:cubicBezTo>
                          <a:pt x="2162984" y="943084"/>
                          <a:pt x="2212449" y="1051712"/>
                          <a:pt x="2256967" y="1162808"/>
                        </a:cubicBezTo>
                        <a:cubicBezTo>
                          <a:pt x="2281699" y="1224528"/>
                          <a:pt x="2303958" y="1286248"/>
                          <a:pt x="2326217" y="1345500"/>
                        </a:cubicBezTo>
                        <a:cubicBezTo>
                          <a:pt x="2328691" y="1352906"/>
                          <a:pt x="2331164" y="1357844"/>
                          <a:pt x="2333637" y="1365250"/>
                        </a:cubicBezTo>
                        <a:cubicBezTo>
                          <a:pt x="2256967" y="1308468"/>
                          <a:pt x="2175350" y="1261560"/>
                          <a:pt x="2096207" y="1214653"/>
                        </a:cubicBezTo>
                        <a:cubicBezTo>
                          <a:pt x="2046742" y="1189965"/>
                          <a:pt x="1997278" y="1170214"/>
                          <a:pt x="1947813" y="1147995"/>
                        </a:cubicBezTo>
                        <a:cubicBezTo>
                          <a:pt x="1920608" y="1135651"/>
                          <a:pt x="1893402" y="1123307"/>
                          <a:pt x="1866197" y="1110963"/>
                        </a:cubicBezTo>
                        <a:cubicBezTo>
                          <a:pt x="1843938" y="1101088"/>
                          <a:pt x="1821679" y="1088744"/>
                          <a:pt x="1796946" y="1081337"/>
                        </a:cubicBezTo>
                        <a:cubicBezTo>
                          <a:pt x="1725223" y="1059118"/>
                          <a:pt x="1660919" y="1022086"/>
                          <a:pt x="1586722" y="999867"/>
                        </a:cubicBezTo>
                        <a:cubicBezTo>
                          <a:pt x="1564463" y="994929"/>
                          <a:pt x="1539730" y="987523"/>
                          <a:pt x="1514998" y="977648"/>
                        </a:cubicBezTo>
                        <a:cubicBezTo>
                          <a:pt x="1482846" y="965304"/>
                          <a:pt x="1448221" y="952959"/>
                          <a:pt x="1416069" y="940615"/>
                        </a:cubicBezTo>
                        <a:cubicBezTo>
                          <a:pt x="1401229" y="935678"/>
                          <a:pt x="1388863" y="935678"/>
                          <a:pt x="1374024" y="933209"/>
                        </a:cubicBezTo>
                        <a:cubicBezTo>
                          <a:pt x="1369077" y="930740"/>
                          <a:pt x="1364131" y="925803"/>
                          <a:pt x="1356711" y="923334"/>
                        </a:cubicBezTo>
                        <a:cubicBezTo>
                          <a:pt x="1336925" y="957897"/>
                          <a:pt x="1304773" y="980116"/>
                          <a:pt x="1275095" y="1002336"/>
                        </a:cubicBezTo>
                        <a:cubicBezTo>
                          <a:pt x="1245416" y="1027024"/>
                          <a:pt x="1218210" y="1051712"/>
                          <a:pt x="1186058" y="1071462"/>
                        </a:cubicBezTo>
                        <a:cubicBezTo>
                          <a:pt x="1153906" y="1096150"/>
                          <a:pt x="1124228" y="1125776"/>
                          <a:pt x="1084656" y="1143058"/>
                        </a:cubicBezTo>
                        <a:cubicBezTo>
                          <a:pt x="1064870" y="1152933"/>
                          <a:pt x="1047557" y="1167746"/>
                          <a:pt x="1027772" y="1177621"/>
                        </a:cubicBezTo>
                        <a:cubicBezTo>
                          <a:pt x="1003039" y="1189965"/>
                          <a:pt x="975834" y="1199840"/>
                          <a:pt x="951101" y="1209715"/>
                        </a:cubicBezTo>
                        <a:cubicBezTo>
                          <a:pt x="941209" y="1214653"/>
                          <a:pt x="931316" y="1222059"/>
                          <a:pt x="921423" y="1224528"/>
                        </a:cubicBezTo>
                        <a:cubicBezTo>
                          <a:pt x="896690" y="1234403"/>
                          <a:pt x="871958" y="1241810"/>
                          <a:pt x="847226" y="1246747"/>
                        </a:cubicBezTo>
                        <a:cubicBezTo>
                          <a:pt x="822494" y="1254154"/>
                          <a:pt x="797761" y="1246747"/>
                          <a:pt x="775502" y="1236872"/>
                        </a:cubicBezTo>
                        <a:cubicBezTo>
                          <a:pt x="730984" y="1214653"/>
                          <a:pt x="693886" y="1185027"/>
                          <a:pt x="661734" y="1147995"/>
                        </a:cubicBezTo>
                        <a:cubicBezTo>
                          <a:pt x="637001" y="1118370"/>
                          <a:pt x="624635" y="1081337"/>
                          <a:pt x="617215" y="1044305"/>
                        </a:cubicBezTo>
                        <a:cubicBezTo>
                          <a:pt x="604849" y="989992"/>
                          <a:pt x="607322" y="933209"/>
                          <a:pt x="622162" y="878895"/>
                        </a:cubicBezTo>
                        <a:cubicBezTo>
                          <a:pt x="629582" y="854207"/>
                          <a:pt x="641948" y="829519"/>
                          <a:pt x="654314" y="807300"/>
                        </a:cubicBezTo>
                        <a:cubicBezTo>
                          <a:pt x="664207" y="787549"/>
                          <a:pt x="676573" y="770268"/>
                          <a:pt x="686466" y="752986"/>
                        </a:cubicBezTo>
                        <a:cubicBezTo>
                          <a:pt x="728511" y="693735"/>
                          <a:pt x="785395" y="659171"/>
                          <a:pt x="857119" y="644359"/>
                        </a:cubicBezTo>
                        <a:cubicBezTo>
                          <a:pt x="918949" y="632015"/>
                          <a:pt x="980780" y="627077"/>
                          <a:pt x="1042611" y="624608"/>
                        </a:cubicBezTo>
                        <a:cubicBezTo>
                          <a:pt x="1072290" y="622139"/>
                          <a:pt x="1101969" y="619671"/>
                          <a:pt x="1131647" y="622139"/>
                        </a:cubicBezTo>
                        <a:cubicBezTo>
                          <a:pt x="1168746" y="622139"/>
                          <a:pt x="1205844" y="624608"/>
                          <a:pt x="1242943" y="636952"/>
                        </a:cubicBezTo>
                        <a:cubicBezTo>
                          <a:pt x="1247889" y="636952"/>
                          <a:pt x="1250362" y="639421"/>
                          <a:pt x="1255309" y="639421"/>
                        </a:cubicBezTo>
                        <a:cubicBezTo>
                          <a:pt x="1275095" y="641890"/>
                          <a:pt x="1277568" y="639421"/>
                          <a:pt x="1282514" y="622139"/>
                        </a:cubicBezTo>
                        <a:cubicBezTo>
                          <a:pt x="1284988" y="617202"/>
                          <a:pt x="1284988" y="612264"/>
                          <a:pt x="1287461" y="609795"/>
                        </a:cubicBezTo>
                        <a:cubicBezTo>
                          <a:pt x="1302300" y="590045"/>
                          <a:pt x="1312193" y="570294"/>
                          <a:pt x="1319613" y="548075"/>
                        </a:cubicBezTo>
                        <a:cubicBezTo>
                          <a:pt x="1339399" y="508574"/>
                          <a:pt x="1359184" y="469073"/>
                          <a:pt x="1378970" y="429572"/>
                        </a:cubicBezTo>
                        <a:cubicBezTo>
                          <a:pt x="1381444" y="427104"/>
                          <a:pt x="1378970" y="424635"/>
                          <a:pt x="1381444" y="419697"/>
                        </a:cubicBezTo>
                        <a:cubicBezTo>
                          <a:pt x="1351765" y="407353"/>
                          <a:pt x="1324559" y="409822"/>
                          <a:pt x="1299827" y="422166"/>
                        </a:cubicBezTo>
                        <a:cubicBezTo>
                          <a:pt x="1262728" y="441917"/>
                          <a:pt x="1228103" y="461667"/>
                          <a:pt x="1193478" y="478949"/>
                        </a:cubicBezTo>
                        <a:cubicBezTo>
                          <a:pt x="1186058" y="483886"/>
                          <a:pt x="1176165" y="483886"/>
                          <a:pt x="1168746" y="486355"/>
                        </a:cubicBezTo>
                        <a:cubicBezTo>
                          <a:pt x="1151433" y="491293"/>
                          <a:pt x="1131647" y="493761"/>
                          <a:pt x="1114335" y="498699"/>
                        </a:cubicBezTo>
                        <a:cubicBezTo>
                          <a:pt x="1097022" y="503637"/>
                          <a:pt x="1079709" y="501168"/>
                          <a:pt x="1064870" y="493761"/>
                        </a:cubicBezTo>
                        <a:cubicBezTo>
                          <a:pt x="1035191" y="476480"/>
                          <a:pt x="1007986" y="461667"/>
                          <a:pt x="980780" y="444385"/>
                        </a:cubicBezTo>
                        <a:cubicBezTo>
                          <a:pt x="904110" y="392540"/>
                          <a:pt x="837333" y="330820"/>
                          <a:pt x="777975" y="261694"/>
                        </a:cubicBezTo>
                        <a:cubicBezTo>
                          <a:pt x="765609" y="246881"/>
                          <a:pt x="758190" y="229599"/>
                          <a:pt x="748297" y="212317"/>
                        </a:cubicBezTo>
                        <a:cubicBezTo>
                          <a:pt x="745823" y="209849"/>
                          <a:pt x="743350" y="204911"/>
                          <a:pt x="745823" y="199973"/>
                        </a:cubicBezTo>
                        <a:cubicBezTo>
                          <a:pt x="753243" y="185161"/>
                          <a:pt x="740877" y="175285"/>
                          <a:pt x="733457" y="162941"/>
                        </a:cubicBezTo>
                        <a:cubicBezTo>
                          <a:pt x="726038" y="153066"/>
                          <a:pt x="716145" y="140722"/>
                          <a:pt x="716145" y="125909"/>
                        </a:cubicBezTo>
                        <a:cubicBezTo>
                          <a:pt x="733457" y="120971"/>
                          <a:pt x="748297" y="118503"/>
                          <a:pt x="765609" y="120971"/>
                        </a:cubicBezTo>
                        <a:cubicBezTo>
                          <a:pt x="802708" y="123440"/>
                          <a:pt x="837333" y="120971"/>
                          <a:pt x="874431" y="120971"/>
                        </a:cubicBezTo>
                        <a:cubicBezTo>
                          <a:pt x="926369" y="116034"/>
                          <a:pt x="975834" y="108627"/>
                          <a:pt x="1022825" y="91346"/>
                        </a:cubicBezTo>
                        <a:cubicBezTo>
                          <a:pt x="1027772" y="88877"/>
                          <a:pt x="1032718" y="88877"/>
                          <a:pt x="1037665" y="88877"/>
                        </a:cubicBezTo>
                        <a:cubicBezTo>
                          <a:pt x="1072290" y="81470"/>
                          <a:pt x="1104442" y="69126"/>
                          <a:pt x="1136594" y="51845"/>
                        </a:cubicBezTo>
                        <a:cubicBezTo>
                          <a:pt x="1139067" y="49376"/>
                          <a:pt x="1146487" y="49376"/>
                          <a:pt x="1148960" y="49376"/>
                        </a:cubicBezTo>
                        <a:cubicBezTo>
                          <a:pt x="1163799" y="54314"/>
                          <a:pt x="1178639" y="46907"/>
                          <a:pt x="1193478" y="44438"/>
                        </a:cubicBezTo>
                        <a:cubicBezTo>
                          <a:pt x="1233050" y="32094"/>
                          <a:pt x="1272621" y="19750"/>
                          <a:pt x="1309720" y="7406"/>
                        </a:cubicBezTo>
                        <a:cubicBezTo>
                          <a:pt x="1319613" y="4938"/>
                          <a:pt x="1329506" y="2469"/>
                          <a:pt x="1339399" y="2469"/>
                        </a:cubicBezTo>
                        <a:cubicBezTo>
                          <a:pt x="1381444" y="2469"/>
                          <a:pt x="1423488" y="0"/>
                          <a:pt x="1465533" y="0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84000">
                        <a:schemeClr val="accent2">
                          <a:lumMod val="40000"/>
                          <a:lumOff val="60000"/>
                        </a:schemeClr>
                      </a:gs>
                      <a:gs pos="0">
                        <a:schemeClr val="accent2"/>
                      </a:gs>
                    </a:gsLst>
                    <a:lin ang="135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lvl="0" algn="ctr"/>
                    <a:endParaRPr>
                      <a:gradFill flip="none" rotWithShape="1">
                        <a:gsLst>
                          <a:gs pos="89000">
                            <a:schemeClr val="bg1"/>
                          </a:gs>
                          <a:gs pos="0">
                            <a:schemeClr val="accent2"/>
                          </a:gs>
                        </a:gsLst>
                        <a:lin ang="13500000" scaled="1"/>
                        <a:tileRect/>
                      </a:gradFill>
                    </a:endParaRPr>
                  </a:p>
                </p:txBody>
              </p:sp>
              <p:sp>
                <p:nvSpPr>
                  <p:cNvPr id="237" name="任意多边形: 形状 236">
                    <a:extLst>
                      <a:ext uri="{FF2B5EF4-FFF2-40B4-BE49-F238E27FC236}">
                        <a16:creationId xmlns:a16="http://schemas.microsoft.com/office/drawing/2014/main" id="{4729509A-1087-4D19-B0C0-CE24F3922BA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8166949" y="2083869"/>
                    <a:ext cx="43545" cy="69206"/>
                  </a:xfrm>
                  <a:custGeom>
                    <a:avLst/>
                    <a:gdLst>
                      <a:gd name="T0" fmla="*/ 7 w 14"/>
                      <a:gd name="T1" fmla="*/ 0 h 84"/>
                      <a:gd name="T2" fmla="*/ 10 w 14"/>
                      <a:gd name="T3" fmla="*/ 7 h 84"/>
                      <a:gd name="T4" fmla="*/ 14 w 14"/>
                      <a:gd name="T5" fmla="*/ 57 h 84"/>
                      <a:gd name="T6" fmla="*/ 14 w 14"/>
                      <a:gd name="T7" fmla="*/ 60 h 84"/>
                      <a:gd name="T8" fmla="*/ 9 w 14"/>
                      <a:gd name="T9" fmla="*/ 84 h 84"/>
                      <a:gd name="T10" fmla="*/ 7 w 14"/>
                      <a:gd name="T11" fmla="*/ 0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4" h="84">
                        <a:moveTo>
                          <a:pt x="7" y="0"/>
                        </a:moveTo>
                        <a:cubicBezTo>
                          <a:pt x="8" y="4"/>
                          <a:pt x="9" y="5"/>
                          <a:pt x="10" y="7"/>
                        </a:cubicBezTo>
                        <a:cubicBezTo>
                          <a:pt x="11" y="24"/>
                          <a:pt x="13" y="40"/>
                          <a:pt x="14" y="57"/>
                        </a:cubicBezTo>
                        <a:cubicBezTo>
                          <a:pt x="14" y="58"/>
                          <a:pt x="14" y="59"/>
                          <a:pt x="14" y="60"/>
                        </a:cubicBezTo>
                        <a:cubicBezTo>
                          <a:pt x="12" y="68"/>
                          <a:pt x="11" y="76"/>
                          <a:pt x="9" y="84"/>
                        </a:cubicBezTo>
                        <a:cubicBezTo>
                          <a:pt x="0" y="71"/>
                          <a:pt x="4" y="21"/>
                          <a:pt x="7" y="0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84000">
                        <a:schemeClr val="accent2">
                          <a:lumMod val="40000"/>
                          <a:lumOff val="60000"/>
                        </a:schemeClr>
                      </a:gs>
                      <a:gs pos="0">
                        <a:schemeClr val="accent2"/>
                      </a:gs>
                      <a:gs pos="55000">
                        <a:schemeClr val="accent2"/>
                      </a:gs>
                    </a:gsLst>
                    <a:lin ang="135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/>
                  </a:p>
                </p:txBody>
              </p:sp>
              <p:sp>
                <p:nvSpPr>
                  <p:cNvPr id="238" name="任意多边形: 形状 237">
                    <a:extLst>
                      <a:ext uri="{FF2B5EF4-FFF2-40B4-BE49-F238E27FC236}">
                        <a16:creationId xmlns:a16="http://schemas.microsoft.com/office/drawing/2014/main" id="{E1DBD410-7005-465F-8BC3-4985F6DB011A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8804159" y="2842281"/>
                    <a:ext cx="30163" cy="47625"/>
                  </a:xfrm>
                  <a:custGeom>
                    <a:avLst/>
                    <a:gdLst>
                      <a:gd name="T0" fmla="*/ 1 w 12"/>
                      <a:gd name="T1" fmla="*/ 0 h 19"/>
                      <a:gd name="T2" fmla="*/ 12 w 12"/>
                      <a:gd name="T3" fmla="*/ 14 h 19"/>
                      <a:gd name="T4" fmla="*/ 5 w 12"/>
                      <a:gd name="T5" fmla="*/ 19 h 19"/>
                      <a:gd name="T6" fmla="*/ 1 w 12"/>
                      <a:gd name="T7" fmla="*/ 0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2" h="19">
                        <a:moveTo>
                          <a:pt x="1" y="0"/>
                        </a:moveTo>
                        <a:cubicBezTo>
                          <a:pt x="5" y="6"/>
                          <a:pt x="8" y="9"/>
                          <a:pt x="12" y="14"/>
                        </a:cubicBezTo>
                        <a:cubicBezTo>
                          <a:pt x="10" y="15"/>
                          <a:pt x="8" y="17"/>
                          <a:pt x="5" y="19"/>
                        </a:cubicBezTo>
                        <a:cubicBezTo>
                          <a:pt x="1" y="14"/>
                          <a:pt x="0" y="9"/>
                          <a:pt x="1" y="0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84000">
                        <a:schemeClr val="accent2">
                          <a:lumMod val="40000"/>
                          <a:lumOff val="60000"/>
                        </a:schemeClr>
                      </a:gs>
                      <a:gs pos="0">
                        <a:schemeClr val="accent2"/>
                      </a:gs>
                      <a:gs pos="55000">
                        <a:schemeClr val="accent2"/>
                      </a:gs>
                    </a:gsLst>
                    <a:lin ang="135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/>
                  </a:p>
                </p:txBody>
              </p:sp>
              <p:sp>
                <p:nvSpPr>
                  <p:cNvPr id="239" name="任意多边形: 形状 238">
                    <a:extLst>
                      <a:ext uri="{FF2B5EF4-FFF2-40B4-BE49-F238E27FC236}">
                        <a16:creationId xmlns:a16="http://schemas.microsoft.com/office/drawing/2014/main" id="{5EB1DD80-BE5C-40EC-9B3E-B593B24D1D51}"/>
                      </a:ext>
                    </a:extLst>
                  </p:cNvPr>
                  <p:cNvSpPr/>
                  <p:nvPr/>
                </p:nvSpPr>
                <p:spPr bwMode="auto">
                  <a:xfrm rot="20433723" flipH="1">
                    <a:off x="7681160" y="2182885"/>
                    <a:ext cx="673118" cy="527922"/>
                  </a:xfrm>
                  <a:custGeom>
                    <a:avLst/>
                    <a:gdLst>
                      <a:gd name="connsiteX0" fmla="*/ 873079 w 2945932"/>
                      <a:gd name="connsiteY0" fmla="*/ 1590582 h 2310473"/>
                      <a:gd name="connsiteX1" fmla="*/ 861173 w 2945932"/>
                      <a:gd name="connsiteY1" fmla="*/ 1627095 h 2310473"/>
                      <a:gd name="connsiteX2" fmla="*/ 873079 w 2945932"/>
                      <a:gd name="connsiteY2" fmla="*/ 1590582 h 2310473"/>
                      <a:gd name="connsiteX3" fmla="*/ 938166 w 2945932"/>
                      <a:gd name="connsiteY3" fmla="*/ 1350870 h 2310473"/>
                      <a:gd name="connsiteX4" fmla="*/ 858978 w 2945932"/>
                      <a:gd name="connsiteY4" fmla="*/ 1579470 h 2310473"/>
                      <a:gd name="connsiteX5" fmla="*/ 858978 w 2945932"/>
                      <a:gd name="connsiteY5" fmla="*/ 1527851 h 2310473"/>
                      <a:gd name="connsiteX6" fmla="*/ 938166 w 2945932"/>
                      <a:gd name="connsiteY6" fmla="*/ 1350870 h 2310473"/>
                      <a:gd name="connsiteX7" fmla="*/ 853780 w 2945932"/>
                      <a:gd name="connsiteY7" fmla="*/ 1249180 h 2310473"/>
                      <a:gd name="connsiteX8" fmla="*/ 853780 w 2945932"/>
                      <a:gd name="connsiteY8" fmla="*/ 1251652 h 2310473"/>
                      <a:gd name="connsiteX9" fmla="*/ 856255 w 2945932"/>
                      <a:gd name="connsiteY9" fmla="*/ 1249180 h 2310473"/>
                      <a:gd name="connsiteX10" fmla="*/ 853780 w 2945932"/>
                      <a:gd name="connsiteY10" fmla="*/ 1249180 h 2310473"/>
                      <a:gd name="connsiteX11" fmla="*/ 950279 w 2945932"/>
                      <a:gd name="connsiteY11" fmla="*/ 1194803 h 2310473"/>
                      <a:gd name="connsiteX12" fmla="*/ 895844 w 2945932"/>
                      <a:gd name="connsiteY12" fmla="*/ 1224463 h 2310473"/>
                      <a:gd name="connsiteX13" fmla="*/ 950279 w 2945932"/>
                      <a:gd name="connsiteY13" fmla="*/ 1194803 h 2310473"/>
                      <a:gd name="connsiteX14" fmla="*/ 1648037 w 2945932"/>
                      <a:gd name="connsiteY14" fmla="*/ 908086 h 2310473"/>
                      <a:gd name="connsiteX15" fmla="*/ 1610922 w 2945932"/>
                      <a:gd name="connsiteY15" fmla="*/ 915501 h 2310473"/>
                      <a:gd name="connsiteX16" fmla="*/ 1541641 w 2945932"/>
                      <a:gd name="connsiteY16" fmla="*/ 940218 h 2310473"/>
                      <a:gd name="connsiteX17" fmla="*/ 1529270 w 2945932"/>
                      <a:gd name="connsiteY17" fmla="*/ 942689 h 2310473"/>
                      <a:gd name="connsiteX18" fmla="*/ 1516898 w 2945932"/>
                      <a:gd name="connsiteY18" fmla="*/ 917973 h 2310473"/>
                      <a:gd name="connsiteX19" fmla="*/ 1511949 w 2945932"/>
                      <a:gd name="connsiteY19" fmla="*/ 932803 h 2310473"/>
                      <a:gd name="connsiteX20" fmla="*/ 1474835 w 2945932"/>
                      <a:gd name="connsiteY20" fmla="*/ 967406 h 2310473"/>
                      <a:gd name="connsiteX21" fmla="*/ 1395656 w 2945932"/>
                      <a:gd name="connsiteY21" fmla="*/ 999539 h 2310473"/>
                      <a:gd name="connsiteX22" fmla="*/ 1370913 w 2945932"/>
                      <a:gd name="connsiteY22" fmla="*/ 1006954 h 2310473"/>
                      <a:gd name="connsiteX23" fmla="*/ 1356067 w 2945932"/>
                      <a:gd name="connsiteY23" fmla="*/ 1041557 h 2310473"/>
                      <a:gd name="connsiteX24" fmla="*/ 1422874 w 2945932"/>
                      <a:gd name="connsiteY24" fmla="*/ 1155256 h 2310473"/>
                      <a:gd name="connsiteX25" fmla="*/ 1437720 w 2945932"/>
                      <a:gd name="connsiteY25" fmla="*/ 1184916 h 2310473"/>
                      <a:gd name="connsiteX26" fmla="*/ 1529270 w 2945932"/>
                      <a:gd name="connsiteY26" fmla="*/ 1128067 h 2310473"/>
                      <a:gd name="connsiteX27" fmla="*/ 1531744 w 2945932"/>
                      <a:gd name="connsiteY27" fmla="*/ 1128067 h 2310473"/>
                      <a:gd name="connsiteX28" fmla="*/ 1529270 w 2945932"/>
                      <a:gd name="connsiteY28" fmla="*/ 1125595 h 2310473"/>
                      <a:gd name="connsiteX29" fmla="*/ 1554013 w 2945932"/>
                      <a:gd name="connsiteY29" fmla="*/ 1093463 h 2310473"/>
                      <a:gd name="connsiteX30" fmla="*/ 1576282 w 2945932"/>
                      <a:gd name="connsiteY30" fmla="*/ 1068746 h 2310473"/>
                      <a:gd name="connsiteX31" fmla="*/ 1633191 w 2945932"/>
                      <a:gd name="connsiteY31" fmla="*/ 977293 h 2310473"/>
                      <a:gd name="connsiteX32" fmla="*/ 1643088 w 2945932"/>
                      <a:gd name="connsiteY32" fmla="*/ 955048 h 2310473"/>
                      <a:gd name="connsiteX33" fmla="*/ 1657934 w 2945932"/>
                      <a:gd name="connsiteY33" fmla="*/ 925388 h 2310473"/>
                      <a:gd name="connsiteX34" fmla="*/ 1660409 w 2945932"/>
                      <a:gd name="connsiteY34" fmla="*/ 913029 h 2310473"/>
                      <a:gd name="connsiteX35" fmla="*/ 1648037 w 2945932"/>
                      <a:gd name="connsiteY35" fmla="*/ 908086 h 2310473"/>
                      <a:gd name="connsiteX36" fmla="*/ 2630342 w 2945932"/>
                      <a:gd name="connsiteY36" fmla="*/ 814161 h 2310473"/>
                      <a:gd name="connsiteX37" fmla="*/ 2603124 w 2945932"/>
                      <a:gd name="connsiteY37" fmla="*/ 824048 h 2310473"/>
                      <a:gd name="connsiteX38" fmla="*/ 2486831 w 2945932"/>
                      <a:gd name="connsiteY38" fmla="*/ 908086 h 2310473"/>
                      <a:gd name="connsiteX39" fmla="*/ 2439819 w 2945932"/>
                      <a:gd name="connsiteY39" fmla="*/ 979765 h 2310473"/>
                      <a:gd name="connsiteX40" fmla="*/ 2424973 w 2945932"/>
                      <a:gd name="connsiteY40" fmla="*/ 1026727 h 2310473"/>
                      <a:gd name="connsiteX41" fmla="*/ 2410127 w 2945932"/>
                      <a:gd name="connsiteY41" fmla="*/ 1105822 h 2310473"/>
                      <a:gd name="connsiteX42" fmla="*/ 2417550 w 2945932"/>
                      <a:gd name="connsiteY42" fmla="*/ 1123123 h 2310473"/>
                      <a:gd name="connsiteX43" fmla="*/ 2479408 w 2945932"/>
                      <a:gd name="connsiteY43" fmla="*/ 1175029 h 2310473"/>
                      <a:gd name="connsiteX44" fmla="*/ 2528895 w 2945932"/>
                      <a:gd name="connsiteY44" fmla="*/ 1187388 h 2310473"/>
                      <a:gd name="connsiteX45" fmla="*/ 2563535 w 2945932"/>
                      <a:gd name="connsiteY45" fmla="*/ 1155256 h 2310473"/>
                      <a:gd name="connsiteX46" fmla="*/ 2610547 w 2945932"/>
                      <a:gd name="connsiteY46" fmla="*/ 1066274 h 2310473"/>
                      <a:gd name="connsiteX47" fmla="*/ 2613022 w 2945932"/>
                      <a:gd name="connsiteY47" fmla="*/ 1056388 h 2310473"/>
                      <a:gd name="connsiteX48" fmla="*/ 2637765 w 2945932"/>
                      <a:gd name="connsiteY48" fmla="*/ 950105 h 2310473"/>
                      <a:gd name="connsiteX49" fmla="*/ 2655085 w 2945932"/>
                      <a:gd name="connsiteY49" fmla="*/ 848765 h 2310473"/>
                      <a:gd name="connsiteX50" fmla="*/ 2655085 w 2945932"/>
                      <a:gd name="connsiteY50" fmla="*/ 836406 h 2310473"/>
                      <a:gd name="connsiteX51" fmla="*/ 2630342 w 2945932"/>
                      <a:gd name="connsiteY51" fmla="*/ 814161 h 2310473"/>
                      <a:gd name="connsiteX52" fmla="*/ 1426585 w 2945932"/>
                      <a:gd name="connsiteY52" fmla="*/ 354 h 2310473"/>
                      <a:gd name="connsiteX53" fmla="*/ 1447617 w 2945932"/>
                      <a:gd name="connsiteY53" fmla="*/ 10859 h 2310473"/>
                      <a:gd name="connsiteX54" fmla="*/ 1643088 w 2945932"/>
                      <a:gd name="connsiteY54" fmla="*/ 141859 h 2310473"/>
                      <a:gd name="connsiteX55" fmla="*/ 1707421 w 2945932"/>
                      <a:gd name="connsiteY55" fmla="*/ 208595 h 2310473"/>
                      <a:gd name="connsiteX56" fmla="*/ 1714844 w 2945932"/>
                      <a:gd name="connsiteY56" fmla="*/ 250614 h 2310473"/>
                      <a:gd name="connsiteX57" fmla="*/ 1709895 w 2945932"/>
                      <a:gd name="connsiteY57" fmla="*/ 272859 h 2310473"/>
                      <a:gd name="connsiteX58" fmla="*/ 1695049 w 2945932"/>
                      <a:gd name="connsiteY58" fmla="*/ 337123 h 2310473"/>
                      <a:gd name="connsiteX59" fmla="*/ 1680203 w 2945932"/>
                      <a:gd name="connsiteY59" fmla="*/ 379142 h 2310473"/>
                      <a:gd name="connsiteX60" fmla="*/ 1625768 w 2945932"/>
                      <a:gd name="connsiteY60" fmla="*/ 463180 h 2310473"/>
                      <a:gd name="connsiteX61" fmla="*/ 1618345 w 2945932"/>
                      <a:gd name="connsiteY61" fmla="*/ 473067 h 2310473"/>
                      <a:gd name="connsiteX62" fmla="*/ 1539167 w 2945932"/>
                      <a:gd name="connsiteY62" fmla="*/ 633727 h 2310473"/>
                      <a:gd name="connsiteX63" fmla="*/ 1534218 w 2945932"/>
                      <a:gd name="connsiteY63" fmla="*/ 646086 h 2310473"/>
                      <a:gd name="connsiteX64" fmla="*/ 1549064 w 2945932"/>
                      <a:gd name="connsiteY64" fmla="*/ 633727 h 2310473"/>
                      <a:gd name="connsiteX65" fmla="*/ 1598551 w 2945932"/>
                      <a:gd name="connsiteY65" fmla="*/ 532387 h 2310473"/>
                      <a:gd name="connsiteX66" fmla="*/ 1623294 w 2945932"/>
                      <a:gd name="connsiteY66" fmla="*/ 497784 h 2310473"/>
                      <a:gd name="connsiteX67" fmla="*/ 1613396 w 2945932"/>
                      <a:gd name="connsiteY67" fmla="*/ 552161 h 2310473"/>
                      <a:gd name="connsiteX68" fmla="*/ 1586179 w 2945932"/>
                      <a:gd name="connsiteY68" fmla="*/ 613954 h 2310473"/>
                      <a:gd name="connsiteX69" fmla="*/ 1581230 w 2945932"/>
                      <a:gd name="connsiteY69" fmla="*/ 633727 h 2310473"/>
                      <a:gd name="connsiteX70" fmla="*/ 1596076 w 2945932"/>
                      <a:gd name="connsiteY70" fmla="*/ 633727 h 2310473"/>
                      <a:gd name="connsiteX71" fmla="*/ 1685152 w 2945932"/>
                      <a:gd name="connsiteY71" fmla="*/ 606538 h 2310473"/>
                      <a:gd name="connsiteX72" fmla="*/ 1754433 w 2945932"/>
                      <a:gd name="connsiteY72" fmla="*/ 589237 h 2310473"/>
                      <a:gd name="connsiteX73" fmla="*/ 1823714 w 2945932"/>
                      <a:gd name="connsiteY73" fmla="*/ 527444 h 2310473"/>
                      <a:gd name="connsiteX74" fmla="*/ 1833611 w 2945932"/>
                      <a:gd name="connsiteY74" fmla="*/ 495312 h 2310473"/>
                      <a:gd name="connsiteX75" fmla="*/ 1873200 w 2945932"/>
                      <a:gd name="connsiteY75" fmla="*/ 515086 h 2310473"/>
                      <a:gd name="connsiteX76" fmla="*/ 2019185 w 2945932"/>
                      <a:gd name="connsiteY76" fmla="*/ 616425 h 2310473"/>
                      <a:gd name="connsiteX77" fmla="*/ 2140427 w 2945932"/>
                      <a:gd name="connsiteY77" fmla="*/ 695520 h 2310473"/>
                      <a:gd name="connsiteX78" fmla="*/ 2152798 w 2945932"/>
                      <a:gd name="connsiteY78" fmla="*/ 651029 h 2310473"/>
                      <a:gd name="connsiteX79" fmla="*/ 2177541 w 2945932"/>
                      <a:gd name="connsiteY79" fmla="*/ 613954 h 2310473"/>
                      <a:gd name="connsiteX80" fmla="*/ 2118158 w 2945932"/>
                      <a:gd name="connsiteY80" fmla="*/ 557104 h 2310473"/>
                      <a:gd name="connsiteX81" fmla="*/ 2120632 w 2945932"/>
                      <a:gd name="connsiteY81" fmla="*/ 552161 h 2310473"/>
                      <a:gd name="connsiteX82" fmla="*/ 2133004 w 2945932"/>
                      <a:gd name="connsiteY82" fmla="*/ 554633 h 2310473"/>
                      <a:gd name="connsiteX83" fmla="*/ 2241874 w 2945932"/>
                      <a:gd name="connsiteY83" fmla="*/ 591708 h 2310473"/>
                      <a:gd name="connsiteX84" fmla="*/ 2350744 w 2945932"/>
                      <a:gd name="connsiteY84" fmla="*/ 641142 h 2310473"/>
                      <a:gd name="connsiteX85" fmla="*/ 2422499 w 2945932"/>
                      <a:gd name="connsiteY85" fmla="*/ 702935 h 2310473"/>
                      <a:gd name="connsiteX86" fmla="*/ 2439819 w 2945932"/>
                      <a:gd name="connsiteY86" fmla="*/ 754840 h 2310473"/>
                      <a:gd name="connsiteX87" fmla="*/ 2439819 w 2945932"/>
                      <a:gd name="connsiteY87" fmla="*/ 786972 h 2310473"/>
                      <a:gd name="connsiteX88" fmla="*/ 2489306 w 2945932"/>
                      <a:gd name="connsiteY88" fmla="*/ 752369 h 2310473"/>
                      <a:gd name="connsiteX89" fmla="*/ 2573432 w 2945932"/>
                      <a:gd name="connsiteY89" fmla="*/ 688104 h 2310473"/>
                      <a:gd name="connsiteX90" fmla="*/ 2637765 w 2945932"/>
                      <a:gd name="connsiteY90" fmla="*/ 638670 h 2310473"/>
                      <a:gd name="connsiteX91" fmla="*/ 2647662 w 2945932"/>
                      <a:gd name="connsiteY91" fmla="*/ 631255 h 2310473"/>
                      <a:gd name="connsiteX92" fmla="*/ 2667457 w 2945932"/>
                      <a:gd name="connsiteY92" fmla="*/ 604067 h 2310473"/>
                      <a:gd name="connsiteX93" fmla="*/ 2731789 w 2945932"/>
                      <a:gd name="connsiteY93" fmla="*/ 628784 h 2310473"/>
                      <a:gd name="connsiteX94" fmla="*/ 2924786 w 2945932"/>
                      <a:gd name="connsiteY94" fmla="*/ 794388 h 2310473"/>
                      <a:gd name="connsiteX95" fmla="*/ 2937158 w 2945932"/>
                      <a:gd name="connsiteY95" fmla="*/ 811689 h 2310473"/>
                      <a:gd name="connsiteX96" fmla="*/ 2939632 w 2945932"/>
                      <a:gd name="connsiteY96" fmla="*/ 858652 h 2310473"/>
                      <a:gd name="connsiteX97" fmla="*/ 2932209 w 2945932"/>
                      <a:gd name="connsiteY97" fmla="*/ 883369 h 2310473"/>
                      <a:gd name="connsiteX98" fmla="*/ 2902517 w 2945932"/>
                      <a:gd name="connsiteY98" fmla="*/ 999539 h 2310473"/>
                      <a:gd name="connsiteX99" fmla="*/ 2877774 w 2945932"/>
                      <a:gd name="connsiteY99" fmla="*/ 1046501 h 2310473"/>
                      <a:gd name="connsiteX100" fmla="*/ 2843133 w 2945932"/>
                      <a:gd name="connsiteY100" fmla="*/ 1135482 h 2310473"/>
                      <a:gd name="connsiteX101" fmla="*/ 2838185 w 2945932"/>
                      <a:gd name="connsiteY101" fmla="*/ 1150312 h 2310473"/>
                      <a:gd name="connsiteX102" fmla="*/ 2808493 w 2945932"/>
                      <a:gd name="connsiteY102" fmla="*/ 1189859 h 2310473"/>
                      <a:gd name="connsiteX103" fmla="*/ 2781275 w 2945932"/>
                      <a:gd name="connsiteY103" fmla="*/ 1264010 h 2310473"/>
                      <a:gd name="connsiteX104" fmla="*/ 2778801 w 2945932"/>
                      <a:gd name="connsiteY104" fmla="*/ 1264010 h 2310473"/>
                      <a:gd name="connsiteX105" fmla="*/ 2778801 w 2945932"/>
                      <a:gd name="connsiteY105" fmla="*/ 1266482 h 2310473"/>
                      <a:gd name="connsiteX106" fmla="*/ 2773852 w 2945932"/>
                      <a:gd name="connsiteY106" fmla="*/ 1276369 h 2310473"/>
                      <a:gd name="connsiteX107" fmla="*/ 2744161 w 2945932"/>
                      <a:gd name="connsiteY107" fmla="*/ 1313444 h 2310473"/>
                      <a:gd name="connsiteX108" fmla="*/ 2702097 w 2945932"/>
                      <a:gd name="connsiteY108" fmla="*/ 1357935 h 2310473"/>
                      <a:gd name="connsiteX109" fmla="*/ 2674880 w 2945932"/>
                      <a:gd name="connsiteY109" fmla="*/ 1362878 h 2310473"/>
                      <a:gd name="connsiteX110" fmla="*/ 2620445 w 2945932"/>
                      <a:gd name="connsiteY110" fmla="*/ 1340633 h 2310473"/>
                      <a:gd name="connsiteX111" fmla="*/ 2442294 w 2945932"/>
                      <a:gd name="connsiteY111" fmla="*/ 1204690 h 2310473"/>
                      <a:gd name="connsiteX112" fmla="*/ 2420025 w 2945932"/>
                      <a:gd name="connsiteY112" fmla="*/ 1187388 h 2310473"/>
                      <a:gd name="connsiteX113" fmla="*/ 2410127 w 2945932"/>
                      <a:gd name="connsiteY113" fmla="*/ 1184916 h 2310473"/>
                      <a:gd name="connsiteX114" fmla="*/ 2385384 w 2945932"/>
                      <a:gd name="connsiteY114" fmla="*/ 1367822 h 2310473"/>
                      <a:gd name="connsiteX115" fmla="*/ 2345795 w 2945932"/>
                      <a:gd name="connsiteY115" fmla="*/ 1362878 h 2310473"/>
                      <a:gd name="connsiteX116" fmla="*/ 2254245 w 2945932"/>
                      <a:gd name="connsiteY116" fmla="*/ 1306029 h 2310473"/>
                      <a:gd name="connsiteX117" fmla="*/ 2093414 w 2945932"/>
                      <a:gd name="connsiteY117" fmla="*/ 1145369 h 2310473"/>
                      <a:gd name="connsiteX118" fmla="*/ 2073620 w 2945932"/>
                      <a:gd name="connsiteY118" fmla="*/ 1061331 h 2310473"/>
                      <a:gd name="connsiteX119" fmla="*/ 2081043 w 2945932"/>
                      <a:gd name="connsiteY119" fmla="*/ 982237 h 2310473"/>
                      <a:gd name="connsiteX120" fmla="*/ 2076094 w 2945932"/>
                      <a:gd name="connsiteY120" fmla="*/ 982237 h 2310473"/>
                      <a:gd name="connsiteX121" fmla="*/ 2034031 w 2945932"/>
                      <a:gd name="connsiteY121" fmla="*/ 1056388 h 2310473"/>
                      <a:gd name="connsiteX122" fmla="*/ 2009288 w 2945932"/>
                      <a:gd name="connsiteY122" fmla="*/ 1110765 h 2310473"/>
                      <a:gd name="connsiteX123" fmla="*/ 2009288 w 2945932"/>
                      <a:gd name="connsiteY123" fmla="*/ 1113237 h 2310473"/>
                      <a:gd name="connsiteX124" fmla="*/ 1969698 w 2945932"/>
                      <a:gd name="connsiteY124" fmla="*/ 1197274 h 2310473"/>
                      <a:gd name="connsiteX125" fmla="*/ 1907840 w 2945932"/>
                      <a:gd name="connsiteY125" fmla="*/ 1328274 h 2310473"/>
                      <a:gd name="connsiteX126" fmla="*/ 1888046 w 2945932"/>
                      <a:gd name="connsiteY126" fmla="*/ 1392539 h 2310473"/>
                      <a:gd name="connsiteX127" fmla="*/ 1868251 w 2945932"/>
                      <a:gd name="connsiteY127" fmla="*/ 1434557 h 2310473"/>
                      <a:gd name="connsiteX128" fmla="*/ 1761856 w 2945932"/>
                      <a:gd name="connsiteY128" fmla="*/ 1558142 h 2310473"/>
                      <a:gd name="connsiteX129" fmla="*/ 1761856 w 2945932"/>
                      <a:gd name="connsiteY129" fmla="*/ 1563086 h 2310473"/>
                      <a:gd name="connsiteX130" fmla="*/ 1494629 w 2945932"/>
                      <a:gd name="connsiteY130" fmla="*/ 1624878 h 2310473"/>
                      <a:gd name="connsiteX131" fmla="*/ 1348644 w 2945932"/>
                      <a:gd name="connsiteY131" fmla="*/ 1214576 h 2310473"/>
                      <a:gd name="connsiteX132" fmla="*/ 1348644 w 2945932"/>
                      <a:gd name="connsiteY132" fmla="*/ 1212105 h 2310473"/>
                      <a:gd name="connsiteX133" fmla="*/ 1321427 w 2945932"/>
                      <a:gd name="connsiteY133" fmla="*/ 1088520 h 2310473"/>
                      <a:gd name="connsiteX134" fmla="*/ 1301632 w 2945932"/>
                      <a:gd name="connsiteY134" fmla="*/ 1068746 h 2310473"/>
                      <a:gd name="connsiteX135" fmla="*/ 1266992 w 2945932"/>
                      <a:gd name="connsiteY135" fmla="*/ 1150312 h 2310473"/>
                      <a:gd name="connsiteX136" fmla="*/ 1222454 w 2945932"/>
                      <a:gd name="connsiteY136" fmla="*/ 1264010 h 2310473"/>
                      <a:gd name="connsiteX137" fmla="*/ 1219980 w 2945932"/>
                      <a:gd name="connsiteY137" fmla="*/ 1273897 h 2310473"/>
                      <a:gd name="connsiteX138" fmla="*/ 1177916 w 2945932"/>
                      <a:gd name="connsiteY138" fmla="*/ 1407369 h 2310473"/>
                      <a:gd name="connsiteX139" fmla="*/ 1128430 w 2945932"/>
                      <a:gd name="connsiteY139" fmla="*/ 1563086 h 2310473"/>
                      <a:gd name="connsiteX140" fmla="*/ 1091315 w 2945932"/>
                      <a:gd name="connsiteY140" fmla="*/ 1701501 h 2310473"/>
                      <a:gd name="connsiteX141" fmla="*/ 1066572 w 2945932"/>
                      <a:gd name="connsiteY141" fmla="*/ 1812727 h 2310473"/>
                      <a:gd name="connsiteX142" fmla="*/ 1056674 w 2945932"/>
                      <a:gd name="connsiteY142" fmla="*/ 1839916 h 2310473"/>
                      <a:gd name="connsiteX143" fmla="*/ 1039354 w 2945932"/>
                      <a:gd name="connsiteY143" fmla="*/ 1916539 h 2310473"/>
                      <a:gd name="connsiteX144" fmla="*/ 1019560 w 2945932"/>
                      <a:gd name="connsiteY144" fmla="*/ 2054954 h 2310473"/>
                      <a:gd name="connsiteX145" fmla="*/ 1019560 w 2945932"/>
                      <a:gd name="connsiteY145" fmla="*/ 2059897 h 2310473"/>
                      <a:gd name="connsiteX146" fmla="*/ 987394 w 2945932"/>
                      <a:gd name="connsiteY146" fmla="*/ 2235388 h 2310473"/>
                      <a:gd name="connsiteX147" fmla="*/ 972548 w 2945932"/>
                      <a:gd name="connsiteY147" fmla="*/ 2294709 h 2310473"/>
                      <a:gd name="connsiteX148" fmla="*/ 945330 w 2945932"/>
                      <a:gd name="connsiteY148" fmla="*/ 2307067 h 2310473"/>
                      <a:gd name="connsiteX149" fmla="*/ 866152 w 2945932"/>
                      <a:gd name="connsiteY149" fmla="*/ 2267520 h 2310473"/>
                      <a:gd name="connsiteX150" fmla="*/ 861203 w 2945932"/>
                      <a:gd name="connsiteY150" fmla="*/ 2250218 h 2310473"/>
                      <a:gd name="connsiteX151" fmla="*/ 866152 w 2945932"/>
                      <a:gd name="connsiteY151" fmla="*/ 2121690 h 2310473"/>
                      <a:gd name="connsiteX152" fmla="*/ 866152 w 2945932"/>
                      <a:gd name="connsiteY152" fmla="*/ 2101916 h 2310473"/>
                      <a:gd name="connsiteX153" fmla="*/ 866152 w 2945932"/>
                      <a:gd name="connsiteY153" fmla="*/ 2052482 h 2310473"/>
                      <a:gd name="connsiteX154" fmla="*/ 868626 w 2945932"/>
                      <a:gd name="connsiteY154" fmla="*/ 2037652 h 2310473"/>
                      <a:gd name="connsiteX155" fmla="*/ 863678 w 2945932"/>
                      <a:gd name="connsiteY155" fmla="*/ 1953614 h 2310473"/>
                      <a:gd name="connsiteX156" fmla="*/ 856255 w 2945932"/>
                      <a:gd name="connsiteY156" fmla="*/ 1933841 h 2310473"/>
                      <a:gd name="connsiteX157" fmla="*/ 858729 w 2945932"/>
                      <a:gd name="connsiteY157" fmla="*/ 1901709 h 2310473"/>
                      <a:gd name="connsiteX158" fmla="*/ 856255 w 2945932"/>
                      <a:gd name="connsiteY158" fmla="*/ 1886878 h 2310473"/>
                      <a:gd name="connsiteX159" fmla="*/ 861203 w 2945932"/>
                      <a:gd name="connsiteY159" fmla="*/ 1822614 h 2310473"/>
                      <a:gd name="connsiteX160" fmla="*/ 861203 w 2945932"/>
                      <a:gd name="connsiteY160" fmla="*/ 1699029 h 2310473"/>
                      <a:gd name="connsiteX161" fmla="*/ 858729 w 2945932"/>
                      <a:gd name="connsiteY161" fmla="*/ 1679256 h 2310473"/>
                      <a:gd name="connsiteX162" fmla="*/ 873575 w 2945932"/>
                      <a:gd name="connsiteY162" fmla="*/ 1614991 h 2310473"/>
                      <a:gd name="connsiteX163" fmla="*/ 923061 w 2945932"/>
                      <a:gd name="connsiteY163" fmla="*/ 1511180 h 2310473"/>
                      <a:gd name="connsiteX164" fmla="*/ 937907 w 2945932"/>
                      <a:gd name="connsiteY164" fmla="*/ 1503765 h 2310473"/>
                      <a:gd name="connsiteX165" fmla="*/ 913164 w 2945932"/>
                      <a:gd name="connsiteY165" fmla="*/ 1585331 h 2310473"/>
                      <a:gd name="connsiteX166" fmla="*/ 932958 w 2945932"/>
                      <a:gd name="connsiteY166" fmla="*/ 1565558 h 2310473"/>
                      <a:gd name="connsiteX167" fmla="*/ 962650 w 2945932"/>
                      <a:gd name="connsiteY167" fmla="*/ 1474105 h 2310473"/>
                      <a:gd name="connsiteX168" fmla="*/ 989868 w 2945932"/>
                      <a:gd name="connsiteY168" fmla="*/ 1395010 h 2310473"/>
                      <a:gd name="connsiteX169" fmla="*/ 999765 w 2945932"/>
                      <a:gd name="connsiteY169" fmla="*/ 1365350 h 2310473"/>
                      <a:gd name="connsiteX170" fmla="*/ 1017085 w 2945932"/>
                      <a:gd name="connsiteY170" fmla="*/ 1313444 h 2310473"/>
                      <a:gd name="connsiteX171" fmla="*/ 1041829 w 2945932"/>
                      <a:gd name="connsiteY171" fmla="*/ 1234350 h 2310473"/>
                      <a:gd name="connsiteX172" fmla="*/ 1064097 w 2945932"/>
                      <a:gd name="connsiteY172" fmla="*/ 1165142 h 2310473"/>
                      <a:gd name="connsiteX173" fmla="*/ 1078943 w 2945932"/>
                      <a:gd name="connsiteY173" fmla="*/ 1140425 h 2310473"/>
                      <a:gd name="connsiteX174" fmla="*/ 1059149 w 2945932"/>
                      <a:gd name="connsiteY174" fmla="*/ 1145369 h 2310473"/>
                      <a:gd name="connsiteX175" fmla="*/ 1061623 w 2945932"/>
                      <a:gd name="connsiteY175" fmla="*/ 1137954 h 2310473"/>
                      <a:gd name="connsiteX176" fmla="*/ 1031931 w 2945932"/>
                      <a:gd name="connsiteY176" fmla="*/ 1155256 h 2310473"/>
                      <a:gd name="connsiteX177" fmla="*/ 1044303 w 2945932"/>
                      <a:gd name="connsiteY177" fmla="*/ 1155256 h 2310473"/>
                      <a:gd name="connsiteX178" fmla="*/ 970073 w 2945932"/>
                      <a:gd name="connsiteY178" fmla="*/ 1204690 h 2310473"/>
                      <a:gd name="connsiteX179" fmla="*/ 868626 w 2945932"/>
                      <a:gd name="connsiteY179" fmla="*/ 1266482 h 2310473"/>
                      <a:gd name="connsiteX180" fmla="*/ 853780 w 2945932"/>
                      <a:gd name="connsiteY180" fmla="*/ 1273897 h 2310473"/>
                      <a:gd name="connsiteX181" fmla="*/ 292110 w 2945932"/>
                      <a:gd name="connsiteY181" fmla="*/ 1575444 h 2310473"/>
                      <a:gd name="connsiteX182" fmla="*/ 287161 w 2945932"/>
                      <a:gd name="connsiteY182" fmla="*/ 1580388 h 2310473"/>
                      <a:gd name="connsiteX183" fmla="*/ 252520 w 2945932"/>
                      <a:gd name="connsiteY183" fmla="*/ 1560614 h 2310473"/>
                      <a:gd name="connsiteX184" fmla="*/ 153548 w 2945932"/>
                      <a:gd name="connsiteY184" fmla="*/ 1488935 h 2310473"/>
                      <a:gd name="connsiteX185" fmla="*/ 32306 w 2945932"/>
                      <a:gd name="connsiteY185" fmla="*/ 1365350 h 2310473"/>
                      <a:gd name="connsiteX186" fmla="*/ 7563 w 2945932"/>
                      <a:gd name="connsiteY186" fmla="*/ 1328274 h 2310473"/>
                      <a:gd name="connsiteX187" fmla="*/ 17460 w 2945932"/>
                      <a:gd name="connsiteY187" fmla="*/ 1286256 h 2310473"/>
                      <a:gd name="connsiteX188" fmla="*/ 61998 w 2945932"/>
                      <a:gd name="connsiteY188" fmla="*/ 1261539 h 2310473"/>
                      <a:gd name="connsiteX189" fmla="*/ 106536 w 2945932"/>
                      <a:gd name="connsiteY189" fmla="*/ 1234350 h 2310473"/>
                      <a:gd name="connsiteX190" fmla="*/ 136227 w 2945932"/>
                      <a:gd name="connsiteY190" fmla="*/ 1219520 h 2310473"/>
                      <a:gd name="connsiteX191" fmla="*/ 180765 w 2945932"/>
                      <a:gd name="connsiteY191" fmla="*/ 1189859 h 2310473"/>
                      <a:gd name="connsiteX192" fmla="*/ 205508 w 2945932"/>
                      <a:gd name="connsiteY192" fmla="*/ 1177501 h 2310473"/>
                      <a:gd name="connsiteX193" fmla="*/ 277264 w 2945932"/>
                      <a:gd name="connsiteY193" fmla="*/ 1140425 h 2310473"/>
                      <a:gd name="connsiteX194" fmla="*/ 321801 w 2945932"/>
                      <a:gd name="connsiteY194" fmla="*/ 1120652 h 2310473"/>
                      <a:gd name="connsiteX195" fmla="*/ 329224 w 2945932"/>
                      <a:gd name="connsiteY195" fmla="*/ 1115708 h 2310473"/>
                      <a:gd name="connsiteX196" fmla="*/ 848832 w 2945932"/>
                      <a:gd name="connsiteY196" fmla="*/ 895727 h 2310473"/>
                      <a:gd name="connsiteX197" fmla="*/ 868626 w 2945932"/>
                      <a:gd name="connsiteY197" fmla="*/ 888312 h 2310473"/>
                      <a:gd name="connsiteX198" fmla="*/ 923061 w 2945932"/>
                      <a:gd name="connsiteY198" fmla="*/ 868539 h 2310473"/>
                      <a:gd name="connsiteX199" fmla="*/ 1017085 w 2945932"/>
                      <a:gd name="connsiteY199" fmla="*/ 831463 h 2310473"/>
                      <a:gd name="connsiteX200" fmla="*/ 1061623 w 2945932"/>
                      <a:gd name="connsiteY200" fmla="*/ 811689 h 2310473"/>
                      <a:gd name="connsiteX201" fmla="*/ 1145750 w 2945932"/>
                      <a:gd name="connsiteY201" fmla="*/ 772142 h 2310473"/>
                      <a:gd name="connsiteX202" fmla="*/ 1163070 w 2945932"/>
                      <a:gd name="connsiteY202" fmla="*/ 769671 h 2310473"/>
                      <a:gd name="connsiteX203" fmla="*/ 1306581 w 2945932"/>
                      <a:gd name="connsiteY203" fmla="*/ 376670 h 2310473"/>
                      <a:gd name="connsiteX204" fmla="*/ 1309055 w 2945932"/>
                      <a:gd name="connsiteY204" fmla="*/ 376670 h 2310473"/>
                      <a:gd name="connsiteX205" fmla="*/ 1182865 w 2945932"/>
                      <a:gd name="connsiteY205" fmla="*/ 754840 h 2310473"/>
                      <a:gd name="connsiteX206" fmla="*/ 1200185 w 2945932"/>
                      <a:gd name="connsiteY206" fmla="*/ 754840 h 2310473"/>
                      <a:gd name="connsiteX207" fmla="*/ 1207608 w 2945932"/>
                      <a:gd name="connsiteY207" fmla="*/ 735067 h 2310473"/>
                      <a:gd name="connsiteX208" fmla="*/ 1234825 w 2945932"/>
                      <a:gd name="connsiteY208" fmla="*/ 641142 h 2310473"/>
                      <a:gd name="connsiteX209" fmla="*/ 1257094 w 2945932"/>
                      <a:gd name="connsiteY209" fmla="*/ 576878 h 2310473"/>
                      <a:gd name="connsiteX210" fmla="*/ 1262043 w 2945932"/>
                      <a:gd name="connsiteY210" fmla="*/ 566991 h 2310473"/>
                      <a:gd name="connsiteX211" fmla="*/ 1296683 w 2945932"/>
                      <a:gd name="connsiteY211" fmla="*/ 470595 h 2310473"/>
                      <a:gd name="connsiteX212" fmla="*/ 1309055 w 2945932"/>
                      <a:gd name="connsiteY212" fmla="*/ 433519 h 2310473"/>
                      <a:gd name="connsiteX213" fmla="*/ 1341221 w 2945932"/>
                      <a:gd name="connsiteY213" fmla="*/ 354425 h 2310473"/>
                      <a:gd name="connsiteX214" fmla="*/ 1368439 w 2945932"/>
                      <a:gd name="connsiteY214" fmla="*/ 277802 h 2310473"/>
                      <a:gd name="connsiteX215" fmla="*/ 1370913 w 2945932"/>
                      <a:gd name="connsiteY215" fmla="*/ 270387 h 2310473"/>
                      <a:gd name="connsiteX216" fmla="*/ 1395656 w 2945932"/>
                      <a:gd name="connsiteY216" fmla="*/ 159161 h 2310473"/>
                      <a:gd name="connsiteX217" fmla="*/ 1408028 w 2945932"/>
                      <a:gd name="connsiteY217" fmla="*/ 25689 h 2310473"/>
                      <a:gd name="connsiteX218" fmla="*/ 1405554 w 2945932"/>
                      <a:gd name="connsiteY218" fmla="*/ 8387 h 2310473"/>
                      <a:gd name="connsiteX219" fmla="*/ 1426585 w 2945932"/>
                      <a:gd name="connsiteY219" fmla="*/ 354 h 23104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  <a:cxn ang="0">
                        <a:pos x="connsiteX193" y="connsiteY193"/>
                      </a:cxn>
                      <a:cxn ang="0">
                        <a:pos x="connsiteX194" y="connsiteY194"/>
                      </a:cxn>
                      <a:cxn ang="0">
                        <a:pos x="connsiteX195" y="connsiteY195"/>
                      </a:cxn>
                      <a:cxn ang="0">
                        <a:pos x="connsiteX196" y="connsiteY196"/>
                      </a:cxn>
                      <a:cxn ang="0">
                        <a:pos x="connsiteX197" y="connsiteY197"/>
                      </a:cxn>
                      <a:cxn ang="0">
                        <a:pos x="connsiteX198" y="connsiteY198"/>
                      </a:cxn>
                      <a:cxn ang="0">
                        <a:pos x="connsiteX199" y="connsiteY199"/>
                      </a:cxn>
                      <a:cxn ang="0">
                        <a:pos x="connsiteX200" y="connsiteY200"/>
                      </a:cxn>
                      <a:cxn ang="0">
                        <a:pos x="connsiteX201" y="connsiteY201"/>
                      </a:cxn>
                      <a:cxn ang="0">
                        <a:pos x="connsiteX202" y="connsiteY202"/>
                      </a:cxn>
                      <a:cxn ang="0">
                        <a:pos x="connsiteX203" y="connsiteY203"/>
                      </a:cxn>
                      <a:cxn ang="0">
                        <a:pos x="connsiteX204" y="connsiteY204"/>
                      </a:cxn>
                      <a:cxn ang="0">
                        <a:pos x="connsiteX205" y="connsiteY205"/>
                      </a:cxn>
                      <a:cxn ang="0">
                        <a:pos x="connsiteX206" y="connsiteY206"/>
                      </a:cxn>
                      <a:cxn ang="0">
                        <a:pos x="connsiteX207" y="connsiteY207"/>
                      </a:cxn>
                      <a:cxn ang="0">
                        <a:pos x="connsiteX208" y="connsiteY208"/>
                      </a:cxn>
                      <a:cxn ang="0">
                        <a:pos x="connsiteX209" y="connsiteY209"/>
                      </a:cxn>
                      <a:cxn ang="0">
                        <a:pos x="connsiteX210" y="connsiteY210"/>
                      </a:cxn>
                      <a:cxn ang="0">
                        <a:pos x="connsiteX211" y="connsiteY211"/>
                      </a:cxn>
                      <a:cxn ang="0">
                        <a:pos x="connsiteX212" y="connsiteY212"/>
                      </a:cxn>
                      <a:cxn ang="0">
                        <a:pos x="connsiteX213" y="connsiteY213"/>
                      </a:cxn>
                      <a:cxn ang="0">
                        <a:pos x="connsiteX214" y="connsiteY214"/>
                      </a:cxn>
                      <a:cxn ang="0">
                        <a:pos x="connsiteX215" y="connsiteY215"/>
                      </a:cxn>
                      <a:cxn ang="0">
                        <a:pos x="connsiteX216" y="connsiteY216"/>
                      </a:cxn>
                      <a:cxn ang="0">
                        <a:pos x="connsiteX217" y="connsiteY217"/>
                      </a:cxn>
                      <a:cxn ang="0">
                        <a:pos x="connsiteX218" y="connsiteY218"/>
                      </a:cxn>
                      <a:cxn ang="0">
                        <a:pos x="connsiteX219" y="connsiteY219"/>
                      </a:cxn>
                    </a:cxnLst>
                    <a:rect l="l" t="t" r="r" b="b"/>
                    <a:pathLst>
                      <a:path w="2945932" h="2310473">
                        <a:moveTo>
                          <a:pt x="873079" y="1590582"/>
                        </a:moveTo>
                        <a:cubicBezTo>
                          <a:pt x="868317" y="1602753"/>
                          <a:pt x="865935" y="1614924"/>
                          <a:pt x="861173" y="1627095"/>
                        </a:cubicBezTo>
                        <a:cubicBezTo>
                          <a:pt x="858791" y="1610056"/>
                          <a:pt x="858791" y="1610056"/>
                          <a:pt x="873079" y="1590582"/>
                        </a:cubicBezTo>
                        <a:close/>
                        <a:moveTo>
                          <a:pt x="938166" y="1350870"/>
                        </a:moveTo>
                        <a:cubicBezTo>
                          <a:pt x="913420" y="1424612"/>
                          <a:pt x="878775" y="1498354"/>
                          <a:pt x="858978" y="1579470"/>
                        </a:cubicBezTo>
                        <a:cubicBezTo>
                          <a:pt x="854028" y="1557348"/>
                          <a:pt x="854028" y="1545057"/>
                          <a:pt x="858978" y="1527851"/>
                        </a:cubicBezTo>
                        <a:cubicBezTo>
                          <a:pt x="881249" y="1466399"/>
                          <a:pt x="908470" y="1407406"/>
                          <a:pt x="938166" y="1350870"/>
                        </a:cubicBezTo>
                        <a:close/>
                        <a:moveTo>
                          <a:pt x="853780" y="1249180"/>
                        </a:moveTo>
                        <a:cubicBezTo>
                          <a:pt x="853780" y="1249180"/>
                          <a:pt x="853780" y="1249180"/>
                          <a:pt x="853780" y="1251652"/>
                        </a:cubicBezTo>
                        <a:cubicBezTo>
                          <a:pt x="853780" y="1251652"/>
                          <a:pt x="856255" y="1249180"/>
                          <a:pt x="856255" y="1249180"/>
                        </a:cubicBezTo>
                        <a:cubicBezTo>
                          <a:pt x="856255" y="1249180"/>
                          <a:pt x="853780" y="1249180"/>
                          <a:pt x="853780" y="1249180"/>
                        </a:cubicBezTo>
                        <a:close/>
                        <a:moveTo>
                          <a:pt x="950279" y="1194803"/>
                        </a:moveTo>
                        <a:cubicBezTo>
                          <a:pt x="923061" y="1194803"/>
                          <a:pt x="910690" y="1212105"/>
                          <a:pt x="895844" y="1224463"/>
                        </a:cubicBezTo>
                        <a:cubicBezTo>
                          <a:pt x="915638" y="1219520"/>
                          <a:pt x="932958" y="1212105"/>
                          <a:pt x="950279" y="1194803"/>
                        </a:cubicBezTo>
                        <a:close/>
                        <a:moveTo>
                          <a:pt x="1648037" y="908086"/>
                        </a:moveTo>
                        <a:cubicBezTo>
                          <a:pt x="1635665" y="910557"/>
                          <a:pt x="1623294" y="910557"/>
                          <a:pt x="1610922" y="915501"/>
                        </a:cubicBezTo>
                        <a:cubicBezTo>
                          <a:pt x="1588653" y="922916"/>
                          <a:pt x="1566384" y="932803"/>
                          <a:pt x="1541641" y="940218"/>
                        </a:cubicBezTo>
                        <a:cubicBezTo>
                          <a:pt x="1539167" y="942689"/>
                          <a:pt x="1534218" y="942689"/>
                          <a:pt x="1529270" y="942689"/>
                        </a:cubicBezTo>
                        <a:cubicBezTo>
                          <a:pt x="1524321" y="935274"/>
                          <a:pt x="1521847" y="927859"/>
                          <a:pt x="1516898" y="917973"/>
                        </a:cubicBezTo>
                        <a:cubicBezTo>
                          <a:pt x="1514424" y="925388"/>
                          <a:pt x="1511949" y="930331"/>
                          <a:pt x="1511949" y="932803"/>
                        </a:cubicBezTo>
                        <a:cubicBezTo>
                          <a:pt x="1509475" y="957520"/>
                          <a:pt x="1492155" y="964935"/>
                          <a:pt x="1474835" y="967406"/>
                        </a:cubicBezTo>
                        <a:cubicBezTo>
                          <a:pt x="1445143" y="972350"/>
                          <a:pt x="1420399" y="987180"/>
                          <a:pt x="1395656" y="999539"/>
                        </a:cubicBezTo>
                        <a:cubicBezTo>
                          <a:pt x="1388233" y="1002010"/>
                          <a:pt x="1378336" y="1004482"/>
                          <a:pt x="1370913" y="1006954"/>
                        </a:cubicBezTo>
                        <a:cubicBezTo>
                          <a:pt x="1351119" y="1014369"/>
                          <a:pt x="1346170" y="1024256"/>
                          <a:pt x="1356067" y="1041557"/>
                        </a:cubicBezTo>
                        <a:cubicBezTo>
                          <a:pt x="1378336" y="1081105"/>
                          <a:pt x="1398131" y="1118180"/>
                          <a:pt x="1422874" y="1155256"/>
                        </a:cubicBezTo>
                        <a:cubicBezTo>
                          <a:pt x="1430297" y="1165142"/>
                          <a:pt x="1435245" y="1175029"/>
                          <a:pt x="1437720" y="1184916"/>
                        </a:cubicBezTo>
                        <a:cubicBezTo>
                          <a:pt x="1474835" y="1170086"/>
                          <a:pt x="1516898" y="1150312"/>
                          <a:pt x="1529270" y="1128067"/>
                        </a:cubicBezTo>
                        <a:cubicBezTo>
                          <a:pt x="1529270" y="1128067"/>
                          <a:pt x="1529270" y="1128067"/>
                          <a:pt x="1531744" y="1128067"/>
                        </a:cubicBezTo>
                        <a:cubicBezTo>
                          <a:pt x="1529270" y="1125595"/>
                          <a:pt x="1529270" y="1125595"/>
                          <a:pt x="1529270" y="1125595"/>
                        </a:cubicBezTo>
                        <a:cubicBezTo>
                          <a:pt x="1531744" y="1113237"/>
                          <a:pt x="1539167" y="1100878"/>
                          <a:pt x="1554013" y="1093463"/>
                        </a:cubicBezTo>
                        <a:cubicBezTo>
                          <a:pt x="1563910" y="1088520"/>
                          <a:pt x="1571333" y="1078633"/>
                          <a:pt x="1576282" y="1068746"/>
                        </a:cubicBezTo>
                        <a:cubicBezTo>
                          <a:pt x="1596076" y="1039086"/>
                          <a:pt x="1615871" y="1006954"/>
                          <a:pt x="1633191" y="977293"/>
                        </a:cubicBezTo>
                        <a:cubicBezTo>
                          <a:pt x="1638140" y="969878"/>
                          <a:pt x="1640614" y="962463"/>
                          <a:pt x="1643088" y="955048"/>
                        </a:cubicBezTo>
                        <a:cubicBezTo>
                          <a:pt x="1645563" y="942689"/>
                          <a:pt x="1648037" y="932803"/>
                          <a:pt x="1657934" y="925388"/>
                        </a:cubicBezTo>
                        <a:cubicBezTo>
                          <a:pt x="1660409" y="922916"/>
                          <a:pt x="1660409" y="915501"/>
                          <a:pt x="1660409" y="913029"/>
                        </a:cubicBezTo>
                        <a:cubicBezTo>
                          <a:pt x="1657934" y="910557"/>
                          <a:pt x="1652986" y="908086"/>
                          <a:pt x="1648037" y="908086"/>
                        </a:cubicBezTo>
                        <a:close/>
                        <a:moveTo>
                          <a:pt x="2630342" y="814161"/>
                        </a:moveTo>
                        <a:cubicBezTo>
                          <a:pt x="2620445" y="816633"/>
                          <a:pt x="2610547" y="819104"/>
                          <a:pt x="2603124" y="824048"/>
                        </a:cubicBezTo>
                        <a:cubicBezTo>
                          <a:pt x="2563535" y="853708"/>
                          <a:pt x="2526420" y="880897"/>
                          <a:pt x="2486831" y="908086"/>
                        </a:cubicBezTo>
                        <a:cubicBezTo>
                          <a:pt x="2464562" y="927859"/>
                          <a:pt x="2447242" y="950105"/>
                          <a:pt x="2439819" y="979765"/>
                        </a:cubicBezTo>
                        <a:cubicBezTo>
                          <a:pt x="2437345" y="994595"/>
                          <a:pt x="2427448" y="1009425"/>
                          <a:pt x="2424973" y="1026727"/>
                        </a:cubicBezTo>
                        <a:cubicBezTo>
                          <a:pt x="2417550" y="1051444"/>
                          <a:pt x="2412602" y="1078633"/>
                          <a:pt x="2410127" y="1105822"/>
                        </a:cubicBezTo>
                        <a:cubicBezTo>
                          <a:pt x="2407653" y="1110765"/>
                          <a:pt x="2412602" y="1118180"/>
                          <a:pt x="2417550" y="1123123"/>
                        </a:cubicBezTo>
                        <a:cubicBezTo>
                          <a:pt x="2437345" y="1140425"/>
                          <a:pt x="2457139" y="1160199"/>
                          <a:pt x="2479408" y="1175029"/>
                        </a:cubicBezTo>
                        <a:cubicBezTo>
                          <a:pt x="2494254" y="1187388"/>
                          <a:pt x="2511574" y="1194803"/>
                          <a:pt x="2528895" y="1187388"/>
                        </a:cubicBezTo>
                        <a:cubicBezTo>
                          <a:pt x="2543741" y="1179973"/>
                          <a:pt x="2556112" y="1167614"/>
                          <a:pt x="2563535" y="1155256"/>
                        </a:cubicBezTo>
                        <a:cubicBezTo>
                          <a:pt x="2580855" y="1125595"/>
                          <a:pt x="2595701" y="1095935"/>
                          <a:pt x="2610547" y="1066274"/>
                        </a:cubicBezTo>
                        <a:cubicBezTo>
                          <a:pt x="2610547" y="1063803"/>
                          <a:pt x="2613022" y="1058859"/>
                          <a:pt x="2613022" y="1056388"/>
                        </a:cubicBezTo>
                        <a:cubicBezTo>
                          <a:pt x="2622919" y="1019312"/>
                          <a:pt x="2630342" y="984708"/>
                          <a:pt x="2637765" y="950105"/>
                        </a:cubicBezTo>
                        <a:cubicBezTo>
                          <a:pt x="2645188" y="915501"/>
                          <a:pt x="2650136" y="878425"/>
                          <a:pt x="2655085" y="848765"/>
                        </a:cubicBezTo>
                        <a:cubicBezTo>
                          <a:pt x="2655085" y="841350"/>
                          <a:pt x="2655085" y="838878"/>
                          <a:pt x="2655085" y="836406"/>
                        </a:cubicBezTo>
                        <a:cubicBezTo>
                          <a:pt x="2655085" y="814161"/>
                          <a:pt x="2650136" y="809218"/>
                          <a:pt x="2630342" y="814161"/>
                        </a:cubicBezTo>
                        <a:close/>
                        <a:moveTo>
                          <a:pt x="1426585" y="354"/>
                        </a:moveTo>
                        <a:cubicBezTo>
                          <a:pt x="1433390" y="1590"/>
                          <a:pt x="1440194" y="5916"/>
                          <a:pt x="1447617" y="10859"/>
                        </a:cubicBezTo>
                        <a:cubicBezTo>
                          <a:pt x="1511949" y="52878"/>
                          <a:pt x="1583705" y="92425"/>
                          <a:pt x="1643088" y="141859"/>
                        </a:cubicBezTo>
                        <a:cubicBezTo>
                          <a:pt x="1667831" y="161633"/>
                          <a:pt x="1687626" y="186350"/>
                          <a:pt x="1707421" y="208595"/>
                        </a:cubicBezTo>
                        <a:cubicBezTo>
                          <a:pt x="1719792" y="220953"/>
                          <a:pt x="1719792" y="233312"/>
                          <a:pt x="1714844" y="250614"/>
                        </a:cubicBezTo>
                        <a:cubicBezTo>
                          <a:pt x="1712369" y="258029"/>
                          <a:pt x="1709895" y="265444"/>
                          <a:pt x="1709895" y="272859"/>
                        </a:cubicBezTo>
                        <a:cubicBezTo>
                          <a:pt x="1709895" y="295104"/>
                          <a:pt x="1704946" y="314878"/>
                          <a:pt x="1695049" y="337123"/>
                        </a:cubicBezTo>
                        <a:cubicBezTo>
                          <a:pt x="1687626" y="349482"/>
                          <a:pt x="1685152" y="364312"/>
                          <a:pt x="1680203" y="379142"/>
                        </a:cubicBezTo>
                        <a:cubicBezTo>
                          <a:pt x="1665357" y="411274"/>
                          <a:pt x="1645563" y="435991"/>
                          <a:pt x="1625768" y="463180"/>
                        </a:cubicBezTo>
                        <a:cubicBezTo>
                          <a:pt x="1623294" y="465652"/>
                          <a:pt x="1620819" y="470595"/>
                          <a:pt x="1618345" y="473067"/>
                        </a:cubicBezTo>
                        <a:cubicBezTo>
                          <a:pt x="1591128" y="527444"/>
                          <a:pt x="1563910" y="581821"/>
                          <a:pt x="1539167" y="633727"/>
                        </a:cubicBezTo>
                        <a:cubicBezTo>
                          <a:pt x="1536693" y="636199"/>
                          <a:pt x="1536693" y="641142"/>
                          <a:pt x="1534218" y="646086"/>
                        </a:cubicBezTo>
                        <a:cubicBezTo>
                          <a:pt x="1544115" y="646086"/>
                          <a:pt x="1546590" y="638670"/>
                          <a:pt x="1549064" y="633727"/>
                        </a:cubicBezTo>
                        <a:cubicBezTo>
                          <a:pt x="1566384" y="601595"/>
                          <a:pt x="1581230" y="566991"/>
                          <a:pt x="1598551" y="532387"/>
                        </a:cubicBezTo>
                        <a:cubicBezTo>
                          <a:pt x="1605973" y="522501"/>
                          <a:pt x="1613396" y="512614"/>
                          <a:pt x="1623294" y="497784"/>
                        </a:cubicBezTo>
                        <a:cubicBezTo>
                          <a:pt x="1625768" y="520029"/>
                          <a:pt x="1618345" y="534859"/>
                          <a:pt x="1613396" y="552161"/>
                        </a:cubicBezTo>
                        <a:cubicBezTo>
                          <a:pt x="1605973" y="571935"/>
                          <a:pt x="1596076" y="594180"/>
                          <a:pt x="1586179" y="613954"/>
                        </a:cubicBezTo>
                        <a:cubicBezTo>
                          <a:pt x="1586179" y="618897"/>
                          <a:pt x="1583705" y="626312"/>
                          <a:pt x="1581230" y="633727"/>
                        </a:cubicBezTo>
                        <a:cubicBezTo>
                          <a:pt x="1588653" y="633727"/>
                          <a:pt x="1593602" y="633727"/>
                          <a:pt x="1596076" y="633727"/>
                        </a:cubicBezTo>
                        <a:cubicBezTo>
                          <a:pt x="1625768" y="623840"/>
                          <a:pt x="1655460" y="616425"/>
                          <a:pt x="1685152" y="606538"/>
                        </a:cubicBezTo>
                        <a:cubicBezTo>
                          <a:pt x="1707421" y="599123"/>
                          <a:pt x="1729689" y="591708"/>
                          <a:pt x="1754433" y="589237"/>
                        </a:cubicBezTo>
                        <a:cubicBezTo>
                          <a:pt x="1791547" y="581821"/>
                          <a:pt x="1816291" y="564520"/>
                          <a:pt x="1823714" y="527444"/>
                        </a:cubicBezTo>
                        <a:cubicBezTo>
                          <a:pt x="1826188" y="517557"/>
                          <a:pt x="1831137" y="507670"/>
                          <a:pt x="1833611" y="495312"/>
                        </a:cubicBezTo>
                        <a:cubicBezTo>
                          <a:pt x="1848457" y="500255"/>
                          <a:pt x="1860828" y="507670"/>
                          <a:pt x="1873200" y="515086"/>
                        </a:cubicBezTo>
                        <a:cubicBezTo>
                          <a:pt x="1922686" y="549689"/>
                          <a:pt x="1969698" y="584293"/>
                          <a:pt x="2019185" y="616425"/>
                        </a:cubicBezTo>
                        <a:cubicBezTo>
                          <a:pt x="2058774" y="643614"/>
                          <a:pt x="2098363" y="668331"/>
                          <a:pt x="2140427" y="695520"/>
                        </a:cubicBezTo>
                        <a:cubicBezTo>
                          <a:pt x="2145375" y="680689"/>
                          <a:pt x="2145375" y="663387"/>
                          <a:pt x="2152798" y="651029"/>
                        </a:cubicBezTo>
                        <a:cubicBezTo>
                          <a:pt x="2157747" y="636199"/>
                          <a:pt x="2167644" y="626312"/>
                          <a:pt x="2177541" y="613954"/>
                        </a:cubicBezTo>
                        <a:cubicBezTo>
                          <a:pt x="2157747" y="594180"/>
                          <a:pt x="2137952" y="574406"/>
                          <a:pt x="2118158" y="557104"/>
                        </a:cubicBezTo>
                        <a:cubicBezTo>
                          <a:pt x="2120632" y="554633"/>
                          <a:pt x="2120632" y="554633"/>
                          <a:pt x="2120632" y="552161"/>
                        </a:cubicBezTo>
                        <a:cubicBezTo>
                          <a:pt x="2125581" y="552161"/>
                          <a:pt x="2128055" y="552161"/>
                          <a:pt x="2133004" y="554633"/>
                        </a:cubicBezTo>
                        <a:cubicBezTo>
                          <a:pt x="2170118" y="566991"/>
                          <a:pt x="2204759" y="579350"/>
                          <a:pt x="2241874" y="591708"/>
                        </a:cubicBezTo>
                        <a:cubicBezTo>
                          <a:pt x="2281463" y="604067"/>
                          <a:pt x="2321052" y="613954"/>
                          <a:pt x="2350744" y="641142"/>
                        </a:cubicBezTo>
                        <a:cubicBezTo>
                          <a:pt x="2375487" y="660916"/>
                          <a:pt x="2400230" y="680689"/>
                          <a:pt x="2422499" y="702935"/>
                        </a:cubicBezTo>
                        <a:cubicBezTo>
                          <a:pt x="2437345" y="717765"/>
                          <a:pt x="2444768" y="735067"/>
                          <a:pt x="2439819" y="754840"/>
                        </a:cubicBezTo>
                        <a:cubicBezTo>
                          <a:pt x="2439819" y="764727"/>
                          <a:pt x="2439819" y="774614"/>
                          <a:pt x="2439819" y="786972"/>
                        </a:cubicBezTo>
                        <a:cubicBezTo>
                          <a:pt x="2459614" y="774614"/>
                          <a:pt x="2474460" y="764727"/>
                          <a:pt x="2489306" y="752369"/>
                        </a:cubicBezTo>
                        <a:cubicBezTo>
                          <a:pt x="2516523" y="730123"/>
                          <a:pt x="2546215" y="710350"/>
                          <a:pt x="2573432" y="688104"/>
                        </a:cubicBezTo>
                        <a:cubicBezTo>
                          <a:pt x="2595701" y="670803"/>
                          <a:pt x="2615496" y="655972"/>
                          <a:pt x="2637765" y="638670"/>
                        </a:cubicBezTo>
                        <a:cubicBezTo>
                          <a:pt x="2640239" y="636199"/>
                          <a:pt x="2645188" y="633727"/>
                          <a:pt x="2647662" y="631255"/>
                        </a:cubicBezTo>
                        <a:cubicBezTo>
                          <a:pt x="2660034" y="626312"/>
                          <a:pt x="2669931" y="618897"/>
                          <a:pt x="2667457" y="604067"/>
                        </a:cubicBezTo>
                        <a:cubicBezTo>
                          <a:pt x="2692200" y="606538"/>
                          <a:pt x="2711994" y="616425"/>
                          <a:pt x="2731789" y="628784"/>
                        </a:cubicBezTo>
                        <a:cubicBezTo>
                          <a:pt x="2806019" y="670803"/>
                          <a:pt x="2870351" y="725180"/>
                          <a:pt x="2924786" y="794388"/>
                        </a:cubicBezTo>
                        <a:cubicBezTo>
                          <a:pt x="2929735" y="799331"/>
                          <a:pt x="2932209" y="806746"/>
                          <a:pt x="2937158" y="811689"/>
                        </a:cubicBezTo>
                        <a:cubicBezTo>
                          <a:pt x="2947055" y="826520"/>
                          <a:pt x="2949529" y="841350"/>
                          <a:pt x="2939632" y="858652"/>
                        </a:cubicBezTo>
                        <a:cubicBezTo>
                          <a:pt x="2937158" y="863595"/>
                          <a:pt x="2937158" y="871010"/>
                          <a:pt x="2932209" y="883369"/>
                        </a:cubicBezTo>
                        <a:cubicBezTo>
                          <a:pt x="2932209" y="883369"/>
                          <a:pt x="2932209" y="883369"/>
                          <a:pt x="2902517" y="999539"/>
                        </a:cubicBezTo>
                        <a:cubicBezTo>
                          <a:pt x="2892620" y="1014369"/>
                          <a:pt x="2882722" y="1029199"/>
                          <a:pt x="2877774" y="1046501"/>
                        </a:cubicBezTo>
                        <a:cubicBezTo>
                          <a:pt x="2865402" y="1076161"/>
                          <a:pt x="2855505" y="1105822"/>
                          <a:pt x="2843133" y="1135482"/>
                        </a:cubicBezTo>
                        <a:cubicBezTo>
                          <a:pt x="2840659" y="1140425"/>
                          <a:pt x="2840659" y="1145369"/>
                          <a:pt x="2838185" y="1150312"/>
                        </a:cubicBezTo>
                        <a:cubicBezTo>
                          <a:pt x="2828287" y="1162671"/>
                          <a:pt x="2818390" y="1175029"/>
                          <a:pt x="2808493" y="1189859"/>
                        </a:cubicBezTo>
                        <a:cubicBezTo>
                          <a:pt x="2808493" y="1189859"/>
                          <a:pt x="2808493" y="1189859"/>
                          <a:pt x="2781275" y="1264010"/>
                        </a:cubicBezTo>
                        <a:cubicBezTo>
                          <a:pt x="2781275" y="1264010"/>
                          <a:pt x="2778801" y="1264010"/>
                          <a:pt x="2778801" y="1264010"/>
                        </a:cubicBezTo>
                        <a:cubicBezTo>
                          <a:pt x="2778801" y="1264010"/>
                          <a:pt x="2778801" y="1264010"/>
                          <a:pt x="2778801" y="1266482"/>
                        </a:cubicBezTo>
                        <a:cubicBezTo>
                          <a:pt x="2778801" y="1268954"/>
                          <a:pt x="2776327" y="1273897"/>
                          <a:pt x="2773852" y="1276369"/>
                        </a:cubicBezTo>
                        <a:cubicBezTo>
                          <a:pt x="2766429" y="1288727"/>
                          <a:pt x="2756532" y="1301086"/>
                          <a:pt x="2744161" y="1313444"/>
                        </a:cubicBezTo>
                        <a:cubicBezTo>
                          <a:pt x="2731789" y="1328274"/>
                          <a:pt x="2716943" y="1345576"/>
                          <a:pt x="2702097" y="1357935"/>
                        </a:cubicBezTo>
                        <a:cubicBezTo>
                          <a:pt x="2694674" y="1362878"/>
                          <a:pt x="2682303" y="1362878"/>
                          <a:pt x="2674880" y="1362878"/>
                        </a:cubicBezTo>
                        <a:cubicBezTo>
                          <a:pt x="2655085" y="1357935"/>
                          <a:pt x="2637765" y="1350520"/>
                          <a:pt x="2620445" y="1340633"/>
                        </a:cubicBezTo>
                        <a:cubicBezTo>
                          <a:pt x="2553638" y="1306029"/>
                          <a:pt x="2496729" y="1256595"/>
                          <a:pt x="2442294" y="1204690"/>
                        </a:cubicBezTo>
                        <a:cubicBezTo>
                          <a:pt x="2434871" y="1199746"/>
                          <a:pt x="2427448" y="1192331"/>
                          <a:pt x="2420025" y="1187388"/>
                        </a:cubicBezTo>
                        <a:cubicBezTo>
                          <a:pt x="2417550" y="1184916"/>
                          <a:pt x="2415076" y="1184916"/>
                          <a:pt x="2410127" y="1184916"/>
                        </a:cubicBezTo>
                        <a:cubicBezTo>
                          <a:pt x="2397756" y="1246708"/>
                          <a:pt x="2395281" y="1308501"/>
                          <a:pt x="2385384" y="1367822"/>
                        </a:cubicBezTo>
                        <a:cubicBezTo>
                          <a:pt x="2370538" y="1375237"/>
                          <a:pt x="2358167" y="1370293"/>
                          <a:pt x="2345795" y="1362878"/>
                        </a:cubicBezTo>
                        <a:cubicBezTo>
                          <a:pt x="2313629" y="1345576"/>
                          <a:pt x="2283937" y="1325803"/>
                          <a:pt x="2254245" y="1306029"/>
                        </a:cubicBezTo>
                        <a:cubicBezTo>
                          <a:pt x="2194862" y="1259067"/>
                          <a:pt x="2137952" y="1207161"/>
                          <a:pt x="2093414" y="1145369"/>
                        </a:cubicBezTo>
                        <a:cubicBezTo>
                          <a:pt x="2073620" y="1120652"/>
                          <a:pt x="2066197" y="1093463"/>
                          <a:pt x="2073620" y="1061331"/>
                        </a:cubicBezTo>
                        <a:cubicBezTo>
                          <a:pt x="2078569" y="1036614"/>
                          <a:pt x="2078569" y="1009425"/>
                          <a:pt x="2081043" y="982237"/>
                        </a:cubicBezTo>
                        <a:cubicBezTo>
                          <a:pt x="2078569" y="982237"/>
                          <a:pt x="2076094" y="982237"/>
                          <a:pt x="2076094" y="982237"/>
                        </a:cubicBezTo>
                        <a:cubicBezTo>
                          <a:pt x="2061248" y="1006954"/>
                          <a:pt x="2043928" y="1029199"/>
                          <a:pt x="2034031" y="1056388"/>
                        </a:cubicBezTo>
                        <a:cubicBezTo>
                          <a:pt x="2026608" y="1076161"/>
                          <a:pt x="2021659" y="1095935"/>
                          <a:pt x="2009288" y="1110765"/>
                        </a:cubicBezTo>
                        <a:cubicBezTo>
                          <a:pt x="2009288" y="1113237"/>
                          <a:pt x="2009288" y="1113237"/>
                          <a:pt x="2009288" y="1113237"/>
                        </a:cubicBezTo>
                        <a:cubicBezTo>
                          <a:pt x="2004339" y="1145369"/>
                          <a:pt x="1982070" y="1167614"/>
                          <a:pt x="1969698" y="1197274"/>
                        </a:cubicBezTo>
                        <a:cubicBezTo>
                          <a:pt x="1949904" y="1241765"/>
                          <a:pt x="1927635" y="1283784"/>
                          <a:pt x="1907840" y="1328274"/>
                        </a:cubicBezTo>
                        <a:cubicBezTo>
                          <a:pt x="1900418" y="1350520"/>
                          <a:pt x="1892995" y="1370293"/>
                          <a:pt x="1888046" y="1392539"/>
                        </a:cubicBezTo>
                        <a:cubicBezTo>
                          <a:pt x="1883097" y="1407369"/>
                          <a:pt x="1875674" y="1419727"/>
                          <a:pt x="1868251" y="1434557"/>
                        </a:cubicBezTo>
                        <a:cubicBezTo>
                          <a:pt x="1836085" y="1479048"/>
                          <a:pt x="1798970" y="1518595"/>
                          <a:pt x="1761856" y="1558142"/>
                        </a:cubicBezTo>
                        <a:cubicBezTo>
                          <a:pt x="1761856" y="1558142"/>
                          <a:pt x="1761856" y="1558142"/>
                          <a:pt x="1761856" y="1563086"/>
                        </a:cubicBezTo>
                        <a:cubicBezTo>
                          <a:pt x="1761856" y="1563086"/>
                          <a:pt x="1603499" y="1691614"/>
                          <a:pt x="1494629" y="1624878"/>
                        </a:cubicBezTo>
                        <a:cubicBezTo>
                          <a:pt x="1393182" y="1563086"/>
                          <a:pt x="1348644" y="1214576"/>
                          <a:pt x="1348644" y="1214576"/>
                        </a:cubicBezTo>
                        <a:cubicBezTo>
                          <a:pt x="1348644" y="1214576"/>
                          <a:pt x="1348644" y="1212105"/>
                          <a:pt x="1348644" y="1212105"/>
                        </a:cubicBezTo>
                        <a:cubicBezTo>
                          <a:pt x="1336273" y="1172557"/>
                          <a:pt x="1326375" y="1133010"/>
                          <a:pt x="1321427" y="1088520"/>
                        </a:cubicBezTo>
                        <a:cubicBezTo>
                          <a:pt x="1321427" y="1076161"/>
                          <a:pt x="1314004" y="1073689"/>
                          <a:pt x="1301632" y="1068746"/>
                        </a:cubicBezTo>
                        <a:cubicBezTo>
                          <a:pt x="1289261" y="1095935"/>
                          <a:pt x="1276889" y="1123123"/>
                          <a:pt x="1266992" y="1150312"/>
                        </a:cubicBezTo>
                        <a:cubicBezTo>
                          <a:pt x="1252146" y="1187388"/>
                          <a:pt x="1244723" y="1229406"/>
                          <a:pt x="1222454" y="1264010"/>
                        </a:cubicBezTo>
                        <a:cubicBezTo>
                          <a:pt x="1222454" y="1266482"/>
                          <a:pt x="1219980" y="1271425"/>
                          <a:pt x="1219980" y="1273897"/>
                        </a:cubicBezTo>
                        <a:cubicBezTo>
                          <a:pt x="1212557" y="1320859"/>
                          <a:pt x="1192762" y="1362878"/>
                          <a:pt x="1177916" y="1407369"/>
                        </a:cubicBezTo>
                        <a:cubicBezTo>
                          <a:pt x="1163070" y="1459274"/>
                          <a:pt x="1140801" y="1511180"/>
                          <a:pt x="1128430" y="1563086"/>
                        </a:cubicBezTo>
                        <a:cubicBezTo>
                          <a:pt x="1121007" y="1610048"/>
                          <a:pt x="1101212" y="1654539"/>
                          <a:pt x="1091315" y="1701501"/>
                        </a:cubicBezTo>
                        <a:cubicBezTo>
                          <a:pt x="1086366" y="1741048"/>
                          <a:pt x="1073995" y="1775652"/>
                          <a:pt x="1066572" y="1812727"/>
                        </a:cubicBezTo>
                        <a:cubicBezTo>
                          <a:pt x="1066572" y="1822614"/>
                          <a:pt x="1059149" y="1830029"/>
                          <a:pt x="1056674" y="1839916"/>
                        </a:cubicBezTo>
                        <a:cubicBezTo>
                          <a:pt x="1051726" y="1864633"/>
                          <a:pt x="1046777" y="1891822"/>
                          <a:pt x="1039354" y="1916539"/>
                        </a:cubicBezTo>
                        <a:cubicBezTo>
                          <a:pt x="1029457" y="1963501"/>
                          <a:pt x="1024508" y="2010463"/>
                          <a:pt x="1019560" y="2054954"/>
                        </a:cubicBezTo>
                        <a:cubicBezTo>
                          <a:pt x="1019560" y="2057426"/>
                          <a:pt x="1019560" y="2059897"/>
                          <a:pt x="1019560" y="2059897"/>
                        </a:cubicBezTo>
                        <a:cubicBezTo>
                          <a:pt x="997291" y="2116746"/>
                          <a:pt x="997291" y="2178539"/>
                          <a:pt x="987394" y="2235388"/>
                        </a:cubicBezTo>
                        <a:cubicBezTo>
                          <a:pt x="984919" y="2255161"/>
                          <a:pt x="977496" y="2274935"/>
                          <a:pt x="972548" y="2294709"/>
                        </a:cubicBezTo>
                        <a:cubicBezTo>
                          <a:pt x="967599" y="2309539"/>
                          <a:pt x="960176" y="2314482"/>
                          <a:pt x="945330" y="2307067"/>
                        </a:cubicBezTo>
                        <a:cubicBezTo>
                          <a:pt x="918113" y="2294709"/>
                          <a:pt x="893369" y="2282350"/>
                          <a:pt x="866152" y="2267520"/>
                        </a:cubicBezTo>
                        <a:cubicBezTo>
                          <a:pt x="863678" y="2265048"/>
                          <a:pt x="861203" y="2257633"/>
                          <a:pt x="861203" y="2250218"/>
                        </a:cubicBezTo>
                        <a:cubicBezTo>
                          <a:pt x="863678" y="2208199"/>
                          <a:pt x="856255" y="2163709"/>
                          <a:pt x="866152" y="2121690"/>
                        </a:cubicBezTo>
                        <a:cubicBezTo>
                          <a:pt x="866152" y="2114275"/>
                          <a:pt x="866152" y="2109331"/>
                          <a:pt x="866152" y="2101916"/>
                        </a:cubicBezTo>
                        <a:cubicBezTo>
                          <a:pt x="866152" y="2087086"/>
                          <a:pt x="866152" y="2069784"/>
                          <a:pt x="866152" y="2052482"/>
                        </a:cubicBezTo>
                        <a:cubicBezTo>
                          <a:pt x="868626" y="2047539"/>
                          <a:pt x="868626" y="2042595"/>
                          <a:pt x="868626" y="2037652"/>
                        </a:cubicBezTo>
                        <a:cubicBezTo>
                          <a:pt x="863678" y="2010463"/>
                          <a:pt x="861203" y="1980803"/>
                          <a:pt x="863678" y="1953614"/>
                        </a:cubicBezTo>
                        <a:cubicBezTo>
                          <a:pt x="863678" y="1946199"/>
                          <a:pt x="858729" y="1941256"/>
                          <a:pt x="856255" y="1933841"/>
                        </a:cubicBezTo>
                        <a:cubicBezTo>
                          <a:pt x="866152" y="1923954"/>
                          <a:pt x="876049" y="1914067"/>
                          <a:pt x="858729" y="1901709"/>
                        </a:cubicBezTo>
                        <a:cubicBezTo>
                          <a:pt x="856255" y="1899237"/>
                          <a:pt x="853780" y="1889350"/>
                          <a:pt x="856255" y="1886878"/>
                        </a:cubicBezTo>
                        <a:cubicBezTo>
                          <a:pt x="866152" y="1864633"/>
                          <a:pt x="863678" y="1844859"/>
                          <a:pt x="861203" y="1822614"/>
                        </a:cubicBezTo>
                        <a:cubicBezTo>
                          <a:pt x="861203" y="1780595"/>
                          <a:pt x="858729" y="1741048"/>
                          <a:pt x="861203" y="1699029"/>
                        </a:cubicBezTo>
                        <a:cubicBezTo>
                          <a:pt x="861203" y="1691614"/>
                          <a:pt x="858729" y="1686671"/>
                          <a:pt x="858729" y="1679256"/>
                        </a:cubicBezTo>
                        <a:cubicBezTo>
                          <a:pt x="858729" y="1657010"/>
                          <a:pt x="863678" y="1634765"/>
                          <a:pt x="873575" y="1614991"/>
                        </a:cubicBezTo>
                        <a:cubicBezTo>
                          <a:pt x="890895" y="1580388"/>
                          <a:pt x="905741" y="1545784"/>
                          <a:pt x="923061" y="1511180"/>
                        </a:cubicBezTo>
                        <a:cubicBezTo>
                          <a:pt x="925536" y="1506237"/>
                          <a:pt x="928010" y="1506237"/>
                          <a:pt x="937907" y="1503765"/>
                        </a:cubicBezTo>
                        <a:cubicBezTo>
                          <a:pt x="928010" y="1530954"/>
                          <a:pt x="920587" y="1555671"/>
                          <a:pt x="913164" y="1585331"/>
                        </a:cubicBezTo>
                        <a:cubicBezTo>
                          <a:pt x="928010" y="1580388"/>
                          <a:pt x="930484" y="1572973"/>
                          <a:pt x="932958" y="1565558"/>
                        </a:cubicBezTo>
                        <a:cubicBezTo>
                          <a:pt x="942856" y="1535897"/>
                          <a:pt x="952753" y="1503765"/>
                          <a:pt x="962650" y="1474105"/>
                        </a:cubicBezTo>
                        <a:cubicBezTo>
                          <a:pt x="970073" y="1446916"/>
                          <a:pt x="977496" y="1419727"/>
                          <a:pt x="989868" y="1395010"/>
                        </a:cubicBezTo>
                        <a:cubicBezTo>
                          <a:pt x="994816" y="1385124"/>
                          <a:pt x="997291" y="1375237"/>
                          <a:pt x="999765" y="1365350"/>
                        </a:cubicBezTo>
                        <a:cubicBezTo>
                          <a:pt x="1007188" y="1348048"/>
                          <a:pt x="1012137" y="1330746"/>
                          <a:pt x="1017085" y="1313444"/>
                        </a:cubicBezTo>
                        <a:cubicBezTo>
                          <a:pt x="1026983" y="1286256"/>
                          <a:pt x="1034406" y="1261539"/>
                          <a:pt x="1041829" y="1234350"/>
                        </a:cubicBezTo>
                        <a:cubicBezTo>
                          <a:pt x="1049251" y="1212105"/>
                          <a:pt x="1056674" y="1187388"/>
                          <a:pt x="1064097" y="1165142"/>
                        </a:cubicBezTo>
                        <a:cubicBezTo>
                          <a:pt x="1066572" y="1157727"/>
                          <a:pt x="1071520" y="1150312"/>
                          <a:pt x="1078943" y="1140425"/>
                        </a:cubicBezTo>
                        <a:cubicBezTo>
                          <a:pt x="1069046" y="1142897"/>
                          <a:pt x="1064097" y="1145369"/>
                          <a:pt x="1059149" y="1145369"/>
                        </a:cubicBezTo>
                        <a:cubicBezTo>
                          <a:pt x="1059149" y="1142897"/>
                          <a:pt x="1061623" y="1140425"/>
                          <a:pt x="1061623" y="1137954"/>
                        </a:cubicBezTo>
                        <a:cubicBezTo>
                          <a:pt x="1049251" y="1135482"/>
                          <a:pt x="1039354" y="1142897"/>
                          <a:pt x="1031931" y="1155256"/>
                        </a:cubicBezTo>
                        <a:cubicBezTo>
                          <a:pt x="1039354" y="1155256"/>
                          <a:pt x="1041829" y="1155256"/>
                          <a:pt x="1044303" y="1155256"/>
                        </a:cubicBezTo>
                        <a:cubicBezTo>
                          <a:pt x="1019560" y="1170086"/>
                          <a:pt x="994816" y="1187388"/>
                          <a:pt x="970073" y="1204690"/>
                        </a:cubicBezTo>
                        <a:cubicBezTo>
                          <a:pt x="935433" y="1224463"/>
                          <a:pt x="900792" y="1246708"/>
                          <a:pt x="868626" y="1266482"/>
                        </a:cubicBezTo>
                        <a:cubicBezTo>
                          <a:pt x="863678" y="1268954"/>
                          <a:pt x="858729" y="1271425"/>
                          <a:pt x="853780" y="1273897"/>
                        </a:cubicBezTo>
                        <a:cubicBezTo>
                          <a:pt x="853780" y="1273897"/>
                          <a:pt x="853780" y="1273897"/>
                          <a:pt x="292110" y="1575444"/>
                        </a:cubicBezTo>
                        <a:cubicBezTo>
                          <a:pt x="292110" y="1577916"/>
                          <a:pt x="289635" y="1577916"/>
                          <a:pt x="287161" y="1580388"/>
                        </a:cubicBezTo>
                        <a:cubicBezTo>
                          <a:pt x="277264" y="1575444"/>
                          <a:pt x="264892" y="1568029"/>
                          <a:pt x="252520" y="1560614"/>
                        </a:cubicBezTo>
                        <a:cubicBezTo>
                          <a:pt x="220354" y="1538369"/>
                          <a:pt x="185714" y="1513652"/>
                          <a:pt x="153548" y="1488935"/>
                        </a:cubicBezTo>
                        <a:cubicBezTo>
                          <a:pt x="109010" y="1451859"/>
                          <a:pt x="69421" y="1409840"/>
                          <a:pt x="32306" y="1365350"/>
                        </a:cubicBezTo>
                        <a:cubicBezTo>
                          <a:pt x="22409" y="1355463"/>
                          <a:pt x="14986" y="1340633"/>
                          <a:pt x="7563" y="1328274"/>
                        </a:cubicBezTo>
                        <a:cubicBezTo>
                          <a:pt x="-4809" y="1308501"/>
                          <a:pt x="-2335" y="1298614"/>
                          <a:pt x="17460" y="1286256"/>
                        </a:cubicBezTo>
                        <a:cubicBezTo>
                          <a:pt x="32306" y="1278840"/>
                          <a:pt x="47152" y="1268954"/>
                          <a:pt x="61998" y="1261539"/>
                        </a:cubicBezTo>
                        <a:cubicBezTo>
                          <a:pt x="76844" y="1251652"/>
                          <a:pt x="91690" y="1241765"/>
                          <a:pt x="106536" y="1234350"/>
                        </a:cubicBezTo>
                        <a:cubicBezTo>
                          <a:pt x="116433" y="1229406"/>
                          <a:pt x="126330" y="1224463"/>
                          <a:pt x="136227" y="1219520"/>
                        </a:cubicBezTo>
                        <a:cubicBezTo>
                          <a:pt x="153548" y="1212105"/>
                          <a:pt x="168394" y="1204690"/>
                          <a:pt x="180765" y="1189859"/>
                        </a:cubicBezTo>
                        <a:cubicBezTo>
                          <a:pt x="188188" y="1184916"/>
                          <a:pt x="198085" y="1179973"/>
                          <a:pt x="205508" y="1177501"/>
                        </a:cubicBezTo>
                        <a:cubicBezTo>
                          <a:pt x="232726" y="1170086"/>
                          <a:pt x="252520" y="1150312"/>
                          <a:pt x="277264" y="1140425"/>
                        </a:cubicBezTo>
                        <a:cubicBezTo>
                          <a:pt x="289635" y="1135482"/>
                          <a:pt x="304481" y="1128067"/>
                          <a:pt x="321801" y="1120652"/>
                        </a:cubicBezTo>
                        <a:cubicBezTo>
                          <a:pt x="324276" y="1118180"/>
                          <a:pt x="326750" y="1115708"/>
                          <a:pt x="329224" y="1115708"/>
                        </a:cubicBezTo>
                        <a:cubicBezTo>
                          <a:pt x="329224" y="1115708"/>
                          <a:pt x="329224" y="1115708"/>
                          <a:pt x="848832" y="895727"/>
                        </a:cubicBezTo>
                        <a:cubicBezTo>
                          <a:pt x="853780" y="893256"/>
                          <a:pt x="861203" y="890784"/>
                          <a:pt x="868626" y="888312"/>
                        </a:cubicBezTo>
                        <a:cubicBezTo>
                          <a:pt x="888421" y="883369"/>
                          <a:pt x="905741" y="878425"/>
                          <a:pt x="923061" y="868539"/>
                        </a:cubicBezTo>
                        <a:cubicBezTo>
                          <a:pt x="952753" y="853708"/>
                          <a:pt x="984919" y="843821"/>
                          <a:pt x="1017085" y="831463"/>
                        </a:cubicBezTo>
                        <a:cubicBezTo>
                          <a:pt x="1031931" y="826520"/>
                          <a:pt x="1046777" y="819104"/>
                          <a:pt x="1061623" y="811689"/>
                        </a:cubicBezTo>
                        <a:cubicBezTo>
                          <a:pt x="1088841" y="799331"/>
                          <a:pt x="1116058" y="784501"/>
                          <a:pt x="1145750" y="772142"/>
                        </a:cubicBezTo>
                        <a:cubicBezTo>
                          <a:pt x="1150699" y="769671"/>
                          <a:pt x="1158122" y="769671"/>
                          <a:pt x="1163070" y="769671"/>
                        </a:cubicBezTo>
                        <a:cubicBezTo>
                          <a:pt x="1212557" y="638670"/>
                          <a:pt x="1249671" y="502727"/>
                          <a:pt x="1306581" y="376670"/>
                        </a:cubicBezTo>
                        <a:cubicBezTo>
                          <a:pt x="1306581" y="376670"/>
                          <a:pt x="1309055" y="376670"/>
                          <a:pt x="1309055" y="376670"/>
                        </a:cubicBezTo>
                        <a:cubicBezTo>
                          <a:pt x="1266992" y="502727"/>
                          <a:pt x="1224928" y="628784"/>
                          <a:pt x="1182865" y="754840"/>
                        </a:cubicBezTo>
                        <a:cubicBezTo>
                          <a:pt x="1190288" y="762255"/>
                          <a:pt x="1195236" y="762255"/>
                          <a:pt x="1200185" y="754840"/>
                        </a:cubicBezTo>
                        <a:cubicBezTo>
                          <a:pt x="1202659" y="747425"/>
                          <a:pt x="1205134" y="740010"/>
                          <a:pt x="1207608" y="735067"/>
                        </a:cubicBezTo>
                        <a:cubicBezTo>
                          <a:pt x="1215031" y="702935"/>
                          <a:pt x="1224928" y="673274"/>
                          <a:pt x="1234825" y="641142"/>
                        </a:cubicBezTo>
                        <a:cubicBezTo>
                          <a:pt x="1242248" y="621369"/>
                          <a:pt x="1249671" y="599123"/>
                          <a:pt x="1257094" y="576878"/>
                        </a:cubicBezTo>
                        <a:cubicBezTo>
                          <a:pt x="1259569" y="574406"/>
                          <a:pt x="1259569" y="569463"/>
                          <a:pt x="1262043" y="566991"/>
                        </a:cubicBezTo>
                        <a:cubicBezTo>
                          <a:pt x="1271940" y="534859"/>
                          <a:pt x="1281838" y="500255"/>
                          <a:pt x="1296683" y="470595"/>
                        </a:cubicBezTo>
                        <a:cubicBezTo>
                          <a:pt x="1304106" y="460708"/>
                          <a:pt x="1306581" y="445878"/>
                          <a:pt x="1309055" y="433519"/>
                        </a:cubicBezTo>
                        <a:cubicBezTo>
                          <a:pt x="1314004" y="406331"/>
                          <a:pt x="1328850" y="379142"/>
                          <a:pt x="1341221" y="354425"/>
                        </a:cubicBezTo>
                        <a:cubicBezTo>
                          <a:pt x="1351119" y="329708"/>
                          <a:pt x="1361016" y="302519"/>
                          <a:pt x="1368439" y="277802"/>
                        </a:cubicBezTo>
                        <a:cubicBezTo>
                          <a:pt x="1370913" y="275331"/>
                          <a:pt x="1370913" y="272859"/>
                          <a:pt x="1370913" y="270387"/>
                        </a:cubicBezTo>
                        <a:cubicBezTo>
                          <a:pt x="1393182" y="235784"/>
                          <a:pt x="1390708" y="196236"/>
                          <a:pt x="1395656" y="159161"/>
                        </a:cubicBezTo>
                        <a:cubicBezTo>
                          <a:pt x="1398131" y="114670"/>
                          <a:pt x="1403079" y="70180"/>
                          <a:pt x="1408028" y="25689"/>
                        </a:cubicBezTo>
                        <a:cubicBezTo>
                          <a:pt x="1408028" y="20746"/>
                          <a:pt x="1405554" y="13331"/>
                          <a:pt x="1405554" y="8387"/>
                        </a:cubicBezTo>
                        <a:cubicBezTo>
                          <a:pt x="1412977" y="972"/>
                          <a:pt x="1419781" y="-882"/>
                          <a:pt x="1426585" y="354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84000">
                        <a:schemeClr val="accent2">
                          <a:lumMod val="40000"/>
                          <a:lumOff val="60000"/>
                        </a:schemeClr>
                      </a:gs>
                      <a:gs pos="0">
                        <a:schemeClr val="accent2"/>
                      </a:gs>
                    </a:gsLst>
                    <a:lin ang="135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lvl="0" algn="ctr"/>
                    <a:endParaRPr>
                      <a:gradFill flip="none" rotWithShape="1">
                        <a:gsLst>
                          <a:gs pos="89000">
                            <a:schemeClr val="bg1"/>
                          </a:gs>
                          <a:gs pos="0">
                            <a:schemeClr val="accent2"/>
                          </a:gs>
                        </a:gsLst>
                        <a:lin ang="13500000" scaled="1"/>
                        <a:tileRect/>
                      </a:gradFill>
                    </a:endParaRPr>
                  </a:p>
                </p:txBody>
              </p:sp>
              <p:sp>
                <p:nvSpPr>
                  <p:cNvPr id="240" name="任意多边形: 形状 239">
                    <a:extLst>
                      <a:ext uri="{FF2B5EF4-FFF2-40B4-BE49-F238E27FC236}">
                        <a16:creationId xmlns:a16="http://schemas.microsoft.com/office/drawing/2014/main" id="{87E64B61-D412-46DD-938F-5DA62F6FE470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9343304" y="2086278"/>
                    <a:ext cx="94202" cy="176399"/>
                  </a:xfrm>
                  <a:custGeom>
                    <a:avLst/>
                    <a:gdLst>
                      <a:gd name="T0" fmla="*/ 44 w 65"/>
                      <a:gd name="T1" fmla="*/ 27 h 123"/>
                      <a:gd name="T2" fmla="*/ 45 w 65"/>
                      <a:gd name="T3" fmla="*/ 32 h 123"/>
                      <a:gd name="T4" fmla="*/ 41 w 65"/>
                      <a:gd name="T5" fmla="*/ 35 h 123"/>
                      <a:gd name="T6" fmla="*/ 40 w 65"/>
                      <a:gd name="T7" fmla="*/ 37 h 123"/>
                      <a:gd name="T8" fmla="*/ 37 w 65"/>
                      <a:gd name="T9" fmla="*/ 42 h 123"/>
                      <a:gd name="T10" fmla="*/ 43 w 65"/>
                      <a:gd name="T11" fmla="*/ 48 h 123"/>
                      <a:gd name="T12" fmla="*/ 40 w 65"/>
                      <a:gd name="T13" fmla="*/ 54 h 123"/>
                      <a:gd name="T14" fmla="*/ 31 w 65"/>
                      <a:gd name="T15" fmla="*/ 53 h 123"/>
                      <a:gd name="T16" fmla="*/ 34 w 65"/>
                      <a:gd name="T17" fmla="*/ 57 h 123"/>
                      <a:gd name="T18" fmla="*/ 29 w 65"/>
                      <a:gd name="T19" fmla="*/ 60 h 123"/>
                      <a:gd name="T20" fmla="*/ 25 w 65"/>
                      <a:gd name="T21" fmla="*/ 66 h 123"/>
                      <a:gd name="T22" fmla="*/ 24 w 65"/>
                      <a:gd name="T23" fmla="*/ 71 h 123"/>
                      <a:gd name="T24" fmla="*/ 27 w 65"/>
                      <a:gd name="T25" fmla="*/ 79 h 123"/>
                      <a:gd name="T26" fmla="*/ 22 w 65"/>
                      <a:gd name="T27" fmla="*/ 79 h 123"/>
                      <a:gd name="T28" fmla="*/ 22 w 65"/>
                      <a:gd name="T29" fmla="*/ 89 h 123"/>
                      <a:gd name="T30" fmla="*/ 11 w 65"/>
                      <a:gd name="T31" fmla="*/ 111 h 123"/>
                      <a:gd name="T32" fmla="*/ 8 w 65"/>
                      <a:gd name="T33" fmla="*/ 120 h 123"/>
                      <a:gd name="T34" fmla="*/ 51 w 65"/>
                      <a:gd name="T35" fmla="*/ 33 h 123"/>
                      <a:gd name="T36" fmla="*/ 47 w 65"/>
                      <a:gd name="T37" fmla="*/ 37 h 123"/>
                      <a:gd name="T38" fmla="*/ 48 w 65"/>
                      <a:gd name="T39" fmla="*/ 33 h 123"/>
                      <a:gd name="T40" fmla="*/ 45 w 65"/>
                      <a:gd name="T41" fmla="*/ 36 h 123"/>
                      <a:gd name="T42" fmla="*/ 48 w 65"/>
                      <a:gd name="T43" fmla="*/ 26 h 123"/>
                      <a:gd name="T44" fmla="*/ 46 w 65"/>
                      <a:gd name="T45" fmla="*/ 24 h 123"/>
                      <a:gd name="T46" fmla="*/ 46 w 65"/>
                      <a:gd name="T47" fmla="*/ 14 h 123"/>
                      <a:gd name="T48" fmla="*/ 46 w 65"/>
                      <a:gd name="T49" fmla="*/ 18 h 123"/>
                      <a:gd name="T50" fmla="*/ 46 w 65"/>
                      <a:gd name="T51" fmla="*/ 28 h 123"/>
                      <a:gd name="T52" fmla="*/ 45 w 65"/>
                      <a:gd name="T53" fmla="*/ 35 h 123"/>
                      <a:gd name="T54" fmla="*/ 52 w 65"/>
                      <a:gd name="T55" fmla="*/ 27 h 123"/>
                      <a:gd name="T56" fmla="*/ 53 w 65"/>
                      <a:gd name="T57" fmla="*/ 27 h 123"/>
                      <a:gd name="T58" fmla="*/ 43 w 65"/>
                      <a:gd name="T59" fmla="*/ 29 h 123"/>
                      <a:gd name="T60" fmla="*/ 43 w 65"/>
                      <a:gd name="T61" fmla="*/ 33 h 123"/>
                      <a:gd name="T62" fmla="*/ 44 w 65"/>
                      <a:gd name="T63" fmla="*/ 45 h 123"/>
                      <a:gd name="T64" fmla="*/ 42 w 65"/>
                      <a:gd name="T65" fmla="*/ 50 h 123"/>
                      <a:gd name="T66" fmla="*/ 40 w 65"/>
                      <a:gd name="T67" fmla="*/ 52 h 123"/>
                      <a:gd name="T68" fmla="*/ 40 w 65"/>
                      <a:gd name="T69" fmla="*/ 47 h 123"/>
                      <a:gd name="T70" fmla="*/ 40 w 65"/>
                      <a:gd name="T71" fmla="*/ 49 h 123"/>
                      <a:gd name="T72" fmla="*/ 33 w 65"/>
                      <a:gd name="T73" fmla="*/ 48 h 123"/>
                      <a:gd name="T74" fmla="*/ 25 w 65"/>
                      <a:gd name="T75" fmla="*/ 75 h 123"/>
                      <a:gd name="T76" fmla="*/ 28 w 65"/>
                      <a:gd name="T77" fmla="*/ 69 h 123"/>
                      <a:gd name="T78" fmla="*/ 26 w 65"/>
                      <a:gd name="T79" fmla="*/ 69 h 123"/>
                      <a:gd name="T80" fmla="*/ 30 w 65"/>
                      <a:gd name="T81" fmla="*/ 64 h 123"/>
                      <a:gd name="T82" fmla="*/ 36 w 65"/>
                      <a:gd name="T83" fmla="*/ 57 h 123"/>
                      <a:gd name="T84" fmla="*/ 40 w 65"/>
                      <a:gd name="T85" fmla="*/ 56 h 123"/>
                      <a:gd name="T86" fmla="*/ 34 w 65"/>
                      <a:gd name="T87" fmla="*/ 66 h 123"/>
                      <a:gd name="T88" fmla="*/ 29 w 65"/>
                      <a:gd name="T89" fmla="*/ 76 h 123"/>
                      <a:gd name="T90" fmla="*/ 27 w 65"/>
                      <a:gd name="T91" fmla="*/ 73 h 123"/>
                      <a:gd name="T92" fmla="*/ 37 w 65"/>
                      <a:gd name="T93" fmla="*/ 57 h 123"/>
                      <a:gd name="T94" fmla="*/ 30 w 65"/>
                      <a:gd name="T95" fmla="*/ 64 h 123"/>
                      <a:gd name="T96" fmla="*/ 31 w 65"/>
                      <a:gd name="T97" fmla="*/ 67 h 123"/>
                      <a:gd name="T98" fmla="*/ 28 w 65"/>
                      <a:gd name="T99" fmla="*/ 77 h 123"/>
                      <a:gd name="T100" fmla="*/ 31 w 65"/>
                      <a:gd name="T101" fmla="*/ 67 h 123"/>
                      <a:gd name="T102" fmla="*/ 36 w 65"/>
                      <a:gd name="T103" fmla="*/ 59 h 123"/>
                      <a:gd name="T104" fmla="*/ 27 w 65"/>
                      <a:gd name="T105" fmla="*/ 72 h 123"/>
                      <a:gd name="T106" fmla="*/ 37 w 65"/>
                      <a:gd name="T107" fmla="*/ 54 h 123"/>
                      <a:gd name="T108" fmla="*/ 33 w 65"/>
                      <a:gd name="T109" fmla="*/ 54 h 123"/>
                      <a:gd name="T110" fmla="*/ 30 w 65"/>
                      <a:gd name="T111" fmla="*/ 54 h 123"/>
                      <a:gd name="T112" fmla="*/ 36 w 65"/>
                      <a:gd name="T113" fmla="*/ 61 h 123"/>
                      <a:gd name="T114" fmla="*/ 27 w 65"/>
                      <a:gd name="T115" fmla="*/ 61 h 123"/>
                      <a:gd name="T116" fmla="*/ 26 w 65"/>
                      <a:gd name="T117" fmla="*/ 79 h 123"/>
                      <a:gd name="T118" fmla="*/ 27 w 65"/>
                      <a:gd name="T119" fmla="*/ 79 h 123"/>
                      <a:gd name="T120" fmla="*/ 23 w 65"/>
                      <a:gd name="T121" fmla="*/ 89 h 123"/>
                      <a:gd name="T122" fmla="*/ 12 w 65"/>
                      <a:gd name="T123" fmla="*/ 113 h 123"/>
                      <a:gd name="T124" fmla="*/ 31 w 65"/>
                      <a:gd name="T125" fmla="*/ 51 h 1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65" h="123">
                        <a:moveTo>
                          <a:pt x="64" y="3"/>
                        </a:moveTo>
                        <a:cubicBezTo>
                          <a:pt x="65" y="3"/>
                          <a:pt x="65" y="4"/>
                          <a:pt x="65" y="4"/>
                        </a:cubicBezTo>
                        <a:cubicBezTo>
                          <a:pt x="64" y="4"/>
                          <a:pt x="65" y="4"/>
                          <a:pt x="65" y="4"/>
                        </a:cubicBezTo>
                        <a:cubicBezTo>
                          <a:pt x="64" y="4"/>
                          <a:pt x="64" y="4"/>
                          <a:pt x="64" y="3"/>
                        </a:cubicBezTo>
                        <a:close/>
                        <a:moveTo>
                          <a:pt x="49" y="8"/>
                        </a:moveTo>
                        <a:cubicBezTo>
                          <a:pt x="49" y="7"/>
                          <a:pt x="50" y="8"/>
                          <a:pt x="50" y="7"/>
                        </a:cubicBezTo>
                        <a:cubicBezTo>
                          <a:pt x="50" y="8"/>
                          <a:pt x="50" y="7"/>
                          <a:pt x="50" y="7"/>
                        </a:cubicBezTo>
                        <a:cubicBezTo>
                          <a:pt x="50" y="8"/>
                          <a:pt x="50" y="8"/>
                          <a:pt x="49" y="8"/>
                        </a:cubicBezTo>
                        <a:close/>
                        <a:moveTo>
                          <a:pt x="49" y="9"/>
                        </a:moveTo>
                        <a:cubicBezTo>
                          <a:pt x="49" y="9"/>
                          <a:pt x="49" y="9"/>
                          <a:pt x="48" y="10"/>
                        </a:cubicBezTo>
                        <a:cubicBezTo>
                          <a:pt x="48" y="10"/>
                          <a:pt x="48" y="9"/>
                          <a:pt x="48" y="9"/>
                        </a:cubicBezTo>
                        <a:cubicBezTo>
                          <a:pt x="49" y="9"/>
                          <a:pt x="49" y="9"/>
                          <a:pt x="49" y="9"/>
                        </a:cubicBezTo>
                        <a:close/>
                        <a:moveTo>
                          <a:pt x="48" y="10"/>
                        </a:moveTo>
                        <a:cubicBezTo>
                          <a:pt x="48" y="10"/>
                          <a:pt x="48" y="10"/>
                          <a:pt x="48" y="10"/>
                        </a:cubicBezTo>
                        <a:cubicBezTo>
                          <a:pt x="48" y="10"/>
                          <a:pt x="48" y="10"/>
                          <a:pt x="48" y="10"/>
                        </a:cubicBezTo>
                        <a:cubicBezTo>
                          <a:pt x="48" y="10"/>
                          <a:pt x="48" y="10"/>
                          <a:pt x="48" y="10"/>
                        </a:cubicBezTo>
                        <a:close/>
                        <a:moveTo>
                          <a:pt x="47" y="12"/>
                        </a:moveTo>
                        <a:cubicBezTo>
                          <a:pt x="47" y="12"/>
                          <a:pt x="47" y="12"/>
                          <a:pt x="47" y="12"/>
                        </a:cubicBezTo>
                        <a:cubicBezTo>
                          <a:pt x="47" y="13"/>
                          <a:pt x="47" y="13"/>
                          <a:pt x="47" y="13"/>
                        </a:cubicBezTo>
                        <a:cubicBezTo>
                          <a:pt x="46" y="12"/>
                          <a:pt x="47" y="12"/>
                          <a:pt x="47" y="12"/>
                        </a:cubicBezTo>
                        <a:close/>
                        <a:moveTo>
                          <a:pt x="45" y="15"/>
                        </a:moveTo>
                        <a:cubicBezTo>
                          <a:pt x="45" y="16"/>
                          <a:pt x="45" y="16"/>
                          <a:pt x="45" y="16"/>
                        </a:cubicBezTo>
                        <a:cubicBezTo>
                          <a:pt x="45" y="16"/>
                          <a:pt x="45" y="16"/>
                          <a:pt x="45" y="16"/>
                        </a:cubicBezTo>
                        <a:cubicBezTo>
                          <a:pt x="45" y="16"/>
                          <a:pt x="45" y="15"/>
                          <a:pt x="45" y="15"/>
                        </a:cubicBezTo>
                        <a:close/>
                        <a:moveTo>
                          <a:pt x="44" y="16"/>
                        </a:moveTo>
                        <a:cubicBezTo>
                          <a:pt x="45" y="15"/>
                          <a:pt x="45" y="15"/>
                          <a:pt x="45" y="15"/>
                        </a:cubicBezTo>
                        <a:cubicBezTo>
                          <a:pt x="45" y="16"/>
                          <a:pt x="45" y="16"/>
                          <a:pt x="44" y="16"/>
                        </a:cubicBezTo>
                        <a:close/>
                        <a:moveTo>
                          <a:pt x="45" y="17"/>
                        </a:moveTo>
                        <a:cubicBezTo>
                          <a:pt x="45" y="17"/>
                          <a:pt x="45" y="17"/>
                          <a:pt x="45" y="17"/>
                        </a:cubicBezTo>
                        <a:cubicBezTo>
                          <a:pt x="45" y="17"/>
                          <a:pt x="45" y="17"/>
                          <a:pt x="45" y="17"/>
                        </a:cubicBezTo>
                        <a:close/>
                        <a:moveTo>
                          <a:pt x="45" y="20"/>
                        </a:moveTo>
                        <a:cubicBezTo>
                          <a:pt x="45" y="20"/>
                          <a:pt x="46" y="20"/>
                          <a:pt x="46" y="20"/>
                        </a:cubicBezTo>
                        <a:cubicBezTo>
                          <a:pt x="46" y="20"/>
                          <a:pt x="45" y="20"/>
                          <a:pt x="45" y="20"/>
                        </a:cubicBezTo>
                        <a:cubicBezTo>
                          <a:pt x="45" y="20"/>
                          <a:pt x="46" y="19"/>
                          <a:pt x="46" y="19"/>
                        </a:cubicBezTo>
                        <a:cubicBezTo>
                          <a:pt x="46" y="20"/>
                          <a:pt x="46" y="20"/>
                          <a:pt x="46" y="20"/>
                        </a:cubicBezTo>
                        <a:cubicBezTo>
                          <a:pt x="46" y="20"/>
                          <a:pt x="45" y="20"/>
                          <a:pt x="45" y="20"/>
                        </a:cubicBezTo>
                        <a:close/>
                        <a:moveTo>
                          <a:pt x="45" y="20"/>
                        </a:moveTo>
                        <a:cubicBezTo>
                          <a:pt x="44" y="20"/>
                          <a:pt x="44" y="20"/>
                          <a:pt x="44" y="20"/>
                        </a:cubicBezTo>
                        <a:cubicBezTo>
                          <a:pt x="44" y="20"/>
                          <a:pt x="44" y="20"/>
                          <a:pt x="44" y="20"/>
                        </a:cubicBezTo>
                        <a:cubicBezTo>
                          <a:pt x="44" y="20"/>
                          <a:pt x="44" y="20"/>
                          <a:pt x="45" y="20"/>
                        </a:cubicBezTo>
                        <a:close/>
                        <a:moveTo>
                          <a:pt x="44" y="21"/>
                        </a:moveTo>
                        <a:cubicBezTo>
                          <a:pt x="44" y="21"/>
                          <a:pt x="44" y="22"/>
                          <a:pt x="44" y="22"/>
                        </a:cubicBezTo>
                        <a:cubicBezTo>
                          <a:pt x="44" y="21"/>
                          <a:pt x="44" y="21"/>
                          <a:pt x="44" y="21"/>
                        </a:cubicBezTo>
                        <a:cubicBezTo>
                          <a:pt x="44" y="21"/>
                          <a:pt x="44" y="21"/>
                          <a:pt x="44" y="21"/>
                        </a:cubicBezTo>
                        <a:close/>
                        <a:moveTo>
                          <a:pt x="44" y="23"/>
                        </a:moveTo>
                        <a:cubicBezTo>
                          <a:pt x="44" y="23"/>
                          <a:pt x="44" y="22"/>
                          <a:pt x="43" y="22"/>
                        </a:cubicBezTo>
                        <a:cubicBezTo>
                          <a:pt x="44" y="22"/>
                          <a:pt x="44" y="22"/>
                          <a:pt x="44" y="22"/>
                        </a:cubicBezTo>
                        <a:cubicBezTo>
                          <a:pt x="44" y="22"/>
                          <a:pt x="43" y="22"/>
                          <a:pt x="44" y="23"/>
                        </a:cubicBezTo>
                        <a:close/>
                        <a:moveTo>
                          <a:pt x="43" y="23"/>
                        </a:moveTo>
                        <a:cubicBezTo>
                          <a:pt x="43" y="22"/>
                          <a:pt x="43" y="22"/>
                          <a:pt x="43" y="22"/>
                        </a:cubicBezTo>
                        <a:cubicBezTo>
                          <a:pt x="43" y="22"/>
                          <a:pt x="43" y="22"/>
                          <a:pt x="43" y="23"/>
                        </a:cubicBezTo>
                        <a:close/>
                        <a:moveTo>
                          <a:pt x="42" y="23"/>
                        </a:moveTo>
                        <a:cubicBezTo>
                          <a:pt x="42" y="23"/>
                          <a:pt x="42" y="23"/>
                          <a:pt x="42" y="23"/>
                        </a:cubicBezTo>
                        <a:cubicBezTo>
                          <a:pt x="42" y="23"/>
                          <a:pt x="42" y="23"/>
                          <a:pt x="42" y="23"/>
                        </a:cubicBezTo>
                        <a:close/>
                        <a:moveTo>
                          <a:pt x="48" y="26"/>
                        </a:moveTo>
                        <a:cubicBezTo>
                          <a:pt x="48" y="26"/>
                          <a:pt x="47" y="26"/>
                          <a:pt x="48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lose/>
                        <a:moveTo>
                          <a:pt x="44" y="25"/>
                        </a:moveTo>
                        <a:cubicBezTo>
                          <a:pt x="44" y="25"/>
                          <a:pt x="44" y="25"/>
                          <a:pt x="44" y="24"/>
                        </a:cubicBezTo>
                        <a:cubicBezTo>
                          <a:pt x="44" y="25"/>
                          <a:pt x="44" y="25"/>
                          <a:pt x="44" y="25"/>
                        </a:cubicBezTo>
                        <a:cubicBezTo>
                          <a:pt x="44" y="25"/>
                          <a:pt x="44" y="25"/>
                          <a:pt x="44" y="25"/>
                        </a:cubicBezTo>
                        <a:close/>
                        <a:moveTo>
                          <a:pt x="47" y="26"/>
                        </a:moveTo>
                        <a:cubicBezTo>
                          <a:pt x="47" y="26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7" y="26"/>
                        </a:cubicBezTo>
                        <a:close/>
                        <a:moveTo>
                          <a:pt x="52" y="29"/>
                        </a:moveTo>
                        <a:cubicBezTo>
                          <a:pt x="52" y="29"/>
                          <a:pt x="52" y="29"/>
                          <a:pt x="52" y="29"/>
                        </a:cubicBezTo>
                        <a:cubicBezTo>
                          <a:pt x="52" y="29"/>
                          <a:pt x="52" y="29"/>
                          <a:pt x="52" y="29"/>
                        </a:cubicBezTo>
                        <a:close/>
                        <a:moveTo>
                          <a:pt x="47" y="28"/>
                        </a:moveTo>
                        <a:cubicBezTo>
                          <a:pt x="47" y="28"/>
                          <a:pt x="47" y="28"/>
                          <a:pt x="47" y="28"/>
                        </a:cubicBezTo>
                        <a:cubicBezTo>
                          <a:pt x="47" y="28"/>
                          <a:pt x="47" y="28"/>
                          <a:pt x="47" y="27"/>
                        </a:cubicBezTo>
                        <a:cubicBezTo>
                          <a:pt x="47" y="28"/>
                          <a:pt x="47" y="28"/>
                          <a:pt x="47" y="28"/>
                        </a:cubicBezTo>
                        <a:close/>
                        <a:moveTo>
                          <a:pt x="44" y="27"/>
                        </a:moveTo>
                        <a:cubicBezTo>
                          <a:pt x="44" y="27"/>
                          <a:pt x="44" y="26"/>
                          <a:pt x="44" y="26"/>
                        </a:cubicBezTo>
                        <a:cubicBezTo>
                          <a:pt x="44" y="26"/>
                          <a:pt x="45" y="26"/>
                          <a:pt x="44" y="27"/>
                        </a:cubicBezTo>
                        <a:cubicBezTo>
                          <a:pt x="44" y="27"/>
                          <a:pt x="44" y="27"/>
                          <a:pt x="44" y="27"/>
                        </a:cubicBezTo>
                        <a:cubicBezTo>
                          <a:pt x="44" y="27"/>
                          <a:pt x="44" y="27"/>
                          <a:pt x="44" y="27"/>
                        </a:cubicBezTo>
                        <a:cubicBezTo>
                          <a:pt x="44" y="27"/>
                          <a:pt x="44" y="27"/>
                          <a:pt x="44" y="27"/>
                        </a:cubicBezTo>
                        <a:cubicBezTo>
                          <a:pt x="44" y="27"/>
                          <a:pt x="44" y="27"/>
                          <a:pt x="44" y="27"/>
                        </a:cubicBezTo>
                        <a:close/>
                        <a:moveTo>
                          <a:pt x="48" y="28"/>
                        </a:moveTo>
                        <a:cubicBezTo>
                          <a:pt x="48" y="28"/>
                          <a:pt x="47" y="28"/>
                          <a:pt x="47" y="28"/>
                        </a:cubicBezTo>
                        <a:cubicBezTo>
                          <a:pt x="47" y="28"/>
                          <a:pt x="47" y="28"/>
                          <a:pt x="47" y="28"/>
                        </a:cubicBezTo>
                        <a:cubicBezTo>
                          <a:pt x="47" y="28"/>
                          <a:pt x="47" y="28"/>
                          <a:pt x="48" y="28"/>
                        </a:cubicBezTo>
                        <a:close/>
                        <a:moveTo>
                          <a:pt x="43" y="26"/>
                        </a:moveTo>
                        <a:cubicBezTo>
                          <a:pt x="43" y="26"/>
                          <a:pt x="43" y="26"/>
                          <a:pt x="43" y="26"/>
                        </a:cubicBezTo>
                        <a:cubicBezTo>
                          <a:pt x="43" y="26"/>
                          <a:pt x="43" y="26"/>
                          <a:pt x="43" y="26"/>
                        </a:cubicBezTo>
                        <a:cubicBezTo>
                          <a:pt x="43" y="26"/>
                          <a:pt x="43" y="26"/>
                          <a:pt x="43" y="26"/>
                        </a:cubicBezTo>
                        <a:close/>
                        <a:moveTo>
                          <a:pt x="47" y="28"/>
                        </a:moveTo>
                        <a:cubicBezTo>
                          <a:pt x="47" y="28"/>
                          <a:pt x="47" y="28"/>
                          <a:pt x="47" y="28"/>
                        </a:cubicBezTo>
                        <a:cubicBezTo>
                          <a:pt x="47" y="28"/>
                          <a:pt x="47" y="28"/>
                          <a:pt x="47" y="28"/>
                        </a:cubicBezTo>
                        <a:cubicBezTo>
                          <a:pt x="47" y="28"/>
                          <a:pt x="47" y="28"/>
                          <a:pt x="47" y="28"/>
                        </a:cubicBezTo>
                        <a:close/>
                        <a:moveTo>
                          <a:pt x="44" y="27"/>
                        </a:moveTo>
                        <a:cubicBezTo>
                          <a:pt x="43" y="27"/>
                          <a:pt x="43" y="27"/>
                          <a:pt x="44" y="27"/>
                        </a:cubicBezTo>
                        <a:cubicBezTo>
                          <a:pt x="44" y="27"/>
                          <a:pt x="44" y="27"/>
                          <a:pt x="44" y="27"/>
                        </a:cubicBezTo>
                        <a:close/>
                        <a:moveTo>
                          <a:pt x="52" y="31"/>
                        </a:move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2" y="32"/>
                          <a:pt x="52" y="32"/>
                        </a:cubicBezTo>
                        <a:cubicBezTo>
                          <a:pt x="52" y="32"/>
                          <a:pt x="52" y="32"/>
                          <a:pt x="52" y="32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lose/>
                        <a:moveTo>
                          <a:pt x="46" y="29"/>
                        </a:moveTo>
                        <a:cubicBezTo>
                          <a:pt x="46" y="29"/>
                          <a:pt x="46" y="30"/>
                          <a:pt x="46" y="30"/>
                        </a:cubicBezTo>
                        <a:cubicBezTo>
                          <a:pt x="46" y="29"/>
                          <a:pt x="46" y="29"/>
                          <a:pt x="46" y="29"/>
                        </a:cubicBezTo>
                        <a:close/>
                        <a:moveTo>
                          <a:pt x="43" y="27"/>
                        </a:moveTo>
                        <a:cubicBezTo>
                          <a:pt x="43" y="27"/>
                          <a:pt x="43" y="27"/>
                          <a:pt x="43" y="27"/>
                        </a:cubicBezTo>
                        <a:cubicBezTo>
                          <a:pt x="43" y="27"/>
                          <a:pt x="43" y="27"/>
                          <a:pt x="43" y="27"/>
                        </a:cubicBezTo>
                        <a:close/>
                        <a:moveTo>
                          <a:pt x="41" y="26"/>
                        </a:moveTo>
                        <a:cubicBezTo>
                          <a:pt x="41" y="26"/>
                          <a:pt x="41" y="26"/>
                          <a:pt x="41" y="26"/>
                        </a:cubicBezTo>
                        <a:cubicBezTo>
                          <a:pt x="41" y="26"/>
                          <a:pt x="41" y="26"/>
                          <a:pt x="41" y="26"/>
                        </a:cubicBezTo>
                        <a:cubicBezTo>
                          <a:pt x="41" y="26"/>
                          <a:pt x="40" y="26"/>
                          <a:pt x="41" y="26"/>
                        </a:cubicBezTo>
                        <a:close/>
                        <a:moveTo>
                          <a:pt x="52" y="32"/>
                        </a:moveTo>
                        <a:cubicBezTo>
                          <a:pt x="51" y="32"/>
                          <a:pt x="51" y="32"/>
                          <a:pt x="51" y="32"/>
                        </a:cubicBezTo>
                        <a:cubicBezTo>
                          <a:pt x="51" y="32"/>
                          <a:pt x="52" y="32"/>
                          <a:pt x="52" y="32"/>
                        </a:cubicBezTo>
                        <a:cubicBezTo>
                          <a:pt x="52" y="32"/>
                          <a:pt x="51" y="32"/>
                          <a:pt x="52" y="32"/>
                        </a:cubicBezTo>
                        <a:close/>
                        <a:moveTo>
                          <a:pt x="47" y="30"/>
                        </a:moveTo>
                        <a:cubicBezTo>
                          <a:pt x="47" y="30"/>
                          <a:pt x="47" y="30"/>
                          <a:pt x="47" y="30"/>
                        </a:cubicBezTo>
                        <a:cubicBezTo>
                          <a:pt x="47" y="30"/>
                          <a:pt x="47" y="30"/>
                          <a:pt x="47" y="30"/>
                        </a:cubicBezTo>
                        <a:cubicBezTo>
                          <a:pt x="47" y="30"/>
                          <a:pt x="47" y="30"/>
                          <a:pt x="47" y="30"/>
                        </a:cubicBezTo>
                        <a:cubicBezTo>
                          <a:pt x="47" y="30"/>
                          <a:pt x="47" y="30"/>
                          <a:pt x="47" y="30"/>
                        </a:cubicBezTo>
                        <a:close/>
                        <a:moveTo>
                          <a:pt x="44" y="28"/>
                        </a:moveTo>
                        <a:cubicBezTo>
                          <a:pt x="44" y="28"/>
                          <a:pt x="44" y="28"/>
                          <a:pt x="44" y="28"/>
                        </a:cubicBezTo>
                        <a:cubicBezTo>
                          <a:pt x="44" y="28"/>
                          <a:pt x="44" y="28"/>
                          <a:pt x="44" y="28"/>
                        </a:cubicBezTo>
                        <a:cubicBezTo>
                          <a:pt x="44" y="28"/>
                          <a:pt x="44" y="28"/>
                          <a:pt x="44" y="28"/>
                        </a:cubicBezTo>
                        <a:close/>
                        <a:moveTo>
                          <a:pt x="46" y="30"/>
                        </a:moveTo>
                        <a:cubicBezTo>
                          <a:pt x="46" y="30"/>
                          <a:pt x="46" y="30"/>
                          <a:pt x="46" y="30"/>
                        </a:cubicBezTo>
                        <a:cubicBezTo>
                          <a:pt x="46" y="30"/>
                          <a:pt x="46" y="30"/>
                          <a:pt x="46" y="30"/>
                        </a:cubicBezTo>
                        <a:cubicBezTo>
                          <a:pt x="46" y="30"/>
                          <a:pt x="46" y="30"/>
                          <a:pt x="46" y="30"/>
                        </a:cubicBezTo>
                        <a:cubicBezTo>
                          <a:pt x="46" y="30"/>
                          <a:pt x="46" y="30"/>
                          <a:pt x="46" y="30"/>
                        </a:cubicBezTo>
                        <a:cubicBezTo>
                          <a:pt x="46" y="30"/>
                          <a:pt x="46" y="30"/>
                          <a:pt x="46" y="30"/>
                        </a:cubicBezTo>
                        <a:close/>
                        <a:moveTo>
                          <a:pt x="42" y="28"/>
                        </a:moveTo>
                        <a:cubicBezTo>
                          <a:pt x="42" y="28"/>
                          <a:pt x="42" y="28"/>
                          <a:pt x="42" y="28"/>
                        </a:cubicBezTo>
                        <a:cubicBezTo>
                          <a:pt x="42" y="28"/>
                          <a:pt x="42" y="28"/>
                          <a:pt x="42" y="28"/>
                        </a:cubicBezTo>
                        <a:close/>
                        <a:moveTo>
                          <a:pt x="44" y="29"/>
                        </a:moveTo>
                        <a:cubicBezTo>
                          <a:pt x="44" y="29"/>
                          <a:pt x="44" y="29"/>
                          <a:pt x="44" y="29"/>
                        </a:cubicBezTo>
                        <a:cubicBezTo>
                          <a:pt x="44" y="29"/>
                          <a:pt x="44" y="29"/>
                          <a:pt x="44" y="29"/>
                        </a:cubicBezTo>
                        <a:cubicBezTo>
                          <a:pt x="44" y="29"/>
                          <a:pt x="44" y="29"/>
                          <a:pt x="44" y="29"/>
                        </a:cubicBezTo>
                        <a:cubicBezTo>
                          <a:pt x="44" y="29"/>
                          <a:pt x="44" y="29"/>
                          <a:pt x="44" y="29"/>
                        </a:cubicBezTo>
                        <a:close/>
                        <a:moveTo>
                          <a:pt x="44" y="29"/>
                        </a:moveTo>
                        <a:cubicBezTo>
                          <a:pt x="44" y="29"/>
                          <a:pt x="44" y="30"/>
                          <a:pt x="44" y="30"/>
                        </a:cubicBezTo>
                        <a:cubicBezTo>
                          <a:pt x="44" y="30"/>
                          <a:pt x="44" y="30"/>
                          <a:pt x="44" y="30"/>
                        </a:cubicBezTo>
                        <a:cubicBezTo>
                          <a:pt x="44" y="29"/>
                          <a:pt x="44" y="29"/>
                          <a:pt x="44" y="29"/>
                        </a:cubicBezTo>
                        <a:close/>
                        <a:moveTo>
                          <a:pt x="46" y="31"/>
                        </a:moveTo>
                        <a:cubicBezTo>
                          <a:pt x="46" y="31"/>
                          <a:pt x="46" y="31"/>
                          <a:pt x="46" y="31"/>
                        </a:cubicBezTo>
                        <a:cubicBezTo>
                          <a:pt x="46" y="31"/>
                          <a:pt x="46" y="31"/>
                          <a:pt x="46" y="31"/>
                        </a:cubicBezTo>
                        <a:cubicBezTo>
                          <a:pt x="46" y="31"/>
                          <a:pt x="47" y="31"/>
                          <a:pt x="46" y="31"/>
                        </a:cubicBezTo>
                        <a:close/>
                        <a:moveTo>
                          <a:pt x="40" y="28"/>
                        </a:moveTo>
                        <a:cubicBezTo>
                          <a:pt x="40" y="28"/>
                          <a:pt x="40" y="28"/>
                          <a:pt x="40" y="29"/>
                        </a:cubicBezTo>
                        <a:cubicBezTo>
                          <a:pt x="39" y="29"/>
                          <a:pt x="40" y="28"/>
                          <a:pt x="39" y="28"/>
                        </a:cubicBezTo>
                        <a:cubicBezTo>
                          <a:pt x="39" y="28"/>
                          <a:pt x="39" y="28"/>
                          <a:pt x="39" y="28"/>
                        </a:cubicBezTo>
                        <a:cubicBezTo>
                          <a:pt x="39" y="28"/>
                          <a:pt x="39" y="28"/>
                          <a:pt x="39" y="28"/>
                        </a:cubicBezTo>
                        <a:cubicBezTo>
                          <a:pt x="39" y="28"/>
                          <a:pt x="40" y="28"/>
                          <a:pt x="39" y="28"/>
                        </a:cubicBezTo>
                        <a:cubicBezTo>
                          <a:pt x="39" y="28"/>
                          <a:pt x="40" y="28"/>
                          <a:pt x="40" y="28"/>
                        </a:cubicBezTo>
                        <a:cubicBezTo>
                          <a:pt x="40" y="28"/>
                          <a:pt x="40" y="28"/>
                          <a:pt x="40" y="28"/>
                        </a:cubicBezTo>
                        <a:close/>
                        <a:moveTo>
                          <a:pt x="46" y="32"/>
                        </a:moveTo>
                        <a:cubicBezTo>
                          <a:pt x="46" y="32"/>
                          <a:pt x="46" y="32"/>
                          <a:pt x="46" y="32"/>
                        </a:cubicBezTo>
                        <a:cubicBezTo>
                          <a:pt x="46" y="32"/>
                          <a:pt x="46" y="32"/>
                          <a:pt x="46" y="32"/>
                        </a:cubicBezTo>
                        <a:cubicBezTo>
                          <a:pt x="46" y="32"/>
                          <a:pt x="46" y="32"/>
                          <a:pt x="46" y="32"/>
                        </a:cubicBezTo>
                        <a:cubicBezTo>
                          <a:pt x="46" y="32"/>
                          <a:pt x="46" y="32"/>
                          <a:pt x="46" y="32"/>
                        </a:cubicBezTo>
                        <a:close/>
                        <a:moveTo>
                          <a:pt x="49" y="33"/>
                        </a:moveTo>
                        <a:cubicBezTo>
                          <a:pt x="49" y="33"/>
                          <a:pt x="49" y="34"/>
                          <a:pt x="49" y="34"/>
                        </a:cubicBezTo>
                        <a:cubicBezTo>
                          <a:pt x="49" y="34"/>
                          <a:pt x="49" y="33"/>
                          <a:pt x="49" y="33"/>
                        </a:cubicBezTo>
                        <a:close/>
                        <a:moveTo>
                          <a:pt x="46" y="32"/>
                        </a:moveTo>
                        <a:cubicBezTo>
                          <a:pt x="46" y="32"/>
                          <a:pt x="46" y="32"/>
                          <a:pt x="46" y="32"/>
                        </a:cubicBezTo>
                        <a:cubicBezTo>
                          <a:pt x="46" y="32"/>
                          <a:pt x="46" y="32"/>
                          <a:pt x="46" y="32"/>
                        </a:cubicBezTo>
                        <a:cubicBezTo>
                          <a:pt x="46" y="32"/>
                          <a:pt x="46" y="32"/>
                          <a:pt x="46" y="32"/>
                        </a:cubicBezTo>
                        <a:cubicBezTo>
                          <a:pt x="46" y="32"/>
                          <a:pt x="46" y="32"/>
                          <a:pt x="46" y="32"/>
                        </a:cubicBezTo>
                        <a:close/>
                        <a:moveTo>
                          <a:pt x="43" y="31"/>
                        </a:moveTo>
                        <a:cubicBezTo>
                          <a:pt x="43" y="31"/>
                          <a:pt x="43" y="31"/>
                          <a:pt x="43" y="31"/>
                        </a:cubicBezTo>
                        <a:cubicBezTo>
                          <a:pt x="43" y="31"/>
                          <a:pt x="43" y="31"/>
                          <a:pt x="43" y="31"/>
                        </a:cubicBezTo>
                        <a:cubicBezTo>
                          <a:pt x="43" y="31"/>
                          <a:pt x="43" y="31"/>
                          <a:pt x="43" y="31"/>
                        </a:cubicBezTo>
                        <a:close/>
                        <a:moveTo>
                          <a:pt x="41" y="30"/>
                        </a:moveTo>
                        <a:cubicBezTo>
                          <a:pt x="41" y="30"/>
                          <a:pt x="41" y="30"/>
                          <a:pt x="41" y="30"/>
                        </a:cubicBezTo>
                        <a:cubicBezTo>
                          <a:pt x="41" y="30"/>
                          <a:pt x="41" y="30"/>
                          <a:pt x="41" y="30"/>
                        </a:cubicBezTo>
                        <a:close/>
                        <a:moveTo>
                          <a:pt x="45" y="32"/>
                        </a:moveTo>
                        <a:cubicBezTo>
                          <a:pt x="45" y="32"/>
                          <a:pt x="45" y="32"/>
                          <a:pt x="45" y="32"/>
                        </a:cubicBezTo>
                        <a:cubicBezTo>
                          <a:pt x="45" y="32"/>
                          <a:pt x="45" y="32"/>
                          <a:pt x="45" y="32"/>
                        </a:cubicBezTo>
                        <a:close/>
                        <a:moveTo>
                          <a:pt x="46" y="33"/>
                        </a:moveTo>
                        <a:cubicBezTo>
                          <a:pt x="46" y="33"/>
                          <a:pt x="46" y="33"/>
                          <a:pt x="46" y="32"/>
                        </a:cubicBezTo>
                        <a:cubicBezTo>
                          <a:pt x="46" y="32"/>
                          <a:pt x="46" y="33"/>
                          <a:pt x="46" y="33"/>
                        </a:cubicBezTo>
                        <a:cubicBezTo>
                          <a:pt x="46" y="33"/>
                          <a:pt x="46" y="33"/>
                          <a:pt x="46" y="33"/>
                        </a:cubicBezTo>
                        <a:close/>
                        <a:moveTo>
                          <a:pt x="44" y="32"/>
                        </a:moveTo>
                        <a:cubicBezTo>
                          <a:pt x="44" y="32"/>
                          <a:pt x="45" y="32"/>
                          <a:pt x="45" y="32"/>
                        </a:cubicBezTo>
                        <a:cubicBezTo>
                          <a:pt x="45" y="32"/>
                          <a:pt x="45" y="32"/>
                          <a:pt x="45" y="32"/>
                        </a:cubicBezTo>
                        <a:cubicBezTo>
                          <a:pt x="45" y="32"/>
                          <a:pt x="45" y="32"/>
                          <a:pt x="45" y="32"/>
                        </a:cubicBezTo>
                        <a:cubicBezTo>
                          <a:pt x="45" y="32"/>
                          <a:pt x="44" y="32"/>
                          <a:pt x="44" y="32"/>
                        </a:cubicBezTo>
                        <a:cubicBezTo>
                          <a:pt x="44" y="32"/>
                          <a:pt x="45" y="32"/>
                          <a:pt x="44" y="32"/>
                        </a:cubicBezTo>
                        <a:close/>
                        <a:moveTo>
                          <a:pt x="47" y="33"/>
                        </a:moveTo>
                        <a:cubicBezTo>
                          <a:pt x="47" y="33"/>
                          <a:pt x="47" y="33"/>
                          <a:pt x="47" y="33"/>
                        </a:cubicBezTo>
                        <a:cubicBezTo>
                          <a:pt x="47" y="33"/>
                          <a:pt x="47" y="34"/>
                          <a:pt x="47" y="33"/>
                        </a:cubicBezTo>
                        <a:close/>
                        <a:moveTo>
                          <a:pt x="43" y="32"/>
                        </a:moveTo>
                        <a:cubicBezTo>
                          <a:pt x="43" y="32"/>
                          <a:pt x="43" y="32"/>
                          <a:pt x="43" y="32"/>
                        </a:cubicBezTo>
                        <a:cubicBezTo>
                          <a:pt x="43" y="32"/>
                          <a:pt x="43" y="32"/>
                          <a:pt x="43" y="32"/>
                        </a:cubicBezTo>
                        <a:cubicBezTo>
                          <a:pt x="43" y="32"/>
                          <a:pt x="43" y="32"/>
                          <a:pt x="43" y="32"/>
                        </a:cubicBezTo>
                        <a:close/>
                        <a:moveTo>
                          <a:pt x="45" y="34"/>
                        </a:moveTo>
                        <a:cubicBezTo>
                          <a:pt x="45" y="34"/>
                          <a:pt x="45" y="33"/>
                          <a:pt x="45" y="33"/>
                        </a:cubicBezTo>
                        <a:cubicBezTo>
                          <a:pt x="46" y="33"/>
                          <a:pt x="45" y="33"/>
                          <a:pt x="45" y="33"/>
                        </a:cubicBezTo>
                        <a:cubicBezTo>
                          <a:pt x="45" y="33"/>
                          <a:pt x="45" y="34"/>
                          <a:pt x="45" y="34"/>
                        </a:cubicBezTo>
                        <a:close/>
                        <a:moveTo>
                          <a:pt x="41" y="31"/>
                        </a:moveTo>
                        <a:cubicBezTo>
                          <a:pt x="41" y="31"/>
                          <a:pt x="41" y="31"/>
                          <a:pt x="41" y="31"/>
                        </a:cubicBezTo>
                        <a:cubicBezTo>
                          <a:pt x="41" y="31"/>
                          <a:pt x="41" y="31"/>
                          <a:pt x="41" y="31"/>
                        </a:cubicBezTo>
                        <a:cubicBezTo>
                          <a:pt x="41" y="31"/>
                          <a:pt x="41" y="31"/>
                          <a:pt x="41" y="31"/>
                        </a:cubicBezTo>
                        <a:cubicBezTo>
                          <a:pt x="41" y="31"/>
                          <a:pt x="41" y="31"/>
                          <a:pt x="41" y="31"/>
                        </a:cubicBezTo>
                        <a:cubicBezTo>
                          <a:pt x="41" y="31"/>
                          <a:pt x="41" y="31"/>
                          <a:pt x="41" y="31"/>
                        </a:cubicBezTo>
                        <a:close/>
                        <a:moveTo>
                          <a:pt x="44" y="33"/>
                        </a:moveTo>
                        <a:cubicBezTo>
                          <a:pt x="44" y="33"/>
                          <a:pt x="44" y="33"/>
                          <a:pt x="44" y="33"/>
                        </a:cubicBezTo>
                        <a:cubicBezTo>
                          <a:pt x="44" y="33"/>
                          <a:pt x="44" y="33"/>
                          <a:pt x="44" y="33"/>
                        </a:cubicBezTo>
                        <a:cubicBezTo>
                          <a:pt x="44" y="33"/>
                          <a:pt x="44" y="33"/>
                          <a:pt x="44" y="33"/>
                        </a:cubicBezTo>
                        <a:cubicBezTo>
                          <a:pt x="44" y="33"/>
                          <a:pt x="44" y="33"/>
                          <a:pt x="44" y="33"/>
                        </a:cubicBezTo>
                        <a:cubicBezTo>
                          <a:pt x="44" y="33"/>
                          <a:pt x="44" y="33"/>
                          <a:pt x="44" y="33"/>
                        </a:cubicBezTo>
                        <a:close/>
                        <a:moveTo>
                          <a:pt x="44" y="33"/>
                        </a:moveTo>
                        <a:cubicBezTo>
                          <a:pt x="44" y="33"/>
                          <a:pt x="44" y="34"/>
                          <a:pt x="44" y="34"/>
                        </a:cubicBezTo>
                        <a:cubicBezTo>
                          <a:pt x="44" y="34"/>
                          <a:pt x="44" y="33"/>
                          <a:pt x="44" y="33"/>
                        </a:cubicBezTo>
                        <a:close/>
                        <a:moveTo>
                          <a:pt x="39" y="31"/>
                        </a:moveTo>
                        <a:cubicBezTo>
                          <a:pt x="39" y="31"/>
                          <a:pt x="39" y="31"/>
                          <a:pt x="39" y="31"/>
                        </a:cubicBezTo>
                        <a:cubicBezTo>
                          <a:pt x="39" y="31"/>
                          <a:pt x="39" y="31"/>
                          <a:pt x="39" y="31"/>
                        </a:cubicBezTo>
                        <a:cubicBezTo>
                          <a:pt x="39" y="31"/>
                          <a:pt x="39" y="31"/>
                          <a:pt x="39" y="31"/>
                        </a:cubicBezTo>
                        <a:close/>
                        <a:moveTo>
                          <a:pt x="42" y="33"/>
                        </a:moveTo>
                        <a:cubicBezTo>
                          <a:pt x="42" y="33"/>
                          <a:pt x="42" y="33"/>
                          <a:pt x="42" y="33"/>
                        </a:cubicBezTo>
                        <a:cubicBezTo>
                          <a:pt x="43" y="33"/>
                          <a:pt x="43" y="33"/>
                          <a:pt x="43" y="33"/>
                        </a:cubicBezTo>
                        <a:cubicBezTo>
                          <a:pt x="43" y="33"/>
                          <a:pt x="43" y="33"/>
                          <a:pt x="42" y="33"/>
                        </a:cubicBezTo>
                        <a:close/>
                        <a:moveTo>
                          <a:pt x="45" y="34"/>
                        </a:moveTo>
                        <a:cubicBezTo>
                          <a:pt x="45" y="34"/>
                          <a:pt x="45" y="34"/>
                          <a:pt x="45" y="34"/>
                        </a:cubicBezTo>
                        <a:cubicBezTo>
                          <a:pt x="45" y="34"/>
                          <a:pt x="45" y="34"/>
                          <a:pt x="45" y="34"/>
                        </a:cubicBezTo>
                        <a:close/>
                        <a:moveTo>
                          <a:pt x="40" y="32"/>
                        </a:moveTo>
                        <a:cubicBezTo>
                          <a:pt x="40" y="32"/>
                          <a:pt x="40" y="32"/>
                          <a:pt x="40" y="32"/>
                        </a:cubicBezTo>
                        <a:cubicBezTo>
                          <a:pt x="40" y="32"/>
                          <a:pt x="40" y="32"/>
                          <a:pt x="40" y="32"/>
                        </a:cubicBezTo>
                        <a:cubicBezTo>
                          <a:pt x="40" y="32"/>
                          <a:pt x="40" y="32"/>
                          <a:pt x="40" y="32"/>
                        </a:cubicBezTo>
                        <a:close/>
                        <a:moveTo>
                          <a:pt x="42" y="33"/>
                        </a:moveTo>
                        <a:cubicBezTo>
                          <a:pt x="42" y="33"/>
                          <a:pt x="42" y="33"/>
                          <a:pt x="42" y="33"/>
                        </a:cubicBezTo>
                        <a:cubicBezTo>
                          <a:pt x="42" y="33"/>
                          <a:pt x="42" y="33"/>
                          <a:pt x="42" y="33"/>
                        </a:cubicBezTo>
                        <a:close/>
                        <a:moveTo>
                          <a:pt x="44" y="34"/>
                        </a:moveTo>
                        <a:cubicBezTo>
                          <a:pt x="43" y="34"/>
                          <a:pt x="43" y="34"/>
                          <a:pt x="43" y="34"/>
                        </a:cubicBezTo>
                        <a:cubicBezTo>
                          <a:pt x="43" y="34"/>
                          <a:pt x="43" y="34"/>
                          <a:pt x="43" y="34"/>
                        </a:cubicBezTo>
                        <a:cubicBezTo>
                          <a:pt x="43" y="35"/>
                          <a:pt x="43" y="34"/>
                          <a:pt x="43" y="34"/>
                        </a:cubicBezTo>
                        <a:cubicBezTo>
                          <a:pt x="43" y="34"/>
                          <a:pt x="43" y="34"/>
                          <a:pt x="43" y="34"/>
                        </a:cubicBezTo>
                        <a:cubicBezTo>
                          <a:pt x="43" y="34"/>
                          <a:pt x="43" y="34"/>
                          <a:pt x="44" y="34"/>
                        </a:cubicBezTo>
                        <a:close/>
                        <a:moveTo>
                          <a:pt x="46" y="36"/>
                        </a:moveTo>
                        <a:cubicBezTo>
                          <a:pt x="46" y="36"/>
                          <a:pt x="46" y="36"/>
                          <a:pt x="47" y="35"/>
                        </a:cubicBezTo>
                        <a:cubicBezTo>
                          <a:pt x="47" y="36"/>
                          <a:pt x="47" y="36"/>
                          <a:pt x="47" y="36"/>
                        </a:cubicBezTo>
                        <a:cubicBezTo>
                          <a:pt x="46" y="36"/>
                          <a:pt x="46" y="36"/>
                          <a:pt x="46" y="36"/>
                        </a:cubicBezTo>
                        <a:close/>
                        <a:moveTo>
                          <a:pt x="41" y="33"/>
                        </a:moveTo>
                        <a:cubicBezTo>
                          <a:pt x="41" y="33"/>
                          <a:pt x="41" y="33"/>
                          <a:pt x="41" y="33"/>
                        </a:cubicBezTo>
                        <a:cubicBezTo>
                          <a:pt x="41" y="33"/>
                          <a:pt x="41" y="33"/>
                          <a:pt x="41" y="33"/>
                        </a:cubicBezTo>
                        <a:cubicBezTo>
                          <a:pt x="40" y="33"/>
                          <a:pt x="40" y="33"/>
                          <a:pt x="41" y="33"/>
                        </a:cubicBezTo>
                        <a:close/>
                        <a:moveTo>
                          <a:pt x="49" y="37"/>
                        </a:moveTo>
                        <a:cubicBezTo>
                          <a:pt x="49" y="37"/>
                          <a:pt x="49" y="37"/>
                          <a:pt x="48" y="37"/>
                        </a:cubicBezTo>
                        <a:cubicBezTo>
                          <a:pt x="48" y="37"/>
                          <a:pt x="48" y="37"/>
                          <a:pt x="48" y="37"/>
                        </a:cubicBezTo>
                        <a:cubicBezTo>
                          <a:pt x="48" y="37"/>
                          <a:pt x="48" y="37"/>
                          <a:pt x="48" y="37"/>
                        </a:cubicBezTo>
                        <a:cubicBezTo>
                          <a:pt x="48" y="37"/>
                          <a:pt x="48" y="37"/>
                          <a:pt x="48" y="37"/>
                        </a:cubicBezTo>
                        <a:cubicBezTo>
                          <a:pt x="48" y="37"/>
                          <a:pt x="48" y="37"/>
                          <a:pt x="49" y="37"/>
                        </a:cubicBezTo>
                        <a:close/>
                        <a:moveTo>
                          <a:pt x="42" y="34"/>
                        </a:moveTo>
                        <a:cubicBezTo>
                          <a:pt x="42" y="34"/>
                          <a:pt x="42" y="34"/>
                          <a:pt x="42" y="34"/>
                        </a:cubicBezTo>
                        <a:cubicBezTo>
                          <a:pt x="42" y="34"/>
                          <a:pt x="42" y="34"/>
                          <a:pt x="42" y="34"/>
                        </a:cubicBezTo>
                        <a:cubicBezTo>
                          <a:pt x="42" y="34"/>
                          <a:pt x="42" y="34"/>
                          <a:pt x="42" y="34"/>
                        </a:cubicBezTo>
                        <a:close/>
                        <a:moveTo>
                          <a:pt x="41" y="34"/>
                        </a:moveTo>
                        <a:cubicBezTo>
                          <a:pt x="42" y="34"/>
                          <a:pt x="42" y="34"/>
                          <a:pt x="42" y="34"/>
                        </a:cubicBezTo>
                        <a:cubicBezTo>
                          <a:pt x="41" y="34"/>
                          <a:pt x="41" y="34"/>
                          <a:pt x="42" y="34"/>
                        </a:cubicBezTo>
                        <a:cubicBezTo>
                          <a:pt x="42" y="34"/>
                          <a:pt x="41" y="34"/>
                          <a:pt x="41" y="34"/>
                        </a:cubicBezTo>
                        <a:cubicBezTo>
                          <a:pt x="41" y="34"/>
                          <a:pt x="41" y="34"/>
                          <a:pt x="41" y="34"/>
                        </a:cubicBezTo>
                        <a:close/>
                        <a:moveTo>
                          <a:pt x="41" y="34"/>
                        </a:moveTo>
                        <a:cubicBezTo>
                          <a:pt x="41" y="34"/>
                          <a:pt x="41" y="34"/>
                          <a:pt x="41" y="34"/>
                        </a:cubicBezTo>
                        <a:cubicBezTo>
                          <a:pt x="41" y="34"/>
                          <a:pt x="41" y="34"/>
                          <a:pt x="41" y="34"/>
                        </a:cubicBezTo>
                        <a:cubicBezTo>
                          <a:pt x="41" y="34"/>
                          <a:pt x="41" y="34"/>
                          <a:pt x="41" y="34"/>
                        </a:cubicBezTo>
                        <a:cubicBezTo>
                          <a:pt x="41" y="34"/>
                          <a:pt x="41" y="34"/>
                          <a:pt x="41" y="34"/>
                        </a:cubicBezTo>
                        <a:close/>
                        <a:moveTo>
                          <a:pt x="43" y="35"/>
                        </a:moveTo>
                        <a:cubicBezTo>
                          <a:pt x="43" y="35"/>
                          <a:pt x="43" y="35"/>
                          <a:pt x="43" y="36"/>
                        </a:cubicBezTo>
                        <a:cubicBezTo>
                          <a:pt x="43" y="36"/>
                          <a:pt x="43" y="36"/>
                          <a:pt x="43" y="36"/>
                        </a:cubicBezTo>
                        <a:cubicBezTo>
                          <a:pt x="43" y="36"/>
                          <a:pt x="43" y="36"/>
                          <a:pt x="43" y="36"/>
                        </a:cubicBezTo>
                        <a:cubicBezTo>
                          <a:pt x="43" y="36"/>
                          <a:pt x="43" y="35"/>
                          <a:pt x="43" y="35"/>
                        </a:cubicBezTo>
                        <a:cubicBezTo>
                          <a:pt x="43" y="35"/>
                          <a:pt x="43" y="35"/>
                          <a:pt x="43" y="35"/>
                        </a:cubicBezTo>
                        <a:cubicBezTo>
                          <a:pt x="43" y="35"/>
                          <a:pt x="43" y="35"/>
                          <a:pt x="43" y="35"/>
                        </a:cubicBezTo>
                        <a:close/>
                        <a:moveTo>
                          <a:pt x="48" y="38"/>
                        </a:moveTo>
                        <a:cubicBezTo>
                          <a:pt x="48" y="38"/>
                          <a:pt x="48" y="38"/>
                          <a:pt x="49" y="38"/>
                        </a:cubicBezTo>
                        <a:cubicBezTo>
                          <a:pt x="49" y="38"/>
                          <a:pt x="48" y="38"/>
                          <a:pt x="48" y="38"/>
                        </a:cubicBezTo>
                        <a:close/>
                        <a:moveTo>
                          <a:pt x="41" y="35"/>
                        </a:moveTo>
                        <a:cubicBezTo>
                          <a:pt x="41" y="35"/>
                          <a:pt x="41" y="35"/>
                          <a:pt x="41" y="35"/>
                        </a:cubicBezTo>
                        <a:cubicBezTo>
                          <a:pt x="41" y="35"/>
                          <a:pt x="41" y="34"/>
                          <a:pt x="42" y="35"/>
                        </a:cubicBezTo>
                        <a:cubicBezTo>
                          <a:pt x="42" y="35"/>
                          <a:pt x="41" y="35"/>
                          <a:pt x="41" y="35"/>
                        </a:cubicBezTo>
                        <a:close/>
                        <a:moveTo>
                          <a:pt x="42" y="36"/>
                        </a:moveTo>
                        <a:cubicBezTo>
                          <a:pt x="42" y="36"/>
                          <a:pt x="42" y="35"/>
                          <a:pt x="42" y="35"/>
                        </a:cubicBezTo>
                        <a:cubicBezTo>
                          <a:pt x="42" y="35"/>
                          <a:pt x="42" y="36"/>
                          <a:pt x="42" y="36"/>
                        </a:cubicBezTo>
                        <a:close/>
                        <a:moveTo>
                          <a:pt x="44" y="37"/>
                        </a:moveTo>
                        <a:cubicBezTo>
                          <a:pt x="44" y="37"/>
                          <a:pt x="44" y="37"/>
                          <a:pt x="44" y="36"/>
                        </a:cubicBezTo>
                        <a:cubicBezTo>
                          <a:pt x="44" y="36"/>
                          <a:pt x="44" y="37"/>
                          <a:pt x="44" y="37"/>
                        </a:cubicBezTo>
                        <a:cubicBezTo>
                          <a:pt x="44" y="37"/>
                          <a:pt x="44" y="37"/>
                          <a:pt x="44" y="37"/>
                        </a:cubicBezTo>
                        <a:cubicBezTo>
                          <a:pt x="44" y="37"/>
                          <a:pt x="44" y="36"/>
                          <a:pt x="44" y="37"/>
                        </a:cubicBezTo>
                        <a:close/>
                        <a:moveTo>
                          <a:pt x="48" y="38"/>
                        </a:moveTo>
                        <a:cubicBezTo>
                          <a:pt x="48" y="38"/>
                          <a:pt x="48" y="38"/>
                          <a:pt x="48" y="38"/>
                        </a:cubicBezTo>
                        <a:cubicBezTo>
                          <a:pt x="48" y="38"/>
                          <a:pt x="47" y="39"/>
                          <a:pt x="48" y="39"/>
                        </a:cubicBezTo>
                        <a:cubicBezTo>
                          <a:pt x="48" y="39"/>
                          <a:pt x="47" y="39"/>
                          <a:pt x="47" y="39"/>
                        </a:cubicBezTo>
                        <a:cubicBezTo>
                          <a:pt x="47" y="39"/>
                          <a:pt x="47" y="39"/>
                          <a:pt x="48" y="38"/>
                        </a:cubicBezTo>
                        <a:close/>
                        <a:moveTo>
                          <a:pt x="41" y="35"/>
                        </a:moveTo>
                        <a:cubicBezTo>
                          <a:pt x="40" y="35"/>
                          <a:pt x="40" y="36"/>
                          <a:pt x="40" y="36"/>
                        </a:cubicBezTo>
                        <a:cubicBezTo>
                          <a:pt x="40" y="36"/>
                          <a:pt x="40" y="35"/>
                          <a:pt x="41" y="35"/>
                        </a:cubicBezTo>
                        <a:close/>
                        <a:moveTo>
                          <a:pt x="37" y="34"/>
                        </a:moveTo>
                        <a:cubicBezTo>
                          <a:pt x="37" y="33"/>
                          <a:pt x="37" y="33"/>
                          <a:pt x="37" y="33"/>
                        </a:cubicBezTo>
                        <a:cubicBezTo>
                          <a:pt x="37" y="33"/>
                          <a:pt x="37" y="34"/>
                          <a:pt x="37" y="34"/>
                        </a:cubicBezTo>
                        <a:close/>
                        <a:moveTo>
                          <a:pt x="43" y="37"/>
                        </a:moveTo>
                        <a:cubicBezTo>
                          <a:pt x="44" y="37"/>
                          <a:pt x="44" y="37"/>
                          <a:pt x="44" y="37"/>
                        </a:cubicBezTo>
                        <a:cubicBezTo>
                          <a:pt x="44" y="37"/>
                          <a:pt x="44" y="37"/>
                          <a:pt x="43" y="37"/>
                        </a:cubicBezTo>
                        <a:close/>
                        <a:moveTo>
                          <a:pt x="48" y="39"/>
                        </a:moveTo>
                        <a:cubicBezTo>
                          <a:pt x="48" y="39"/>
                          <a:pt x="48" y="39"/>
                          <a:pt x="48" y="39"/>
                        </a:cubicBezTo>
                        <a:cubicBezTo>
                          <a:pt x="48" y="39"/>
                          <a:pt x="48" y="39"/>
                          <a:pt x="48" y="39"/>
                        </a:cubicBezTo>
                        <a:cubicBezTo>
                          <a:pt x="48" y="39"/>
                          <a:pt x="48" y="39"/>
                          <a:pt x="48" y="39"/>
                        </a:cubicBezTo>
                        <a:cubicBezTo>
                          <a:pt x="48" y="39"/>
                          <a:pt x="48" y="39"/>
                          <a:pt x="48" y="39"/>
                        </a:cubicBezTo>
                        <a:close/>
                        <a:moveTo>
                          <a:pt x="47" y="39"/>
                        </a:moveTo>
                        <a:cubicBezTo>
                          <a:pt x="47" y="39"/>
                          <a:pt x="47" y="39"/>
                          <a:pt x="47" y="39"/>
                        </a:cubicBezTo>
                        <a:cubicBezTo>
                          <a:pt x="47" y="39"/>
                          <a:pt x="47" y="39"/>
                          <a:pt x="47" y="39"/>
                        </a:cubicBezTo>
                        <a:cubicBezTo>
                          <a:pt x="47" y="39"/>
                          <a:pt x="47" y="39"/>
                          <a:pt x="47" y="39"/>
                        </a:cubicBezTo>
                        <a:cubicBezTo>
                          <a:pt x="47" y="39"/>
                          <a:pt x="47" y="39"/>
                          <a:pt x="47" y="39"/>
                        </a:cubicBezTo>
                        <a:cubicBezTo>
                          <a:pt x="47" y="40"/>
                          <a:pt x="47" y="40"/>
                          <a:pt x="47" y="40"/>
                        </a:cubicBezTo>
                        <a:cubicBezTo>
                          <a:pt x="47" y="40"/>
                          <a:pt x="47" y="39"/>
                          <a:pt x="47" y="39"/>
                        </a:cubicBezTo>
                        <a:close/>
                        <a:moveTo>
                          <a:pt x="40" y="36"/>
                        </a:moveTo>
                        <a:cubicBezTo>
                          <a:pt x="40" y="36"/>
                          <a:pt x="40" y="36"/>
                          <a:pt x="41" y="36"/>
                        </a:cubicBezTo>
                        <a:cubicBezTo>
                          <a:pt x="41" y="36"/>
                          <a:pt x="40" y="36"/>
                          <a:pt x="40" y="36"/>
                        </a:cubicBezTo>
                        <a:close/>
                        <a:moveTo>
                          <a:pt x="48" y="39"/>
                        </a:moveTo>
                        <a:cubicBezTo>
                          <a:pt x="48" y="39"/>
                          <a:pt x="48" y="40"/>
                          <a:pt x="48" y="40"/>
                        </a:cubicBezTo>
                        <a:cubicBezTo>
                          <a:pt x="47" y="40"/>
                          <a:pt x="48" y="39"/>
                          <a:pt x="48" y="39"/>
                        </a:cubicBezTo>
                        <a:close/>
                        <a:moveTo>
                          <a:pt x="41" y="37"/>
                        </a:moveTo>
                        <a:cubicBezTo>
                          <a:pt x="41" y="37"/>
                          <a:pt x="40" y="37"/>
                          <a:pt x="41" y="36"/>
                        </a:cubicBezTo>
                        <a:cubicBezTo>
                          <a:pt x="41" y="37"/>
                          <a:pt x="41" y="36"/>
                          <a:pt x="41" y="37"/>
                        </a:cubicBezTo>
                        <a:cubicBezTo>
                          <a:pt x="41" y="37"/>
                          <a:pt x="41" y="37"/>
                          <a:pt x="41" y="37"/>
                        </a:cubicBezTo>
                        <a:close/>
                        <a:moveTo>
                          <a:pt x="41" y="37"/>
                        </a:moveTo>
                        <a:cubicBezTo>
                          <a:pt x="42" y="37"/>
                          <a:pt x="41" y="37"/>
                          <a:pt x="42" y="38"/>
                        </a:cubicBezTo>
                        <a:cubicBezTo>
                          <a:pt x="42" y="38"/>
                          <a:pt x="42" y="37"/>
                          <a:pt x="42" y="37"/>
                        </a:cubicBezTo>
                        <a:cubicBezTo>
                          <a:pt x="42" y="37"/>
                          <a:pt x="42" y="37"/>
                          <a:pt x="42" y="37"/>
                        </a:cubicBezTo>
                        <a:cubicBezTo>
                          <a:pt x="42" y="37"/>
                          <a:pt x="42" y="38"/>
                          <a:pt x="42" y="38"/>
                        </a:cubicBezTo>
                        <a:cubicBezTo>
                          <a:pt x="42" y="38"/>
                          <a:pt x="42" y="38"/>
                          <a:pt x="41" y="38"/>
                        </a:cubicBezTo>
                        <a:cubicBezTo>
                          <a:pt x="41" y="38"/>
                          <a:pt x="41" y="38"/>
                          <a:pt x="42" y="38"/>
                        </a:cubicBezTo>
                        <a:cubicBezTo>
                          <a:pt x="41" y="38"/>
                          <a:pt x="41" y="38"/>
                          <a:pt x="41" y="38"/>
                        </a:cubicBezTo>
                        <a:cubicBezTo>
                          <a:pt x="41" y="38"/>
                          <a:pt x="41" y="37"/>
                          <a:pt x="41" y="37"/>
                        </a:cubicBezTo>
                        <a:close/>
                        <a:moveTo>
                          <a:pt x="47" y="40"/>
                        </a:moveTo>
                        <a:cubicBezTo>
                          <a:pt x="47" y="40"/>
                          <a:pt x="47" y="40"/>
                          <a:pt x="48" y="40"/>
                        </a:cubicBezTo>
                        <a:cubicBezTo>
                          <a:pt x="47" y="41"/>
                          <a:pt x="47" y="40"/>
                          <a:pt x="47" y="40"/>
                        </a:cubicBezTo>
                        <a:close/>
                        <a:moveTo>
                          <a:pt x="45" y="40"/>
                        </a:moveTo>
                        <a:cubicBezTo>
                          <a:pt x="45" y="40"/>
                          <a:pt x="45" y="40"/>
                          <a:pt x="45" y="40"/>
                        </a:cubicBezTo>
                        <a:cubicBezTo>
                          <a:pt x="46" y="40"/>
                          <a:pt x="46" y="40"/>
                          <a:pt x="46" y="40"/>
                        </a:cubicBezTo>
                        <a:cubicBezTo>
                          <a:pt x="46" y="40"/>
                          <a:pt x="46" y="40"/>
                          <a:pt x="46" y="40"/>
                        </a:cubicBezTo>
                        <a:cubicBezTo>
                          <a:pt x="46" y="40"/>
                          <a:pt x="46" y="40"/>
                          <a:pt x="46" y="40"/>
                        </a:cubicBezTo>
                        <a:cubicBezTo>
                          <a:pt x="46" y="40"/>
                          <a:pt x="46" y="40"/>
                          <a:pt x="46" y="40"/>
                        </a:cubicBezTo>
                        <a:cubicBezTo>
                          <a:pt x="46" y="40"/>
                          <a:pt x="45" y="40"/>
                          <a:pt x="45" y="40"/>
                        </a:cubicBezTo>
                        <a:cubicBezTo>
                          <a:pt x="45" y="40"/>
                          <a:pt x="45" y="40"/>
                          <a:pt x="45" y="40"/>
                        </a:cubicBezTo>
                        <a:cubicBezTo>
                          <a:pt x="45" y="40"/>
                          <a:pt x="45" y="39"/>
                          <a:pt x="46" y="39"/>
                        </a:cubicBezTo>
                        <a:cubicBezTo>
                          <a:pt x="46" y="39"/>
                          <a:pt x="45" y="40"/>
                          <a:pt x="46" y="40"/>
                        </a:cubicBezTo>
                        <a:cubicBezTo>
                          <a:pt x="45" y="40"/>
                          <a:pt x="45" y="40"/>
                          <a:pt x="45" y="40"/>
                        </a:cubicBezTo>
                        <a:cubicBezTo>
                          <a:pt x="45" y="40"/>
                          <a:pt x="45" y="40"/>
                          <a:pt x="45" y="40"/>
                        </a:cubicBezTo>
                        <a:cubicBezTo>
                          <a:pt x="45" y="40"/>
                          <a:pt x="45" y="40"/>
                          <a:pt x="45" y="40"/>
                        </a:cubicBezTo>
                        <a:cubicBezTo>
                          <a:pt x="45" y="40"/>
                          <a:pt x="45" y="40"/>
                          <a:pt x="45" y="40"/>
                        </a:cubicBezTo>
                        <a:close/>
                        <a:moveTo>
                          <a:pt x="47" y="40"/>
                        </a:moveTo>
                        <a:cubicBezTo>
                          <a:pt x="47" y="40"/>
                          <a:pt x="46" y="40"/>
                          <a:pt x="46" y="40"/>
                        </a:cubicBezTo>
                        <a:cubicBezTo>
                          <a:pt x="47" y="40"/>
                          <a:pt x="47" y="40"/>
                          <a:pt x="47" y="40"/>
                        </a:cubicBezTo>
                        <a:cubicBezTo>
                          <a:pt x="47" y="40"/>
                          <a:pt x="47" y="40"/>
                          <a:pt x="47" y="40"/>
                        </a:cubicBezTo>
                        <a:cubicBezTo>
                          <a:pt x="47" y="40"/>
                          <a:pt x="47" y="40"/>
                          <a:pt x="47" y="40"/>
                        </a:cubicBezTo>
                        <a:cubicBezTo>
                          <a:pt x="47" y="40"/>
                          <a:pt x="47" y="40"/>
                          <a:pt x="47" y="40"/>
                        </a:cubicBezTo>
                        <a:cubicBezTo>
                          <a:pt x="47" y="40"/>
                          <a:pt x="47" y="40"/>
                          <a:pt x="47" y="40"/>
                        </a:cubicBezTo>
                        <a:cubicBezTo>
                          <a:pt x="47" y="40"/>
                          <a:pt x="47" y="41"/>
                          <a:pt x="47" y="41"/>
                        </a:cubicBezTo>
                        <a:cubicBezTo>
                          <a:pt x="46" y="41"/>
                          <a:pt x="46" y="41"/>
                          <a:pt x="46" y="41"/>
                        </a:cubicBezTo>
                        <a:cubicBezTo>
                          <a:pt x="46" y="41"/>
                          <a:pt x="46" y="41"/>
                          <a:pt x="47" y="41"/>
                        </a:cubicBezTo>
                        <a:cubicBezTo>
                          <a:pt x="47" y="40"/>
                          <a:pt x="46" y="41"/>
                          <a:pt x="46" y="40"/>
                        </a:cubicBezTo>
                        <a:cubicBezTo>
                          <a:pt x="46" y="40"/>
                          <a:pt x="47" y="40"/>
                          <a:pt x="47" y="40"/>
                        </a:cubicBezTo>
                        <a:close/>
                        <a:moveTo>
                          <a:pt x="47" y="40"/>
                        </a:moveTo>
                        <a:cubicBezTo>
                          <a:pt x="47" y="41"/>
                          <a:pt x="47" y="41"/>
                          <a:pt x="47" y="41"/>
                        </a:cubicBezTo>
                        <a:cubicBezTo>
                          <a:pt x="47" y="41"/>
                          <a:pt x="47" y="41"/>
                          <a:pt x="47" y="41"/>
                        </a:cubicBezTo>
                        <a:cubicBezTo>
                          <a:pt x="47" y="40"/>
                          <a:pt x="47" y="41"/>
                          <a:pt x="47" y="40"/>
                        </a:cubicBezTo>
                        <a:close/>
                        <a:moveTo>
                          <a:pt x="40" y="37"/>
                        </a:moveTo>
                        <a:cubicBezTo>
                          <a:pt x="40" y="37"/>
                          <a:pt x="40" y="37"/>
                          <a:pt x="40" y="37"/>
                        </a:cubicBezTo>
                        <a:cubicBezTo>
                          <a:pt x="40" y="37"/>
                          <a:pt x="40" y="37"/>
                          <a:pt x="40" y="37"/>
                        </a:cubicBezTo>
                        <a:cubicBezTo>
                          <a:pt x="40" y="37"/>
                          <a:pt x="40" y="37"/>
                          <a:pt x="40" y="37"/>
                        </a:cubicBezTo>
                        <a:close/>
                        <a:moveTo>
                          <a:pt x="36" y="35"/>
                        </a:moveTo>
                        <a:cubicBezTo>
                          <a:pt x="36" y="35"/>
                          <a:pt x="36" y="35"/>
                          <a:pt x="36" y="35"/>
                        </a:cubicBezTo>
                        <a:cubicBezTo>
                          <a:pt x="36" y="35"/>
                          <a:pt x="36" y="35"/>
                          <a:pt x="36" y="35"/>
                        </a:cubicBezTo>
                        <a:cubicBezTo>
                          <a:pt x="36" y="35"/>
                          <a:pt x="36" y="35"/>
                          <a:pt x="36" y="35"/>
                        </a:cubicBezTo>
                        <a:close/>
                        <a:moveTo>
                          <a:pt x="40" y="38"/>
                        </a:moveTo>
                        <a:cubicBezTo>
                          <a:pt x="40" y="38"/>
                          <a:pt x="40" y="38"/>
                          <a:pt x="40" y="38"/>
                        </a:cubicBezTo>
                        <a:cubicBezTo>
                          <a:pt x="39" y="38"/>
                          <a:pt x="40" y="38"/>
                          <a:pt x="40" y="37"/>
                        </a:cubicBezTo>
                        <a:cubicBezTo>
                          <a:pt x="40" y="37"/>
                          <a:pt x="40" y="38"/>
                          <a:pt x="40" y="38"/>
                        </a:cubicBezTo>
                        <a:cubicBezTo>
                          <a:pt x="40" y="38"/>
                          <a:pt x="40" y="38"/>
                          <a:pt x="40" y="38"/>
                        </a:cubicBezTo>
                        <a:close/>
                        <a:moveTo>
                          <a:pt x="45" y="40"/>
                        </a:moveTo>
                        <a:cubicBezTo>
                          <a:pt x="45" y="40"/>
                          <a:pt x="45" y="40"/>
                          <a:pt x="45" y="40"/>
                        </a:cubicBezTo>
                        <a:cubicBezTo>
                          <a:pt x="45" y="40"/>
                          <a:pt x="45" y="41"/>
                          <a:pt x="45" y="42"/>
                        </a:cubicBezTo>
                        <a:cubicBezTo>
                          <a:pt x="45" y="41"/>
                          <a:pt x="45" y="41"/>
                          <a:pt x="45" y="40"/>
                        </a:cubicBezTo>
                        <a:cubicBezTo>
                          <a:pt x="45" y="40"/>
                          <a:pt x="45" y="41"/>
                          <a:pt x="45" y="40"/>
                        </a:cubicBezTo>
                        <a:cubicBezTo>
                          <a:pt x="45" y="40"/>
                          <a:pt x="45" y="40"/>
                          <a:pt x="45" y="40"/>
                        </a:cubicBezTo>
                        <a:close/>
                        <a:moveTo>
                          <a:pt x="45" y="41"/>
                        </a:moveTo>
                        <a:cubicBezTo>
                          <a:pt x="45" y="41"/>
                          <a:pt x="45" y="41"/>
                          <a:pt x="45" y="41"/>
                        </a:cubicBezTo>
                        <a:cubicBezTo>
                          <a:pt x="45" y="41"/>
                          <a:pt x="45" y="40"/>
                          <a:pt x="46" y="41"/>
                        </a:cubicBezTo>
                        <a:cubicBezTo>
                          <a:pt x="46" y="41"/>
                          <a:pt x="46" y="41"/>
                          <a:pt x="46" y="41"/>
                        </a:cubicBezTo>
                        <a:cubicBezTo>
                          <a:pt x="45" y="41"/>
                          <a:pt x="45" y="41"/>
                          <a:pt x="45" y="41"/>
                        </a:cubicBezTo>
                        <a:cubicBezTo>
                          <a:pt x="45" y="41"/>
                          <a:pt x="45" y="41"/>
                          <a:pt x="45" y="41"/>
                        </a:cubicBezTo>
                        <a:close/>
                        <a:moveTo>
                          <a:pt x="41" y="38"/>
                        </a:moveTo>
                        <a:cubicBezTo>
                          <a:pt x="41" y="38"/>
                          <a:pt x="41" y="38"/>
                          <a:pt x="41" y="38"/>
                        </a:cubicBezTo>
                        <a:cubicBezTo>
                          <a:pt x="41" y="38"/>
                          <a:pt x="41" y="38"/>
                          <a:pt x="41" y="38"/>
                        </a:cubicBezTo>
                        <a:close/>
                        <a:moveTo>
                          <a:pt x="39" y="38"/>
                        </a:moveTo>
                        <a:cubicBezTo>
                          <a:pt x="39" y="38"/>
                          <a:pt x="39" y="38"/>
                          <a:pt x="39" y="38"/>
                        </a:cubicBezTo>
                        <a:cubicBezTo>
                          <a:pt x="39" y="38"/>
                          <a:pt x="39" y="38"/>
                          <a:pt x="39" y="38"/>
                        </a:cubicBezTo>
                        <a:cubicBezTo>
                          <a:pt x="39" y="38"/>
                          <a:pt x="39" y="38"/>
                          <a:pt x="39" y="38"/>
                        </a:cubicBezTo>
                        <a:close/>
                        <a:moveTo>
                          <a:pt x="45" y="41"/>
                        </a:moveTo>
                        <a:cubicBezTo>
                          <a:pt x="45" y="41"/>
                          <a:pt x="45" y="41"/>
                          <a:pt x="45" y="41"/>
                        </a:cubicBezTo>
                        <a:cubicBezTo>
                          <a:pt x="45" y="41"/>
                          <a:pt x="45" y="41"/>
                          <a:pt x="45" y="41"/>
                        </a:cubicBezTo>
                        <a:close/>
                        <a:moveTo>
                          <a:pt x="39" y="39"/>
                        </a:moveTo>
                        <a:cubicBezTo>
                          <a:pt x="39" y="39"/>
                          <a:pt x="40" y="38"/>
                          <a:pt x="39" y="38"/>
                        </a:cubicBezTo>
                        <a:cubicBezTo>
                          <a:pt x="40" y="38"/>
                          <a:pt x="39" y="39"/>
                          <a:pt x="39" y="39"/>
                        </a:cubicBezTo>
                        <a:cubicBezTo>
                          <a:pt x="39" y="39"/>
                          <a:pt x="39" y="39"/>
                          <a:pt x="39" y="39"/>
                        </a:cubicBezTo>
                        <a:close/>
                        <a:moveTo>
                          <a:pt x="38" y="39"/>
                        </a:moveTo>
                        <a:cubicBezTo>
                          <a:pt x="38" y="38"/>
                          <a:pt x="38" y="38"/>
                          <a:pt x="38" y="38"/>
                        </a:cubicBezTo>
                        <a:cubicBezTo>
                          <a:pt x="39" y="38"/>
                          <a:pt x="39" y="38"/>
                          <a:pt x="39" y="38"/>
                        </a:cubicBezTo>
                        <a:cubicBezTo>
                          <a:pt x="39" y="38"/>
                          <a:pt x="39" y="38"/>
                          <a:pt x="38" y="39"/>
                        </a:cubicBezTo>
                        <a:close/>
                        <a:moveTo>
                          <a:pt x="43" y="40"/>
                        </a:moveTo>
                        <a:cubicBezTo>
                          <a:pt x="44" y="41"/>
                          <a:pt x="43" y="41"/>
                          <a:pt x="43" y="41"/>
                        </a:cubicBezTo>
                        <a:cubicBezTo>
                          <a:pt x="43" y="41"/>
                          <a:pt x="43" y="40"/>
                          <a:pt x="43" y="40"/>
                        </a:cubicBezTo>
                        <a:close/>
                        <a:moveTo>
                          <a:pt x="40" y="39"/>
                        </a:moveTo>
                        <a:cubicBezTo>
                          <a:pt x="40" y="39"/>
                          <a:pt x="40" y="39"/>
                          <a:pt x="40" y="39"/>
                        </a:cubicBezTo>
                        <a:cubicBezTo>
                          <a:pt x="40" y="39"/>
                          <a:pt x="40" y="39"/>
                          <a:pt x="39" y="39"/>
                        </a:cubicBezTo>
                        <a:cubicBezTo>
                          <a:pt x="40" y="39"/>
                          <a:pt x="40" y="39"/>
                          <a:pt x="40" y="39"/>
                        </a:cubicBezTo>
                        <a:close/>
                        <a:moveTo>
                          <a:pt x="38" y="39"/>
                        </a:moveTo>
                        <a:cubicBezTo>
                          <a:pt x="38" y="39"/>
                          <a:pt x="38" y="39"/>
                          <a:pt x="38" y="39"/>
                        </a:cubicBezTo>
                        <a:cubicBezTo>
                          <a:pt x="38" y="39"/>
                          <a:pt x="38" y="40"/>
                          <a:pt x="38" y="40"/>
                        </a:cubicBezTo>
                        <a:cubicBezTo>
                          <a:pt x="38" y="40"/>
                          <a:pt x="38" y="40"/>
                          <a:pt x="38" y="40"/>
                        </a:cubicBezTo>
                        <a:cubicBezTo>
                          <a:pt x="38" y="40"/>
                          <a:pt x="37" y="41"/>
                          <a:pt x="37" y="41"/>
                        </a:cubicBezTo>
                        <a:cubicBezTo>
                          <a:pt x="37" y="41"/>
                          <a:pt x="37" y="40"/>
                          <a:pt x="37" y="40"/>
                        </a:cubicBezTo>
                        <a:cubicBezTo>
                          <a:pt x="37" y="40"/>
                          <a:pt x="38" y="40"/>
                          <a:pt x="38" y="40"/>
                        </a:cubicBezTo>
                        <a:cubicBezTo>
                          <a:pt x="38" y="39"/>
                          <a:pt x="38" y="39"/>
                          <a:pt x="38" y="39"/>
                        </a:cubicBezTo>
                        <a:cubicBezTo>
                          <a:pt x="38" y="39"/>
                          <a:pt x="38" y="39"/>
                          <a:pt x="38" y="39"/>
                        </a:cubicBezTo>
                        <a:cubicBezTo>
                          <a:pt x="38" y="39"/>
                          <a:pt x="38" y="39"/>
                          <a:pt x="38" y="38"/>
                        </a:cubicBezTo>
                        <a:cubicBezTo>
                          <a:pt x="38" y="39"/>
                          <a:pt x="38" y="39"/>
                          <a:pt x="38" y="39"/>
                        </a:cubicBezTo>
                        <a:close/>
                        <a:moveTo>
                          <a:pt x="46" y="43"/>
                        </a:moveTo>
                        <a:cubicBezTo>
                          <a:pt x="45" y="43"/>
                          <a:pt x="46" y="43"/>
                          <a:pt x="46" y="42"/>
                        </a:cubicBezTo>
                        <a:cubicBezTo>
                          <a:pt x="46" y="43"/>
                          <a:pt x="46" y="43"/>
                          <a:pt x="46" y="43"/>
                        </a:cubicBezTo>
                        <a:close/>
                        <a:moveTo>
                          <a:pt x="41" y="40"/>
                        </a:moveTo>
                        <a:cubicBezTo>
                          <a:pt x="41" y="40"/>
                          <a:pt x="41" y="41"/>
                          <a:pt x="40" y="41"/>
                        </a:cubicBezTo>
                        <a:cubicBezTo>
                          <a:pt x="41" y="40"/>
                          <a:pt x="40" y="40"/>
                          <a:pt x="41" y="40"/>
                        </a:cubicBezTo>
                        <a:close/>
                        <a:moveTo>
                          <a:pt x="46" y="43"/>
                        </a:moveTo>
                        <a:cubicBezTo>
                          <a:pt x="46" y="43"/>
                          <a:pt x="46" y="43"/>
                          <a:pt x="46" y="43"/>
                        </a:cubicBezTo>
                        <a:cubicBezTo>
                          <a:pt x="46" y="43"/>
                          <a:pt x="46" y="43"/>
                          <a:pt x="46" y="43"/>
                        </a:cubicBezTo>
                        <a:cubicBezTo>
                          <a:pt x="46" y="43"/>
                          <a:pt x="46" y="43"/>
                          <a:pt x="46" y="43"/>
                        </a:cubicBezTo>
                        <a:close/>
                        <a:moveTo>
                          <a:pt x="43" y="42"/>
                        </a:moveTo>
                        <a:cubicBezTo>
                          <a:pt x="43" y="42"/>
                          <a:pt x="43" y="42"/>
                          <a:pt x="43" y="42"/>
                        </a:cubicBezTo>
                        <a:cubicBezTo>
                          <a:pt x="43" y="42"/>
                          <a:pt x="43" y="42"/>
                          <a:pt x="43" y="42"/>
                        </a:cubicBezTo>
                        <a:cubicBezTo>
                          <a:pt x="42" y="42"/>
                          <a:pt x="43" y="42"/>
                          <a:pt x="43" y="42"/>
                        </a:cubicBezTo>
                        <a:close/>
                        <a:moveTo>
                          <a:pt x="46" y="43"/>
                        </a:moveTo>
                        <a:cubicBezTo>
                          <a:pt x="46" y="43"/>
                          <a:pt x="46" y="44"/>
                          <a:pt x="46" y="44"/>
                        </a:cubicBezTo>
                        <a:cubicBezTo>
                          <a:pt x="46" y="44"/>
                          <a:pt x="46" y="44"/>
                          <a:pt x="46" y="43"/>
                        </a:cubicBezTo>
                        <a:close/>
                        <a:moveTo>
                          <a:pt x="42" y="42"/>
                        </a:moveTo>
                        <a:cubicBezTo>
                          <a:pt x="41" y="42"/>
                          <a:pt x="41" y="42"/>
                          <a:pt x="41" y="41"/>
                        </a:cubicBezTo>
                        <a:cubicBezTo>
                          <a:pt x="41" y="42"/>
                          <a:pt x="42" y="42"/>
                          <a:pt x="42" y="42"/>
                        </a:cubicBezTo>
                        <a:close/>
                        <a:moveTo>
                          <a:pt x="45" y="44"/>
                        </a:moveTo>
                        <a:cubicBezTo>
                          <a:pt x="45" y="44"/>
                          <a:pt x="45" y="44"/>
                          <a:pt x="45" y="44"/>
                        </a:cubicBezTo>
                        <a:cubicBezTo>
                          <a:pt x="45" y="44"/>
                          <a:pt x="45" y="44"/>
                          <a:pt x="45" y="44"/>
                        </a:cubicBezTo>
                        <a:cubicBezTo>
                          <a:pt x="46" y="44"/>
                          <a:pt x="45" y="44"/>
                          <a:pt x="45" y="44"/>
                        </a:cubicBezTo>
                        <a:close/>
                        <a:moveTo>
                          <a:pt x="35" y="39"/>
                        </a:moveTo>
                        <a:cubicBezTo>
                          <a:pt x="35" y="39"/>
                          <a:pt x="35" y="39"/>
                          <a:pt x="35" y="39"/>
                        </a:cubicBezTo>
                        <a:cubicBezTo>
                          <a:pt x="35" y="39"/>
                          <a:pt x="35" y="39"/>
                          <a:pt x="35" y="39"/>
                        </a:cubicBezTo>
                        <a:close/>
                        <a:moveTo>
                          <a:pt x="38" y="41"/>
                        </a:moveTo>
                        <a:cubicBezTo>
                          <a:pt x="38" y="41"/>
                          <a:pt x="38" y="41"/>
                          <a:pt x="38" y="41"/>
                        </a:cubicBezTo>
                        <a:cubicBezTo>
                          <a:pt x="38" y="41"/>
                          <a:pt x="38" y="41"/>
                          <a:pt x="38" y="41"/>
                        </a:cubicBezTo>
                        <a:close/>
                        <a:moveTo>
                          <a:pt x="37" y="41"/>
                        </a:moveTo>
                        <a:cubicBezTo>
                          <a:pt x="37" y="41"/>
                          <a:pt x="37" y="41"/>
                          <a:pt x="37" y="41"/>
                        </a:cubicBezTo>
                        <a:cubicBezTo>
                          <a:pt x="37" y="41"/>
                          <a:pt x="37" y="41"/>
                          <a:pt x="37" y="41"/>
                        </a:cubicBezTo>
                        <a:cubicBezTo>
                          <a:pt x="37" y="41"/>
                          <a:pt x="37" y="42"/>
                          <a:pt x="37" y="42"/>
                        </a:cubicBezTo>
                        <a:cubicBezTo>
                          <a:pt x="37" y="42"/>
                          <a:pt x="37" y="42"/>
                          <a:pt x="37" y="42"/>
                        </a:cubicBezTo>
                        <a:cubicBezTo>
                          <a:pt x="37" y="42"/>
                          <a:pt x="36" y="42"/>
                          <a:pt x="36" y="42"/>
                        </a:cubicBezTo>
                        <a:cubicBezTo>
                          <a:pt x="36" y="42"/>
                          <a:pt x="37" y="41"/>
                          <a:pt x="37" y="41"/>
                        </a:cubicBezTo>
                        <a:close/>
                        <a:moveTo>
                          <a:pt x="42" y="43"/>
                        </a:moveTo>
                        <a:cubicBezTo>
                          <a:pt x="42" y="44"/>
                          <a:pt x="42" y="44"/>
                          <a:pt x="42" y="44"/>
                        </a:cubicBezTo>
                        <a:cubicBezTo>
                          <a:pt x="42" y="44"/>
                          <a:pt x="42" y="44"/>
                          <a:pt x="42" y="44"/>
                        </a:cubicBezTo>
                        <a:cubicBezTo>
                          <a:pt x="42" y="44"/>
                          <a:pt x="42" y="43"/>
                          <a:pt x="42" y="43"/>
                        </a:cubicBezTo>
                        <a:close/>
                        <a:moveTo>
                          <a:pt x="40" y="43"/>
                        </a:moveTo>
                        <a:cubicBezTo>
                          <a:pt x="40" y="43"/>
                          <a:pt x="40" y="43"/>
                          <a:pt x="40" y="43"/>
                        </a:cubicBezTo>
                        <a:cubicBezTo>
                          <a:pt x="40" y="43"/>
                          <a:pt x="40" y="43"/>
                          <a:pt x="40" y="43"/>
                        </a:cubicBezTo>
                        <a:cubicBezTo>
                          <a:pt x="40" y="43"/>
                          <a:pt x="40" y="43"/>
                          <a:pt x="40" y="43"/>
                        </a:cubicBezTo>
                        <a:cubicBezTo>
                          <a:pt x="40" y="43"/>
                          <a:pt x="40" y="43"/>
                          <a:pt x="40" y="43"/>
                        </a:cubicBezTo>
                        <a:close/>
                        <a:moveTo>
                          <a:pt x="37" y="42"/>
                        </a:moveTo>
                        <a:cubicBezTo>
                          <a:pt x="37" y="42"/>
                          <a:pt x="37" y="42"/>
                          <a:pt x="37" y="42"/>
                        </a:cubicBezTo>
                        <a:cubicBezTo>
                          <a:pt x="37" y="42"/>
                          <a:pt x="37" y="42"/>
                          <a:pt x="37" y="42"/>
                        </a:cubicBezTo>
                        <a:close/>
                        <a:moveTo>
                          <a:pt x="41" y="44"/>
                        </a:moveTo>
                        <a:cubicBezTo>
                          <a:pt x="41" y="44"/>
                          <a:pt x="42" y="44"/>
                          <a:pt x="42" y="44"/>
                        </a:cubicBezTo>
                        <a:cubicBezTo>
                          <a:pt x="42" y="44"/>
                          <a:pt x="42" y="45"/>
                          <a:pt x="41" y="44"/>
                        </a:cubicBezTo>
                        <a:close/>
                        <a:moveTo>
                          <a:pt x="36" y="42"/>
                        </a:moveTo>
                        <a:cubicBezTo>
                          <a:pt x="36" y="42"/>
                          <a:pt x="36" y="42"/>
                          <a:pt x="36" y="42"/>
                        </a:cubicBezTo>
                        <a:cubicBezTo>
                          <a:pt x="36" y="42"/>
                          <a:pt x="36" y="42"/>
                          <a:pt x="36" y="42"/>
                        </a:cubicBezTo>
                        <a:close/>
                        <a:moveTo>
                          <a:pt x="40" y="44"/>
                        </a:moveTo>
                        <a:cubicBezTo>
                          <a:pt x="40" y="44"/>
                          <a:pt x="40" y="44"/>
                          <a:pt x="40" y="44"/>
                        </a:cubicBezTo>
                        <a:cubicBezTo>
                          <a:pt x="40" y="44"/>
                          <a:pt x="40" y="44"/>
                          <a:pt x="40" y="44"/>
                        </a:cubicBezTo>
                        <a:cubicBezTo>
                          <a:pt x="40" y="44"/>
                          <a:pt x="40" y="44"/>
                          <a:pt x="40" y="44"/>
                        </a:cubicBezTo>
                        <a:close/>
                        <a:moveTo>
                          <a:pt x="38" y="43"/>
                        </a:moveTo>
                        <a:cubicBezTo>
                          <a:pt x="38" y="43"/>
                          <a:pt x="38" y="44"/>
                          <a:pt x="38" y="43"/>
                        </a:cubicBezTo>
                        <a:cubicBezTo>
                          <a:pt x="38" y="43"/>
                          <a:pt x="38" y="43"/>
                          <a:pt x="38" y="43"/>
                        </a:cubicBezTo>
                        <a:close/>
                        <a:moveTo>
                          <a:pt x="37" y="43"/>
                        </a:moveTo>
                        <a:cubicBezTo>
                          <a:pt x="37" y="43"/>
                          <a:pt x="37" y="43"/>
                          <a:pt x="37" y="43"/>
                        </a:cubicBezTo>
                        <a:cubicBezTo>
                          <a:pt x="37" y="43"/>
                          <a:pt x="37" y="43"/>
                          <a:pt x="37" y="43"/>
                        </a:cubicBezTo>
                        <a:close/>
                        <a:moveTo>
                          <a:pt x="34" y="42"/>
                        </a:moveTo>
                        <a:cubicBezTo>
                          <a:pt x="34" y="42"/>
                          <a:pt x="35" y="42"/>
                          <a:pt x="35" y="42"/>
                        </a:cubicBezTo>
                        <a:cubicBezTo>
                          <a:pt x="35" y="42"/>
                          <a:pt x="34" y="42"/>
                          <a:pt x="34" y="42"/>
                        </a:cubicBezTo>
                        <a:close/>
                        <a:moveTo>
                          <a:pt x="42" y="46"/>
                        </a:moveTo>
                        <a:cubicBezTo>
                          <a:pt x="41" y="45"/>
                          <a:pt x="42" y="45"/>
                          <a:pt x="42" y="45"/>
                        </a:cubicBezTo>
                        <a:cubicBezTo>
                          <a:pt x="42" y="45"/>
                          <a:pt x="42" y="45"/>
                          <a:pt x="42" y="46"/>
                        </a:cubicBezTo>
                        <a:close/>
                        <a:moveTo>
                          <a:pt x="44" y="47"/>
                        </a:moveTo>
                        <a:cubicBezTo>
                          <a:pt x="44" y="47"/>
                          <a:pt x="44" y="47"/>
                          <a:pt x="44" y="47"/>
                        </a:cubicBezTo>
                        <a:cubicBezTo>
                          <a:pt x="44" y="47"/>
                          <a:pt x="44" y="47"/>
                          <a:pt x="44" y="47"/>
                        </a:cubicBezTo>
                        <a:cubicBezTo>
                          <a:pt x="44" y="47"/>
                          <a:pt x="44" y="47"/>
                          <a:pt x="44" y="47"/>
                        </a:cubicBezTo>
                        <a:close/>
                        <a:moveTo>
                          <a:pt x="40" y="45"/>
                        </a:moveTo>
                        <a:cubicBezTo>
                          <a:pt x="40" y="45"/>
                          <a:pt x="40" y="45"/>
                          <a:pt x="39" y="45"/>
                        </a:cubicBezTo>
                        <a:cubicBezTo>
                          <a:pt x="39" y="45"/>
                          <a:pt x="39" y="45"/>
                          <a:pt x="39" y="46"/>
                        </a:cubicBezTo>
                        <a:cubicBezTo>
                          <a:pt x="39" y="46"/>
                          <a:pt x="39" y="46"/>
                          <a:pt x="39" y="45"/>
                        </a:cubicBezTo>
                        <a:cubicBezTo>
                          <a:pt x="39" y="46"/>
                          <a:pt x="39" y="46"/>
                          <a:pt x="39" y="46"/>
                        </a:cubicBezTo>
                        <a:cubicBezTo>
                          <a:pt x="39" y="46"/>
                          <a:pt x="39" y="46"/>
                          <a:pt x="39" y="46"/>
                        </a:cubicBezTo>
                        <a:cubicBezTo>
                          <a:pt x="39" y="46"/>
                          <a:pt x="39" y="46"/>
                          <a:pt x="39" y="46"/>
                        </a:cubicBezTo>
                        <a:cubicBezTo>
                          <a:pt x="39" y="46"/>
                          <a:pt x="39" y="45"/>
                          <a:pt x="39" y="45"/>
                        </a:cubicBezTo>
                        <a:cubicBezTo>
                          <a:pt x="39" y="45"/>
                          <a:pt x="39" y="45"/>
                          <a:pt x="39" y="45"/>
                        </a:cubicBezTo>
                        <a:cubicBezTo>
                          <a:pt x="39" y="45"/>
                          <a:pt x="40" y="45"/>
                          <a:pt x="40" y="45"/>
                        </a:cubicBezTo>
                        <a:cubicBezTo>
                          <a:pt x="40" y="45"/>
                          <a:pt x="40" y="45"/>
                          <a:pt x="40" y="45"/>
                        </a:cubicBezTo>
                        <a:close/>
                        <a:moveTo>
                          <a:pt x="41" y="46"/>
                        </a:move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lose/>
                        <a:moveTo>
                          <a:pt x="40" y="46"/>
                        </a:moveTo>
                        <a:cubicBezTo>
                          <a:pt x="40" y="46"/>
                          <a:pt x="40" y="45"/>
                          <a:pt x="40" y="46"/>
                        </a:cubicBezTo>
                        <a:cubicBezTo>
                          <a:pt x="40" y="46"/>
                          <a:pt x="40" y="46"/>
                          <a:pt x="40" y="46"/>
                        </a:cubicBezTo>
                        <a:cubicBezTo>
                          <a:pt x="40" y="46"/>
                          <a:pt x="40" y="46"/>
                          <a:pt x="40" y="46"/>
                        </a:cubicBezTo>
                        <a:cubicBezTo>
                          <a:pt x="40" y="46"/>
                          <a:pt x="40" y="46"/>
                          <a:pt x="40" y="46"/>
                        </a:cubicBezTo>
                        <a:close/>
                        <a:moveTo>
                          <a:pt x="42" y="47"/>
                        </a:moveTo>
                        <a:cubicBezTo>
                          <a:pt x="42" y="47"/>
                          <a:pt x="42" y="47"/>
                          <a:pt x="42" y="47"/>
                        </a:cubicBezTo>
                        <a:cubicBezTo>
                          <a:pt x="42" y="47"/>
                          <a:pt x="42" y="47"/>
                          <a:pt x="42" y="47"/>
                        </a:cubicBezTo>
                        <a:cubicBezTo>
                          <a:pt x="42" y="47"/>
                          <a:pt x="42" y="47"/>
                          <a:pt x="42" y="47"/>
                        </a:cubicBezTo>
                        <a:cubicBezTo>
                          <a:pt x="42" y="47"/>
                          <a:pt x="42" y="47"/>
                          <a:pt x="42" y="47"/>
                        </a:cubicBezTo>
                        <a:cubicBezTo>
                          <a:pt x="42" y="47"/>
                          <a:pt x="42" y="47"/>
                          <a:pt x="41" y="47"/>
                        </a:cubicBezTo>
                        <a:cubicBezTo>
                          <a:pt x="41" y="47"/>
                          <a:pt x="42" y="47"/>
                          <a:pt x="42" y="47"/>
                        </a:cubicBezTo>
                        <a:close/>
                        <a:moveTo>
                          <a:pt x="36" y="44"/>
                        </a:moveTo>
                        <a:cubicBezTo>
                          <a:pt x="36" y="44"/>
                          <a:pt x="36" y="44"/>
                          <a:pt x="36" y="44"/>
                        </a:cubicBezTo>
                        <a:cubicBezTo>
                          <a:pt x="36" y="44"/>
                          <a:pt x="36" y="44"/>
                          <a:pt x="36" y="44"/>
                        </a:cubicBezTo>
                        <a:close/>
                        <a:moveTo>
                          <a:pt x="38" y="45"/>
                        </a:moveTo>
                        <a:cubicBezTo>
                          <a:pt x="38" y="45"/>
                          <a:pt x="38" y="45"/>
                          <a:pt x="38" y="46"/>
                        </a:cubicBezTo>
                        <a:cubicBezTo>
                          <a:pt x="38" y="45"/>
                          <a:pt x="38" y="45"/>
                          <a:pt x="38" y="45"/>
                        </a:cubicBezTo>
                        <a:close/>
                        <a:moveTo>
                          <a:pt x="40" y="46"/>
                        </a:moveTo>
                        <a:cubicBezTo>
                          <a:pt x="40" y="46"/>
                          <a:pt x="40" y="46"/>
                          <a:pt x="40" y="46"/>
                        </a:cubicBezTo>
                        <a:cubicBezTo>
                          <a:pt x="40" y="46"/>
                          <a:pt x="40" y="46"/>
                          <a:pt x="40" y="46"/>
                        </a:cubicBezTo>
                        <a:close/>
                        <a:moveTo>
                          <a:pt x="38" y="46"/>
                        </a:moveTo>
                        <a:cubicBezTo>
                          <a:pt x="38" y="46"/>
                          <a:pt x="38" y="46"/>
                          <a:pt x="38" y="46"/>
                        </a:cubicBezTo>
                        <a:cubicBezTo>
                          <a:pt x="38" y="46"/>
                          <a:pt x="38" y="46"/>
                          <a:pt x="38" y="46"/>
                        </a:cubicBezTo>
                        <a:cubicBezTo>
                          <a:pt x="38" y="46"/>
                          <a:pt x="38" y="47"/>
                          <a:pt x="38" y="47"/>
                        </a:cubicBezTo>
                        <a:cubicBezTo>
                          <a:pt x="38" y="47"/>
                          <a:pt x="38" y="47"/>
                          <a:pt x="38" y="47"/>
                        </a:cubicBezTo>
                        <a:cubicBezTo>
                          <a:pt x="38" y="46"/>
                          <a:pt x="38" y="46"/>
                          <a:pt x="38" y="46"/>
                        </a:cubicBezTo>
                        <a:close/>
                        <a:moveTo>
                          <a:pt x="43" y="48"/>
                        </a:moveTo>
                        <a:cubicBezTo>
                          <a:pt x="43" y="48"/>
                          <a:pt x="43" y="48"/>
                          <a:pt x="43" y="49"/>
                        </a:cubicBezTo>
                        <a:cubicBezTo>
                          <a:pt x="43" y="49"/>
                          <a:pt x="43" y="49"/>
                          <a:pt x="43" y="49"/>
                        </a:cubicBezTo>
                        <a:cubicBezTo>
                          <a:pt x="43" y="49"/>
                          <a:pt x="43" y="48"/>
                          <a:pt x="43" y="48"/>
                        </a:cubicBezTo>
                        <a:close/>
                        <a:moveTo>
                          <a:pt x="42" y="48"/>
                        </a:moveTo>
                        <a:cubicBezTo>
                          <a:pt x="42" y="48"/>
                          <a:pt x="42" y="48"/>
                          <a:pt x="42" y="48"/>
                        </a:cubicBezTo>
                        <a:cubicBezTo>
                          <a:pt x="42" y="48"/>
                          <a:pt x="42" y="48"/>
                          <a:pt x="42" y="48"/>
                        </a:cubicBezTo>
                        <a:close/>
                        <a:moveTo>
                          <a:pt x="43" y="49"/>
                        </a:moveTo>
                        <a:cubicBezTo>
                          <a:pt x="43" y="50"/>
                          <a:pt x="43" y="50"/>
                          <a:pt x="42" y="51"/>
                        </a:cubicBezTo>
                        <a:cubicBezTo>
                          <a:pt x="43" y="50"/>
                          <a:pt x="43" y="49"/>
                          <a:pt x="43" y="49"/>
                        </a:cubicBezTo>
                        <a:cubicBezTo>
                          <a:pt x="43" y="49"/>
                          <a:pt x="43" y="49"/>
                          <a:pt x="43" y="49"/>
                        </a:cubicBezTo>
                        <a:close/>
                        <a:moveTo>
                          <a:pt x="35" y="46"/>
                        </a:moveTo>
                        <a:cubicBezTo>
                          <a:pt x="35" y="45"/>
                          <a:pt x="35" y="45"/>
                          <a:pt x="35" y="45"/>
                        </a:cubicBezTo>
                        <a:cubicBezTo>
                          <a:pt x="35" y="45"/>
                          <a:pt x="35" y="46"/>
                          <a:pt x="35" y="46"/>
                        </a:cubicBezTo>
                        <a:close/>
                        <a:moveTo>
                          <a:pt x="41" y="48"/>
                        </a:moveTo>
                        <a:cubicBezTo>
                          <a:pt x="41" y="48"/>
                          <a:pt x="40" y="48"/>
                          <a:pt x="40" y="48"/>
                        </a:cubicBezTo>
                        <a:cubicBezTo>
                          <a:pt x="40" y="48"/>
                          <a:pt x="40" y="48"/>
                          <a:pt x="40" y="48"/>
                        </a:cubicBezTo>
                        <a:cubicBezTo>
                          <a:pt x="41" y="48"/>
                          <a:pt x="40" y="48"/>
                          <a:pt x="41" y="48"/>
                        </a:cubicBezTo>
                        <a:close/>
                        <a:moveTo>
                          <a:pt x="36" y="47"/>
                        </a:moveTo>
                        <a:cubicBezTo>
                          <a:pt x="37" y="46"/>
                          <a:pt x="37" y="46"/>
                          <a:pt x="37" y="46"/>
                        </a:cubicBezTo>
                        <a:cubicBezTo>
                          <a:pt x="37" y="47"/>
                          <a:pt x="37" y="47"/>
                          <a:pt x="37" y="47"/>
                        </a:cubicBezTo>
                        <a:cubicBezTo>
                          <a:pt x="36" y="47"/>
                          <a:pt x="37" y="47"/>
                          <a:pt x="36" y="47"/>
                        </a:cubicBezTo>
                        <a:close/>
                        <a:moveTo>
                          <a:pt x="36" y="47"/>
                        </a:moveTo>
                        <a:cubicBezTo>
                          <a:pt x="36" y="47"/>
                          <a:pt x="36" y="47"/>
                          <a:pt x="36" y="47"/>
                        </a:cubicBezTo>
                        <a:cubicBezTo>
                          <a:pt x="36" y="47"/>
                          <a:pt x="36" y="47"/>
                          <a:pt x="36" y="47"/>
                        </a:cubicBezTo>
                        <a:cubicBezTo>
                          <a:pt x="36" y="47"/>
                          <a:pt x="36" y="47"/>
                          <a:pt x="36" y="47"/>
                        </a:cubicBezTo>
                        <a:cubicBezTo>
                          <a:pt x="36" y="47"/>
                          <a:pt x="36" y="47"/>
                          <a:pt x="36" y="47"/>
                        </a:cubicBezTo>
                        <a:close/>
                        <a:moveTo>
                          <a:pt x="42" y="52"/>
                        </a:moveTo>
                        <a:cubicBezTo>
                          <a:pt x="42" y="52"/>
                          <a:pt x="42" y="52"/>
                          <a:pt x="42" y="52"/>
                        </a:cubicBezTo>
                        <a:close/>
                        <a:moveTo>
                          <a:pt x="38" y="50"/>
                        </a:moveTo>
                        <a:cubicBezTo>
                          <a:pt x="38" y="50"/>
                          <a:pt x="38" y="50"/>
                          <a:pt x="38" y="50"/>
                        </a:cubicBezTo>
                        <a:cubicBezTo>
                          <a:pt x="38" y="51"/>
                          <a:pt x="38" y="50"/>
                          <a:pt x="38" y="51"/>
                        </a:cubicBezTo>
                        <a:cubicBezTo>
                          <a:pt x="38" y="50"/>
                          <a:pt x="38" y="50"/>
                          <a:pt x="38" y="50"/>
                        </a:cubicBezTo>
                        <a:close/>
                        <a:moveTo>
                          <a:pt x="36" y="49"/>
                        </a:moveTo>
                        <a:cubicBezTo>
                          <a:pt x="36" y="49"/>
                          <a:pt x="36" y="49"/>
                          <a:pt x="36" y="49"/>
                        </a:cubicBezTo>
                        <a:cubicBezTo>
                          <a:pt x="36" y="49"/>
                          <a:pt x="36" y="49"/>
                          <a:pt x="36" y="49"/>
                        </a:cubicBezTo>
                        <a:close/>
                        <a:moveTo>
                          <a:pt x="39" y="51"/>
                        </a:moveTo>
                        <a:cubicBezTo>
                          <a:pt x="40" y="51"/>
                          <a:pt x="39" y="51"/>
                          <a:pt x="39" y="51"/>
                        </a:cubicBezTo>
                        <a:cubicBezTo>
                          <a:pt x="39" y="51"/>
                          <a:pt x="39" y="51"/>
                          <a:pt x="39" y="51"/>
                        </a:cubicBezTo>
                        <a:close/>
                        <a:moveTo>
                          <a:pt x="34" y="49"/>
                        </a:moveTo>
                        <a:cubicBezTo>
                          <a:pt x="34" y="49"/>
                          <a:pt x="34" y="49"/>
                          <a:pt x="34" y="49"/>
                        </a:cubicBezTo>
                        <a:cubicBezTo>
                          <a:pt x="34" y="48"/>
                          <a:pt x="35" y="49"/>
                          <a:pt x="34" y="49"/>
                        </a:cubicBezTo>
                        <a:close/>
                        <a:moveTo>
                          <a:pt x="36" y="51"/>
                        </a:moveTo>
                        <a:cubicBezTo>
                          <a:pt x="36" y="51"/>
                          <a:pt x="36" y="51"/>
                          <a:pt x="36" y="51"/>
                        </a:cubicBezTo>
                        <a:cubicBezTo>
                          <a:pt x="36" y="51"/>
                          <a:pt x="36" y="50"/>
                          <a:pt x="36" y="50"/>
                        </a:cubicBezTo>
                        <a:cubicBezTo>
                          <a:pt x="36" y="50"/>
                          <a:pt x="36" y="50"/>
                          <a:pt x="36" y="50"/>
                        </a:cubicBezTo>
                        <a:cubicBezTo>
                          <a:pt x="37" y="50"/>
                          <a:pt x="36" y="50"/>
                          <a:pt x="36" y="51"/>
                        </a:cubicBezTo>
                        <a:close/>
                        <a:moveTo>
                          <a:pt x="35" y="50"/>
                        </a:moveTo>
                        <a:cubicBezTo>
                          <a:pt x="35" y="50"/>
                          <a:pt x="35" y="50"/>
                          <a:pt x="35" y="50"/>
                        </a:cubicBezTo>
                        <a:cubicBezTo>
                          <a:pt x="35" y="49"/>
                          <a:pt x="35" y="50"/>
                          <a:pt x="35" y="50"/>
                        </a:cubicBezTo>
                        <a:close/>
                        <a:moveTo>
                          <a:pt x="38" y="51"/>
                        </a:moveTo>
                        <a:cubicBezTo>
                          <a:pt x="38" y="51"/>
                          <a:pt x="38" y="51"/>
                          <a:pt x="38" y="51"/>
                        </a:cubicBezTo>
                        <a:cubicBezTo>
                          <a:pt x="38" y="51"/>
                          <a:pt x="38" y="51"/>
                          <a:pt x="38" y="51"/>
                        </a:cubicBezTo>
                        <a:cubicBezTo>
                          <a:pt x="38" y="51"/>
                          <a:pt x="38" y="51"/>
                          <a:pt x="38" y="51"/>
                        </a:cubicBezTo>
                        <a:cubicBezTo>
                          <a:pt x="38" y="51"/>
                          <a:pt x="38" y="51"/>
                          <a:pt x="38" y="51"/>
                        </a:cubicBezTo>
                        <a:close/>
                        <a:moveTo>
                          <a:pt x="38" y="51"/>
                        </a:moveTo>
                        <a:cubicBezTo>
                          <a:pt x="38" y="51"/>
                          <a:pt x="38" y="51"/>
                          <a:pt x="38" y="51"/>
                        </a:cubicBezTo>
                        <a:cubicBezTo>
                          <a:pt x="38" y="51"/>
                          <a:pt x="38" y="52"/>
                          <a:pt x="38" y="51"/>
                        </a:cubicBezTo>
                        <a:close/>
                        <a:moveTo>
                          <a:pt x="36" y="51"/>
                        </a:moveTo>
                        <a:cubicBezTo>
                          <a:pt x="36" y="51"/>
                          <a:pt x="36" y="51"/>
                          <a:pt x="36" y="50"/>
                        </a:cubicBezTo>
                        <a:cubicBezTo>
                          <a:pt x="37" y="50"/>
                          <a:pt x="36" y="51"/>
                          <a:pt x="36" y="51"/>
                        </a:cubicBezTo>
                        <a:close/>
                        <a:moveTo>
                          <a:pt x="41" y="54"/>
                        </a:moveTo>
                        <a:cubicBezTo>
                          <a:pt x="41" y="54"/>
                          <a:pt x="41" y="53"/>
                          <a:pt x="42" y="53"/>
                        </a:cubicBezTo>
                        <a:cubicBezTo>
                          <a:pt x="42" y="53"/>
                          <a:pt x="41" y="54"/>
                          <a:pt x="41" y="54"/>
                        </a:cubicBezTo>
                        <a:close/>
                        <a:moveTo>
                          <a:pt x="32" y="49"/>
                        </a:moveTo>
                        <a:cubicBezTo>
                          <a:pt x="32" y="49"/>
                          <a:pt x="32" y="49"/>
                          <a:pt x="32" y="49"/>
                        </a:cubicBezTo>
                        <a:cubicBezTo>
                          <a:pt x="31" y="49"/>
                          <a:pt x="31" y="49"/>
                          <a:pt x="32" y="49"/>
                        </a:cubicBezTo>
                        <a:cubicBezTo>
                          <a:pt x="32" y="49"/>
                          <a:pt x="32" y="49"/>
                          <a:pt x="32" y="49"/>
                        </a:cubicBezTo>
                        <a:close/>
                        <a:moveTo>
                          <a:pt x="37" y="51"/>
                        </a:moveTo>
                        <a:cubicBezTo>
                          <a:pt x="37" y="51"/>
                          <a:pt x="37" y="51"/>
                          <a:pt x="37" y="51"/>
                        </a:cubicBezTo>
                        <a:cubicBezTo>
                          <a:pt x="37" y="51"/>
                          <a:pt x="37" y="52"/>
                          <a:pt x="37" y="52"/>
                        </a:cubicBezTo>
                        <a:cubicBezTo>
                          <a:pt x="37" y="52"/>
                          <a:pt x="37" y="51"/>
                          <a:pt x="37" y="51"/>
                        </a:cubicBezTo>
                        <a:cubicBezTo>
                          <a:pt x="37" y="51"/>
                          <a:pt x="37" y="51"/>
                          <a:pt x="37" y="51"/>
                        </a:cubicBezTo>
                        <a:close/>
                        <a:moveTo>
                          <a:pt x="33" y="50"/>
                        </a:moveTo>
                        <a:cubicBezTo>
                          <a:pt x="33" y="49"/>
                          <a:pt x="33" y="50"/>
                          <a:pt x="33" y="50"/>
                        </a:cubicBezTo>
                        <a:cubicBezTo>
                          <a:pt x="33" y="50"/>
                          <a:pt x="33" y="49"/>
                          <a:pt x="33" y="49"/>
                        </a:cubicBezTo>
                        <a:cubicBezTo>
                          <a:pt x="33" y="49"/>
                          <a:pt x="33" y="50"/>
                          <a:pt x="33" y="50"/>
                        </a:cubicBezTo>
                        <a:close/>
                        <a:moveTo>
                          <a:pt x="35" y="50"/>
                        </a:moveTo>
                        <a:cubicBezTo>
                          <a:pt x="35" y="50"/>
                          <a:pt x="35" y="50"/>
                          <a:pt x="35" y="50"/>
                        </a:cubicBezTo>
                        <a:cubicBezTo>
                          <a:pt x="34" y="50"/>
                          <a:pt x="35" y="50"/>
                          <a:pt x="35" y="50"/>
                        </a:cubicBezTo>
                        <a:close/>
                        <a:moveTo>
                          <a:pt x="40" y="53"/>
                        </a:moveTo>
                        <a:cubicBezTo>
                          <a:pt x="40" y="53"/>
                          <a:pt x="40" y="54"/>
                          <a:pt x="40" y="54"/>
                        </a:cubicBezTo>
                        <a:cubicBezTo>
                          <a:pt x="40" y="54"/>
                          <a:pt x="40" y="53"/>
                          <a:pt x="40" y="53"/>
                        </a:cubicBezTo>
                        <a:close/>
                        <a:moveTo>
                          <a:pt x="36" y="52"/>
                        </a:moveTo>
                        <a:cubicBezTo>
                          <a:pt x="36" y="52"/>
                          <a:pt x="36" y="52"/>
                          <a:pt x="36" y="52"/>
                        </a:cubicBezTo>
                        <a:cubicBezTo>
                          <a:pt x="36" y="52"/>
                          <a:pt x="36" y="52"/>
                          <a:pt x="36" y="52"/>
                        </a:cubicBezTo>
                        <a:close/>
                        <a:moveTo>
                          <a:pt x="36" y="52"/>
                        </a:moveTo>
                        <a:cubicBezTo>
                          <a:pt x="36" y="52"/>
                          <a:pt x="36" y="52"/>
                          <a:pt x="36" y="52"/>
                        </a:cubicBezTo>
                        <a:cubicBezTo>
                          <a:pt x="36" y="52"/>
                          <a:pt x="36" y="52"/>
                          <a:pt x="36" y="52"/>
                        </a:cubicBezTo>
                        <a:close/>
                        <a:moveTo>
                          <a:pt x="32" y="50"/>
                        </a:moveTo>
                        <a:cubicBezTo>
                          <a:pt x="32" y="50"/>
                          <a:pt x="32" y="50"/>
                          <a:pt x="32" y="50"/>
                        </a:cubicBezTo>
                        <a:cubicBezTo>
                          <a:pt x="32" y="50"/>
                          <a:pt x="32" y="50"/>
                          <a:pt x="32" y="50"/>
                        </a:cubicBezTo>
                        <a:close/>
                        <a:moveTo>
                          <a:pt x="40" y="54"/>
                        </a:moveTo>
                        <a:cubicBezTo>
                          <a:pt x="39" y="54"/>
                          <a:pt x="40" y="54"/>
                          <a:pt x="39" y="54"/>
                        </a:cubicBezTo>
                        <a:cubicBezTo>
                          <a:pt x="39" y="54"/>
                          <a:pt x="40" y="54"/>
                          <a:pt x="40" y="54"/>
                        </a:cubicBezTo>
                        <a:cubicBezTo>
                          <a:pt x="40" y="54"/>
                          <a:pt x="40" y="54"/>
                          <a:pt x="40" y="54"/>
                        </a:cubicBezTo>
                        <a:cubicBezTo>
                          <a:pt x="40" y="54"/>
                          <a:pt x="40" y="54"/>
                          <a:pt x="40" y="54"/>
                        </a:cubicBezTo>
                        <a:cubicBezTo>
                          <a:pt x="40" y="54"/>
                          <a:pt x="40" y="54"/>
                          <a:pt x="40" y="54"/>
                        </a:cubicBezTo>
                        <a:cubicBezTo>
                          <a:pt x="40" y="54"/>
                          <a:pt x="40" y="54"/>
                          <a:pt x="40" y="54"/>
                        </a:cubicBezTo>
                        <a:close/>
                        <a:moveTo>
                          <a:pt x="33" y="51"/>
                        </a:moveTo>
                        <a:cubicBezTo>
                          <a:pt x="33" y="51"/>
                          <a:pt x="33" y="51"/>
                          <a:pt x="33" y="51"/>
                        </a:cubicBezTo>
                        <a:cubicBezTo>
                          <a:pt x="33" y="51"/>
                          <a:pt x="33" y="51"/>
                          <a:pt x="33" y="50"/>
                        </a:cubicBezTo>
                        <a:cubicBezTo>
                          <a:pt x="33" y="51"/>
                          <a:pt x="33" y="51"/>
                          <a:pt x="33" y="51"/>
                        </a:cubicBezTo>
                        <a:close/>
                        <a:moveTo>
                          <a:pt x="30" y="49"/>
                        </a:moveTo>
                        <a:cubicBezTo>
                          <a:pt x="30" y="49"/>
                          <a:pt x="30" y="49"/>
                          <a:pt x="30" y="50"/>
                        </a:cubicBezTo>
                        <a:cubicBezTo>
                          <a:pt x="30" y="49"/>
                          <a:pt x="30" y="49"/>
                          <a:pt x="30" y="49"/>
                        </a:cubicBezTo>
                        <a:cubicBezTo>
                          <a:pt x="30" y="49"/>
                          <a:pt x="30" y="49"/>
                          <a:pt x="30" y="49"/>
                        </a:cubicBezTo>
                        <a:close/>
                        <a:moveTo>
                          <a:pt x="30" y="51"/>
                        </a:moveTo>
                        <a:cubicBezTo>
                          <a:pt x="30" y="51"/>
                          <a:pt x="30" y="52"/>
                          <a:pt x="29" y="52"/>
                        </a:cubicBezTo>
                        <a:cubicBezTo>
                          <a:pt x="30" y="51"/>
                          <a:pt x="30" y="51"/>
                          <a:pt x="30" y="50"/>
                        </a:cubicBezTo>
                        <a:cubicBezTo>
                          <a:pt x="30" y="50"/>
                          <a:pt x="31" y="50"/>
                          <a:pt x="31" y="50"/>
                        </a:cubicBezTo>
                        <a:cubicBezTo>
                          <a:pt x="31" y="50"/>
                          <a:pt x="30" y="50"/>
                          <a:pt x="30" y="51"/>
                        </a:cubicBezTo>
                        <a:close/>
                        <a:moveTo>
                          <a:pt x="34" y="51"/>
                        </a:moveTo>
                        <a:cubicBezTo>
                          <a:pt x="34" y="51"/>
                          <a:pt x="34" y="52"/>
                          <a:pt x="34" y="52"/>
                        </a:cubicBezTo>
                        <a:cubicBezTo>
                          <a:pt x="33" y="52"/>
                          <a:pt x="34" y="51"/>
                          <a:pt x="34" y="51"/>
                        </a:cubicBezTo>
                        <a:close/>
                        <a:moveTo>
                          <a:pt x="34" y="52"/>
                        </a:moveTo>
                        <a:cubicBezTo>
                          <a:pt x="34" y="52"/>
                          <a:pt x="34" y="52"/>
                          <a:pt x="34" y="52"/>
                        </a:cubicBezTo>
                        <a:cubicBezTo>
                          <a:pt x="34" y="52"/>
                          <a:pt x="34" y="52"/>
                          <a:pt x="34" y="52"/>
                        </a:cubicBezTo>
                        <a:cubicBezTo>
                          <a:pt x="34" y="52"/>
                          <a:pt x="34" y="52"/>
                          <a:pt x="34" y="52"/>
                        </a:cubicBezTo>
                        <a:close/>
                        <a:moveTo>
                          <a:pt x="30" y="50"/>
                        </a:moveTo>
                        <a:cubicBezTo>
                          <a:pt x="30" y="50"/>
                          <a:pt x="30" y="50"/>
                          <a:pt x="30" y="50"/>
                        </a:cubicBezTo>
                        <a:cubicBezTo>
                          <a:pt x="30" y="50"/>
                          <a:pt x="30" y="49"/>
                          <a:pt x="30" y="50"/>
                        </a:cubicBezTo>
                        <a:close/>
                        <a:moveTo>
                          <a:pt x="32" y="51"/>
                        </a:moveTo>
                        <a:cubicBezTo>
                          <a:pt x="32" y="51"/>
                          <a:pt x="32" y="51"/>
                          <a:pt x="32" y="51"/>
                        </a:cubicBezTo>
                        <a:cubicBezTo>
                          <a:pt x="32" y="51"/>
                          <a:pt x="32" y="51"/>
                          <a:pt x="33" y="51"/>
                        </a:cubicBezTo>
                        <a:cubicBezTo>
                          <a:pt x="33" y="51"/>
                          <a:pt x="32" y="51"/>
                          <a:pt x="32" y="51"/>
                        </a:cubicBezTo>
                        <a:close/>
                        <a:moveTo>
                          <a:pt x="33" y="51"/>
                        </a:moveTo>
                        <a:cubicBezTo>
                          <a:pt x="33" y="51"/>
                          <a:pt x="33" y="51"/>
                          <a:pt x="33" y="51"/>
                        </a:cubicBezTo>
                        <a:cubicBezTo>
                          <a:pt x="33" y="51"/>
                          <a:pt x="33" y="51"/>
                          <a:pt x="33" y="51"/>
                        </a:cubicBezTo>
                        <a:cubicBezTo>
                          <a:pt x="33" y="51"/>
                          <a:pt x="33" y="51"/>
                          <a:pt x="33" y="51"/>
                        </a:cubicBezTo>
                        <a:cubicBezTo>
                          <a:pt x="33" y="51"/>
                          <a:pt x="33" y="51"/>
                          <a:pt x="33" y="51"/>
                        </a:cubicBezTo>
                        <a:close/>
                        <a:moveTo>
                          <a:pt x="30" y="51"/>
                        </a:moveTo>
                        <a:cubicBezTo>
                          <a:pt x="30" y="50"/>
                          <a:pt x="30" y="50"/>
                          <a:pt x="31" y="50"/>
                        </a:cubicBezTo>
                        <a:cubicBezTo>
                          <a:pt x="31" y="50"/>
                          <a:pt x="31" y="50"/>
                          <a:pt x="31" y="51"/>
                        </a:cubicBezTo>
                        <a:cubicBezTo>
                          <a:pt x="30" y="50"/>
                          <a:pt x="30" y="51"/>
                          <a:pt x="30" y="51"/>
                        </a:cubicBezTo>
                        <a:close/>
                        <a:moveTo>
                          <a:pt x="31" y="51"/>
                        </a:moveTo>
                        <a:cubicBezTo>
                          <a:pt x="31" y="51"/>
                          <a:pt x="31" y="51"/>
                          <a:pt x="31" y="51"/>
                        </a:cubicBezTo>
                        <a:cubicBezTo>
                          <a:pt x="31" y="51"/>
                          <a:pt x="31" y="50"/>
                          <a:pt x="31" y="50"/>
                        </a:cubicBezTo>
                        <a:cubicBezTo>
                          <a:pt x="31" y="50"/>
                          <a:pt x="31" y="51"/>
                          <a:pt x="31" y="51"/>
                        </a:cubicBezTo>
                        <a:close/>
                        <a:moveTo>
                          <a:pt x="35" y="53"/>
                        </a:moveTo>
                        <a:cubicBezTo>
                          <a:pt x="35" y="53"/>
                          <a:pt x="35" y="53"/>
                          <a:pt x="35" y="53"/>
                        </a:cubicBezTo>
                        <a:cubicBezTo>
                          <a:pt x="35" y="53"/>
                          <a:pt x="35" y="53"/>
                          <a:pt x="35" y="52"/>
                        </a:cubicBezTo>
                        <a:cubicBezTo>
                          <a:pt x="35" y="52"/>
                          <a:pt x="35" y="53"/>
                          <a:pt x="35" y="53"/>
                        </a:cubicBezTo>
                        <a:cubicBezTo>
                          <a:pt x="35" y="53"/>
                          <a:pt x="35" y="53"/>
                          <a:pt x="35" y="53"/>
                        </a:cubicBezTo>
                        <a:close/>
                        <a:moveTo>
                          <a:pt x="36" y="53"/>
                        </a:moveTo>
                        <a:cubicBezTo>
                          <a:pt x="36" y="53"/>
                          <a:pt x="36" y="53"/>
                          <a:pt x="36" y="54"/>
                        </a:cubicBezTo>
                        <a:cubicBezTo>
                          <a:pt x="36" y="54"/>
                          <a:pt x="36" y="53"/>
                          <a:pt x="36" y="53"/>
                        </a:cubicBezTo>
                        <a:close/>
                        <a:moveTo>
                          <a:pt x="36" y="54"/>
                        </a:moveTo>
                        <a:cubicBezTo>
                          <a:pt x="36" y="53"/>
                          <a:pt x="36" y="53"/>
                          <a:pt x="36" y="53"/>
                        </a:cubicBezTo>
                        <a:cubicBezTo>
                          <a:pt x="36" y="53"/>
                          <a:pt x="36" y="54"/>
                          <a:pt x="36" y="54"/>
                        </a:cubicBezTo>
                        <a:close/>
                        <a:moveTo>
                          <a:pt x="33" y="52"/>
                        </a:moveTo>
                        <a:cubicBezTo>
                          <a:pt x="33" y="52"/>
                          <a:pt x="33" y="52"/>
                          <a:pt x="33" y="52"/>
                        </a:cubicBezTo>
                        <a:cubicBezTo>
                          <a:pt x="33" y="53"/>
                          <a:pt x="33" y="52"/>
                          <a:pt x="33" y="52"/>
                        </a:cubicBezTo>
                        <a:cubicBezTo>
                          <a:pt x="33" y="52"/>
                          <a:pt x="33" y="52"/>
                          <a:pt x="33" y="52"/>
                        </a:cubicBezTo>
                        <a:cubicBezTo>
                          <a:pt x="33" y="52"/>
                          <a:pt x="33" y="52"/>
                          <a:pt x="33" y="52"/>
                        </a:cubicBezTo>
                        <a:close/>
                        <a:moveTo>
                          <a:pt x="34" y="53"/>
                        </a:moveTo>
                        <a:cubicBezTo>
                          <a:pt x="34" y="53"/>
                          <a:pt x="34" y="53"/>
                          <a:pt x="34" y="53"/>
                        </a:cubicBezTo>
                        <a:cubicBezTo>
                          <a:pt x="34" y="53"/>
                          <a:pt x="34" y="53"/>
                          <a:pt x="34" y="53"/>
                        </a:cubicBezTo>
                        <a:cubicBezTo>
                          <a:pt x="34" y="53"/>
                          <a:pt x="34" y="53"/>
                          <a:pt x="34" y="53"/>
                        </a:cubicBezTo>
                        <a:cubicBezTo>
                          <a:pt x="34" y="53"/>
                          <a:pt x="34" y="53"/>
                          <a:pt x="34" y="53"/>
                        </a:cubicBezTo>
                        <a:close/>
                        <a:moveTo>
                          <a:pt x="35" y="53"/>
                        </a:moveTo>
                        <a:cubicBezTo>
                          <a:pt x="36" y="53"/>
                          <a:pt x="35" y="54"/>
                          <a:pt x="35" y="54"/>
                        </a:cubicBezTo>
                        <a:cubicBezTo>
                          <a:pt x="35" y="54"/>
                          <a:pt x="35" y="54"/>
                          <a:pt x="35" y="53"/>
                        </a:cubicBezTo>
                        <a:close/>
                        <a:moveTo>
                          <a:pt x="36" y="54"/>
                        </a:moveTo>
                        <a:cubicBezTo>
                          <a:pt x="36" y="54"/>
                          <a:pt x="36" y="54"/>
                          <a:pt x="36" y="54"/>
                        </a:cubicBezTo>
                        <a:cubicBezTo>
                          <a:pt x="36" y="54"/>
                          <a:pt x="36" y="54"/>
                          <a:pt x="36" y="54"/>
                        </a:cubicBezTo>
                        <a:close/>
                        <a:moveTo>
                          <a:pt x="30" y="51"/>
                        </a:moveTo>
                        <a:cubicBezTo>
                          <a:pt x="30" y="51"/>
                          <a:pt x="30" y="51"/>
                          <a:pt x="30" y="51"/>
                        </a:cubicBezTo>
                        <a:cubicBezTo>
                          <a:pt x="31" y="51"/>
                          <a:pt x="30" y="51"/>
                          <a:pt x="30" y="51"/>
                        </a:cubicBezTo>
                        <a:close/>
                        <a:moveTo>
                          <a:pt x="31" y="51"/>
                        </a:moveTo>
                        <a:cubicBezTo>
                          <a:pt x="31" y="51"/>
                          <a:pt x="31" y="52"/>
                          <a:pt x="31" y="52"/>
                        </a:cubicBezTo>
                        <a:cubicBezTo>
                          <a:pt x="30" y="52"/>
                          <a:pt x="30" y="52"/>
                          <a:pt x="31" y="51"/>
                        </a:cubicBezTo>
                        <a:close/>
                        <a:moveTo>
                          <a:pt x="34" y="54"/>
                        </a:move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4" y="54"/>
                          <a:pt x="34" y="54"/>
                          <a:pt x="34" y="53"/>
                        </a:cubicBezTo>
                        <a:cubicBezTo>
                          <a:pt x="34" y="53"/>
                          <a:pt x="34" y="54"/>
                          <a:pt x="34" y="54"/>
                        </a:cubicBezTo>
                        <a:close/>
                        <a:moveTo>
                          <a:pt x="31" y="53"/>
                        </a:moveTo>
                        <a:cubicBezTo>
                          <a:pt x="32" y="53"/>
                          <a:pt x="31" y="53"/>
                          <a:pt x="31" y="52"/>
                        </a:cubicBezTo>
                        <a:cubicBezTo>
                          <a:pt x="32" y="52"/>
                          <a:pt x="32" y="52"/>
                          <a:pt x="32" y="52"/>
                        </a:cubicBezTo>
                        <a:cubicBezTo>
                          <a:pt x="32" y="53"/>
                          <a:pt x="31" y="53"/>
                          <a:pt x="31" y="53"/>
                        </a:cubicBezTo>
                        <a:cubicBezTo>
                          <a:pt x="31" y="53"/>
                          <a:pt x="31" y="53"/>
                          <a:pt x="31" y="53"/>
                        </a:cubicBezTo>
                        <a:cubicBezTo>
                          <a:pt x="31" y="53"/>
                          <a:pt x="31" y="53"/>
                          <a:pt x="31" y="52"/>
                        </a:cubicBezTo>
                        <a:cubicBezTo>
                          <a:pt x="31" y="53"/>
                          <a:pt x="31" y="53"/>
                          <a:pt x="31" y="53"/>
                        </a:cubicBezTo>
                        <a:close/>
                        <a:moveTo>
                          <a:pt x="31" y="53"/>
                        </a:moveTo>
                        <a:cubicBezTo>
                          <a:pt x="31" y="53"/>
                          <a:pt x="31" y="53"/>
                          <a:pt x="31" y="53"/>
                        </a:cubicBezTo>
                        <a:cubicBezTo>
                          <a:pt x="31" y="53"/>
                          <a:pt x="31" y="53"/>
                          <a:pt x="31" y="53"/>
                        </a:cubicBezTo>
                        <a:close/>
                        <a:moveTo>
                          <a:pt x="34" y="54"/>
                        </a:move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4" y="55"/>
                          <a:pt x="34" y="54"/>
                          <a:pt x="33" y="55"/>
                        </a:cubicBezTo>
                        <a:cubicBezTo>
                          <a:pt x="33" y="54"/>
                          <a:pt x="33" y="54"/>
                          <a:pt x="34" y="54"/>
                        </a:cubicBez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4" y="54"/>
                          <a:pt x="34" y="54"/>
                          <a:pt x="34" y="54"/>
                        </a:cubicBezTo>
                        <a:close/>
                        <a:moveTo>
                          <a:pt x="31" y="52"/>
                        </a:moveTo>
                        <a:cubicBezTo>
                          <a:pt x="30" y="52"/>
                          <a:pt x="30" y="53"/>
                          <a:pt x="30" y="52"/>
                        </a:cubicBezTo>
                        <a:cubicBezTo>
                          <a:pt x="30" y="52"/>
                          <a:pt x="30" y="52"/>
                          <a:pt x="31" y="52"/>
                        </a:cubicBezTo>
                        <a:close/>
                        <a:moveTo>
                          <a:pt x="36" y="55"/>
                        </a:moveTo>
                        <a:cubicBezTo>
                          <a:pt x="36" y="55"/>
                          <a:pt x="36" y="55"/>
                          <a:pt x="36" y="55"/>
                        </a:cubicBezTo>
                        <a:cubicBezTo>
                          <a:pt x="36" y="55"/>
                          <a:pt x="36" y="55"/>
                          <a:pt x="36" y="55"/>
                        </a:cubicBezTo>
                        <a:close/>
                        <a:moveTo>
                          <a:pt x="37" y="56"/>
                        </a:moveTo>
                        <a:cubicBezTo>
                          <a:pt x="37" y="56"/>
                          <a:pt x="37" y="56"/>
                          <a:pt x="37" y="56"/>
                        </a:cubicBezTo>
                        <a:cubicBezTo>
                          <a:pt x="37" y="56"/>
                          <a:pt x="37" y="56"/>
                          <a:pt x="37" y="57"/>
                        </a:cubicBezTo>
                        <a:cubicBezTo>
                          <a:pt x="36" y="56"/>
                          <a:pt x="36" y="57"/>
                          <a:pt x="36" y="57"/>
                        </a:cubicBezTo>
                        <a:cubicBezTo>
                          <a:pt x="36" y="56"/>
                          <a:pt x="36" y="56"/>
                          <a:pt x="36" y="56"/>
                        </a:cubicBezTo>
                        <a:cubicBezTo>
                          <a:pt x="36" y="56"/>
                          <a:pt x="36" y="56"/>
                          <a:pt x="36" y="56"/>
                        </a:cubicBezTo>
                        <a:cubicBezTo>
                          <a:pt x="36" y="56"/>
                          <a:pt x="37" y="56"/>
                          <a:pt x="37" y="56"/>
                        </a:cubicBezTo>
                        <a:cubicBezTo>
                          <a:pt x="37" y="56"/>
                          <a:pt x="37" y="56"/>
                          <a:pt x="37" y="55"/>
                        </a:cubicBezTo>
                        <a:cubicBezTo>
                          <a:pt x="37" y="55"/>
                          <a:pt x="37" y="56"/>
                          <a:pt x="37" y="55"/>
                        </a:cubicBezTo>
                        <a:cubicBezTo>
                          <a:pt x="37" y="55"/>
                          <a:pt x="37" y="55"/>
                          <a:pt x="37" y="55"/>
                        </a:cubicBezTo>
                        <a:cubicBezTo>
                          <a:pt x="37" y="55"/>
                          <a:pt x="38" y="54"/>
                          <a:pt x="38" y="54"/>
                        </a:cubicBezTo>
                        <a:cubicBezTo>
                          <a:pt x="38" y="54"/>
                          <a:pt x="38" y="54"/>
                          <a:pt x="38" y="54"/>
                        </a:cubicBezTo>
                        <a:cubicBezTo>
                          <a:pt x="38" y="55"/>
                          <a:pt x="37" y="55"/>
                          <a:pt x="37" y="56"/>
                        </a:cubicBezTo>
                        <a:cubicBezTo>
                          <a:pt x="37" y="56"/>
                          <a:pt x="37" y="56"/>
                          <a:pt x="37" y="56"/>
                        </a:cubicBezTo>
                        <a:cubicBezTo>
                          <a:pt x="37" y="56"/>
                          <a:pt x="37" y="56"/>
                          <a:pt x="37" y="56"/>
                        </a:cubicBezTo>
                        <a:cubicBezTo>
                          <a:pt x="37" y="56"/>
                          <a:pt x="37" y="56"/>
                          <a:pt x="37" y="56"/>
                        </a:cubicBezTo>
                        <a:close/>
                        <a:moveTo>
                          <a:pt x="30" y="53"/>
                        </a:moveTo>
                        <a:cubicBezTo>
                          <a:pt x="30" y="53"/>
                          <a:pt x="30" y="53"/>
                          <a:pt x="30" y="53"/>
                        </a:cubicBezTo>
                        <a:cubicBezTo>
                          <a:pt x="30" y="53"/>
                          <a:pt x="30" y="53"/>
                          <a:pt x="30" y="53"/>
                        </a:cubicBezTo>
                        <a:cubicBezTo>
                          <a:pt x="30" y="53"/>
                          <a:pt x="30" y="53"/>
                          <a:pt x="30" y="53"/>
                        </a:cubicBezTo>
                        <a:cubicBezTo>
                          <a:pt x="30" y="53"/>
                          <a:pt x="30" y="53"/>
                          <a:pt x="30" y="53"/>
                        </a:cubicBezTo>
                        <a:close/>
                        <a:moveTo>
                          <a:pt x="34" y="55"/>
                        </a:moveTo>
                        <a:cubicBezTo>
                          <a:pt x="34" y="55"/>
                          <a:pt x="34" y="54"/>
                          <a:pt x="34" y="55"/>
                        </a:cubicBezTo>
                        <a:cubicBezTo>
                          <a:pt x="34" y="55"/>
                          <a:pt x="34" y="55"/>
                          <a:pt x="34" y="55"/>
                        </a:cubicBezTo>
                        <a:close/>
                        <a:moveTo>
                          <a:pt x="29" y="52"/>
                        </a:moveTo>
                        <a:cubicBezTo>
                          <a:pt x="29" y="52"/>
                          <a:pt x="29" y="52"/>
                          <a:pt x="29" y="52"/>
                        </a:cubicBezTo>
                        <a:cubicBezTo>
                          <a:pt x="29" y="52"/>
                          <a:pt x="29" y="53"/>
                          <a:pt x="29" y="52"/>
                        </a:cubicBezTo>
                        <a:close/>
                        <a:moveTo>
                          <a:pt x="30" y="53"/>
                        </a:moveTo>
                        <a:cubicBezTo>
                          <a:pt x="29" y="52"/>
                          <a:pt x="29" y="53"/>
                          <a:pt x="29" y="53"/>
                        </a:cubicBezTo>
                        <a:cubicBezTo>
                          <a:pt x="29" y="53"/>
                          <a:pt x="29" y="53"/>
                          <a:pt x="29" y="52"/>
                        </a:cubicBezTo>
                        <a:cubicBezTo>
                          <a:pt x="29" y="53"/>
                          <a:pt x="30" y="53"/>
                          <a:pt x="30" y="53"/>
                        </a:cubicBezTo>
                        <a:close/>
                        <a:moveTo>
                          <a:pt x="34" y="55"/>
                        </a:moveTo>
                        <a:cubicBezTo>
                          <a:pt x="34" y="55"/>
                          <a:pt x="34" y="55"/>
                          <a:pt x="34" y="55"/>
                        </a:cubicBezTo>
                        <a:cubicBezTo>
                          <a:pt x="34" y="55"/>
                          <a:pt x="34" y="55"/>
                          <a:pt x="34" y="55"/>
                        </a:cubicBezTo>
                        <a:close/>
                        <a:moveTo>
                          <a:pt x="32" y="55"/>
                        </a:moveTo>
                        <a:cubicBezTo>
                          <a:pt x="32" y="55"/>
                          <a:pt x="32" y="55"/>
                          <a:pt x="32" y="54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4"/>
                        </a:cubicBezTo>
                        <a:cubicBezTo>
                          <a:pt x="32" y="54"/>
                          <a:pt x="32" y="54"/>
                          <a:pt x="33" y="54"/>
                        </a:cubicBezTo>
                        <a:cubicBezTo>
                          <a:pt x="33" y="55"/>
                          <a:pt x="32" y="54"/>
                          <a:pt x="32" y="55"/>
                        </a:cubicBezTo>
                        <a:close/>
                        <a:moveTo>
                          <a:pt x="36" y="57"/>
                        </a:moveTo>
                        <a:cubicBezTo>
                          <a:pt x="36" y="57"/>
                          <a:pt x="36" y="57"/>
                          <a:pt x="36" y="56"/>
                        </a:cubicBezTo>
                        <a:cubicBezTo>
                          <a:pt x="36" y="56"/>
                          <a:pt x="36" y="56"/>
                          <a:pt x="36" y="56"/>
                        </a:cubicBezTo>
                        <a:cubicBezTo>
                          <a:pt x="35" y="56"/>
                          <a:pt x="36" y="56"/>
                          <a:pt x="36" y="56"/>
                        </a:cubicBezTo>
                        <a:cubicBezTo>
                          <a:pt x="36" y="56"/>
                          <a:pt x="36" y="56"/>
                          <a:pt x="36" y="56"/>
                        </a:cubicBezTo>
                        <a:cubicBezTo>
                          <a:pt x="36" y="57"/>
                          <a:pt x="36" y="57"/>
                          <a:pt x="35" y="57"/>
                        </a:cubicBezTo>
                        <a:cubicBezTo>
                          <a:pt x="35" y="57"/>
                          <a:pt x="36" y="57"/>
                          <a:pt x="36" y="57"/>
                        </a:cubicBezTo>
                        <a:close/>
                        <a:moveTo>
                          <a:pt x="34" y="55"/>
                        </a:moveTo>
                        <a:cubicBezTo>
                          <a:pt x="34" y="55"/>
                          <a:pt x="34" y="55"/>
                          <a:pt x="34" y="55"/>
                        </a:cubicBezTo>
                        <a:cubicBezTo>
                          <a:pt x="34" y="55"/>
                          <a:pt x="34" y="55"/>
                          <a:pt x="34" y="55"/>
                        </a:cubicBezTo>
                        <a:cubicBezTo>
                          <a:pt x="34" y="55"/>
                          <a:pt x="34" y="55"/>
                          <a:pt x="34" y="55"/>
                        </a:cubicBezTo>
                        <a:cubicBezTo>
                          <a:pt x="34" y="56"/>
                          <a:pt x="34" y="55"/>
                          <a:pt x="34" y="55"/>
                        </a:cubicBezTo>
                        <a:close/>
                        <a:moveTo>
                          <a:pt x="30" y="54"/>
                        </a:moveTo>
                        <a:cubicBezTo>
                          <a:pt x="31" y="54"/>
                          <a:pt x="31" y="54"/>
                          <a:pt x="31" y="54"/>
                        </a:cubicBezTo>
                        <a:cubicBezTo>
                          <a:pt x="31" y="54"/>
                          <a:pt x="31" y="54"/>
                          <a:pt x="31" y="54"/>
                        </a:cubicBezTo>
                        <a:cubicBezTo>
                          <a:pt x="31" y="54"/>
                          <a:pt x="31" y="54"/>
                          <a:pt x="30" y="54"/>
                        </a:cubicBezTo>
                        <a:close/>
                        <a:moveTo>
                          <a:pt x="29" y="54"/>
                        </a:moveTo>
                        <a:cubicBezTo>
                          <a:pt x="29" y="54"/>
                          <a:pt x="29" y="53"/>
                          <a:pt x="29" y="53"/>
                        </a:cubicBezTo>
                        <a:cubicBezTo>
                          <a:pt x="29" y="53"/>
                          <a:pt x="29" y="54"/>
                          <a:pt x="29" y="54"/>
                        </a:cubicBezTo>
                        <a:close/>
                        <a:moveTo>
                          <a:pt x="31" y="55"/>
                        </a:moveTo>
                        <a:cubicBezTo>
                          <a:pt x="31" y="55"/>
                          <a:pt x="31" y="55"/>
                          <a:pt x="31" y="55"/>
                        </a:cubicBezTo>
                        <a:cubicBezTo>
                          <a:pt x="31" y="55"/>
                          <a:pt x="30" y="55"/>
                          <a:pt x="31" y="55"/>
                        </a:cubicBezTo>
                        <a:close/>
                        <a:moveTo>
                          <a:pt x="33" y="57"/>
                        </a:moveTo>
                        <a:cubicBezTo>
                          <a:pt x="33" y="57"/>
                          <a:pt x="33" y="56"/>
                          <a:pt x="33" y="56"/>
                        </a:cubicBezTo>
                        <a:cubicBezTo>
                          <a:pt x="33" y="56"/>
                          <a:pt x="33" y="56"/>
                          <a:pt x="33" y="57"/>
                        </a:cubicBezTo>
                        <a:cubicBezTo>
                          <a:pt x="33" y="56"/>
                          <a:pt x="33" y="56"/>
                          <a:pt x="34" y="56"/>
                        </a:cubicBezTo>
                        <a:cubicBezTo>
                          <a:pt x="34" y="57"/>
                          <a:pt x="33" y="57"/>
                          <a:pt x="33" y="57"/>
                        </a:cubicBezTo>
                        <a:cubicBezTo>
                          <a:pt x="33" y="57"/>
                          <a:pt x="33" y="57"/>
                          <a:pt x="33" y="57"/>
                        </a:cubicBezTo>
                        <a:close/>
                        <a:moveTo>
                          <a:pt x="34" y="57"/>
                        </a:moveTo>
                        <a:cubicBezTo>
                          <a:pt x="34" y="57"/>
                          <a:pt x="34" y="57"/>
                          <a:pt x="34" y="56"/>
                        </a:cubicBezTo>
                        <a:cubicBezTo>
                          <a:pt x="34" y="57"/>
                          <a:pt x="34" y="57"/>
                          <a:pt x="34" y="57"/>
                        </a:cubicBezTo>
                        <a:close/>
                        <a:moveTo>
                          <a:pt x="29" y="54"/>
                        </a:moveTo>
                        <a:cubicBezTo>
                          <a:pt x="29" y="54"/>
                          <a:pt x="29" y="54"/>
                          <a:pt x="29" y="54"/>
                        </a:cubicBezTo>
                        <a:cubicBezTo>
                          <a:pt x="29" y="54"/>
                          <a:pt x="29" y="54"/>
                          <a:pt x="29" y="54"/>
                        </a:cubicBezTo>
                        <a:cubicBezTo>
                          <a:pt x="29" y="54"/>
                          <a:pt x="29" y="54"/>
                          <a:pt x="29" y="54"/>
                        </a:cubicBezTo>
                        <a:close/>
                        <a:moveTo>
                          <a:pt x="34" y="57"/>
                        </a:moveTo>
                        <a:cubicBezTo>
                          <a:pt x="34" y="57"/>
                          <a:pt x="34" y="58"/>
                          <a:pt x="34" y="58"/>
                        </a:cubicBezTo>
                        <a:cubicBezTo>
                          <a:pt x="34" y="58"/>
                          <a:pt x="34" y="57"/>
                          <a:pt x="34" y="57"/>
                        </a:cubicBezTo>
                        <a:close/>
                        <a:moveTo>
                          <a:pt x="33" y="57"/>
                        </a:moveTo>
                        <a:cubicBezTo>
                          <a:pt x="33" y="57"/>
                          <a:pt x="33" y="57"/>
                          <a:pt x="33" y="57"/>
                        </a:cubicBezTo>
                        <a:cubicBezTo>
                          <a:pt x="33" y="57"/>
                          <a:pt x="33" y="58"/>
                          <a:pt x="33" y="58"/>
                        </a:cubicBezTo>
                        <a:cubicBezTo>
                          <a:pt x="32" y="58"/>
                          <a:pt x="33" y="57"/>
                          <a:pt x="33" y="57"/>
                        </a:cubicBezTo>
                        <a:close/>
                        <a:moveTo>
                          <a:pt x="30" y="56"/>
                        </a:moveTo>
                        <a:cubicBezTo>
                          <a:pt x="30" y="56"/>
                          <a:pt x="30" y="56"/>
                          <a:pt x="30" y="56"/>
                        </a:cubicBezTo>
                        <a:cubicBezTo>
                          <a:pt x="30" y="56"/>
                          <a:pt x="30" y="56"/>
                          <a:pt x="30" y="56"/>
                        </a:cubicBezTo>
                        <a:close/>
                        <a:moveTo>
                          <a:pt x="34" y="59"/>
                        </a:moveTo>
                        <a:cubicBezTo>
                          <a:pt x="34" y="58"/>
                          <a:pt x="34" y="58"/>
                          <a:pt x="34" y="58"/>
                        </a:cubicBezTo>
                        <a:cubicBezTo>
                          <a:pt x="35" y="58"/>
                          <a:pt x="35" y="59"/>
                          <a:pt x="34" y="59"/>
                        </a:cubicBezTo>
                        <a:close/>
                        <a:moveTo>
                          <a:pt x="35" y="59"/>
                        </a:moveTo>
                        <a:cubicBezTo>
                          <a:pt x="35" y="59"/>
                          <a:pt x="35" y="59"/>
                          <a:pt x="35" y="59"/>
                        </a:cubicBezTo>
                        <a:cubicBezTo>
                          <a:pt x="35" y="58"/>
                          <a:pt x="35" y="58"/>
                          <a:pt x="35" y="58"/>
                        </a:cubicBezTo>
                        <a:cubicBezTo>
                          <a:pt x="35" y="58"/>
                          <a:pt x="35" y="59"/>
                          <a:pt x="35" y="59"/>
                        </a:cubicBezTo>
                        <a:cubicBezTo>
                          <a:pt x="35" y="59"/>
                          <a:pt x="35" y="59"/>
                          <a:pt x="35" y="59"/>
                        </a:cubicBezTo>
                        <a:close/>
                        <a:moveTo>
                          <a:pt x="29" y="56"/>
                        </a:moveTo>
                        <a:cubicBezTo>
                          <a:pt x="29" y="56"/>
                          <a:pt x="29" y="55"/>
                          <a:pt x="29" y="55"/>
                        </a:cubicBezTo>
                        <a:cubicBezTo>
                          <a:pt x="29" y="55"/>
                          <a:pt x="29" y="55"/>
                          <a:pt x="29" y="56"/>
                        </a:cubicBezTo>
                        <a:cubicBezTo>
                          <a:pt x="29" y="56"/>
                          <a:pt x="29" y="56"/>
                          <a:pt x="29" y="56"/>
                        </a:cubicBezTo>
                        <a:cubicBezTo>
                          <a:pt x="29" y="56"/>
                          <a:pt x="29" y="55"/>
                          <a:pt x="29" y="56"/>
                        </a:cubicBezTo>
                        <a:close/>
                        <a:moveTo>
                          <a:pt x="32" y="58"/>
                        </a:moveTo>
                        <a:cubicBezTo>
                          <a:pt x="33" y="58"/>
                          <a:pt x="33" y="58"/>
                          <a:pt x="33" y="58"/>
                        </a:cubicBezTo>
                        <a:cubicBezTo>
                          <a:pt x="32" y="58"/>
                          <a:pt x="32" y="58"/>
                          <a:pt x="32" y="58"/>
                        </a:cubicBezTo>
                        <a:cubicBezTo>
                          <a:pt x="32" y="58"/>
                          <a:pt x="32" y="58"/>
                          <a:pt x="32" y="58"/>
                        </a:cubicBezTo>
                        <a:close/>
                        <a:moveTo>
                          <a:pt x="28" y="56"/>
                        </a:moveTo>
                        <a:cubicBezTo>
                          <a:pt x="28" y="56"/>
                          <a:pt x="28" y="56"/>
                          <a:pt x="28" y="56"/>
                        </a:cubicBezTo>
                        <a:cubicBezTo>
                          <a:pt x="27" y="56"/>
                          <a:pt x="28" y="56"/>
                          <a:pt x="28" y="56"/>
                        </a:cubicBezTo>
                        <a:close/>
                        <a:moveTo>
                          <a:pt x="29" y="57"/>
                        </a:moveTo>
                        <a:cubicBezTo>
                          <a:pt x="29" y="57"/>
                          <a:pt x="29" y="57"/>
                          <a:pt x="29" y="57"/>
                        </a:cubicBezTo>
                        <a:cubicBezTo>
                          <a:pt x="29" y="57"/>
                          <a:pt x="29" y="57"/>
                          <a:pt x="29" y="57"/>
                        </a:cubicBezTo>
                        <a:cubicBezTo>
                          <a:pt x="29" y="57"/>
                          <a:pt x="29" y="57"/>
                          <a:pt x="29" y="57"/>
                        </a:cubicBezTo>
                        <a:close/>
                        <a:moveTo>
                          <a:pt x="32" y="59"/>
                        </a:moveTo>
                        <a:cubicBezTo>
                          <a:pt x="32" y="59"/>
                          <a:pt x="32" y="59"/>
                          <a:pt x="32" y="59"/>
                        </a:cubicBezTo>
                        <a:cubicBezTo>
                          <a:pt x="32" y="59"/>
                          <a:pt x="32" y="59"/>
                          <a:pt x="32" y="59"/>
                        </a:cubicBezTo>
                        <a:close/>
                        <a:moveTo>
                          <a:pt x="30" y="57"/>
                        </a:moveTo>
                        <a:cubicBezTo>
                          <a:pt x="30" y="58"/>
                          <a:pt x="30" y="58"/>
                          <a:pt x="30" y="58"/>
                        </a:cubicBezTo>
                        <a:cubicBezTo>
                          <a:pt x="29" y="58"/>
                          <a:pt x="30" y="58"/>
                          <a:pt x="30" y="57"/>
                        </a:cubicBezTo>
                        <a:close/>
                        <a:moveTo>
                          <a:pt x="31" y="59"/>
                        </a:moveTo>
                        <a:cubicBezTo>
                          <a:pt x="31" y="59"/>
                          <a:pt x="31" y="59"/>
                          <a:pt x="31" y="59"/>
                        </a:cubicBezTo>
                        <a:cubicBezTo>
                          <a:pt x="31" y="59"/>
                          <a:pt x="31" y="59"/>
                          <a:pt x="31" y="59"/>
                        </a:cubicBezTo>
                        <a:close/>
                        <a:moveTo>
                          <a:pt x="29" y="58"/>
                        </a:moveTo>
                        <a:cubicBezTo>
                          <a:pt x="29" y="58"/>
                          <a:pt x="29" y="58"/>
                          <a:pt x="29" y="58"/>
                        </a:cubicBezTo>
                        <a:cubicBezTo>
                          <a:pt x="29" y="58"/>
                          <a:pt x="29" y="58"/>
                          <a:pt x="29" y="58"/>
                        </a:cubicBezTo>
                        <a:close/>
                        <a:moveTo>
                          <a:pt x="27" y="58"/>
                        </a:moveTo>
                        <a:cubicBezTo>
                          <a:pt x="27" y="58"/>
                          <a:pt x="27" y="58"/>
                          <a:pt x="28" y="58"/>
                        </a:cubicBezTo>
                        <a:cubicBezTo>
                          <a:pt x="28" y="58"/>
                          <a:pt x="28" y="58"/>
                          <a:pt x="27" y="58"/>
                        </a:cubicBezTo>
                        <a:close/>
                        <a:moveTo>
                          <a:pt x="29" y="59"/>
                        </a:moveTo>
                        <a:cubicBezTo>
                          <a:pt x="29" y="59"/>
                          <a:pt x="29" y="59"/>
                          <a:pt x="29" y="59"/>
                        </a:cubicBezTo>
                        <a:cubicBezTo>
                          <a:pt x="29" y="59"/>
                          <a:pt x="28" y="59"/>
                          <a:pt x="28" y="59"/>
                        </a:cubicBezTo>
                        <a:cubicBezTo>
                          <a:pt x="28" y="59"/>
                          <a:pt x="29" y="59"/>
                          <a:pt x="29" y="59"/>
                        </a:cubicBezTo>
                        <a:cubicBezTo>
                          <a:pt x="29" y="59"/>
                          <a:pt x="28" y="59"/>
                          <a:pt x="29" y="59"/>
                        </a:cubicBezTo>
                        <a:cubicBezTo>
                          <a:pt x="29" y="59"/>
                          <a:pt x="29" y="59"/>
                          <a:pt x="29" y="58"/>
                        </a:cubicBezTo>
                        <a:cubicBezTo>
                          <a:pt x="29" y="59"/>
                          <a:pt x="29" y="59"/>
                          <a:pt x="29" y="59"/>
                        </a:cubicBezTo>
                        <a:cubicBezTo>
                          <a:pt x="29" y="59"/>
                          <a:pt x="29" y="59"/>
                          <a:pt x="29" y="59"/>
                        </a:cubicBezTo>
                        <a:cubicBezTo>
                          <a:pt x="29" y="59"/>
                          <a:pt x="29" y="59"/>
                          <a:pt x="29" y="59"/>
                        </a:cubicBezTo>
                        <a:close/>
                        <a:moveTo>
                          <a:pt x="33" y="62"/>
                        </a:moveTo>
                        <a:cubicBezTo>
                          <a:pt x="33" y="61"/>
                          <a:pt x="33" y="61"/>
                          <a:pt x="33" y="61"/>
                        </a:cubicBezTo>
                        <a:cubicBezTo>
                          <a:pt x="33" y="61"/>
                          <a:pt x="33" y="61"/>
                          <a:pt x="33" y="62"/>
                        </a:cubicBezTo>
                        <a:close/>
                        <a:moveTo>
                          <a:pt x="29" y="60"/>
                        </a:moveTo>
                        <a:cubicBezTo>
                          <a:pt x="29" y="59"/>
                          <a:pt x="29" y="60"/>
                          <a:pt x="29" y="60"/>
                        </a:cubicBezTo>
                        <a:cubicBezTo>
                          <a:pt x="29" y="60"/>
                          <a:pt x="29" y="59"/>
                          <a:pt x="29" y="59"/>
                        </a:cubicBezTo>
                        <a:cubicBezTo>
                          <a:pt x="30" y="59"/>
                          <a:pt x="30" y="59"/>
                          <a:pt x="30" y="59"/>
                        </a:cubicBezTo>
                        <a:cubicBezTo>
                          <a:pt x="30" y="60"/>
                          <a:pt x="29" y="60"/>
                          <a:pt x="29" y="60"/>
                        </a:cubicBezTo>
                        <a:cubicBezTo>
                          <a:pt x="29" y="60"/>
                          <a:pt x="29" y="60"/>
                          <a:pt x="29" y="60"/>
                        </a:cubicBezTo>
                        <a:close/>
                        <a:moveTo>
                          <a:pt x="27" y="58"/>
                        </a:moveTo>
                        <a:cubicBezTo>
                          <a:pt x="27" y="58"/>
                          <a:pt x="27" y="58"/>
                          <a:pt x="27" y="58"/>
                        </a:cubicBezTo>
                        <a:cubicBezTo>
                          <a:pt x="26" y="58"/>
                          <a:pt x="27" y="58"/>
                          <a:pt x="27" y="58"/>
                        </a:cubicBezTo>
                        <a:close/>
                        <a:moveTo>
                          <a:pt x="28" y="59"/>
                        </a:moveTo>
                        <a:cubicBezTo>
                          <a:pt x="28" y="59"/>
                          <a:pt x="28" y="59"/>
                          <a:pt x="28" y="59"/>
                        </a:cubicBezTo>
                        <a:cubicBezTo>
                          <a:pt x="28" y="59"/>
                          <a:pt x="28" y="59"/>
                          <a:pt x="28" y="60"/>
                        </a:cubicBezTo>
                        <a:cubicBezTo>
                          <a:pt x="28" y="59"/>
                          <a:pt x="28" y="59"/>
                          <a:pt x="28" y="59"/>
                        </a:cubicBezTo>
                        <a:cubicBezTo>
                          <a:pt x="28" y="59"/>
                          <a:pt x="28" y="59"/>
                          <a:pt x="28" y="59"/>
                        </a:cubicBezTo>
                        <a:close/>
                        <a:moveTo>
                          <a:pt x="31" y="61"/>
                        </a:moveTo>
                        <a:cubicBezTo>
                          <a:pt x="31" y="61"/>
                          <a:pt x="31" y="61"/>
                          <a:pt x="32" y="61"/>
                        </a:cubicBezTo>
                        <a:cubicBezTo>
                          <a:pt x="32" y="61"/>
                          <a:pt x="32" y="61"/>
                          <a:pt x="31" y="61"/>
                        </a:cubicBezTo>
                        <a:close/>
                        <a:moveTo>
                          <a:pt x="28" y="59"/>
                        </a:moveTo>
                        <a:cubicBezTo>
                          <a:pt x="28" y="60"/>
                          <a:pt x="28" y="60"/>
                          <a:pt x="28" y="60"/>
                        </a:cubicBezTo>
                        <a:cubicBezTo>
                          <a:pt x="28" y="60"/>
                          <a:pt x="28" y="59"/>
                          <a:pt x="28" y="59"/>
                        </a:cubicBezTo>
                        <a:cubicBezTo>
                          <a:pt x="28" y="59"/>
                          <a:pt x="28" y="59"/>
                          <a:pt x="28" y="59"/>
                        </a:cubicBezTo>
                        <a:close/>
                        <a:moveTo>
                          <a:pt x="29" y="61"/>
                        </a:moveTo>
                        <a:cubicBezTo>
                          <a:pt x="29" y="61"/>
                          <a:pt x="29" y="60"/>
                          <a:pt x="29" y="60"/>
                        </a:cubicBezTo>
                        <a:cubicBezTo>
                          <a:pt x="29" y="60"/>
                          <a:pt x="29" y="61"/>
                          <a:pt x="29" y="61"/>
                        </a:cubicBezTo>
                        <a:close/>
                        <a:moveTo>
                          <a:pt x="32" y="62"/>
                        </a:moveTo>
                        <a:cubicBezTo>
                          <a:pt x="32" y="62"/>
                          <a:pt x="32" y="62"/>
                          <a:pt x="32" y="62"/>
                        </a:cubicBezTo>
                        <a:cubicBezTo>
                          <a:pt x="32" y="62"/>
                          <a:pt x="32" y="62"/>
                          <a:pt x="32" y="62"/>
                        </a:cubicBezTo>
                        <a:close/>
                        <a:moveTo>
                          <a:pt x="26" y="59"/>
                        </a:moveTo>
                        <a:cubicBezTo>
                          <a:pt x="26" y="59"/>
                          <a:pt x="26" y="59"/>
                          <a:pt x="26" y="59"/>
                        </a:cubicBezTo>
                        <a:cubicBezTo>
                          <a:pt x="26" y="59"/>
                          <a:pt x="26" y="59"/>
                          <a:pt x="26" y="59"/>
                        </a:cubicBezTo>
                        <a:cubicBezTo>
                          <a:pt x="26" y="59"/>
                          <a:pt x="26" y="59"/>
                          <a:pt x="26" y="59"/>
                        </a:cubicBezTo>
                        <a:close/>
                        <a:moveTo>
                          <a:pt x="28" y="60"/>
                        </a:moveTo>
                        <a:cubicBezTo>
                          <a:pt x="28" y="60"/>
                          <a:pt x="28" y="60"/>
                          <a:pt x="28" y="60"/>
                        </a:cubicBezTo>
                        <a:cubicBezTo>
                          <a:pt x="29" y="60"/>
                          <a:pt x="29" y="60"/>
                          <a:pt x="29" y="60"/>
                        </a:cubicBezTo>
                        <a:cubicBezTo>
                          <a:pt x="29" y="60"/>
                          <a:pt x="28" y="60"/>
                          <a:pt x="28" y="60"/>
                        </a:cubicBezTo>
                        <a:cubicBezTo>
                          <a:pt x="28" y="60"/>
                          <a:pt x="28" y="60"/>
                          <a:pt x="28" y="60"/>
                        </a:cubicBezTo>
                        <a:close/>
                        <a:moveTo>
                          <a:pt x="31" y="62"/>
                        </a:moveTo>
                        <a:cubicBezTo>
                          <a:pt x="31" y="62"/>
                          <a:pt x="31" y="62"/>
                          <a:pt x="31" y="62"/>
                        </a:cubicBezTo>
                        <a:cubicBezTo>
                          <a:pt x="31" y="62"/>
                          <a:pt x="31" y="62"/>
                          <a:pt x="31" y="62"/>
                        </a:cubicBezTo>
                        <a:cubicBezTo>
                          <a:pt x="31" y="62"/>
                          <a:pt x="31" y="62"/>
                          <a:pt x="31" y="62"/>
                        </a:cubicBezTo>
                        <a:close/>
                        <a:moveTo>
                          <a:pt x="26" y="61"/>
                        </a:moveTo>
                        <a:cubicBezTo>
                          <a:pt x="26" y="60"/>
                          <a:pt x="27" y="60"/>
                          <a:pt x="27" y="60"/>
                        </a:cubicBezTo>
                        <a:cubicBezTo>
                          <a:pt x="27" y="60"/>
                          <a:pt x="27" y="60"/>
                          <a:pt x="26" y="61"/>
                        </a:cubicBezTo>
                        <a:close/>
                        <a:moveTo>
                          <a:pt x="36" y="65"/>
                        </a:moveTo>
                        <a:cubicBezTo>
                          <a:pt x="36" y="65"/>
                          <a:pt x="36" y="65"/>
                          <a:pt x="36" y="65"/>
                        </a:cubicBezTo>
                        <a:cubicBezTo>
                          <a:pt x="36" y="65"/>
                          <a:pt x="36" y="65"/>
                          <a:pt x="36" y="65"/>
                        </a:cubicBezTo>
                        <a:cubicBezTo>
                          <a:pt x="36" y="65"/>
                          <a:pt x="36" y="65"/>
                          <a:pt x="36" y="65"/>
                        </a:cubicBezTo>
                        <a:close/>
                        <a:moveTo>
                          <a:pt x="32" y="63"/>
                        </a:move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lose/>
                        <a:moveTo>
                          <a:pt x="35" y="65"/>
                        </a:moveTo>
                        <a:cubicBezTo>
                          <a:pt x="34" y="65"/>
                          <a:pt x="35" y="65"/>
                          <a:pt x="35" y="64"/>
                        </a:cubicBezTo>
                        <a:cubicBezTo>
                          <a:pt x="35" y="65"/>
                          <a:pt x="35" y="65"/>
                          <a:pt x="35" y="65"/>
                        </a:cubicBezTo>
                        <a:cubicBezTo>
                          <a:pt x="35" y="65"/>
                          <a:pt x="35" y="65"/>
                          <a:pt x="35" y="65"/>
                        </a:cubicBezTo>
                        <a:close/>
                        <a:moveTo>
                          <a:pt x="30" y="63"/>
                        </a:moveTo>
                        <a:cubicBezTo>
                          <a:pt x="30" y="63"/>
                          <a:pt x="30" y="63"/>
                          <a:pt x="30" y="63"/>
                        </a:cubicBezTo>
                        <a:cubicBezTo>
                          <a:pt x="30" y="63"/>
                          <a:pt x="30" y="63"/>
                          <a:pt x="30" y="63"/>
                        </a:cubicBezTo>
                        <a:cubicBezTo>
                          <a:pt x="30" y="63"/>
                          <a:pt x="30" y="63"/>
                          <a:pt x="30" y="63"/>
                        </a:cubicBezTo>
                        <a:close/>
                        <a:moveTo>
                          <a:pt x="34" y="65"/>
                        </a:moveTo>
                        <a:cubicBezTo>
                          <a:pt x="34" y="65"/>
                          <a:pt x="34" y="65"/>
                          <a:pt x="34" y="65"/>
                        </a:cubicBezTo>
                        <a:cubicBezTo>
                          <a:pt x="34" y="65"/>
                          <a:pt x="34" y="65"/>
                          <a:pt x="34" y="65"/>
                        </a:cubicBezTo>
                        <a:close/>
                        <a:moveTo>
                          <a:pt x="29" y="62"/>
                        </a:moveTo>
                        <a:cubicBezTo>
                          <a:pt x="29" y="62"/>
                          <a:pt x="29" y="62"/>
                          <a:pt x="29" y="62"/>
                        </a:cubicBezTo>
                        <a:cubicBezTo>
                          <a:pt x="29" y="62"/>
                          <a:pt x="29" y="63"/>
                          <a:pt x="29" y="62"/>
                        </a:cubicBezTo>
                        <a:close/>
                        <a:moveTo>
                          <a:pt x="26" y="61"/>
                        </a:moveTo>
                        <a:cubicBezTo>
                          <a:pt x="26" y="61"/>
                          <a:pt x="26" y="61"/>
                          <a:pt x="26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6" y="61"/>
                        </a:cubicBezTo>
                        <a:close/>
                        <a:moveTo>
                          <a:pt x="34" y="66"/>
                        </a:moveTo>
                        <a:cubicBezTo>
                          <a:pt x="34" y="66"/>
                          <a:pt x="34" y="66"/>
                          <a:pt x="34" y="66"/>
                        </a:cubicBezTo>
                        <a:cubicBezTo>
                          <a:pt x="34" y="66"/>
                          <a:pt x="34" y="66"/>
                          <a:pt x="34" y="66"/>
                        </a:cubicBezTo>
                        <a:cubicBezTo>
                          <a:pt x="34" y="66"/>
                          <a:pt x="34" y="66"/>
                          <a:pt x="34" y="66"/>
                        </a:cubicBezTo>
                        <a:cubicBezTo>
                          <a:pt x="34" y="66"/>
                          <a:pt x="34" y="66"/>
                          <a:pt x="34" y="66"/>
                        </a:cubicBezTo>
                        <a:cubicBezTo>
                          <a:pt x="34" y="66"/>
                          <a:pt x="34" y="66"/>
                          <a:pt x="34" y="66"/>
                        </a:cubicBezTo>
                        <a:close/>
                        <a:moveTo>
                          <a:pt x="26" y="62"/>
                        </a:moveTo>
                        <a:cubicBezTo>
                          <a:pt x="26" y="62"/>
                          <a:pt x="26" y="62"/>
                          <a:pt x="26" y="62"/>
                        </a:cubicBezTo>
                        <a:cubicBezTo>
                          <a:pt x="26" y="62"/>
                          <a:pt x="26" y="62"/>
                          <a:pt x="26" y="62"/>
                        </a:cubicBezTo>
                        <a:close/>
                        <a:moveTo>
                          <a:pt x="26" y="63"/>
                        </a:moveTo>
                        <a:cubicBezTo>
                          <a:pt x="26" y="63"/>
                          <a:pt x="26" y="63"/>
                          <a:pt x="26" y="63"/>
                        </a:cubicBezTo>
                        <a:cubicBezTo>
                          <a:pt x="26" y="63"/>
                          <a:pt x="26" y="63"/>
                          <a:pt x="26" y="63"/>
                        </a:cubicBezTo>
                        <a:cubicBezTo>
                          <a:pt x="26" y="63"/>
                          <a:pt x="26" y="63"/>
                          <a:pt x="26" y="63"/>
                        </a:cubicBezTo>
                        <a:cubicBezTo>
                          <a:pt x="26" y="62"/>
                          <a:pt x="26" y="63"/>
                          <a:pt x="26" y="63"/>
                        </a:cubicBezTo>
                        <a:close/>
                        <a:moveTo>
                          <a:pt x="26" y="63"/>
                        </a:moveTo>
                        <a:cubicBezTo>
                          <a:pt x="26" y="63"/>
                          <a:pt x="26" y="63"/>
                          <a:pt x="26" y="63"/>
                        </a:cubicBezTo>
                        <a:cubicBezTo>
                          <a:pt x="26" y="63"/>
                          <a:pt x="26" y="63"/>
                          <a:pt x="26" y="63"/>
                        </a:cubicBezTo>
                        <a:cubicBezTo>
                          <a:pt x="26" y="63"/>
                          <a:pt x="26" y="63"/>
                          <a:pt x="26" y="63"/>
                        </a:cubicBezTo>
                        <a:close/>
                        <a:moveTo>
                          <a:pt x="25" y="63"/>
                        </a:moveTo>
                        <a:cubicBezTo>
                          <a:pt x="26" y="63"/>
                          <a:pt x="26" y="63"/>
                          <a:pt x="26" y="63"/>
                        </a:cubicBezTo>
                        <a:cubicBezTo>
                          <a:pt x="26" y="63"/>
                          <a:pt x="25" y="64"/>
                          <a:pt x="25" y="63"/>
                        </a:cubicBezTo>
                        <a:cubicBezTo>
                          <a:pt x="25" y="63"/>
                          <a:pt x="25" y="63"/>
                          <a:pt x="25" y="63"/>
                        </a:cubicBezTo>
                        <a:close/>
                        <a:moveTo>
                          <a:pt x="27" y="65"/>
                        </a:moveTo>
                        <a:cubicBezTo>
                          <a:pt x="27" y="65"/>
                          <a:pt x="28" y="65"/>
                          <a:pt x="28" y="65"/>
                        </a:cubicBezTo>
                        <a:cubicBezTo>
                          <a:pt x="28" y="65"/>
                          <a:pt x="28" y="65"/>
                          <a:pt x="28" y="65"/>
                        </a:cubicBezTo>
                        <a:cubicBezTo>
                          <a:pt x="28" y="65"/>
                          <a:pt x="27" y="65"/>
                          <a:pt x="27" y="65"/>
                        </a:cubicBezTo>
                        <a:close/>
                        <a:moveTo>
                          <a:pt x="25" y="64"/>
                        </a:moveTo>
                        <a:cubicBezTo>
                          <a:pt x="25" y="64"/>
                          <a:pt x="25" y="64"/>
                          <a:pt x="25" y="64"/>
                        </a:cubicBezTo>
                        <a:cubicBezTo>
                          <a:pt x="25" y="64"/>
                          <a:pt x="25" y="64"/>
                          <a:pt x="25" y="64"/>
                        </a:cubicBezTo>
                        <a:cubicBezTo>
                          <a:pt x="25" y="64"/>
                          <a:pt x="25" y="64"/>
                          <a:pt x="25" y="64"/>
                        </a:cubicBezTo>
                        <a:close/>
                        <a:moveTo>
                          <a:pt x="29" y="66"/>
                        </a:moveTo>
                        <a:cubicBezTo>
                          <a:pt x="29" y="66"/>
                          <a:pt x="29" y="66"/>
                          <a:pt x="29" y="66"/>
                        </a:cubicBezTo>
                        <a:cubicBezTo>
                          <a:pt x="29" y="66"/>
                          <a:pt x="29" y="66"/>
                          <a:pt x="29" y="66"/>
                        </a:cubicBezTo>
                        <a:cubicBezTo>
                          <a:pt x="29" y="66"/>
                          <a:pt x="29" y="66"/>
                          <a:pt x="29" y="66"/>
                        </a:cubicBezTo>
                        <a:close/>
                        <a:moveTo>
                          <a:pt x="33" y="71"/>
                        </a:moveTo>
                        <a:cubicBezTo>
                          <a:pt x="33" y="71"/>
                          <a:pt x="33" y="71"/>
                          <a:pt x="32" y="71"/>
                        </a:cubicBezTo>
                        <a:cubicBezTo>
                          <a:pt x="33" y="70"/>
                          <a:pt x="33" y="69"/>
                          <a:pt x="34" y="69"/>
                        </a:cubicBezTo>
                        <a:cubicBezTo>
                          <a:pt x="34" y="69"/>
                          <a:pt x="34" y="69"/>
                          <a:pt x="34" y="69"/>
                        </a:cubicBezTo>
                        <a:cubicBezTo>
                          <a:pt x="33" y="69"/>
                          <a:pt x="33" y="70"/>
                          <a:pt x="33" y="71"/>
                        </a:cubicBezTo>
                        <a:cubicBezTo>
                          <a:pt x="33" y="71"/>
                          <a:pt x="33" y="71"/>
                          <a:pt x="33" y="71"/>
                        </a:cubicBezTo>
                        <a:close/>
                        <a:moveTo>
                          <a:pt x="26" y="66"/>
                        </a:moveTo>
                        <a:cubicBezTo>
                          <a:pt x="26" y="66"/>
                          <a:pt x="26" y="66"/>
                          <a:pt x="26" y="66"/>
                        </a:cubicBezTo>
                        <a:cubicBezTo>
                          <a:pt x="26" y="66"/>
                          <a:pt x="26" y="66"/>
                          <a:pt x="26" y="66"/>
                        </a:cubicBezTo>
                        <a:cubicBezTo>
                          <a:pt x="26" y="66"/>
                          <a:pt x="26" y="66"/>
                          <a:pt x="26" y="66"/>
                        </a:cubicBezTo>
                        <a:cubicBezTo>
                          <a:pt x="26" y="66"/>
                          <a:pt x="26" y="66"/>
                          <a:pt x="26" y="66"/>
                        </a:cubicBezTo>
                        <a:cubicBezTo>
                          <a:pt x="26" y="66"/>
                          <a:pt x="26" y="66"/>
                          <a:pt x="26" y="65"/>
                        </a:cubicBezTo>
                        <a:cubicBezTo>
                          <a:pt x="26" y="65"/>
                          <a:pt x="26" y="65"/>
                          <a:pt x="26" y="65"/>
                        </a:cubicBezTo>
                        <a:cubicBezTo>
                          <a:pt x="26" y="65"/>
                          <a:pt x="26" y="65"/>
                          <a:pt x="26" y="65"/>
                        </a:cubicBezTo>
                        <a:cubicBezTo>
                          <a:pt x="26" y="65"/>
                          <a:pt x="26" y="65"/>
                          <a:pt x="26" y="65"/>
                        </a:cubicBezTo>
                        <a:cubicBezTo>
                          <a:pt x="26" y="65"/>
                          <a:pt x="26" y="66"/>
                          <a:pt x="26" y="66"/>
                        </a:cubicBezTo>
                        <a:close/>
                        <a:moveTo>
                          <a:pt x="25" y="66"/>
                        </a:moveTo>
                        <a:cubicBezTo>
                          <a:pt x="25" y="66"/>
                          <a:pt x="25" y="66"/>
                          <a:pt x="25" y="66"/>
                        </a:cubicBezTo>
                        <a:cubicBezTo>
                          <a:pt x="25" y="67"/>
                          <a:pt x="25" y="67"/>
                          <a:pt x="25" y="67"/>
                        </a:cubicBezTo>
                        <a:cubicBezTo>
                          <a:pt x="25" y="67"/>
                          <a:pt x="25" y="67"/>
                          <a:pt x="25" y="67"/>
                        </a:cubicBezTo>
                        <a:cubicBezTo>
                          <a:pt x="25" y="67"/>
                          <a:pt x="25" y="67"/>
                          <a:pt x="25" y="67"/>
                        </a:cubicBezTo>
                        <a:cubicBezTo>
                          <a:pt x="25" y="67"/>
                          <a:pt x="25" y="66"/>
                          <a:pt x="25" y="66"/>
                        </a:cubicBezTo>
                        <a:cubicBezTo>
                          <a:pt x="25" y="66"/>
                          <a:pt x="25" y="66"/>
                          <a:pt x="25" y="66"/>
                        </a:cubicBezTo>
                        <a:cubicBezTo>
                          <a:pt x="26" y="66"/>
                          <a:pt x="25" y="66"/>
                          <a:pt x="25" y="66"/>
                        </a:cubicBezTo>
                        <a:close/>
                        <a:moveTo>
                          <a:pt x="28" y="68"/>
                        </a:moveTo>
                        <a:cubicBezTo>
                          <a:pt x="28" y="68"/>
                          <a:pt x="28" y="68"/>
                          <a:pt x="28" y="68"/>
                        </a:cubicBezTo>
                        <a:cubicBezTo>
                          <a:pt x="28" y="68"/>
                          <a:pt x="28" y="68"/>
                          <a:pt x="28" y="68"/>
                        </a:cubicBezTo>
                        <a:cubicBezTo>
                          <a:pt x="28" y="68"/>
                          <a:pt x="28" y="68"/>
                          <a:pt x="28" y="68"/>
                        </a:cubicBezTo>
                        <a:close/>
                        <a:moveTo>
                          <a:pt x="26" y="67"/>
                        </a:moveTo>
                        <a:cubicBezTo>
                          <a:pt x="26" y="67"/>
                          <a:pt x="26" y="67"/>
                          <a:pt x="26" y="67"/>
                        </a:cubicBezTo>
                        <a:cubicBezTo>
                          <a:pt x="25" y="67"/>
                          <a:pt x="25" y="67"/>
                          <a:pt x="25" y="66"/>
                        </a:cubicBezTo>
                        <a:cubicBezTo>
                          <a:pt x="25" y="67"/>
                          <a:pt x="26" y="66"/>
                          <a:pt x="26" y="67"/>
                        </a:cubicBezTo>
                        <a:close/>
                        <a:moveTo>
                          <a:pt x="25" y="67"/>
                        </a:moveTo>
                        <a:cubicBezTo>
                          <a:pt x="24" y="67"/>
                          <a:pt x="25" y="66"/>
                          <a:pt x="25" y="66"/>
                        </a:cubicBezTo>
                        <a:cubicBezTo>
                          <a:pt x="25" y="66"/>
                          <a:pt x="25" y="67"/>
                          <a:pt x="25" y="67"/>
                        </a:cubicBezTo>
                        <a:close/>
                        <a:moveTo>
                          <a:pt x="24" y="67"/>
                        </a:move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7"/>
                          <a:pt x="24" y="67"/>
                        </a:cubicBezTo>
                        <a:close/>
                        <a:moveTo>
                          <a:pt x="27" y="69"/>
                        </a:moveTo>
                        <a:cubicBezTo>
                          <a:pt x="27" y="69"/>
                          <a:pt x="27" y="69"/>
                          <a:pt x="27" y="69"/>
                        </a:cubicBezTo>
                        <a:cubicBezTo>
                          <a:pt x="27" y="69"/>
                          <a:pt x="27" y="69"/>
                          <a:pt x="27" y="69"/>
                        </a:cubicBezTo>
                        <a:cubicBezTo>
                          <a:pt x="27" y="69"/>
                          <a:pt x="27" y="69"/>
                          <a:pt x="27" y="69"/>
                        </a:cubicBezTo>
                        <a:close/>
                        <a:moveTo>
                          <a:pt x="23" y="67"/>
                        </a:moveTo>
                        <a:cubicBezTo>
                          <a:pt x="23" y="67"/>
                          <a:pt x="24" y="67"/>
                          <a:pt x="24" y="67"/>
                        </a:cubicBezTo>
                        <a:cubicBezTo>
                          <a:pt x="24" y="67"/>
                          <a:pt x="24" y="67"/>
                          <a:pt x="23" y="67"/>
                        </a:cubicBezTo>
                        <a:close/>
                        <a:moveTo>
                          <a:pt x="25" y="68"/>
                        </a:moveTo>
                        <a:cubicBezTo>
                          <a:pt x="25" y="68"/>
                          <a:pt x="25" y="68"/>
                          <a:pt x="25" y="68"/>
                        </a:cubicBezTo>
                        <a:cubicBezTo>
                          <a:pt x="25" y="68"/>
                          <a:pt x="25" y="68"/>
                          <a:pt x="25" y="68"/>
                        </a:cubicBezTo>
                        <a:cubicBezTo>
                          <a:pt x="25" y="68"/>
                          <a:pt x="25" y="68"/>
                          <a:pt x="25" y="68"/>
                        </a:cubicBezTo>
                        <a:close/>
                        <a:moveTo>
                          <a:pt x="23" y="68"/>
                        </a:moveTo>
                        <a:cubicBezTo>
                          <a:pt x="23" y="68"/>
                          <a:pt x="23" y="68"/>
                          <a:pt x="23" y="68"/>
                        </a:cubicBezTo>
                        <a:cubicBezTo>
                          <a:pt x="23" y="68"/>
                          <a:pt x="23" y="68"/>
                          <a:pt x="23" y="67"/>
                        </a:cubicBezTo>
                        <a:cubicBezTo>
                          <a:pt x="23" y="67"/>
                          <a:pt x="23" y="67"/>
                          <a:pt x="23" y="67"/>
                        </a:cubicBezTo>
                        <a:cubicBezTo>
                          <a:pt x="23" y="67"/>
                          <a:pt x="23" y="67"/>
                          <a:pt x="23" y="68"/>
                        </a:cubicBezTo>
                        <a:cubicBezTo>
                          <a:pt x="23" y="68"/>
                          <a:pt x="23" y="67"/>
                          <a:pt x="23" y="68"/>
                        </a:cubicBezTo>
                        <a:close/>
                        <a:moveTo>
                          <a:pt x="24" y="68"/>
                        </a:moveTo>
                        <a:cubicBezTo>
                          <a:pt x="24" y="68"/>
                          <a:pt x="24" y="68"/>
                          <a:pt x="24" y="67"/>
                        </a:cubicBezTo>
                        <a:cubicBezTo>
                          <a:pt x="24" y="68"/>
                          <a:pt x="24" y="68"/>
                          <a:pt x="24" y="68"/>
                        </a:cubicBezTo>
                        <a:close/>
                        <a:moveTo>
                          <a:pt x="27" y="70"/>
                        </a:moveTo>
                        <a:cubicBezTo>
                          <a:pt x="27" y="70"/>
                          <a:pt x="27" y="71"/>
                          <a:pt x="27" y="71"/>
                        </a:cubicBezTo>
                        <a:cubicBezTo>
                          <a:pt x="26" y="70"/>
                          <a:pt x="27" y="70"/>
                          <a:pt x="27" y="70"/>
                        </a:cubicBezTo>
                        <a:cubicBezTo>
                          <a:pt x="27" y="70"/>
                          <a:pt x="27" y="70"/>
                          <a:pt x="27" y="70"/>
                        </a:cubicBezTo>
                        <a:close/>
                        <a:moveTo>
                          <a:pt x="26" y="70"/>
                        </a:move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70"/>
                        </a:cubicBezTo>
                        <a:cubicBezTo>
                          <a:pt x="26" y="70"/>
                          <a:pt x="26" y="70"/>
                          <a:pt x="26" y="70"/>
                        </a:cubicBezTo>
                        <a:close/>
                        <a:moveTo>
                          <a:pt x="25" y="70"/>
                        </a:moveTo>
                        <a:cubicBezTo>
                          <a:pt x="25" y="69"/>
                          <a:pt x="25" y="69"/>
                          <a:pt x="25" y="69"/>
                        </a:cubicBezTo>
                        <a:cubicBezTo>
                          <a:pt x="25" y="69"/>
                          <a:pt x="25" y="69"/>
                          <a:pt x="25" y="69"/>
                        </a:cubicBezTo>
                        <a:cubicBezTo>
                          <a:pt x="25" y="69"/>
                          <a:pt x="25" y="69"/>
                          <a:pt x="25" y="70"/>
                        </a:cubicBezTo>
                        <a:close/>
                        <a:moveTo>
                          <a:pt x="25" y="69"/>
                        </a:moveTo>
                        <a:cubicBezTo>
                          <a:pt x="25" y="69"/>
                          <a:pt x="25" y="70"/>
                          <a:pt x="25" y="70"/>
                        </a:cubicBezTo>
                        <a:cubicBezTo>
                          <a:pt x="25" y="70"/>
                          <a:pt x="25" y="69"/>
                          <a:pt x="25" y="69"/>
                        </a:cubicBezTo>
                        <a:close/>
                        <a:moveTo>
                          <a:pt x="25" y="70"/>
                        </a:moveTo>
                        <a:cubicBezTo>
                          <a:pt x="25" y="70"/>
                          <a:pt x="25" y="70"/>
                          <a:pt x="24" y="70"/>
                        </a:cubicBezTo>
                        <a:cubicBezTo>
                          <a:pt x="24" y="70"/>
                          <a:pt x="25" y="70"/>
                          <a:pt x="25" y="70"/>
                        </a:cubicBezTo>
                        <a:cubicBezTo>
                          <a:pt x="25" y="70"/>
                          <a:pt x="25" y="70"/>
                          <a:pt x="25" y="70"/>
                        </a:cubicBezTo>
                        <a:close/>
                        <a:moveTo>
                          <a:pt x="25" y="71"/>
                        </a:moveTo>
                        <a:cubicBezTo>
                          <a:pt x="25" y="71"/>
                          <a:pt x="26" y="71"/>
                          <a:pt x="26" y="71"/>
                        </a:cubicBezTo>
                        <a:cubicBezTo>
                          <a:pt x="26" y="71"/>
                          <a:pt x="26" y="71"/>
                          <a:pt x="26" y="71"/>
                        </a:cubicBezTo>
                        <a:cubicBezTo>
                          <a:pt x="25" y="71"/>
                          <a:pt x="26" y="71"/>
                          <a:pt x="25" y="71"/>
                        </a:cubicBezTo>
                        <a:cubicBezTo>
                          <a:pt x="25" y="71"/>
                          <a:pt x="25" y="72"/>
                          <a:pt x="25" y="72"/>
                        </a:cubicBezTo>
                        <a:cubicBezTo>
                          <a:pt x="25" y="72"/>
                          <a:pt x="25" y="73"/>
                          <a:pt x="24" y="73"/>
                        </a:cubicBezTo>
                        <a:cubicBezTo>
                          <a:pt x="25" y="72"/>
                          <a:pt x="25" y="71"/>
                          <a:pt x="26" y="70"/>
                        </a:cubicBezTo>
                        <a:cubicBezTo>
                          <a:pt x="26" y="70"/>
                          <a:pt x="26" y="70"/>
                          <a:pt x="25" y="71"/>
                        </a:cubicBezTo>
                        <a:close/>
                        <a:moveTo>
                          <a:pt x="23" y="69"/>
                        </a:moveTo>
                        <a:cubicBezTo>
                          <a:pt x="23" y="69"/>
                          <a:pt x="23" y="69"/>
                          <a:pt x="23" y="69"/>
                        </a:cubicBezTo>
                        <a:cubicBezTo>
                          <a:pt x="22" y="69"/>
                          <a:pt x="22" y="69"/>
                          <a:pt x="22" y="69"/>
                        </a:cubicBezTo>
                        <a:cubicBezTo>
                          <a:pt x="22" y="69"/>
                          <a:pt x="22" y="69"/>
                          <a:pt x="22" y="69"/>
                        </a:cubicBezTo>
                        <a:cubicBezTo>
                          <a:pt x="23" y="69"/>
                          <a:pt x="22" y="69"/>
                          <a:pt x="23" y="69"/>
                        </a:cubicBezTo>
                        <a:close/>
                        <a:moveTo>
                          <a:pt x="25" y="71"/>
                        </a:moveTo>
                        <a:cubicBezTo>
                          <a:pt x="25" y="70"/>
                          <a:pt x="25" y="70"/>
                          <a:pt x="25" y="70"/>
                        </a:cubicBezTo>
                        <a:cubicBezTo>
                          <a:pt x="25" y="70"/>
                          <a:pt x="25" y="71"/>
                          <a:pt x="25" y="71"/>
                        </a:cubicBezTo>
                        <a:close/>
                        <a:moveTo>
                          <a:pt x="23" y="69"/>
                        </a:moveTo>
                        <a:cubicBezTo>
                          <a:pt x="23" y="69"/>
                          <a:pt x="23" y="69"/>
                          <a:pt x="23" y="70"/>
                        </a:cubicBezTo>
                        <a:cubicBezTo>
                          <a:pt x="23" y="70"/>
                          <a:pt x="23" y="70"/>
                          <a:pt x="23" y="70"/>
                        </a:cubicBezTo>
                        <a:cubicBezTo>
                          <a:pt x="23" y="70"/>
                          <a:pt x="23" y="70"/>
                          <a:pt x="23" y="70"/>
                        </a:cubicBezTo>
                        <a:cubicBezTo>
                          <a:pt x="23" y="69"/>
                          <a:pt x="23" y="69"/>
                          <a:pt x="23" y="69"/>
                        </a:cubicBezTo>
                        <a:close/>
                        <a:moveTo>
                          <a:pt x="22" y="70"/>
                        </a:moveTo>
                        <a:cubicBezTo>
                          <a:pt x="23" y="69"/>
                          <a:pt x="23" y="69"/>
                          <a:pt x="23" y="69"/>
                        </a:cubicBezTo>
                        <a:cubicBezTo>
                          <a:pt x="23" y="69"/>
                          <a:pt x="23" y="70"/>
                          <a:pt x="22" y="70"/>
                        </a:cubicBezTo>
                        <a:close/>
                        <a:moveTo>
                          <a:pt x="28" y="72"/>
                        </a:moveTo>
                        <a:cubicBezTo>
                          <a:pt x="28" y="72"/>
                          <a:pt x="28" y="72"/>
                          <a:pt x="28" y="73"/>
                        </a:cubicBezTo>
                        <a:cubicBezTo>
                          <a:pt x="28" y="72"/>
                          <a:pt x="28" y="72"/>
                          <a:pt x="28" y="72"/>
                        </a:cubicBezTo>
                        <a:cubicBezTo>
                          <a:pt x="28" y="72"/>
                          <a:pt x="28" y="72"/>
                          <a:pt x="28" y="72"/>
                        </a:cubicBezTo>
                        <a:close/>
                        <a:moveTo>
                          <a:pt x="26" y="71"/>
                        </a:moveTo>
                        <a:cubicBezTo>
                          <a:pt x="26" y="71"/>
                          <a:pt x="26" y="71"/>
                          <a:pt x="26" y="71"/>
                        </a:cubicBezTo>
                        <a:cubicBezTo>
                          <a:pt x="26" y="71"/>
                          <a:pt x="26" y="71"/>
                          <a:pt x="26" y="71"/>
                        </a:cubicBezTo>
                        <a:cubicBezTo>
                          <a:pt x="26" y="71"/>
                          <a:pt x="26" y="71"/>
                          <a:pt x="26" y="71"/>
                        </a:cubicBezTo>
                        <a:close/>
                        <a:moveTo>
                          <a:pt x="22" y="70"/>
                        </a:moveTo>
                        <a:cubicBezTo>
                          <a:pt x="22" y="69"/>
                          <a:pt x="22" y="69"/>
                          <a:pt x="22" y="69"/>
                        </a:cubicBezTo>
                        <a:cubicBezTo>
                          <a:pt x="22" y="69"/>
                          <a:pt x="22" y="70"/>
                          <a:pt x="22" y="70"/>
                        </a:cubicBezTo>
                        <a:close/>
                        <a:moveTo>
                          <a:pt x="24" y="71"/>
                        </a:moveTo>
                        <a:cubicBezTo>
                          <a:pt x="25" y="71"/>
                          <a:pt x="24" y="71"/>
                          <a:pt x="24" y="71"/>
                        </a:cubicBezTo>
                        <a:cubicBezTo>
                          <a:pt x="24" y="71"/>
                          <a:pt x="24" y="71"/>
                          <a:pt x="24" y="71"/>
                        </a:cubicBezTo>
                        <a:cubicBezTo>
                          <a:pt x="24" y="71"/>
                          <a:pt x="24" y="71"/>
                          <a:pt x="24" y="71"/>
                        </a:cubicBezTo>
                        <a:close/>
                        <a:moveTo>
                          <a:pt x="23" y="71"/>
                        </a:moveTo>
                        <a:cubicBezTo>
                          <a:pt x="23" y="71"/>
                          <a:pt x="23" y="71"/>
                          <a:pt x="23" y="70"/>
                        </a:cubicBezTo>
                        <a:cubicBezTo>
                          <a:pt x="23" y="71"/>
                          <a:pt x="23" y="71"/>
                          <a:pt x="23" y="71"/>
                        </a:cubicBezTo>
                        <a:close/>
                        <a:moveTo>
                          <a:pt x="26" y="72"/>
                        </a:moveTo>
                        <a:cubicBezTo>
                          <a:pt x="26" y="72"/>
                          <a:pt x="26" y="72"/>
                          <a:pt x="26" y="72"/>
                        </a:cubicBezTo>
                        <a:cubicBezTo>
                          <a:pt x="26" y="72"/>
                          <a:pt x="26" y="72"/>
                          <a:pt x="26" y="72"/>
                        </a:cubicBezTo>
                        <a:cubicBezTo>
                          <a:pt x="26" y="72"/>
                          <a:pt x="26" y="72"/>
                          <a:pt x="26" y="72"/>
                        </a:cubicBezTo>
                        <a:close/>
                        <a:moveTo>
                          <a:pt x="27" y="73"/>
                        </a:moveTo>
                        <a:cubicBezTo>
                          <a:pt x="27" y="73"/>
                          <a:pt x="27" y="73"/>
                          <a:pt x="27" y="73"/>
                        </a:cubicBezTo>
                        <a:cubicBezTo>
                          <a:pt x="27" y="73"/>
                          <a:pt x="27" y="73"/>
                          <a:pt x="27" y="73"/>
                        </a:cubicBezTo>
                        <a:close/>
                        <a:moveTo>
                          <a:pt x="23" y="73"/>
                        </a:moveTo>
                        <a:cubicBezTo>
                          <a:pt x="23" y="72"/>
                          <a:pt x="23" y="72"/>
                          <a:pt x="23" y="72"/>
                        </a:cubicBezTo>
                        <a:cubicBezTo>
                          <a:pt x="23" y="72"/>
                          <a:pt x="23" y="72"/>
                          <a:pt x="23" y="73"/>
                        </a:cubicBezTo>
                        <a:close/>
                        <a:moveTo>
                          <a:pt x="27" y="75"/>
                        </a:moveTo>
                        <a:cubicBezTo>
                          <a:pt x="27" y="75"/>
                          <a:pt x="27" y="74"/>
                          <a:pt x="27" y="74"/>
                        </a:cubicBezTo>
                        <a:cubicBezTo>
                          <a:pt x="27" y="75"/>
                          <a:pt x="27" y="75"/>
                          <a:pt x="27" y="75"/>
                        </a:cubicBezTo>
                        <a:close/>
                        <a:moveTo>
                          <a:pt x="26" y="75"/>
                        </a:moveTo>
                        <a:cubicBezTo>
                          <a:pt x="27" y="75"/>
                          <a:pt x="27" y="75"/>
                          <a:pt x="27" y="75"/>
                        </a:cubicBezTo>
                        <a:cubicBezTo>
                          <a:pt x="26" y="75"/>
                          <a:pt x="26" y="75"/>
                          <a:pt x="26" y="75"/>
                        </a:cubicBezTo>
                        <a:close/>
                        <a:moveTo>
                          <a:pt x="25" y="75"/>
                        </a:moveTo>
                        <a:cubicBezTo>
                          <a:pt x="25" y="75"/>
                          <a:pt x="25" y="75"/>
                          <a:pt x="26" y="75"/>
                        </a:cubicBezTo>
                        <a:cubicBezTo>
                          <a:pt x="26" y="75"/>
                          <a:pt x="25" y="75"/>
                          <a:pt x="25" y="75"/>
                        </a:cubicBezTo>
                        <a:close/>
                        <a:moveTo>
                          <a:pt x="23" y="74"/>
                        </a:moveTo>
                        <a:cubicBezTo>
                          <a:pt x="23" y="74"/>
                          <a:pt x="23" y="74"/>
                          <a:pt x="23" y="74"/>
                        </a:cubicBezTo>
                        <a:cubicBezTo>
                          <a:pt x="22" y="74"/>
                          <a:pt x="23" y="74"/>
                          <a:pt x="23" y="74"/>
                        </a:cubicBezTo>
                        <a:close/>
                        <a:moveTo>
                          <a:pt x="26" y="78"/>
                        </a:moveTo>
                        <a:cubicBezTo>
                          <a:pt x="27" y="78"/>
                          <a:pt x="27" y="77"/>
                          <a:pt x="27" y="77"/>
                        </a:cubicBezTo>
                        <a:cubicBezTo>
                          <a:pt x="27" y="77"/>
                          <a:pt x="27" y="77"/>
                          <a:pt x="27" y="77"/>
                        </a:cubicBezTo>
                        <a:cubicBezTo>
                          <a:pt x="27" y="77"/>
                          <a:pt x="27" y="77"/>
                          <a:pt x="27" y="77"/>
                        </a:cubicBezTo>
                        <a:cubicBezTo>
                          <a:pt x="27" y="76"/>
                          <a:pt x="27" y="76"/>
                          <a:pt x="27" y="76"/>
                        </a:cubicBezTo>
                        <a:cubicBezTo>
                          <a:pt x="27" y="76"/>
                          <a:pt x="27" y="77"/>
                          <a:pt x="27" y="77"/>
                        </a:cubicBezTo>
                        <a:cubicBezTo>
                          <a:pt x="27" y="77"/>
                          <a:pt x="27" y="77"/>
                          <a:pt x="27" y="77"/>
                        </a:cubicBezTo>
                        <a:cubicBezTo>
                          <a:pt x="27" y="77"/>
                          <a:pt x="27" y="77"/>
                          <a:pt x="27" y="77"/>
                        </a:cubicBezTo>
                        <a:cubicBezTo>
                          <a:pt x="27" y="77"/>
                          <a:pt x="27" y="77"/>
                          <a:pt x="27" y="78"/>
                        </a:cubicBezTo>
                        <a:cubicBezTo>
                          <a:pt x="27" y="77"/>
                          <a:pt x="27" y="78"/>
                          <a:pt x="26" y="78"/>
                        </a:cubicBezTo>
                        <a:cubicBezTo>
                          <a:pt x="26" y="78"/>
                          <a:pt x="27" y="78"/>
                          <a:pt x="26" y="78"/>
                        </a:cubicBezTo>
                        <a:cubicBezTo>
                          <a:pt x="26" y="78"/>
                          <a:pt x="26" y="78"/>
                          <a:pt x="26" y="78"/>
                        </a:cubicBezTo>
                        <a:cubicBezTo>
                          <a:pt x="26" y="78"/>
                          <a:pt x="26" y="78"/>
                          <a:pt x="26" y="78"/>
                        </a:cubicBezTo>
                        <a:cubicBezTo>
                          <a:pt x="26" y="78"/>
                          <a:pt x="26" y="78"/>
                          <a:pt x="26" y="77"/>
                        </a:cubicBezTo>
                        <a:cubicBezTo>
                          <a:pt x="26" y="77"/>
                          <a:pt x="26" y="78"/>
                          <a:pt x="26" y="78"/>
                        </a:cubicBezTo>
                        <a:close/>
                        <a:moveTo>
                          <a:pt x="25" y="75"/>
                        </a:moveTo>
                        <a:cubicBezTo>
                          <a:pt x="25" y="76"/>
                          <a:pt x="25" y="76"/>
                          <a:pt x="25" y="76"/>
                        </a:cubicBezTo>
                        <a:lnTo>
                          <a:pt x="25" y="75"/>
                        </a:lnTo>
                        <a:close/>
                        <a:moveTo>
                          <a:pt x="26" y="77"/>
                        </a:moveTo>
                        <a:cubicBezTo>
                          <a:pt x="26" y="77"/>
                          <a:pt x="26" y="76"/>
                          <a:pt x="26" y="76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6" y="76"/>
                          <a:pt x="26" y="76"/>
                          <a:pt x="26" y="77"/>
                        </a:cubicBezTo>
                        <a:close/>
                        <a:moveTo>
                          <a:pt x="27" y="76"/>
                        </a:moveTo>
                        <a:cubicBezTo>
                          <a:pt x="27" y="77"/>
                          <a:pt x="27" y="77"/>
                          <a:pt x="26" y="77"/>
                        </a:cubicBezTo>
                        <a:cubicBezTo>
                          <a:pt x="26" y="77"/>
                          <a:pt x="26" y="76"/>
                          <a:pt x="27" y="76"/>
                        </a:cubicBezTo>
                        <a:close/>
                        <a:moveTo>
                          <a:pt x="27" y="76"/>
                        </a:moveTo>
                        <a:cubicBezTo>
                          <a:pt x="27" y="77"/>
                          <a:pt x="27" y="77"/>
                          <a:pt x="27" y="77"/>
                        </a:cubicBezTo>
                        <a:cubicBezTo>
                          <a:pt x="26" y="77"/>
                          <a:pt x="27" y="77"/>
                          <a:pt x="27" y="76"/>
                        </a:cubicBezTo>
                        <a:close/>
                        <a:moveTo>
                          <a:pt x="28" y="78"/>
                        </a:moveTo>
                        <a:cubicBezTo>
                          <a:pt x="28" y="77"/>
                          <a:pt x="28" y="77"/>
                          <a:pt x="28" y="77"/>
                        </a:cubicBezTo>
                        <a:cubicBezTo>
                          <a:pt x="28" y="77"/>
                          <a:pt x="28" y="77"/>
                          <a:pt x="28" y="77"/>
                        </a:cubicBezTo>
                        <a:cubicBezTo>
                          <a:pt x="28" y="77"/>
                          <a:pt x="28" y="77"/>
                          <a:pt x="28" y="78"/>
                        </a:cubicBezTo>
                        <a:close/>
                        <a:moveTo>
                          <a:pt x="29" y="78"/>
                        </a:moveTo>
                        <a:cubicBezTo>
                          <a:pt x="28" y="78"/>
                          <a:pt x="29" y="78"/>
                          <a:pt x="29" y="78"/>
                        </a:cubicBezTo>
                        <a:cubicBezTo>
                          <a:pt x="29" y="78"/>
                          <a:pt x="28" y="78"/>
                          <a:pt x="28" y="78"/>
                        </a:cubicBezTo>
                        <a:cubicBezTo>
                          <a:pt x="28" y="78"/>
                          <a:pt x="28" y="78"/>
                          <a:pt x="29" y="77"/>
                        </a:cubicBezTo>
                        <a:cubicBezTo>
                          <a:pt x="29" y="78"/>
                          <a:pt x="29" y="78"/>
                          <a:pt x="29" y="78"/>
                        </a:cubicBezTo>
                        <a:close/>
                        <a:moveTo>
                          <a:pt x="23" y="76"/>
                        </a:moveTo>
                        <a:cubicBezTo>
                          <a:pt x="22" y="75"/>
                          <a:pt x="23" y="75"/>
                          <a:pt x="23" y="75"/>
                        </a:cubicBezTo>
                        <a:cubicBezTo>
                          <a:pt x="23" y="75"/>
                          <a:pt x="23" y="75"/>
                          <a:pt x="23" y="76"/>
                        </a:cubicBezTo>
                        <a:close/>
                        <a:moveTo>
                          <a:pt x="27" y="77"/>
                        </a:moveTo>
                        <a:cubicBezTo>
                          <a:pt x="27" y="77"/>
                          <a:pt x="27" y="77"/>
                          <a:pt x="26" y="77"/>
                        </a:cubicBezTo>
                        <a:cubicBezTo>
                          <a:pt x="26" y="77"/>
                          <a:pt x="26" y="77"/>
                          <a:pt x="27" y="77"/>
                        </a:cubicBezTo>
                        <a:close/>
                        <a:moveTo>
                          <a:pt x="25" y="76"/>
                        </a:moveTo>
                        <a:cubicBezTo>
                          <a:pt x="26" y="77"/>
                          <a:pt x="25" y="77"/>
                          <a:pt x="25" y="77"/>
                        </a:cubicBezTo>
                        <a:cubicBezTo>
                          <a:pt x="25" y="77"/>
                          <a:pt x="25" y="77"/>
                          <a:pt x="25" y="76"/>
                        </a:cubicBezTo>
                        <a:close/>
                        <a:moveTo>
                          <a:pt x="20" y="74"/>
                        </a:moveTo>
                        <a:cubicBezTo>
                          <a:pt x="19" y="74"/>
                          <a:pt x="19" y="74"/>
                          <a:pt x="19" y="74"/>
                        </a:cubicBezTo>
                        <a:cubicBezTo>
                          <a:pt x="20" y="74"/>
                          <a:pt x="19" y="74"/>
                          <a:pt x="20" y="74"/>
                        </a:cubicBezTo>
                        <a:close/>
                        <a:moveTo>
                          <a:pt x="23" y="76"/>
                        </a:moveTo>
                        <a:cubicBezTo>
                          <a:pt x="23" y="76"/>
                          <a:pt x="23" y="76"/>
                          <a:pt x="23" y="76"/>
                        </a:cubicBezTo>
                        <a:cubicBezTo>
                          <a:pt x="23" y="76"/>
                          <a:pt x="23" y="76"/>
                          <a:pt x="23" y="76"/>
                        </a:cubicBezTo>
                        <a:cubicBezTo>
                          <a:pt x="23" y="76"/>
                          <a:pt x="23" y="76"/>
                          <a:pt x="23" y="76"/>
                        </a:cubicBezTo>
                        <a:close/>
                        <a:moveTo>
                          <a:pt x="19" y="75"/>
                        </a:moveTo>
                        <a:cubicBezTo>
                          <a:pt x="19" y="75"/>
                          <a:pt x="19" y="74"/>
                          <a:pt x="19" y="74"/>
                        </a:cubicBezTo>
                        <a:cubicBezTo>
                          <a:pt x="19" y="74"/>
                          <a:pt x="19" y="75"/>
                          <a:pt x="19" y="75"/>
                        </a:cubicBezTo>
                        <a:close/>
                        <a:moveTo>
                          <a:pt x="24" y="78"/>
                        </a:moveTo>
                        <a:cubicBezTo>
                          <a:pt x="24" y="77"/>
                          <a:pt x="24" y="77"/>
                          <a:pt x="24" y="77"/>
                        </a:cubicBezTo>
                        <a:cubicBezTo>
                          <a:pt x="24" y="77"/>
                          <a:pt x="24" y="77"/>
                          <a:pt x="24" y="77"/>
                        </a:cubicBezTo>
                        <a:cubicBezTo>
                          <a:pt x="25" y="77"/>
                          <a:pt x="25" y="77"/>
                          <a:pt x="25" y="77"/>
                        </a:cubicBezTo>
                        <a:cubicBezTo>
                          <a:pt x="24" y="77"/>
                          <a:pt x="24" y="78"/>
                          <a:pt x="24" y="78"/>
                        </a:cubicBezTo>
                        <a:cubicBezTo>
                          <a:pt x="24" y="78"/>
                          <a:pt x="24" y="78"/>
                          <a:pt x="24" y="78"/>
                        </a:cubicBezTo>
                        <a:close/>
                        <a:moveTo>
                          <a:pt x="27" y="79"/>
                        </a:moveTo>
                        <a:cubicBezTo>
                          <a:pt x="27" y="79"/>
                          <a:pt x="27" y="79"/>
                          <a:pt x="27" y="79"/>
                        </a:cubicBezTo>
                        <a:cubicBezTo>
                          <a:pt x="27" y="79"/>
                          <a:pt x="27" y="79"/>
                          <a:pt x="27" y="79"/>
                        </a:cubicBezTo>
                        <a:cubicBezTo>
                          <a:pt x="27" y="79"/>
                          <a:pt x="27" y="79"/>
                          <a:pt x="27" y="79"/>
                        </a:cubicBezTo>
                        <a:cubicBezTo>
                          <a:pt x="27" y="79"/>
                          <a:pt x="27" y="79"/>
                          <a:pt x="27" y="79"/>
                        </a:cubicBezTo>
                        <a:close/>
                        <a:moveTo>
                          <a:pt x="24" y="78"/>
                        </a:moveTo>
                        <a:cubicBezTo>
                          <a:pt x="24" y="77"/>
                          <a:pt x="24" y="77"/>
                          <a:pt x="24" y="78"/>
                        </a:cubicBezTo>
                        <a:cubicBezTo>
                          <a:pt x="24" y="78"/>
                          <a:pt x="24" y="78"/>
                          <a:pt x="23" y="78"/>
                        </a:cubicBezTo>
                        <a:cubicBezTo>
                          <a:pt x="24" y="77"/>
                          <a:pt x="23" y="77"/>
                          <a:pt x="24" y="77"/>
                        </a:cubicBezTo>
                        <a:cubicBezTo>
                          <a:pt x="24" y="77"/>
                          <a:pt x="24" y="77"/>
                          <a:pt x="24" y="78"/>
                        </a:cubicBezTo>
                        <a:close/>
                        <a:moveTo>
                          <a:pt x="27" y="79"/>
                        </a:moveTo>
                        <a:cubicBezTo>
                          <a:pt x="27" y="79"/>
                          <a:pt x="27" y="79"/>
                          <a:pt x="27" y="79"/>
                        </a:cubicBezTo>
                        <a:cubicBezTo>
                          <a:pt x="27" y="79"/>
                          <a:pt x="27" y="79"/>
                          <a:pt x="26" y="80"/>
                        </a:cubicBezTo>
                        <a:cubicBezTo>
                          <a:pt x="26" y="80"/>
                          <a:pt x="26" y="80"/>
                          <a:pt x="26" y="80"/>
                        </a:cubicBezTo>
                        <a:cubicBezTo>
                          <a:pt x="26" y="80"/>
                          <a:pt x="26" y="79"/>
                          <a:pt x="27" y="79"/>
                        </a:cubicBezTo>
                        <a:cubicBezTo>
                          <a:pt x="27" y="79"/>
                          <a:pt x="27" y="79"/>
                          <a:pt x="27" y="79"/>
                        </a:cubicBezTo>
                        <a:cubicBezTo>
                          <a:pt x="27" y="79"/>
                          <a:pt x="27" y="79"/>
                          <a:pt x="27" y="79"/>
                        </a:cubicBezTo>
                        <a:cubicBezTo>
                          <a:pt x="27" y="79"/>
                          <a:pt x="27" y="79"/>
                          <a:pt x="27" y="79"/>
                        </a:cubicBezTo>
                        <a:close/>
                        <a:moveTo>
                          <a:pt x="27" y="80"/>
                        </a:moveTo>
                        <a:cubicBezTo>
                          <a:pt x="27" y="80"/>
                          <a:pt x="28" y="79"/>
                          <a:pt x="28" y="79"/>
                        </a:cubicBezTo>
                        <a:cubicBezTo>
                          <a:pt x="28" y="79"/>
                          <a:pt x="28" y="79"/>
                          <a:pt x="28" y="79"/>
                        </a:cubicBezTo>
                        <a:cubicBezTo>
                          <a:pt x="28" y="80"/>
                          <a:pt x="28" y="79"/>
                          <a:pt x="27" y="80"/>
                        </a:cubicBezTo>
                        <a:close/>
                        <a:moveTo>
                          <a:pt x="26" y="79"/>
                        </a:moveTo>
                        <a:cubicBezTo>
                          <a:pt x="26" y="79"/>
                          <a:pt x="26" y="79"/>
                          <a:pt x="26" y="79"/>
                        </a:cubicBezTo>
                        <a:cubicBezTo>
                          <a:pt x="26" y="79"/>
                          <a:pt x="26" y="79"/>
                          <a:pt x="26" y="79"/>
                        </a:cubicBezTo>
                        <a:cubicBezTo>
                          <a:pt x="26" y="79"/>
                          <a:pt x="26" y="79"/>
                          <a:pt x="26" y="79"/>
                        </a:cubicBezTo>
                        <a:cubicBezTo>
                          <a:pt x="26" y="79"/>
                          <a:pt x="26" y="79"/>
                          <a:pt x="26" y="79"/>
                        </a:cubicBezTo>
                        <a:close/>
                        <a:moveTo>
                          <a:pt x="22" y="77"/>
                        </a:moveTo>
                        <a:cubicBezTo>
                          <a:pt x="22" y="77"/>
                          <a:pt x="22" y="77"/>
                          <a:pt x="22" y="77"/>
                        </a:cubicBezTo>
                        <a:cubicBezTo>
                          <a:pt x="22" y="77"/>
                          <a:pt x="22" y="77"/>
                          <a:pt x="22" y="77"/>
                        </a:cubicBezTo>
                        <a:cubicBezTo>
                          <a:pt x="22" y="77"/>
                          <a:pt x="22" y="77"/>
                          <a:pt x="22" y="77"/>
                        </a:cubicBezTo>
                        <a:cubicBezTo>
                          <a:pt x="23" y="77"/>
                          <a:pt x="22" y="77"/>
                          <a:pt x="22" y="77"/>
                        </a:cubicBezTo>
                        <a:close/>
                        <a:moveTo>
                          <a:pt x="25" y="79"/>
                        </a:moveTo>
                        <a:cubicBezTo>
                          <a:pt x="26" y="79"/>
                          <a:pt x="25" y="79"/>
                          <a:pt x="25" y="79"/>
                        </a:cubicBezTo>
                        <a:cubicBezTo>
                          <a:pt x="25" y="79"/>
                          <a:pt x="25" y="79"/>
                          <a:pt x="25" y="79"/>
                        </a:cubicBezTo>
                        <a:close/>
                        <a:moveTo>
                          <a:pt x="26" y="79"/>
                        </a:moveTo>
                        <a:cubicBezTo>
                          <a:pt x="26" y="79"/>
                          <a:pt x="26" y="79"/>
                          <a:pt x="25" y="80"/>
                        </a:cubicBezTo>
                        <a:cubicBezTo>
                          <a:pt x="25" y="79"/>
                          <a:pt x="26" y="79"/>
                          <a:pt x="26" y="79"/>
                        </a:cubicBezTo>
                        <a:close/>
                        <a:moveTo>
                          <a:pt x="23" y="78"/>
                        </a:moveTo>
                        <a:cubicBezTo>
                          <a:pt x="23" y="79"/>
                          <a:pt x="23" y="78"/>
                          <a:pt x="23" y="79"/>
                        </a:cubicBezTo>
                        <a:cubicBezTo>
                          <a:pt x="23" y="79"/>
                          <a:pt x="23" y="79"/>
                          <a:pt x="23" y="79"/>
                        </a:cubicBezTo>
                        <a:cubicBezTo>
                          <a:pt x="23" y="79"/>
                          <a:pt x="23" y="79"/>
                          <a:pt x="23" y="79"/>
                        </a:cubicBezTo>
                        <a:cubicBezTo>
                          <a:pt x="23" y="79"/>
                          <a:pt x="23" y="79"/>
                          <a:pt x="23" y="79"/>
                        </a:cubicBezTo>
                        <a:cubicBezTo>
                          <a:pt x="23" y="79"/>
                          <a:pt x="23" y="79"/>
                          <a:pt x="23" y="79"/>
                        </a:cubicBezTo>
                        <a:cubicBezTo>
                          <a:pt x="23" y="79"/>
                          <a:pt x="23" y="79"/>
                          <a:pt x="23" y="79"/>
                        </a:cubicBezTo>
                        <a:cubicBezTo>
                          <a:pt x="23" y="79"/>
                          <a:pt x="23" y="79"/>
                          <a:pt x="23" y="79"/>
                        </a:cubicBezTo>
                        <a:cubicBezTo>
                          <a:pt x="23" y="79"/>
                          <a:pt x="23" y="79"/>
                          <a:pt x="23" y="79"/>
                        </a:cubicBezTo>
                        <a:cubicBezTo>
                          <a:pt x="23" y="79"/>
                          <a:pt x="23" y="79"/>
                          <a:pt x="23" y="79"/>
                        </a:cubicBezTo>
                        <a:cubicBezTo>
                          <a:pt x="23" y="78"/>
                          <a:pt x="23" y="79"/>
                          <a:pt x="23" y="79"/>
                        </a:cubicBezTo>
                        <a:cubicBezTo>
                          <a:pt x="23" y="78"/>
                          <a:pt x="23" y="78"/>
                          <a:pt x="23" y="78"/>
                        </a:cubicBezTo>
                        <a:cubicBezTo>
                          <a:pt x="23" y="78"/>
                          <a:pt x="23" y="79"/>
                          <a:pt x="23" y="79"/>
                        </a:cubicBezTo>
                        <a:cubicBezTo>
                          <a:pt x="23" y="79"/>
                          <a:pt x="23" y="78"/>
                          <a:pt x="23" y="78"/>
                        </a:cubicBezTo>
                        <a:cubicBezTo>
                          <a:pt x="23" y="78"/>
                          <a:pt x="23" y="78"/>
                          <a:pt x="23" y="78"/>
                        </a:cubicBezTo>
                        <a:cubicBezTo>
                          <a:pt x="23" y="78"/>
                          <a:pt x="23" y="78"/>
                          <a:pt x="23" y="78"/>
                        </a:cubicBezTo>
                        <a:close/>
                        <a:moveTo>
                          <a:pt x="25" y="81"/>
                        </a:moveTo>
                        <a:cubicBezTo>
                          <a:pt x="25" y="80"/>
                          <a:pt x="26" y="80"/>
                          <a:pt x="26" y="79"/>
                        </a:cubicBezTo>
                        <a:cubicBezTo>
                          <a:pt x="26" y="80"/>
                          <a:pt x="25" y="80"/>
                          <a:pt x="25" y="81"/>
                        </a:cubicBezTo>
                        <a:close/>
                        <a:moveTo>
                          <a:pt x="24" y="79"/>
                        </a:moveTo>
                        <a:cubicBezTo>
                          <a:pt x="24" y="79"/>
                          <a:pt x="24" y="78"/>
                          <a:pt x="24" y="78"/>
                        </a:cubicBezTo>
                        <a:cubicBezTo>
                          <a:pt x="24" y="79"/>
                          <a:pt x="24" y="79"/>
                          <a:pt x="24" y="79"/>
                        </a:cubicBezTo>
                        <a:close/>
                        <a:moveTo>
                          <a:pt x="27" y="81"/>
                        </a:moveTo>
                        <a:cubicBezTo>
                          <a:pt x="27" y="81"/>
                          <a:pt x="27" y="81"/>
                          <a:pt x="27" y="80"/>
                        </a:cubicBezTo>
                        <a:cubicBezTo>
                          <a:pt x="27" y="81"/>
                          <a:pt x="27" y="81"/>
                          <a:pt x="27" y="81"/>
                        </a:cubicBezTo>
                        <a:close/>
                        <a:moveTo>
                          <a:pt x="23" y="79"/>
                        </a:moveTo>
                        <a:cubicBezTo>
                          <a:pt x="23" y="79"/>
                          <a:pt x="23" y="79"/>
                          <a:pt x="23" y="79"/>
                        </a:cubicBezTo>
                        <a:cubicBezTo>
                          <a:pt x="23" y="79"/>
                          <a:pt x="23" y="79"/>
                          <a:pt x="23" y="79"/>
                        </a:cubicBezTo>
                        <a:close/>
                        <a:moveTo>
                          <a:pt x="24" y="80"/>
                        </a:moveTo>
                        <a:cubicBezTo>
                          <a:pt x="24" y="80"/>
                          <a:pt x="24" y="80"/>
                          <a:pt x="24" y="80"/>
                        </a:cubicBezTo>
                        <a:cubicBezTo>
                          <a:pt x="24" y="80"/>
                          <a:pt x="24" y="80"/>
                          <a:pt x="24" y="80"/>
                        </a:cubicBezTo>
                        <a:cubicBezTo>
                          <a:pt x="24" y="80"/>
                          <a:pt x="24" y="80"/>
                          <a:pt x="24" y="79"/>
                        </a:cubicBezTo>
                        <a:cubicBezTo>
                          <a:pt x="24" y="80"/>
                          <a:pt x="24" y="80"/>
                          <a:pt x="24" y="80"/>
                        </a:cubicBezTo>
                        <a:close/>
                        <a:moveTo>
                          <a:pt x="25" y="80"/>
                        </a:moveTo>
                        <a:cubicBezTo>
                          <a:pt x="25" y="80"/>
                          <a:pt x="25" y="80"/>
                          <a:pt x="25" y="80"/>
                        </a:cubicBezTo>
                        <a:cubicBezTo>
                          <a:pt x="25" y="80"/>
                          <a:pt x="25" y="80"/>
                          <a:pt x="25" y="80"/>
                        </a:cubicBezTo>
                        <a:cubicBezTo>
                          <a:pt x="24" y="80"/>
                          <a:pt x="25" y="80"/>
                          <a:pt x="25" y="80"/>
                        </a:cubicBezTo>
                        <a:cubicBezTo>
                          <a:pt x="25" y="80"/>
                          <a:pt x="25" y="80"/>
                          <a:pt x="25" y="80"/>
                        </a:cubicBezTo>
                        <a:close/>
                        <a:moveTo>
                          <a:pt x="27" y="81"/>
                        </a:moveTo>
                        <a:cubicBezTo>
                          <a:pt x="27" y="81"/>
                          <a:pt x="27" y="81"/>
                          <a:pt x="27" y="81"/>
                        </a:cubicBezTo>
                        <a:cubicBezTo>
                          <a:pt x="27" y="81"/>
                          <a:pt x="27" y="81"/>
                          <a:pt x="27" y="81"/>
                        </a:cubicBezTo>
                        <a:cubicBezTo>
                          <a:pt x="27" y="82"/>
                          <a:pt x="27" y="81"/>
                          <a:pt x="27" y="81"/>
                        </a:cubicBezTo>
                        <a:close/>
                        <a:moveTo>
                          <a:pt x="26" y="81"/>
                        </a:moveTo>
                        <a:cubicBezTo>
                          <a:pt x="27" y="82"/>
                          <a:pt x="26" y="82"/>
                          <a:pt x="26" y="82"/>
                        </a:cubicBezTo>
                        <a:cubicBezTo>
                          <a:pt x="26" y="81"/>
                          <a:pt x="26" y="82"/>
                          <a:pt x="26" y="81"/>
                        </a:cubicBezTo>
                        <a:close/>
                        <a:moveTo>
                          <a:pt x="27" y="82"/>
                        </a:moveTo>
                        <a:cubicBezTo>
                          <a:pt x="27" y="82"/>
                          <a:pt x="27" y="82"/>
                          <a:pt x="27" y="82"/>
                        </a:cubicBezTo>
                        <a:cubicBezTo>
                          <a:pt x="27" y="82"/>
                          <a:pt x="27" y="82"/>
                          <a:pt x="27" y="82"/>
                        </a:cubicBezTo>
                        <a:cubicBezTo>
                          <a:pt x="27" y="82"/>
                          <a:pt x="27" y="82"/>
                          <a:pt x="27" y="82"/>
                        </a:cubicBezTo>
                        <a:close/>
                        <a:moveTo>
                          <a:pt x="21" y="79"/>
                        </a:moveTo>
                        <a:cubicBezTo>
                          <a:pt x="21" y="79"/>
                          <a:pt x="21" y="79"/>
                          <a:pt x="21" y="79"/>
                        </a:cubicBezTo>
                        <a:cubicBezTo>
                          <a:pt x="21" y="79"/>
                          <a:pt x="21" y="79"/>
                          <a:pt x="21" y="79"/>
                        </a:cubicBezTo>
                        <a:close/>
                        <a:moveTo>
                          <a:pt x="21" y="80"/>
                        </a:moveTo>
                        <a:cubicBezTo>
                          <a:pt x="21" y="80"/>
                          <a:pt x="21" y="80"/>
                          <a:pt x="21" y="80"/>
                        </a:cubicBezTo>
                        <a:cubicBezTo>
                          <a:pt x="21" y="79"/>
                          <a:pt x="21" y="79"/>
                          <a:pt x="21" y="79"/>
                        </a:cubicBezTo>
                        <a:cubicBezTo>
                          <a:pt x="22" y="79"/>
                          <a:pt x="21" y="79"/>
                          <a:pt x="21" y="80"/>
                        </a:cubicBezTo>
                        <a:cubicBezTo>
                          <a:pt x="22" y="80"/>
                          <a:pt x="22" y="79"/>
                          <a:pt x="22" y="79"/>
                        </a:cubicBezTo>
                        <a:cubicBezTo>
                          <a:pt x="22" y="79"/>
                          <a:pt x="22" y="80"/>
                          <a:pt x="21" y="80"/>
                        </a:cubicBezTo>
                        <a:close/>
                        <a:moveTo>
                          <a:pt x="21" y="80"/>
                        </a:moveTo>
                        <a:cubicBezTo>
                          <a:pt x="21" y="80"/>
                          <a:pt x="21" y="79"/>
                          <a:pt x="21" y="80"/>
                        </a:cubicBezTo>
                        <a:cubicBezTo>
                          <a:pt x="21" y="80"/>
                          <a:pt x="21" y="80"/>
                          <a:pt x="21" y="80"/>
                        </a:cubicBezTo>
                        <a:cubicBezTo>
                          <a:pt x="21" y="80"/>
                          <a:pt x="21" y="80"/>
                          <a:pt x="21" y="80"/>
                        </a:cubicBezTo>
                        <a:close/>
                        <a:moveTo>
                          <a:pt x="22" y="80"/>
                        </a:moveTo>
                        <a:cubicBezTo>
                          <a:pt x="22" y="80"/>
                          <a:pt x="22" y="80"/>
                          <a:pt x="22" y="80"/>
                        </a:cubicBezTo>
                        <a:cubicBezTo>
                          <a:pt x="22" y="80"/>
                          <a:pt x="22" y="80"/>
                          <a:pt x="22" y="80"/>
                        </a:cubicBezTo>
                        <a:cubicBezTo>
                          <a:pt x="22" y="80"/>
                          <a:pt x="22" y="80"/>
                          <a:pt x="22" y="80"/>
                        </a:cubicBezTo>
                        <a:cubicBezTo>
                          <a:pt x="22" y="80"/>
                          <a:pt x="22" y="80"/>
                          <a:pt x="22" y="80"/>
                        </a:cubicBezTo>
                        <a:close/>
                        <a:moveTo>
                          <a:pt x="19" y="79"/>
                        </a:moveTo>
                        <a:cubicBezTo>
                          <a:pt x="19" y="79"/>
                          <a:pt x="19" y="79"/>
                          <a:pt x="19" y="78"/>
                        </a:cubicBezTo>
                        <a:cubicBezTo>
                          <a:pt x="19" y="78"/>
                          <a:pt x="19" y="79"/>
                          <a:pt x="19" y="79"/>
                        </a:cubicBezTo>
                        <a:close/>
                        <a:moveTo>
                          <a:pt x="25" y="81"/>
                        </a:moveTo>
                        <a:cubicBezTo>
                          <a:pt x="25" y="81"/>
                          <a:pt x="25" y="82"/>
                          <a:pt x="25" y="82"/>
                        </a:cubicBezTo>
                        <a:cubicBezTo>
                          <a:pt x="25" y="82"/>
                          <a:pt x="25" y="82"/>
                          <a:pt x="25" y="82"/>
                        </a:cubicBezTo>
                        <a:cubicBezTo>
                          <a:pt x="25" y="82"/>
                          <a:pt x="25" y="82"/>
                          <a:pt x="25" y="82"/>
                        </a:cubicBezTo>
                        <a:cubicBezTo>
                          <a:pt x="25" y="82"/>
                          <a:pt x="25" y="82"/>
                          <a:pt x="25" y="81"/>
                        </a:cubicBezTo>
                        <a:close/>
                        <a:moveTo>
                          <a:pt x="27" y="82"/>
                        </a:moveTo>
                        <a:cubicBezTo>
                          <a:pt x="26" y="83"/>
                          <a:pt x="27" y="83"/>
                          <a:pt x="26" y="83"/>
                        </a:cubicBezTo>
                        <a:cubicBezTo>
                          <a:pt x="26" y="83"/>
                          <a:pt x="26" y="83"/>
                          <a:pt x="26" y="82"/>
                        </a:cubicBezTo>
                        <a:lnTo>
                          <a:pt x="27" y="82"/>
                        </a:lnTo>
                        <a:close/>
                        <a:moveTo>
                          <a:pt x="26" y="82"/>
                        </a:moveTo>
                        <a:cubicBezTo>
                          <a:pt x="26" y="83"/>
                          <a:pt x="26" y="83"/>
                          <a:pt x="26" y="83"/>
                        </a:cubicBezTo>
                        <a:cubicBezTo>
                          <a:pt x="26" y="83"/>
                          <a:pt x="26" y="82"/>
                          <a:pt x="26" y="82"/>
                        </a:cubicBezTo>
                        <a:close/>
                        <a:moveTo>
                          <a:pt x="25" y="82"/>
                        </a:moveTo>
                        <a:cubicBezTo>
                          <a:pt x="25" y="82"/>
                          <a:pt x="25" y="82"/>
                          <a:pt x="25" y="82"/>
                        </a:cubicBezTo>
                        <a:cubicBezTo>
                          <a:pt x="25" y="82"/>
                          <a:pt x="25" y="82"/>
                          <a:pt x="25" y="82"/>
                        </a:cubicBezTo>
                        <a:close/>
                        <a:moveTo>
                          <a:pt x="26" y="83"/>
                        </a:moveTo>
                        <a:cubicBezTo>
                          <a:pt x="26" y="83"/>
                          <a:pt x="26" y="82"/>
                          <a:pt x="26" y="82"/>
                        </a:cubicBezTo>
                        <a:cubicBezTo>
                          <a:pt x="25" y="83"/>
                          <a:pt x="25" y="83"/>
                          <a:pt x="25" y="83"/>
                        </a:cubicBezTo>
                        <a:cubicBezTo>
                          <a:pt x="25" y="82"/>
                          <a:pt x="25" y="82"/>
                          <a:pt x="26" y="82"/>
                        </a:cubicBezTo>
                        <a:cubicBezTo>
                          <a:pt x="26" y="82"/>
                          <a:pt x="26" y="82"/>
                          <a:pt x="26" y="83"/>
                        </a:cubicBezTo>
                        <a:close/>
                        <a:moveTo>
                          <a:pt x="21" y="81"/>
                        </a:moveTo>
                        <a:cubicBezTo>
                          <a:pt x="21" y="81"/>
                          <a:pt x="21" y="81"/>
                          <a:pt x="20" y="81"/>
                        </a:cubicBezTo>
                        <a:cubicBezTo>
                          <a:pt x="21" y="81"/>
                          <a:pt x="21" y="81"/>
                          <a:pt x="21" y="81"/>
                        </a:cubicBezTo>
                        <a:cubicBezTo>
                          <a:pt x="21" y="81"/>
                          <a:pt x="21" y="81"/>
                          <a:pt x="21" y="81"/>
                        </a:cubicBezTo>
                        <a:cubicBezTo>
                          <a:pt x="21" y="81"/>
                          <a:pt x="21" y="81"/>
                          <a:pt x="21" y="81"/>
                        </a:cubicBezTo>
                        <a:close/>
                        <a:moveTo>
                          <a:pt x="21" y="82"/>
                        </a:moveTo>
                        <a:cubicBezTo>
                          <a:pt x="20" y="82"/>
                          <a:pt x="21" y="81"/>
                          <a:pt x="20" y="82"/>
                        </a:cubicBezTo>
                        <a:cubicBezTo>
                          <a:pt x="20" y="82"/>
                          <a:pt x="20" y="82"/>
                          <a:pt x="20" y="82"/>
                        </a:cubicBezTo>
                        <a:cubicBezTo>
                          <a:pt x="20" y="81"/>
                          <a:pt x="21" y="82"/>
                          <a:pt x="21" y="81"/>
                        </a:cubicBezTo>
                        <a:cubicBezTo>
                          <a:pt x="21" y="81"/>
                          <a:pt x="21" y="81"/>
                          <a:pt x="21" y="82"/>
                        </a:cubicBezTo>
                        <a:close/>
                        <a:moveTo>
                          <a:pt x="22" y="83"/>
                        </a:moveTo>
                        <a:cubicBezTo>
                          <a:pt x="22" y="83"/>
                          <a:pt x="23" y="83"/>
                          <a:pt x="23" y="83"/>
                        </a:cubicBezTo>
                        <a:cubicBezTo>
                          <a:pt x="23" y="83"/>
                          <a:pt x="22" y="83"/>
                          <a:pt x="22" y="83"/>
                        </a:cubicBezTo>
                        <a:close/>
                        <a:moveTo>
                          <a:pt x="17" y="81"/>
                        </a:moveTo>
                        <a:cubicBezTo>
                          <a:pt x="17" y="81"/>
                          <a:pt x="17" y="81"/>
                          <a:pt x="17" y="81"/>
                        </a:cubicBezTo>
                        <a:cubicBezTo>
                          <a:pt x="17" y="80"/>
                          <a:pt x="17" y="81"/>
                          <a:pt x="17" y="81"/>
                        </a:cubicBezTo>
                        <a:close/>
                        <a:moveTo>
                          <a:pt x="20" y="82"/>
                        </a:moveTo>
                        <a:cubicBezTo>
                          <a:pt x="20" y="82"/>
                          <a:pt x="20" y="82"/>
                          <a:pt x="20" y="82"/>
                        </a:cubicBezTo>
                        <a:cubicBezTo>
                          <a:pt x="20" y="83"/>
                          <a:pt x="20" y="83"/>
                          <a:pt x="20" y="83"/>
                        </a:cubicBezTo>
                        <a:lnTo>
                          <a:pt x="20" y="82"/>
                        </a:lnTo>
                        <a:close/>
                        <a:moveTo>
                          <a:pt x="20" y="83"/>
                        </a:moveTo>
                        <a:cubicBezTo>
                          <a:pt x="20" y="83"/>
                          <a:pt x="20" y="83"/>
                          <a:pt x="20" y="83"/>
                        </a:cubicBezTo>
                        <a:cubicBezTo>
                          <a:pt x="20" y="83"/>
                          <a:pt x="20" y="83"/>
                          <a:pt x="20" y="83"/>
                        </a:cubicBezTo>
                        <a:cubicBezTo>
                          <a:pt x="20" y="83"/>
                          <a:pt x="20" y="83"/>
                          <a:pt x="20" y="83"/>
                        </a:cubicBezTo>
                        <a:close/>
                        <a:moveTo>
                          <a:pt x="17" y="82"/>
                        </a:moveTo>
                        <a:cubicBezTo>
                          <a:pt x="16" y="82"/>
                          <a:pt x="16" y="82"/>
                          <a:pt x="16" y="82"/>
                        </a:cubicBezTo>
                        <a:cubicBezTo>
                          <a:pt x="16" y="82"/>
                          <a:pt x="17" y="82"/>
                          <a:pt x="17" y="82"/>
                        </a:cubicBezTo>
                        <a:cubicBezTo>
                          <a:pt x="17" y="82"/>
                          <a:pt x="17" y="82"/>
                          <a:pt x="17" y="82"/>
                        </a:cubicBezTo>
                        <a:close/>
                        <a:moveTo>
                          <a:pt x="20" y="83"/>
                        </a:moveTo>
                        <a:cubicBezTo>
                          <a:pt x="20" y="84"/>
                          <a:pt x="20" y="84"/>
                          <a:pt x="20" y="84"/>
                        </a:cubicBezTo>
                        <a:cubicBezTo>
                          <a:pt x="20" y="84"/>
                          <a:pt x="20" y="84"/>
                          <a:pt x="20" y="83"/>
                        </a:cubicBezTo>
                        <a:close/>
                        <a:moveTo>
                          <a:pt x="19" y="83"/>
                        </a:moveTo>
                        <a:cubicBezTo>
                          <a:pt x="19" y="83"/>
                          <a:pt x="19" y="83"/>
                          <a:pt x="19" y="84"/>
                        </a:cubicBezTo>
                        <a:cubicBezTo>
                          <a:pt x="19" y="83"/>
                          <a:pt x="19" y="83"/>
                          <a:pt x="19" y="83"/>
                        </a:cubicBezTo>
                        <a:close/>
                        <a:moveTo>
                          <a:pt x="19" y="83"/>
                        </a:moveTo>
                        <a:cubicBezTo>
                          <a:pt x="20" y="84"/>
                          <a:pt x="19" y="84"/>
                          <a:pt x="19" y="83"/>
                        </a:cubicBezTo>
                        <a:close/>
                        <a:moveTo>
                          <a:pt x="16" y="82"/>
                        </a:moveTo>
                        <a:cubicBezTo>
                          <a:pt x="15" y="82"/>
                          <a:pt x="16" y="82"/>
                          <a:pt x="16" y="82"/>
                        </a:cubicBezTo>
                        <a:cubicBezTo>
                          <a:pt x="16" y="82"/>
                          <a:pt x="15" y="83"/>
                          <a:pt x="16" y="82"/>
                        </a:cubicBezTo>
                        <a:close/>
                        <a:moveTo>
                          <a:pt x="21" y="85"/>
                        </a:moveTo>
                        <a:cubicBezTo>
                          <a:pt x="21" y="85"/>
                          <a:pt x="21" y="85"/>
                          <a:pt x="21" y="85"/>
                        </a:cubicBezTo>
                        <a:cubicBezTo>
                          <a:pt x="21" y="85"/>
                          <a:pt x="21" y="85"/>
                          <a:pt x="21" y="85"/>
                        </a:cubicBezTo>
                        <a:close/>
                        <a:moveTo>
                          <a:pt x="21" y="87"/>
                        </a:moveTo>
                        <a:cubicBezTo>
                          <a:pt x="21" y="87"/>
                          <a:pt x="21" y="87"/>
                          <a:pt x="21" y="87"/>
                        </a:cubicBezTo>
                        <a:cubicBezTo>
                          <a:pt x="22" y="87"/>
                          <a:pt x="21" y="87"/>
                          <a:pt x="21" y="87"/>
                        </a:cubicBezTo>
                        <a:close/>
                        <a:moveTo>
                          <a:pt x="17" y="85"/>
                        </a:moveTo>
                        <a:cubicBezTo>
                          <a:pt x="17" y="85"/>
                          <a:pt x="17" y="85"/>
                          <a:pt x="17" y="85"/>
                        </a:cubicBezTo>
                        <a:cubicBezTo>
                          <a:pt x="17" y="85"/>
                          <a:pt x="17" y="85"/>
                          <a:pt x="17" y="85"/>
                        </a:cubicBezTo>
                        <a:close/>
                        <a:moveTo>
                          <a:pt x="18" y="86"/>
                        </a:moveTo>
                        <a:cubicBezTo>
                          <a:pt x="18" y="86"/>
                          <a:pt x="18" y="86"/>
                          <a:pt x="18" y="86"/>
                        </a:cubicBezTo>
                        <a:cubicBezTo>
                          <a:pt x="18" y="86"/>
                          <a:pt x="18" y="86"/>
                          <a:pt x="18" y="86"/>
                        </a:cubicBezTo>
                        <a:close/>
                        <a:moveTo>
                          <a:pt x="22" y="88"/>
                        </a:moveTo>
                        <a:cubicBezTo>
                          <a:pt x="22" y="88"/>
                          <a:pt x="22" y="88"/>
                          <a:pt x="22" y="88"/>
                        </a:cubicBezTo>
                        <a:cubicBezTo>
                          <a:pt x="22" y="88"/>
                          <a:pt x="22" y="88"/>
                          <a:pt x="22" y="88"/>
                        </a:cubicBezTo>
                        <a:cubicBezTo>
                          <a:pt x="22" y="88"/>
                          <a:pt x="22" y="88"/>
                          <a:pt x="22" y="88"/>
                        </a:cubicBezTo>
                        <a:close/>
                        <a:moveTo>
                          <a:pt x="21" y="88"/>
                        </a:moveTo>
                        <a:cubicBezTo>
                          <a:pt x="21" y="88"/>
                          <a:pt x="21" y="88"/>
                          <a:pt x="21" y="88"/>
                        </a:cubicBezTo>
                        <a:cubicBezTo>
                          <a:pt x="21" y="88"/>
                          <a:pt x="21" y="88"/>
                          <a:pt x="21" y="88"/>
                        </a:cubicBezTo>
                        <a:close/>
                        <a:moveTo>
                          <a:pt x="22" y="89"/>
                        </a:moveTo>
                        <a:cubicBezTo>
                          <a:pt x="22" y="89"/>
                          <a:pt x="22" y="89"/>
                          <a:pt x="22" y="89"/>
                        </a:cubicBezTo>
                        <a:cubicBezTo>
                          <a:pt x="22" y="89"/>
                          <a:pt x="22" y="89"/>
                          <a:pt x="22" y="89"/>
                        </a:cubicBezTo>
                        <a:cubicBezTo>
                          <a:pt x="22" y="89"/>
                          <a:pt x="22" y="89"/>
                          <a:pt x="22" y="89"/>
                        </a:cubicBezTo>
                        <a:close/>
                        <a:moveTo>
                          <a:pt x="16" y="86"/>
                        </a:moveTo>
                        <a:cubicBezTo>
                          <a:pt x="16" y="86"/>
                          <a:pt x="16" y="86"/>
                          <a:pt x="16" y="86"/>
                        </a:cubicBezTo>
                        <a:cubicBezTo>
                          <a:pt x="17" y="86"/>
                          <a:pt x="16" y="87"/>
                          <a:pt x="16" y="86"/>
                        </a:cubicBezTo>
                        <a:close/>
                        <a:moveTo>
                          <a:pt x="23" y="90"/>
                        </a:moveTo>
                        <a:cubicBezTo>
                          <a:pt x="23" y="90"/>
                          <a:pt x="23" y="90"/>
                          <a:pt x="23" y="90"/>
                        </a:cubicBezTo>
                        <a:cubicBezTo>
                          <a:pt x="23" y="90"/>
                          <a:pt x="23" y="90"/>
                          <a:pt x="23" y="90"/>
                        </a:cubicBezTo>
                        <a:close/>
                        <a:moveTo>
                          <a:pt x="21" y="89"/>
                        </a:moveTo>
                        <a:cubicBezTo>
                          <a:pt x="21" y="89"/>
                          <a:pt x="21" y="89"/>
                          <a:pt x="21" y="89"/>
                        </a:cubicBezTo>
                        <a:cubicBezTo>
                          <a:pt x="21" y="89"/>
                          <a:pt x="21" y="89"/>
                          <a:pt x="21" y="89"/>
                        </a:cubicBezTo>
                        <a:close/>
                        <a:moveTo>
                          <a:pt x="15" y="90"/>
                        </a:moveTo>
                        <a:cubicBezTo>
                          <a:pt x="16" y="90"/>
                          <a:pt x="15" y="90"/>
                          <a:pt x="15" y="90"/>
                        </a:cubicBezTo>
                        <a:cubicBezTo>
                          <a:pt x="15" y="90"/>
                          <a:pt x="15" y="90"/>
                          <a:pt x="15" y="90"/>
                        </a:cubicBezTo>
                        <a:close/>
                        <a:moveTo>
                          <a:pt x="17" y="96"/>
                        </a:moveTo>
                        <a:cubicBezTo>
                          <a:pt x="18" y="96"/>
                          <a:pt x="17" y="96"/>
                          <a:pt x="17" y="96"/>
                        </a:cubicBezTo>
                        <a:cubicBezTo>
                          <a:pt x="17" y="96"/>
                          <a:pt x="17" y="96"/>
                          <a:pt x="17" y="96"/>
                        </a:cubicBezTo>
                        <a:close/>
                        <a:moveTo>
                          <a:pt x="14" y="95"/>
                        </a:moveTo>
                        <a:cubicBezTo>
                          <a:pt x="14" y="95"/>
                          <a:pt x="14" y="95"/>
                          <a:pt x="14" y="95"/>
                        </a:cubicBezTo>
                        <a:cubicBezTo>
                          <a:pt x="13" y="95"/>
                          <a:pt x="14" y="95"/>
                          <a:pt x="14" y="95"/>
                        </a:cubicBezTo>
                        <a:close/>
                        <a:moveTo>
                          <a:pt x="17" y="97"/>
                        </a:moveTo>
                        <a:cubicBezTo>
                          <a:pt x="17" y="97"/>
                          <a:pt x="17" y="98"/>
                          <a:pt x="17" y="97"/>
                        </a:cubicBezTo>
                        <a:cubicBezTo>
                          <a:pt x="17" y="97"/>
                          <a:pt x="17" y="97"/>
                          <a:pt x="17" y="97"/>
                        </a:cubicBezTo>
                        <a:cubicBezTo>
                          <a:pt x="17" y="97"/>
                          <a:pt x="17" y="97"/>
                          <a:pt x="17" y="97"/>
                        </a:cubicBezTo>
                        <a:cubicBezTo>
                          <a:pt x="17" y="97"/>
                          <a:pt x="17" y="97"/>
                          <a:pt x="17" y="97"/>
                        </a:cubicBezTo>
                        <a:close/>
                        <a:moveTo>
                          <a:pt x="15" y="100"/>
                        </a:moveTo>
                        <a:cubicBezTo>
                          <a:pt x="16" y="100"/>
                          <a:pt x="15" y="100"/>
                          <a:pt x="15" y="101"/>
                        </a:cubicBezTo>
                        <a:cubicBezTo>
                          <a:pt x="15" y="100"/>
                          <a:pt x="15" y="100"/>
                          <a:pt x="15" y="100"/>
                        </a:cubicBezTo>
                        <a:close/>
                        <a:moveTo>
                          <a:pt x="16" y="102"/>
                        </a:moveTo>
                        <a:cubicBezTo>
                          <a:pt x="16" y="102"/>
                          <a:pt x="16" y="102"/>
                          <a:pt x="16" y="102"/>
                        </a:cubicBezTo>
                        <a:cubicBezTo>
                          <a:pt x="16" y="102"/>
                          <a:pt x="16" y="102"/>
                          <a:pt x="16" y="102"/>
                        </a:cubicBezTo>
                        <a:close/>
                        <a:moveTo>
                          <a:pt x="15" y="103"/>
                        </a:moveTo>
                        <a:cubicBezTo>
                          <a:pt x="15" y="103"/>
                          <a:pt x="15" y="103"/>
                          <a:pt x="15" y="103"/>
                        </a:cubicBezTo>
                        <a:cubicBezTo>
                          <a:pt x="15" y="104"/>
                          <a:pt x="15" y="103"/>
                          <a:pt x="15" y="103"/>
                        </a:cubicBezTo>
                        <a:close/>
                        <a:moveTo>
                          <a:pt x="15" y="103"/>
                        </a:moveTo>
                        <a:cubicBezTo>
                          <a:pt x="15" y="104"/>
                          <a:pt x="15" y="104"/>
                          <a:pt x="15" y="104"/>
                        </a:cubicBezTo>
                        <a:cubicBezTo>
                          <a:pt x="15" y="104"/>
                          <a:pt x="15" y="104"/>
                          <a:pt x="15" y="104"/>
                        </a:cubicBezTo>
                        <a:cubicBezTo>
                          <a:pt x="15" y="104"/>
                          <a:pt x="15" y="104"/>
                          <a:pt x="15" y="103"/>
                        </a:cubicBezTo>
                        <a:close/>
                        <a:moveTo>
                          <a:pt x="14" y="104"/>
                        </a:moveTo>
                        <a:cubicBezTo>
                          <a:pt x="14" y="104"/>
                          <a:pt x="14" y="104"/>
                          <a:pt x="14" y="104"/>
                        </a:cubicBezTo>
                        <a:cubicBezTo>
                          <a:pt x="14" y="103"/>
                          <a:pt x="14" y="103"/>
                          <a:pt x="14" y="103"/>
                        </a:cubicBezTo>
                        <a:cubicBezTo>
                          <a:pt x="14" y="103"/>
                          <a:pt x="14" y="104"/>
                          <a:pt x="14" y="104"/>
                        </a:cubicBezTo>
                        <a:close/>
                        <a:moveTo>
                          <a:pt x="12" y="104"/>
                        </a:moveTo>
                        <a:cubicBezTo>
                          <a:pt x="12" y="103"/>
                          <a:pt x="12" y="103"/>
                          <a:pt x="12" y="103"/>
                        </a:cubicBezTo>
                        <a:cubicBezTo>
                          <a:pt x="12" y="103"/>
                          <a:pt x="12" y="103"/>
                          <a:pt x="12" y="104"/>
                        </a:cubicBezTo>
                        <a:close/>
                        <a:moveTo>
                          <a:pt x="14" y="107"/>
                        </a:moveTo>
                        <a:cubicBezTo>
                          <a:pt x="14" y="107"/>
                          <a:pt x="13" y="107"/>
                          <a:pt x="14" y="107"/>
                        </a:cubicBezTo>
                        <a:cubicBezTo>
                          <a:pt x="14" y="106"/>
                          <a:pt x="14" y="106"/>
                          <a:pt x="14" y="105"/>
                        </a:cubicBezTo>
                        <a:cubicBezTo>
                          <a:pt x="14" y="106"/>
                          <a:pt x="14" y="106"/>
                          <a:pt x="14" y="107"/>
                        </a:cubicBezTo>
                        <a:close/>
                        <a:moveTo>
                          <a:pt x="11" y="105"/>
                        </a:moveTo>
                        <a:cubicBezTo>
                          <a:pt x="11" y="105"/>
                          <a:pt x="11" y="104"/>
                          <a:pt x="11" y="104"/>
                        </a:cubicBezTo>
                        <a:cubicBezTo>
                          <a:pt x="11" y="104"/>
                          <a:pt x="11" y="105"/>
                          <a:pt x="11" y="105"/>
                        </a:cubicBezTo>
                        <a:close/>
                        <a:moveTo>
                          <a:pt x="14" y="107"/>
                        </a:moveTo>
                        <a:cubicBezTo>
                          <a:pt x="14" y="107"/>
                          <a:pt x="13" y="108"/>
                          <a:pt x="13" y="108"/>
                        </a:cubicBezTo>
                        <a:cubicBezTo>
                          <a:pt x="13" y="108"/>
                          <a:pt x="13" y="107"/>
                          <a:pt x="14" y="107"/>
                        </a:cubicBezTo>
                        <a:close/>
                        <a:moveTo>
                          <a:pt x="13" y="110"/>
                        </a:moveTo>
                        <a:cubicBezTo>
                          <a:pt x="13" y="110"/>
                          <a:pt x="13" y="110"/>
                          <a:pt x="13" y="109"/>
                        </a:cubicBezTo>
                        <a:cubicBezTo>
                          <a:pt x="13" y="109"/>
                          <a:pt x="13" y="109"/>
                          <a:pt x="13" y="109"/>
                        </a:cubicBezTo>
                        <a:cubicBezTo>
                          <a:pt x="13" y="109"/>
                          <a:pt x="13" y="110"/>
                          <a:pt x="13" y="110"/>
                        </a:cubicBezTo>
                        <a:close/>
                        <a:moveTo>
                          <a:pt x="13" y="110"/>
                        </a:moveTo>
                        <a:cubicBezTo>
                          <a:pt x="13" y="110"/>
                          <a:pt x="12" y="110"/>
                          <a:pt x="12" y="110"/>
                        </a:cubicBezTo>
                        <a:cubicBezTo>
                          <a:pt x="12" y="110"/>
                          <a:pt x="13" y="110"/>
                          <a:pt x="13" y="110"/>
                        </a:cubicBezTo>
                        <a:close/>
                        <a:moveTo>
                          <a:pt x="11" y="110"/>
                        </a:moveTo>
                        <a:cubicBezTo>
                          <a:pt x="11" y="110"/>
                          <a:pt x="11" y="110"/>
                          <a:pt x="11" y="110"/>
                        </a:cubicBezTo>
                        <a:cubicBezTo>
                          <a:pt x="11" y="110"/>
                          <a:pt x="11" y="110"/>
                          <a:pt x="11" y="109"/>
                        </a:cubicBezTo>
                        <a:cubicBezTo>
                          <a:pt x="11" y="109"/>
                          <a:pt x="11" y="109"/>
                          <a:pt x="11" y="109"/>
                        </a:cubicBezTo>
                        <a:cubicBezTo>
                          <a:pt x="11" y="109"/>
                          <a:pt x="11" y="109"/>
                          <a:pt x="12" y="109"/>
                        </a:cubicBezTo>
                        <a:cubicBezTo>
                          <a:pt x="12" y="109"/>
                          <a:pt x="11" y="110"/>
                          <a:pt x="11" y="110"/>
                        </a:cubicBezTo>
                        <a:close/>
                        <a:moveTo>
                          <a:pt x="7" y="108"/>
                        </a:moveTo>
                        <a:cubicBezTo>
                          <a:pt x="7" y="108"/>
                          <a:pt x="7" y="107"/>
                          <a:pt x="7" y="107"/>
                        </a:cubicBezTo>
                        <a:cubicBezTo>
                          <a:pt x="7" y="107"/>
                          <a:pt x="7" y="108"/>
                          <a:pt x="7" y="108"/>
                        </a:cubicBezTo>
                        <a:close/>
                        <a:moveTo>
                          <a:pt x="10" y="110"/>
                        </a:moveTo>
                        <a:cubicBezTo>
                          <a:pt x="10" y="110"/>
                          <a:pt x="11" y="110"/>
                          <a:pt x="11" y="109"/>
                        </a:cubicBezTo>
                        <a:cubicBezTo>
                          <a:pt x="11" y="110"/>
                          <a:pt x="11" y="110"/>
                          <a:pt x="10" y="110"/>
                        </a:cubicBezTo>
                        <a:close/>
                        <a:moveTo>
                          <a:pt x="12" y="110"/>
                        </a:moveTo>
                        <a:cubicBezTo>
                          <a:pt x="12" y="110"/>
                          <a:pt x="12" y="110"/>
                          <a:pt x="12" y="110"/>
                        </a:cubicBezTo>
                        <a:cubicBezTo>
                          <a:pt x="12" y="110"/>
                          <a:pt x="12" y="110"/>
                          <a:pt x="12" y="110"/>
                        </a:cubicBezTo>
                        <a:close/>
                        <a:moveTo>
                          <a:pt x="11" y="110"/>
                        </a:moveTo>
                        <a:cubicBezTo>
                          <a:pt x="11" y="110"/>
                          <a:pt x="11" y="110"/>
                          <a:pt x="11" y="110"/>
                        </a:cubicBezTo>
                        <a:cubicBezTo>
                          <a:pt x="12" y="110"/>
                          <a:pt x="11" y="111"/>
                          <a:pt x="11" y="111"/>
                        </a:cubicBezTo>
                        <a:cubicBezTo>
                          <a:pt x="11" y="111"/>
                          <a:pt x="12" y="110"/>
                          <a:pt x="11" y="110"/>
                        </a:cubicBezTo>
                        <a:close/>
                        <a:moveTo>
                          <a:pt x="10" y="111"/>
                        </a:moveTo>
                        <a:cubicBezTo>
                          <a:pt x="10" y="111"/>
                          <a:pt x="10" y="110"/>
                          <a:pt x="10" y="110"/>
                        </a:cubicBezTo>
                        <a:cubicBezTo>
                          <a:pt x="10" y="110"/>
                          <a:pt x="10" y="111"/>
                          <a:pt x="10" y="111"/>
                        </a:cubicBezTo>
                        <a:close/>
                        <a:moveTo>
                          <a:pt x="10" y="111"/>
                        </a:moveTo>
                        <a:cubicBezTo>
                          <a:pt x="11" y="111"/>
                          <a:pt x="10" y="111"/>
                          <a:pt x="10" y="111"/>
                        </a:cubicBezTo>
                        <a:cubicBezTo>
                          <a:pt x="10" y="111"/>
                          <a:pt x="10" y="111"/>
                          <a:pt x="10" y="111"/>
                        </a:cubicBezTo>
                        <a:close/>
                        <a:moveTo>
                          <a:pt x="11" y="111"/>
                        </a:moveTo>
                        <a:cubicBezTo>
                          <a:pt x="11" y="111"/>
                          <a:pt x="11" y="111"/>
                          <a:pt x="11" y="111"/>
                        </a:cubicBezTo>
                        <a:cubicBezTo>
                          <a:pt x="11" y="111"/>
                          <a:pt x="11" y="111"/>
                          <a:pt x="11" y="111"/>
                        </a:cubicBezTo>
                        <a:cubicBezTo>
                          <a:pt x="11" y="111"/>
                          <a:pt x="11" y="111"/>
                          <a:pt x="11" y="111"/>
                        </a:cubicBezTo>
                        <a:cubicBezTo>
                          <a:pt x="11" y="111"/>
                          <a:pt x="11" y="111"/>
                          <a:pt x="11" y="111"/>
                        </a:cubicBezTo>
                        <a:close/>
                        <a:moveTo>
                          <a:pt x="11" y="112"/>
                        </a:moveTo>
                        <a:cubicBezTo>
                          <a:pt x="11" y="112"/>
                          <a:pt x="11" y="112"/>
                          <a:pt x="11" y="112"/>
                        </a:cubicBezTo>
                        <a:cubicBezTo>
                          <a:pt x="11" y="112"/>
                          <a:pt x="11" y="112"/>
                          <a:pt x="11" y="112"/>
                        </a:cubicBezTo>
                        <a:close/>
                        <a:moveTo>
                          <a:pt x="6" y="110"/>
                        </a:moveTo>
                        <a:cubicBezTo>
                          <a:pt x="6" y="110"/>
                          <a:pt x="6" y="110"/>
                          <a:pt x="6" y="110"/>
                        </a:cubicBezTo>
                        <a:cubicBezTo>
                          <a:pt x="6" y="110"/>
                          <a:pt x="6" y="110"/>
                          <a:pt x="6" y="110"/>
                        </a:cubicBezTo>
                        <a:close/>
                        <a:moveTo>
                          <a:pt x="5" y="111"/>
                        </a:moveTo>
                        <a:cubicBezTo>
                          <a:pt x="5" y="111"/>
                          <a:pt x="5" y="111"/>
                          <a:pt x="5" y="111"/>
                        </a:cubicBezTo>
                        <a:cubicBezTo>
                          <a:pt x="6" y="111"/>
                          <a:pt x="5" y="111"/>
                          <a:pt x="5" y="111"/>
                        </a:cubicBezTo>
                        <a:close/>
                        <a:moveTo>
                          <a:pt x="10" y="114"/>
                        </a:moveTo>
                        <a:cubicBezTo>
                          <a:pt x="10" y="114"/>
                          <a:pt x="9" y="115"/>
                          <a:pt x="9" y="116"/>
                        </a:cubicBezTo>
                        <a:cubicBezTo>
                          <a:pt x="8" y="116"/>
                          <a:pt x="8" y="117"/>
                          <a:pt x="8" y="117"/>
                        </a:cubicBezTo>
                        <a:cubicBezTo>
                          <a:pt x="8" y="116"/>
                          <a:pt x="9" y="115"/>
                          <a:pt x="10" y="114"/>
                        </a:cubicBezTo>
                        <a:close/>
                        <a:moveTo>
                          <a:pt x="11" y="115"/>
                        </a:moveTo>
                        <a:cubicBezTo>
                          <a:pt x="10" y="115"/>
                          <a:pt x="10" y="115"/>
                          <a:pt x="10" y="115"/>
                        </a:cubicBezTo>
                        <a:cubicBezTo>
                          <a:pt x="10" y="115"/>
                          <a:pt x="10" y="115"/>
                          <a:pt x="11" y="115"/>
                        </a:cubicBezTo>
                        <a:close/>
                        <a:moveTo>
                          <a:pt x="8" y="114"/>
                        </a:moveTo>
                        <a:cubicBezTo>
                          <a:pt x="8" y="114"/>
                          <a:pt x="8" y="114"/>
                          <a:pt x="8" y="114"/>
                        </a:cubicBezTo>
                        <a:cubicBezTo>
                          <a:pt x="8" y="114"/>
                          <a:pt x="8" y="114"/>
                          <a:pt x="8" y="114"/>
                        </a:cubicBezTo>
                        <a:cubicBezTo>
                          <a:pt x="8" y="114"/>
                          <a:pt x="8" y="114"/>
                          <a:pt x="8" y="114"/>
                        </a:cubicBezTo>
                        <a:close/>
                        <a:moveTo>
                          <a:pt x="10" y="115"/>
                        </a:moveTo>
                        <a:cubicBezTo>
                          <a:pt x="10" y="115"/>
                          <a:pt x="10" y="115"/>
                          <a:pt x="10" y="115"/>
                        </a:cubicBezTo>
                        <a:cubicBezTo>
                          <a:pt x="10" y="115"/>
                          <a:pt x="10" y="115"/>
                          <a:pt x="10" y="115"/>
                        </a:cubicBezTo>
                        <a:close/>
                        <a:moveTo>
                          <a:pt x="10" y="116"/>
                        </a:moveTo>
                        <a:cubicBezTo>
                          <a:pt x="10" y="115"/>
                          <a:pt x="10" y="115"/>
                          <a:pt x="10" y="115"/>
                        </a:cubicBezTo>
                        <a:cubicBezTo>
                          <a:pt x="10" y="115"/>
                          <a:pt x="10" y="116"/>
                          <a:pt x="10" y="116"/>
                        </a:cubicBezTo>
                        <a:close/>
                        <a:moveTo>
                          <a:pt x="10" y="116"/>
                        </a:moveTo>
                        <a:cubicBezTo>
                          <a:pt x="10" y="116"/>
                          <a:pt x="10" y="116"/>
                          <a:pt x="10" y="116"/>
                        </a:cubicBezTo>
                        <a:cubicBezTo>
                          <a:pt x="10" y="116"/>
                          <a:pt x="10" y="116"/>
                          <a:pt x="10" y="116"/>
                        </a:cubicBezTo>
                        <a:cubicBezTo>
                          <a:pt x="10" y="116"/>
                          <a:pt x="10" y="116"/>
                          <a:pt x="10" y="115"/>
                        </a:cubicBezTo>
                        <a:lnTo>
                          <a:pt x="10" y="116"/>
                        </a:lnTo>
                        <a:close/>
                        <a:moveTo>
                          <a:pt x="8" y="115"/>
                        </a:moveTo>
                        <a:cubicBezTo>
                          <a:pt x="8" y="115"/>
                          <a:pt x="8" y="115"/>
                          <a:pt x="8" y="115"/>
                        </a:cubicBezTo>
                        <a:cubicBezTo>
                          <a:pt x="8" y="115"/>
                          <a:pt x="8" y="115"/>
                          <a:pt x="8" y="115"/>
                        </a:cubicBezTo>
                        <a:close/>
                        <a:moveTo>
                          <a:pt x="3" y="113"/>
                        </a:moveTo>
                        <a:cubicBezTo>
                          <a:pt x="3" y="114"/>
                          <a:pt x="3" y="114"/>
                          <a:pt x="3" y="114"/>
                        </a:cubicBezTo>
                        <a:cubicBezTo>
                          <a:pt x="3" y="114"/>
                          <a:pt x="3" y="114"/>
                          <a:pt x="3" y="113"/>
                        </a:cubicBezTo>
                        <a:close/>
                        <a:moveTo>
                          <a:pt x="7" y="116"/>
                        </a:moveTo>
                        <a:cubicBezTo>
                          <a:pt x="7" y="117"/>
                          <a:pt x="7" y="116"/>
                          <a:pt x="7" y="117"/>
                        </a:cubicBezTo>
                        <a:cubicBezTo>
                          <a:pt x="6" y="116"/>
                          <a:pt x="7" y="116"/>
                          <a:pt x="7" y="116"/>
                        </a:cubicBezTo>
                        <a:cubicBezTo>
                          <a:pt x="7" y="116"/>
                          <a:pt x="7" y="116"/>
                          <a:pt x="7" y="116"/>
                        </a:cubicBezTo>
                        <a:close/>
                        <a:moveTo>
                          <a:pt x="7" y="116"/>
                        </a:moveTo>
                        <a:cubicBezTo>
                          <a:pt x="7" y="116"/>
                          <a:pt x="7" y="116"/>
                          <a:pt x="7" y="116"/>
                        </a:cubicBezTo>
                        <a:cubicBezTo>
                          <a:pt x="7" y="117"/>
                          <a:pt x="7" y="117"/>
                          <a:pt x="7" y="117"/>
                        </a:cubicBezTo>
                        <a:cubicBezTo>
                          <a:pt x="7" y="117"/>
                          <a:pt x="7" y="117"/>
                          <a:pt x="7" y="117"/>
                        </a:cubicBezTo>
                        <a:cubicBezTo>
                          <a:pt x="6" y="117"/>
                          <a:pt x="7" y="117"/>
                          <a:pt x="7" y="116"/>
                        </a:cubicBezTo>
                        <a:close/>
                        <a:moveTo>
                          <a:pt x="7" y="117"/>
                        </a:moveTo>
                        <a:cubicBezTo>
                          <a:pt x="7" y="117"/>
                          <a:pt x="7" y="117"/>
                          <a:pt x="7" y="117"/>
                        </a:cubicBezTo>
                        <a:cubicBezTo>
                          <a:pt x="7" y="117"/>
                          <a:pt x="7" y="117"/>
                          <a:pt x="6" y="118"/>
                        </a:cubicBezTo>
                        <a:cubicBezTo>
                          <a:pt x="6" y="117"/>
                          <a:pt x="7" y="117"/>
                          <a:pt x="7" y="117"/>
                        </a:cubicBezTo>
                        <a:close/>
                        <a:moveTo>
                          <a:pt x="9" y="119"/>
                        </a:moveTo>
                        <a:cubicBezTo>
                          <a:pt x="9" y="119"/>
                          <a:pt x="9" y="118"/>
                          <a:pt x="9" y="118"/>
                        </a:cubicBezTo>
                        <a:cubicBezTo>
                          <a:pt x="9" y="118"/>
                          <a:pt x="9" y="119"/>
                          <a:pt x="9" y="119"/>
                        </a:cubicBezTo>
                        <a:close/>
                        <a:moveTo>
                          <a:pt x="2" y="116"/>
                        </a:moveTo>
                        <a:cubicBezTo>
                          <a:pt x="2" y="116"/>
                          <a:pt x="2" y="115"/>
                          <a:pt x="2" y="115"/>
                        </a:cubicBezTo>
                        <a:cubicBezTo>
                          <a:pt x="2" y="116"/>
                          <a:pt x="2" y="116"/>
                          <a:pt x="2" y="116"/>
                        </a:cubicBezTo>
                        <a:close/>
                        <a:moveTo>
                          <a:pt x="7" y="118"/>
                        </a:moveTo>
                        <a:cubicBezTo>
                          <a:pt x="7" y="118"/>
                          <a:pt x="7" y="118"/>
                          <a:pt x="6" y="118"/>
                        </a:cubicBezTo>
                        <a:cubicBezTo>
                          <a:pt x="6" y="118"/>
                          <a:pt x="6" y="118"/>
                          <a:pt x="6" y="118"/>
                        </a:cubicBezTo>
                        <a:cubicBezTo>
                          <a:pt x="6" y="118"/>
                          <a:pt x="6" y="118"/>
                          <a:pt x="6" y="118"/>
                        </a:cubicBezTo>
                        <a:cubicBezTo>
                          <a:pt x="6" y="118"/>
                          <a:pt x="6" y="118"/>
                          <a:pt x="6" y="118"/>
                        </a:cubicBezTo>
                        <a:cubicBezTo>
                          <a:pt x="7" y="118"/>
                          <a:pt x="7" y="118"/>
                          <a:pt x="7" y="118"/>
                        </a:cubicBezTo>
                        <a:close/>
                        <a:moveTo>
                          <a:pt x="9" y="119"/>
                        </a:moveTo>
                        <a:cubicBezTo>
                          <a:pt x="9" y="119"/>
                          <a:pt x="8" y="119"/>
                          <a:pt x="8" y="120"/>
                        </a:cubicBezTo>
                        <a:cubicBezTo>
                          <a:pt x="8" y="119"/>
                          <a:pt x="8" y="119"/>
                          <a:pt x="9" y="119"/>
                        </a:cubicBezTo>
                        <a:close/>
                        <a:moveTo>
                          <a:pt x="7" y="118"/>
                        </a:moveTo>
                        <a:cubicBezTo>
                          <a:pt x="7" y="118"/>
                          <a:pt x="7" y="119"/>
                          <a:pt x="7" y="119"/>
                        </a:cubicBezTo>
                        <a:cubicBezTo>
                          <a:pt x="7" y="119"/>
                          <a:pt x="7" y="118"/>
                          <a:pt x="7" y="118"/>
                        </a:cubicBezTo>
                        <a:close/>
                        <a:moveTo>
                          <a:pt x="2" y="116"/>
                        </a:moveTo>
                        <a:cubicBezTo>
                          <a:pt x="2" y="116"/>
                          <a:pt x="2" y="117"/>
                          <a:pt x="2" y="117"/>
                        </a:cubicBezTo>
                        <a:cubicBezTo>
                          <a:pt x="2" y="117"/>
                          <a:pt x="2" y="116"/>
                          <a:pt x="2" y="116"/>
                        </a:cubicBezTo>
                        <a:close/>
                        <a:moveTo>
                          <a:pt x="4" y="118"/>
                        </a:moveTo>
                        <a:cubicBezTo>
                          <a:pt x="4" y="118"/>
                          <a:pt x="4" y="117"/>
                          <a:pt x="4" y="117"/>
                        </a:cubicBezTo>
                        <a:cubicBezTo>
                          <a:pt x="5" y="117"/>
                          <a:pt x="4" y="118"/>
                          <a:pt x="4" y="118"/>
                        </a:cubicBezTo>
                        <a:close/>
                        <a:moveTo>
                          <a:pt x="6" y="118"/>
                        </a:moveTo>
                        <a:cubicBezTo>
                          <a:pt x="6" y="119"/>
                          <a:pt x="6" y="119"/>
                          <a:pt x="6" y="119"/>
                        </a:cubicBezTo>
                        <a:cubicBezTo>
                          <a:pt x="6" y="119"/>
                          <a:pt x="6" y="118"/>
                          <a:pt x="6" y="118"/>
                        </a:cubicBezTo>
                        <a:close/>
                        <a:moveTo>
                          <a:pt x="8" y="120"/>
                        </a:moveTo>
                        <a:cubicBezTo>
                          <a:pt x="8" y="120"/>
                          <a:pt x="8" y="120"/>
                          <a:pt x="8" y="120"/>
                        </a:cubicBezTo>
                        <a:cubicBezTo>
                          <a:pt x="8" y="120"/>
                          <a:pt x="8" y="120"/>
                          <a:pt x="8" y="120"/>
                        </a:cubicBezTo>
                        <a:close/>
                        <a:moveTo>
                          <a:pt x="4" y="119"/>
                        </a:moveTo>
                        <a:cubicBezTo>
                          <a:pt x="4" y="118"/>
                          <a:pt x="4" y="118"/>
                          <a:pt x="4" y="118"/>
                        </a:cubicBezTo>
                        <a:cubicBezTo>
                          <a:pt x="4" y="118"/>
                          <a:pt x="4" y="118"/>
                          <a:pt x="4" y="119"/>
                        </a:cubicBezTo>
                        <a:close/>
                        <a:moveTo>
                          <a:pt x="1" y="117"/>
                        </a:moveTo>
                        <a:cubicBezTo>
                          <a:pt x="1" y="117"/>
                          <a:pt x="1" y="117"/>
                          <a:pt x="1" y="117"/>
                        </a:cubicBezTo>
                        <a:cubicBezTo>
                          <a:pt x="1" y="117"/>
                          <a:pt x="1" y="117"/>
                          <a:pt x="1" y="117"/>
                        </a:cubicBezTo>
                        <a:close/>
                        <a:moveTo>
                          <a:pt x="7" y="121"/>
                        </a:moveTo>
                        <a:cubicBezTo>
                          <a:pt x="7" y="121"/>
                          <a:pt x="7" y="121"/>
                          <a:pt x="7" y="121"/>
                        </a:cubicBezTo>
                        <a:cubicBezTo>
                          <a:pt x="7" y="121"/>
                          <a:pt x="7" y="121"/>
                          <a:pt x="7" y="121"/>
                        </a:cubicBezTo>
                        <a:cubicBezTo>
                          <a:pt x="7" y="121"/>
                          <a:pt x="7" y="121"/>
                          <a:pt x="7" y="121"/>
                        </a:cubicBezTo>
                        <a:cubicBezTo>
                          <a:pt x="7" y="120"/>
                          <a:pt x="8" y="120"/>
                          <a:pt x="8" y="120"/>
                        </a:cubicBezTo>
                        <a:cubicBezTo>
                          <a:pt x="8" y="121"/>
                          <a:pt x="8" y="121"/>
                          <a:pt x="7" y="121"/>
                        </a:cubicBezTo>
                        <a:close/>
                        <a:moveTo>
                          <a:pt x="0" y="118"/>
                        </a:moveTo>
                        <a:cubicBezTo>
                          <a:pt x="0" y="118"/>
                          <a:pt x="0" y="117"/>
                          <a:pt x="0" y="117"/>
                        </a:cubicBezTo>
                        <a:cubicBezTo>
                          <a:pt x="0" y="117"/>
                          <a:pt x="0" y="117"/>
                          <a:pt x="1" y="117"/>
                        </a:cubicBezTo>
                        <a:cubicBezTo>
                          <a:pt x="1" y="117"/>
                          <a:pt x="0" y="118"/>
                          <a:pt x="0" y="118"/>
                        </a:cubicBezTo>
                        <a:cubicBezTo>
                          <a:pt x="0" y="118"/>
                          <a:pt x="0" y="118"/>
                          <a:pt x="0" y="118"/>
                        </a:cubicBezTo>
                        <a:close/>
                        <a:moveTo>
                          <a:pt x="5" y="120"/>
                        </a:moveTo>
                        <a:cubicBezTo>
                          <a:pt x="5" y="120"/>
                          <a:pt x="5" y="120"/>
                          <a:pt x="5" y="120"/>
                        </a:cubicBezTo>
                        <a:cubicBezTo>
                          <a:pt x="6" y="120"/>
                          <a:pt x="5" y="120"/>
                          <a:pt x="5" y="120"/>
                        </a:cubicBezTo>
                        <a:close/>
                        <a:moveTo>
                          <a:pt x="5" y="120"/>
                        </a:moveTo>
                        <a:cubicBezTo>
                          <a:pt x="5" y="120"/>
                          <a:pt x="5" y="120"/>
                          <a:pt x="5" y="119"/>
                        </a:cubicBezTo>
                        <a:cubicBezTo>
                          <a:pt x="5" y="120"/>
                          <a:pt x="5" y="120"/>
                          <a:pt x="5" y="120"/>
                        </a:cubicBezTo>
                        <a:close/>
                        <a:moveTo>
                          <a:pt x="0" y="118"/>
                        </a:moveTo>
                        <a:cubicBezTo>
                          <a:pt x="0" y="118"/>
                          <a:pt x="0" y="118"/>
                          <a:pt x="1" y="118"/>
                        </a:cubicBezTo>
                        <a:cubicBezTo>
                          <a:pt x="1" y="118"/>
                          <a:pt x="0" y="118"/>
                          <a:pt x="0" y="118"/>
                        </a:cubicBezTo>
                        <a:close/>
                        <a:moveTo>
                          <a:pt x="0" y="118"/>
                        </a:moveTo>
                        <a:cubicBezTo>
                          <a:pt x="0" y="118"/>
                          <a:pt x="0" y="118"/>
                          <a:pt x="0" y="118"/>
                        </a:cubicBezTo>
                        <a:cubicBezTo>
                          <a:pt x="0" y="118"/>
                          <a:pt x="0" y="118"/>
                          <a:pt x="0" y="118"/>
                        </a:cubicBezTo>
                        <a:cubicBezTo>
                          <a:pt x="0" y="118"/>
                          <a:pt x="0" y="118"/>
                          <a:pt x="0" y="118"/>
                        </a:cubicBezTo>
                        <a:close/>
                        <a:moveTo>
                          <a:pt x="3" y="120"/>
                        </a:moveTo>
                        <a:cubicBezTo>
                          <a:pt x="3" y="120"/>
                          <a:pt x="3" y="120"/>
                          <a:pt x="3" y="120"/>
                        </a:cubicBezTo>
                        <a:cubicBezTo>
                          <a:pt x="3" y="120"/>
                          <a:pt x="3" y="120"/>
                          <a:pt x="3" y="120"/>
                        </a:cubicBezTo>
                        <a:cubicBezTo>
                          <a:pt x="3" y="120"/>
                          <a:pt x="3" y="120"/>
                          <a:pt x="3" y="120"/>
                        </a:cubicBezTo>
                        <a:close/>
                        <a:moveTo>
                          <a:pt x="0" y="119"/>
                        </a:moveTo>
                        <a:cubicBezTo>
                          <a:pt x="0" y="119"/>
                          <a:pt x="0" y="119"/>
                          <a:pt x="0" y="119"/>
                        </a:cubicBezTo>
                        <a:cubicBezTo>
                          <a:pt x="0" y="119"/>
                          <a:pt x="0" y="119"/>
                          <a:pt x="0" y="119"/>
                        </a:cubicBezTo>
                        <a:close/>
                        <a:moveTo>
                          <a:pt x="6" y="122"/>
                        </a:moveTo>
                        <a:cubicBezTo>
                          <a:pt x="6" y="122"/>
                          <a:pt x="6" y="122"/>
                          <a:pt x="6" y="122"/>
                        </a:cubicBezTo>
                        <a:cubicBezTo>
                          <a:pt x="7" y="122"/>
                          <a:pt x="6" y="122"/>
                          <a:pt x="6" y="122"/>
                        </a:cubicBezTo>
                        <a:cubicBezTo>
                          <a:pt x="6" y="122"/>
                          <a:pt x="6" y="122"/>
                          <a:pt x="6" y="122"/>
                        </a:cubicBezTo>
                        <a:close/>
                        <a:moveTo>
                          <a:pt x="5" y="123"/>
                        </a:moveTo>
                        <a:cubicBezTo>
                          <a:pt x="5" y="123"/>
                          <a:pt x="5" y="123"/>
                          <a:pt x="5" y="123"/>
                        </a:cubicBezTo>
                        <a:cubicBezTo>
                          <a:pt x="5" y="123"/>
                          <a:pt x="5" y="123"/>
                          <a:pt x="5" y="123"/>
                        </a:cubicBezTo>
                        <a:close/>
                        <a:moveTo>
                          <a:pt x="45" y="36"/>
                        </a:moveTo>
                        <a:cubicBezTo>
                          <a:pt x="45" y="36"/>
                          <a:pt x="45" y="36"/>
                          <a:pt x="45" y="36"/>
                        </a:cubicBezTo>
                        <a:cubicBezTo>
                          <a:pt x="45" y="36"/>
                          <a:pt x="45" y="36"/>
                          <a:pt x="45" y="36"/>
                        </a:cubicBezTo>
                        <a:close/>
                        <a:moveTo>
                          <a:pt x="62" y="17"/>
                        </a:moveTo>
                        <a:cubicBezTo>
                          <a:pt x="62" y="17"/>
                          <a:pt x="62" y="18"/>
                          <a:pt x="62" y="18"/>
                        </a:cubicBezTo>
                        <a:cubicBezTo>
                          <a:pt x="61" y="18"/>
                          <a:pt x="61" y="18"/>
                          <a:pt x="61" y="18"/>
                        </a:cubicBezTo>
                        <a:cubicBezTo>
                          <a:pt x="61" y="18"/>
                          <a:pt x="61" y="18"/>
                          <a:pt x="61" y="18"/>
                        </a:cubicBezTo>
                        <a:cubicBezTo>
                          <a:pt x="61" y="19"/>
                          <a:pt x="61" y="20"/>
                          <a:pt x="60" y="20"/>
                        </a:cubicBezTo>
                        <a:cubicBezTo>
                          <a:pt x="60" y="20"/>
                          <a:pt x="60" y="20"/>
                          <a:pt x="60" y="20"/>
                        </a:cubicBezTo>
                        <a:cubicBezTo>
                          <a:pt x="60" y="20"/>
                          <a:pt x="60" y="21"/>
                          <a:pt x="59" y="22"/>
                        </a:cubicBezTo>
                        <a:cubicBezTo>
                          <a:pt x="59" y="22"/>
                          <a:pt x="60" y="22"/>
                          <a:pt x="60" y="22"/>
                        </a:cubicBezTo>
                        <a:cubicBezTo>
                          <a:pt x="60" y="22"/>
                          <a:pt x="59" y="22"/>
                          <a:pt x="59" y="22"/>
                        </a:cubicBezTo>
                        <a:cubicBezTo>
                          <a:pt x="59" y="22"/>
                          <a:pt x="59" y="22"/>
                          <a:pt x="59" y="21"/>
                        </a:cubicBezTo>
                        <a:cubicBezTo>
                          <a:pt x="59" y="22"/>
                          <a:pt x="59" y="22"/>
                          <a:pt x="59" y="23"/>
                        </a:cubicBezTo>
                        <a:cubicBezTo>
                          <a:pt x="59" y="23"/>
                          <a:pt x="59" y="23"/>
                          <a:pt x="59" y="23"/>
                        </a:cubicBezTo>
                        <a:cubicBezTo>
                          <a:pt x="59" y="23"/>
                          <a:pt x="59" y="23"/>
                          <a:pt x="59" y="23"/>
                        </a:cubicBezTo>
                        <a:cubicBezTo>
                          <a:pt x="58" y="23"/>
                          <a:pt x="58" y="23"/>
                          <a:pt x="58" y="23"/>
                        </a:cubicBezTo>
                        <a:cubicBezTo>
                          <a:pt x="58" y="23"/>
                          <a:pt x="59" y="23"/>
                          <a:pt x="58" y="23"/>
                        </a:cubicBezTo>
                        <a:cubicBezTo>
                          <a:pt x="58" y="24"/>
                          <a:pt x="58" y="24"/>
                          <a:pt x="58" y="24"/>
                        </a:cubicBezTo>
                        <a:cubicBezTo>
                          <a:pt x="58" y="24"/>
                          <a:pt x="58" y="23"/>
                          <a:pt x="58" y="23"/>
                        </a:cubicBezTo>
                        <a:cubicBezTo>
                          <a:pt x="58" y="24"/>
                          <a:pt x="57" y="24"/>
                          <a:pt x="58" y="24"/>
                        </a:cubicBezTo>
                        <a:cubicBezTo>
                          <a:pt x="57" y="24"/>
                          <a:pt x="57" y="24"/>
                          <a:pt x="57" y="24"/>
                        </a:cubicBezTo>
                        <a:cubicBezTo>
                          <a:pt x="57" y="24"/>
                          <a:pt x="57" y="24"/>
                          <a:pt x="57" y="24"/>
                        </a:cubicBezTo>
                        <a:cubicBezTo>
                          <a:pt x="57" y="24"/>
                          <a:pt x="57" y="24"/>
                          <a:pt x="57" y="24"/>
                        </a:cubicBezTo>
                        <a:cubicBezTo>
                          <a:pt x="57" y="24"/>
                          <a:pt x="57" y="24"/>
                          <a:pt x="56" y="25"/>
                        </a:cubicBezTo>
                        <a:cubicBezTo>
                          <a:pt x="56" y="25"/>
                          <a:pt x="56" y="25"/>
                          <a:pt x="56" y="25"/>
                        </a:cubicBezTo>
                        <a:cubicBezTo>
                          <a:pt x="56" y="25"/>
                          <a:pt x="56" y="25"/>
                          <a:pt x="56" y="25"/>
                        </a:cubicBezTo>
                        <a:cubicBezTo>
                          <a:pt x="56" y="26"/>
                          <a:pt x="55" y="26"/>
                          <a:pt x="55" y="26"/>
                        </a:cubicBezTo>
                        <a:cubicBezTo>
                          <a:pt x="55" y="27"/>
                          <a:pt x="55" y="27"/>
                          <a:pt x="55" y="27"/>
                        </a:cubicBezTo>
                        <a:cubicBezTo>
                          <a:pt x="55" y="27"/>
                          <a:pt x="55" y="27"/>
                          <a:pt x="55" y="27"/>
                        </a:cubicBezTo>
                        <a:cubicBezTo>
                          <a:pt x="55" y="27"/>
                          <a:pt x="55" y="27"/>
                          <a:pt x="55" y="27"/>
                        </a:cubicBezTo>
                        <a:cubicBezTo>
                          <a:pt x="55" y="27"/>
                          <a:pt x="55" y="27"/>
                          <a:pt x="55" y="28"/>
                        </a:cubicBezTo>
                        <a:cubicBezTo>
                          <a:pt x="55" y="28"/>
                          <a:pt x="55" y="28"/>
                          <a:pt x="54" y="28"/>
                        </a:cubicBezTo>
                        <a:cubicBezTo>
                          <a:pt x="54" y="28"/>
                          <a:pt x="54" y="28"/>
                          <a:pt x="55" y="28"/>
                        </a:cubicBezTo>
                        <a:cubicBezTo>
                          <a:pt x="54" y="28"/>
                          <a:pt x="54" y="28"/>
                          <a:pt x="54" y="28"/>
                        </a:cubicBezTo>
                        <a:cubicBezTo>
                          <a:pt x="54" y="28"/>
                          <a:pt x="54" y="28"/>
                          <a:pt x="54" y="28"/>
                        </a:cubicBezTo>
                        <a:cubicBezTo>
                          <a:pt x="54" y="28"/>
                          <a:pt x="54" y="28"/>
                          <a:pt x="54" y="28"/>
                        </a:cubicBezTo>
                        <a:cubicBezTo>
                          <a:pt x="54" y="28"/>
                          <a:pt x="54" y="28"/>
                          <a:pt x="54" y="28"/>
                        </a:cubicBezTo>
                        <a:cubicBezTo>
                          <a:pt x="54" y="28"/>
                          <a:pt x="54" y="28"/>
                          <a:pt x="54" y="28"/>
                        </a:cubicBezTo>
                        <a:cubicBezTo>
                          <a:pt x="54" y="28"/>
                          <a:pt x="54" y="28"/>
                          <a:pt x="54" y="28"/>
                        </a:cubicBezTo>
                        <a:cubicBezTo>
                          <a:pt x="54" y="28"/>
                          <a:pt x="54" y="28"/>
                          <a:pt x="54" y="28"/>
                        </a:cubicBezTo>
                        <a:cubicBezTo>
                          <a:pt x="53" y="29"/>
                          <a:pt x="54" y="30"/>
                          <a:pt x="53" y="30"/>
                        </a:cubicBezTo>
                        <a:cubicBezTo>
                          <a:pt x="53" y="30"/>
                          <a:pt x="53" y="30"/>
                          <a:pt x="53" y="29"/>
                        </a:cubicBezTo>
                        <a:cubicBezTo>
                          <a:pt x="53" y="29"/>
                          <a:pt x="53" y="29"/>
                          <a:pt x="53" y="30"/>
                        </a:cubicBezTo>
                        <a:cubicBezTo>
                          <a:pt x="53" y="30"/>
                          <a:pt x="53" y="30"/>
                          <a:pt x="53" y="29"/>
                        </a:cubicBezTo>
                        <a:cubicBezTo>
                          <a:pt x="53" y="30"/>
                          <a:pt x="53" y="30"/>
                          <a:pt x="53" y="30"/>
                        </a:cubicBezTo>
                        <a:cubicBezTo>
                          <a:pt x="52" y="30"/>
                          <a:pt x="52" y="30"/>
                          <a:pt x="52" y="30"/>
                        </a:cubicBezTo>
                        <a:cubicBezTo>
                          <a:pt x="52" y="30"/>
                          <a:pt x="52" y="30"/>
                          <a:pt x="52" y="30"/>
                        </a:cubicBezTo>
                        <a:cubicBezTo>
                          <a:pt x="52" y="30"/>
                          <a:pt x="52" y="31"/>
                          <a:pt x="52" y="31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2" y="31"/>
                          <a:pt x="53" y="31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2" y="31"/>
                          <a:pt x="52" y="32"/>
                        </a:cubicBezTo>
                        <a:cubicBezTo>
                          <a:pt x="51" y="32"/>
                          <a:pt x="52" y="32"/>
                          <a:pt x="52" y="32"/>
                        </a:cubicBezTo>
                        <a:cubicBezTo>
                          <a:pt x="51" y="32"/>
                          <a:pt x="51" y="32"/>
                          <a:pt x="51" y="32"/>
                        </a:cubicBezTo>
                        <a:cubicBezTo>
                          <a:pt x="52" y="32"/>
                          <a:pt x="51" y="32"/>
                          <a:pt x="51" y="33"/>
                        </a:cubicBezTo>
                        <a:cubicBezTo>
                          <a:pt x="51" y="33"/>
                          <a:pt x="51" y="33"/>
                          <a:pt x="51" y="33"/>
                        </a:cubicBezTo>
                        <a:cubicBezTo>
                          <a:pt x="51" y="33"/>
                          <a:pt x="51" y="33"/>
                          <a:pt x="51" y="33"/>
                        </a:cubicBezTo>
                        <a:cubicBezTo>
                          <a:pt x="51" y="33"/>
                          <a:pt x="51" y="33"/>
                          <a:pt x="51" y="33"/>
                        </a:cubicBezTo>
                        <a:cubicBezTo>
                          <a:pt x="51" y="32"/>
                          <a:pt x="51" y="31"/>
                          <a:pt x="52" y="31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2" y="31"/>
                          <a:pt x="52" y="31"/>
                        </a:cubicBezTo>
                        <a:cubicBezTo>
                          <a:pt x="52" y="31"/>
                          <a:pt x="51" y="31"/>
                          <a:pt x="51" y="31"/>
                        </a:cubicBezTo>
                        <a:cubicBezTo>
                          <a:pt x="51" y="31"/>
                          <a:pt x="51" y="31"/>
                          <a:pt x="51" y="31"/>
                        </a:cubicBezTo>
                        <a:cubicBezTo>
                          <a:pt x="51" y="31"/>
                          <a:pt x="51" y="31"/>
                          <a:pt x="51" y="31"/>
                        </a:cubicBezTo>
                        <a:cubicBezTo>
                          <a:pt x="51" y="32"/>
                          <a:pt x="51" y="31"/>
                          <a:pt x="51" y="31"/>
                        </a:cubicBezTo>
                        <a:cubicBezTo>
                          <a:pt x="51" y="32"/>
                          <a:pt x="51" y="32"/>
                          <a:pt x="51" y="32"/>
                        </a:cubicBezTo>
                        <a:cubicBezTo>
                          <a:pt x="51" y="32"/>
                          <a:pt x="51" y="32"/>
                          <a:pt x="51" y="32"/>
                        </a:cubicBezTo>
                        <a:cubicBezTo>
                          <a:pt x="51" y="32"/>
                          <a:pt x="51" y="32"/>
                          <a:pt x="51" y="32"/>
                        </a:cubicBezTo>
                        <a:cubicBezTo>
                          <a:pt x="50" y="32"/>
                          <a:pt x="50" y="32"/>
                          <a:pt x="50" y="32"/>
                        </a:cubicBezTo>
                        <a:cubicBezTo>
                          <a:pt x="50" y="33"/>
                          <a:pt x="50" y="33"/>
                          <a:pt x="50" y="33"/>
                        </a:cubicBezTo>
                        <a:cubicBezTo>
                          <a:pt x="50" y="33"/>
                          <a:pt x="50" y="33"/>
                          <a:pt x="50" y="33"/>
                        </a:cubicBezTo>
                        <a:cubicBezTo>
                          <a:pt x="50" y="33"/>
                          <a:pt x="50" y="33"/>
                          <a:pt x="50" y="33"/>
                        </a:cubicBezTo>
                        <a:cubicBezTo>
                          <a:pt x="50" y="33"/>
                          <a:pt x="50" y="33"/>
                          <a:pt x="50" y="33"/>
                        </a:cubicBezTo>
                        <a:cubicBezTo>
                          <a:pt x="50" y="33"/>
                          <a:pt x="50" y="33"/>
                          <a:pt x="50" y="33"/>
                        </a:cubicBezTo>
                        <a:cubicBezTo>
                          <a:pt x="50" y="33"/>
                          <a:pt x="50" y="33"/>
                          <a:pt x="50" y="33"/>
                        </a:cubicBezTo>
                        <a:cubicBezTo>
                          <a:pt x="50" y="33"/>
                          <a:pt x="50" y="33"/>
                          <a:pt x="50" y="34"/>
                        </a:cubicBezTo>
                        <a:cubicBezTo>
                          <a:pt x="50" y="34"/>
                          <a:pt x="50" y="34"/>
                          <a:pt x="50" y="34"/>
                        </a:cubicBezTo>
                        <a:cubicBezTo>
                          <a:pt x="50" y="34"/>
                          <a:pt x="50" y="34"/>
                          <a:pt x="50" y="34"/>
                        </a:cubicBezTo>
                        <a:cubicBezTo>
                          <a:pt x="50" y="34"/>
                          <a:pt x="50" y="34"/>
                          <a:pt x="50" y="34"/>
                        </a:cubicBezTo>
                        <a:cubicBezTo>
                          <a:pt x="50" y="34"/>
                          <a:pt x="49" y="34"/>
                          <a:pt x="50" y="34"/>
                        </a:cubicBezTo>
                        <a:cubicBezTo>
                          <a:pt x="50" y="34"/>
                          <a:pt x="50" y="34"/>
                          <a:pt x="50" y="34"/>
                        </a:cubicBezTo>
                        <a:cubicBezTo>
                          <a:pt x="50" y="34"/>
                          <a:pt x="50" y="33"/>
                          <a:pt x="51" y="33"/>
                        </a:cubicBezTo>
                        <a:cubicBezTo>
                          <a:pt x="50" y="34"/>
                          <a:pt x="50" y="35"/>
                          <a:pt x="50" y="35"/>
                        </a:cubicBezTo>
                        <a:cubicBezTo>
                          <a:pt x="50" y="35"/>
                          <a:pt x="50" y="35"/>
                          <a:pt x="50" y="35"/>
                        </a:cubicBezTo>
                        <a:cubicBezTo>
                          <a:pt x="50" y="35"/>
                          <a:pt x="50" y="35"/>
                          <a:pt x="50" y="35"/>
                        </a:cubicBezTo>
                        <a:cubicBezTo>
                          <a:pt x="49" y="35"/>
                          <a:pt x="49" y="35"/>
                          <a:pt x="49" y="35"/>
                        </a:cubicBezTo>
                        <a:cubicBezTo>
                          <a:pt x="49" y="35"/>
                          <a:pt x="49" y="36"/>
                          <a:pt x="49" y="35"/>
                        </a:cubicBezTo>
                        <a:cubicBezTo>
                          <a:pt x="49" y="36"/>
                          <a:pt x="49" y="36"/>
                          <a:pt x="49" y="36"/>
                        </a:cubicBezTo>
                        <a:cubicBezTo>
                          <a:pt x="49" y="36"/>
                          <a:pt x="49" y="36"/>
                          <a:pt x="49" y="36"/>
                        </a:cubicBezTo>
                        <a:cubicBezTo>
                          <a:pt x="49" y="36"/>
                          <a:pt x="49" y="36"/>
                          <a:pt x="49" y="36"/>
                        </a:cubicBezTo>
                        <a:cubicBezTo>
                          <a:pt x="49" y="36"/>
                          <a:pt x="49" y="36"/>
                          <a:pt x="49" y="36"/>
                        </a:cubicBezTo>
                        <a:cubicBezTo>
                          <a:pt x="49" y="36"/>
                          <a:pt x="49" y="36"/>
                          <a:pt x="49" y="36"/>
                        </a:cubicBezTo>
                        <a:cubicBezTo>
                          <a:pt x="49" y="36"/>
                          <a:pt x="49" y="36"/>
                          <a:pt x="49" y="36"/>
                        </a:cubicBezTo>
                        <a:cubicBezTo>
                          <a:pt x="49" y="36"/>
                          <a:pt x="49" y="36"/>
                          <a:pt x="49" y="36"/>
                        </a:cubicBezTo>
                        <a:cubicBezTo>
                          <a:pt x="49" y="36"/>
                          <a:pt x="49" y="37"/>
                          <a:pt x="49" y="37"/>
                        </a:cubicBezTo>
                        <a:cubicBezTo>
                          <a:pt x="49" y="37"/>
                          <a:pt x="49" y="37"/>
                          <a:pt x="49" y="37"/>
                        </a:cubicBezTo>
                        <a:cubicBezTo>
                          <a:pt x="49" y="37"/>
                          <a:pt x="49" y="37"/>
                          <a:pt x="49" y="37"/>
                        </a:cubicBezTo>
                        <a:cubicBezTo>
                          <a:pt x="48" y="37"/>
                          <a:pt x="49" y="37"/>
                          <a:pt x="49" y="37"/>
                        </a:cubicBezTo>
                        <a:cubicBezTo>
                          <a:pt x="49" y="37"/>
                          <a:pt x="48" y="37"/>
                          <a:pt x="48" y="37"/>
                        </a:cubicBezTo>
                        <a:cubicBezTo>
                          <a:pt x="49" y="37"/>
                          <a:pt x="48" y="36"/>
                          <a:pt x="49" y="36"/>
                        </a:cubicBezTo>
                        <a:cubicBezTo>
                          <a:pt x="49" y="36"/>
                          <a:pt x="48" y="36"/>
                          <a:pt x="48" y="36"/>
                        </a:cubicBezTo>
                        <a:cubicBezTo>
                          <a:pt x="48" y="36"/>
                          <a:pt x="48" y="36"/>
                          <a:pt x="48" y="36"/>
                        </a:cubicBezTo>
                        <a:cubicBezTo>
                          <a:pt x="48" y="37"/>
                          <a:pt x="48" y="37"/>
                          <a:pt x="48" y="37"/>
                        </a:cubicBezTo>
                        <a:cubicBezTo>
                          <a:pt x="48" y="37"/>
                          <a:pt x="48" y="37"/>
                          <a:pt x="48" y="37"/>
                        </a:cubicBezTo>
                        <a:cubicBezTo>
                          <a:pt x="48" y="37"/>
                          <a:pt x="48" y="37"/>
                          <a:pt x="48" y="38"/>
                        </a:cubicBezTo>
                        <a:cubicBezTo>
                          <a:pt x="48" y="38"/>
                          <a:pt x="48" y="38"/>
                          <a:pt x="48" y="38"/>
                        </a:cubicBezTo>
                        <a:cubicBezTo>
                          <a:pt x="48" y="38"/>
                          <a:pt x="47" y="38"/>
                          <a:pt x="48" y="38"/>
                        </a:cubicBezTo>
                        <a:cubicBezTo>
                          <a:pt x="47" y="38"/>
                          <a:pt x="48" y="38"/>
                          <a:pt x="47" y="38"/>
                        </a:cubicBezTo>
                        <a:cubicBezTo>
                          <a:pt x="48" y="38"/>
                          <a:pt x="47" y="39"/>
                          <a:pt x="47" y="39"/>
                        </a:cubicBezTo>
                        <a:cubicBezTo>
                          <a:pt x="47" y="39"/>
                          <a:pt x="47" y="39"/>
                          <a:pt x="47" y="39"/>
                        </a:cubicBezTo>
                        <a:cubicBezTo>
                          <a:pt x="47" y="39"/>
                          <a:pt x="47" y="39"/>
                          <a:pt x="47" y="39"/>
                        </a:cubicBezTo>
                        <a:cubicBezTo>
                          <a:pt x="47" y="39"/>
                          <a:pt x="47" y="40"/>
                          <a:pt x="47" y="39"/>
                        </a:cubicBezTo>
                        <a:cubicBezTo>
                          <a:pt x="46" y="40"/>
                          <a:pt x="46" y="40"/>
                          <a:pt x="46" y="41"/>
                        </a:cubicBezTo>
                        <a:cubicBezTo>
                          <a:pt x="46" y="41"/>
                          <a:pt x="46" y="41"/>
                          <a:pt x="46" y="41"/>
                        </a:cubicBezTo>
                        <a:cubicBezTo>
                          <a:pt x="46" y="41"/>
                          <a:pt x="46" y="41"/>
                          <a:pt x="46" y="41"/>
                        </a:cubicBezTo>
                        <a:cubicBezTo>
                          <a:pt x="46" y="41"/>
                          <a:pt x="46" y="41"/>
                          <a:pt x="46" y="41"/>
                        </a:cubicBezTo>
                        <a:cubicBezTo>
                          <a:pt x="46" y="42"/>
                          <a:pt x="45" y="42"/>
                          <a:pt x="45" y="43"/>
                        </a:cubicBezTo>
                        <a:cubicBezTo>
                          <a:pt x="45" y="43"/>
                          <a:pt x="45" y="43"/>
                          <a:pt x="45" y="43"/>
                        </a:cubicBezTo>
                        <a:cubicBezTo>
                          <a:pt x="45" y="43"/>
                          <a:pt x="45" y="43"/>
                          <a:pt x="45" y="43"/>
                        </a:cubicBezTo>
                        <a:cubicBezTo>
                          <a:pt x="44" y="43"/>
                          <a:pt x="45" y="43"/>
                          <a:pt x="45" y="43"/>
                        </a:cubicBezTo>
                        <a:cubicBezTo>
                          <a:pt x="45" y="42"/>
                          <a:pt x="45" y="42"/>
                          <a:pt x="45" y="42"/>
                        </a:cubicBezTo>
                        <a:cubicBezTo>
                          <a:pt x="45" y="42"/>
                          <a:pt x="45" y="42"/>
                          <a:pt x="45" y="42"/>
                        </a:cubicBezTo>
                        <a:cubicBezTo>
                          <a:pt x="46" y="41"/>
                          <a:pt x="46" y="40"/>
                          <a:pt x="46" y="39"/>
                        </a:cubicBezTo>
                        <a:cubicBezTo>
                          <a:pt x="47" y="39"/>
                          <a:pt x="47" y="39"/>
                          <a:pt x="47" y="39"/>
                        </a:cubicBezTo>
                        <a:cubicBezTo>
                          <a:pt x="47" y="39"/>
                          <a:pt x="47" y="39"/>
                          <a:pt x="47" y="39"/>
                        </a:cubicBezTo>
                        <a:cubicBezTo>
                          <a:pt x="47" y="39"/>
                          <a:pt x="47" y="39"/>
                          <a:pt x="47" y="39"/>
                        </a:cubicBezTo>
                        <a:cubicBezTo>
                          <a:pt x="47" y="39"/>
                          <a:pt x="47" y="39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7" y="39"/>
                          <a:pt x="47" y="38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7" y="38"/>
                          <a:pt x="47" y="38"/>
                          <a:pt x="47" y="37"/>
                        </a:cubicBezTo>
                        <a:cubicBezTo>
                          <a:pt x="47" y="37"/>
                          <a:pt x="47" y="37"/>
                          <a:pt x="47" y="38"/>
                        </a:cubicBezTo>
                        <a:cubicBezTo>
                          <a:pt x="48" y="37"/>
                          <a:pt x="47" y="37"/>
                          <a:pt x="48" y="37"/>
                        </a:cubicBezTo>
                        <a:cubicBezTo>
                          <a:pt x="48" y="37"/>
                          <a:pt x="48" y="37"/>
                          <a:pt x="47" y="37"/>
                        </a:cubicBezTo>
                        <a:cubicBezTo>
                          <a:pt x="47" y="37"/>
                          <a:pt x="48" y="37"/>
                          <a:pt x="48" y="37"/>
                        </a:cubicBezTo>
                        <a:cubicBezTo>
                          <a:pt x="48" y="37"/>
                          <a:pt x="48" y="37"/>
                          <a:pt x="48" y="37"/>
                        </a:cubicBezTo>
                        <a:cubicBezTo>
                          <a:pt x="48" y="37"/>
                          <a:pt x="48" y="37"/>
                          <a:pt x="48" y="37"/>
                        </a:cubicBezTo>
                        <a:cubicBezTo>
                          <a:pt x="48" y="37"/>
                          <a:pt x="48" y="37"/>
                          <a:pt x="48" y="36"/>
                        </a:cubicBezTo>
                        <a:cubicBezTo>
                          <a:pt x="48" y="36"/>
                          <a:pt x="48" y="36"/>
                          <a:pt x="47" y="36"/>
                        </a:cubicBezTo>
                        <a:cubicBezTo>
                          <a:pt x="47" y="37"/>
                          <a:pt x="47" y="37"/>
                          <a:pt x="47" y="37"/>
                        </a:cubicBezTo>
                        <a:cubicBezTo>
                          <a:pt x="47" y="37"/>
                          <a:pt x="47" y="37"/>
                          <a:pt x="47" y="37"/>
                        </a:cubicBezTo>
                        <a:cubicBezTo>
                          <a:pt x="47" y="37"/>
                          <a:pt x="47" y="37"/>
                          <a:pt x="47" y="37"/>
                        </a:cubicBezTo>
                        <a:cubicBezTo>
                          <a:pt x="47" y="37"/>
                          <a:pt x="47" y="37"/>
                          <a:pt x="47" y="37"/>
                        </a:cubicBezTo>
                        <a:cubicBezTo>
                          <a:pt x="47" y="38"/>
                          <a:pt x="47" y="37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7" y="38"/>
                          <a:pt x="47" y="39"/>
                          <a:pt x="46" y="39"/>
                        </a:cubicBezTo>
                        <a:cubicBezTo>
                          <a:pt x="46" y="38"/>
                          <a:pt x="47" y="38"/>
                          <a:pt x="47" y="38"/>
                        </a:cubicBezTo>
                        <a:cubicBezTo>
                          <a:pt x="47" y="38"/>
                          <a:pt x="47" y="38"/>
                          <a:pt x="47" y="38"/>
                        </a:cubicBezTo>
                        <a:cubicBezTo>
                          <a:pt x="46" y="38"/>
                          <a:pt x="46" y="38"/>
                          <a:pt x="46" y="38"/>
                        </a:cubicBezTo>
                        <a:cubicBezTo>
                          <a:pt x="46" y="38"/>
                          <a:pt x="46" y="38"/>
                          <a:pt x="46" y="38"/>
                        </a:cubicBezTo>
                        <a:cubicBezTo>
                          <a:pt x="46" y="39"/>
                          <a:pt x="46" y="38"/>
                          <a:pt x="46" y="38"/>
                        </a:cubicBezTo>
                        <a:cubicBezTo>
                          <a:pt x="46" y="39"/>
                          <a:pt x="46" y="39"/>
                          <a:pt x="45" y="39"/>
                        </a:cubicBezTo>
                        <a:cubicBezTo>
                          <a:pt x="45" y="39"/>
                          <a:pt x="45" y="39"/>
                          <a:pt x="45" y="39"/>
                        </a:cubicBezTo>
                        <a:cubicBezTo>
                          <a:pt x="46" y="39"/>
                          <a:pt x="46" y="39"/>
                          <a:pt x="46" y="39"/>
                        </a:cubicBezTo>
                        <a:cubicBezTo>
                          <a:pt x="46" y="39"/>
                          <a:pt x="46" y="39"/>
                          <a:pt x="46" y="39"/>
                        </a:cubicBezTo>
                        <a:cubicBezTo>
                          <a:pt x="46" y="38"/>
                          <a:pt x="46" y="38"/>
                          <a:pt x="46" y="37"/>
                        </a:cubicBezTo>
                        <a:cubicBezTo>
                          <a:pt x="46" y="37"/>
                          <a:pt x="46" y="37"/>
                          <a:pt x="46" y="37"/>
                        </a:cubicBezTo>
                        <a:cubicBezTo>
                          <a:pt x="46" y="37"/>
                          <a:pt x="46" y="37"/>
                          <a:pt x="46" y="37"/>
                        </a:cubicBezTo>
                        <a:cubicBezTo>
                          <a:pt x="46" y="37"/>
                          <a:pt x="47" y="37"/>
                          <a:pt x="47" y="36"/>
                        </a:cubicBezTo>
                        <a:cubicBezTo>
                          <a:pt x="47" y="36"/>
                          <a:pt x="47" y="36"/>
                          <a:pt x="47" y="36"/>
                        </a:cubicBezTo>
                        <a:cubicBezTo>
                          <a:pt x="47" y="36"/>
                          <a:pt x="47" y="36"/>
                          <a:pt x="47" y="36"/>
                        </a:cubicBezTo>
                        <a:cubicBezTo>
                          <a:pt x="47" y="36"/>
                          <a:pt x="47" y="36"/>
                          <a:pt x="47" y="36"/>
                        </a:cubicBezTo>
                        <a:cubicBezTo>
                          <a:pt x="47" y="36"/>
                          <a:pt x="47" y="35"/>
                          <a:pt x="48" y="35"/>
                        </a:cubicBezTo>
                        <a:cubicBezTo>
                          <a:pt x="48" y="35"/>
                          <a:pt x="47" y="36"/>
                          <a:pt x="47" y="36"/>
                        </a:cubicBezTo>
                        <a:cubicBezTo>
                          <a:pt x="47" y="36"/>
                          <a:pt x="47" y="37"/>
                          <a:pt x="47" y="37"/>
                        </a:cubicBezTo>
                        <a:cubicBezTo>
                          <a:pt x="47" y="37"/>
                          <a:pt x="47" y="36"/>
                          <a:pt x="48" y="36"/>
                        </a:cubicBezTo>
                        <a:cubicBezTo>
                          <a:pt x="48" y="36"/>
                          <a:pt x="48" y="36"/>
                          <a:pt x="48" y="36"/>
                        </a:cubicBezTo>
                        <a:cubicBezTo>
                          <a:pt x="48" y="36"/>
                          <a:pt x="48" y="36"/>
                          <a:pt x="48" y="36"/>
                        </a:cubicBezTo>
                        <a:cubicBezTo>
                          <a:pt x="48" y="36"/>
                          <a:pt x="48" y="36"/>
                          <a:pt x="48" y="36"/>
                        </a:cubicBezTo>
                        <a:cubicBezTo>
                          <a:pt x="48" y="36"/>
                          <a:pt x="48" y="36"/>
                          <a:pt x="48" y="36"/>
                        </a:cubicBezTo>
                        <a:cubicBezTo>
                          <a:pt x="48" y="36"/>
                          <a:pt x="48" y="36"/>
                          <a:pt x="48" y="35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8" y="36"/>
                          <a:pt x="48" y="35"/>
                          <a:pt x="48" y="36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9" y="35"/>
                          <a:pt x="48" y="35"/>
                          <a:pt x="48" y="35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8" y="34"/>
                          <a:pt x="48" y="34"/>
                          <a:pt x="49" y="34"/>
                        </a:cubicBezTo>
                        <a:cubicBezTo>
                          <a:pt x="49" y="34"/>
                          <a:pt x="49" y="33"/>
                          <a:pt x="50" y="32"/>
                        </a:cubicBezTo>
                        <a:cubicBezTo>
                          <a:pt x="50" y="33"/>
                          <a:pt x="50" y="33"/>
                          <a:pt x="50" y="33"/>
                        </a:cubicBezTo>
                        <a:cubicBezTo>
                          <a:pt x="50" y="33"/>
                          <a:pt x="50" y="32"/>
                          <a:pt x="50" y="32"/>
                        </a:cubicBezTo>
                        <a:cubicBezTo>
                          <a:pt x="50" y="32"/>
                          <a:pt x="50" y="32"/>
                          <a:pt x="50" y="32"/>
                        </a:cubicBezTo>
                        <a:cubicBezTo>
                          <a:pt x="50" y="32"/>
                          <a:pt x="50" y="32"/>
                          <a:pt x="50" y="32"/>
                        </a:cubicBezTo>
                        <a:cubicBezTo>
                          <a:pt x="50" y="32"/>
                          <a:pt x="50" y="32"/>
                          <a:pt x="50" y="32"/>
                        </a:cubicBezTo>
                        <a:cubicBezTo>
                          <a:pt x="50" y="32"/>
                          <a:pt x="50" y="32"/>
                          <a:pt x="50" y="32"/>
                        </a:cubicBezTo>
                        <a:cubicBezTo>
                          <a:pt x="50" y="31"/>
                          <a:pt x="51" y="31"/>
                          <a:pt x="51" y="31"/>
                        </a:cubicBezTo>
                        <a:cubicBezTo>
                          <a:pt x="51" y="31"/>
                          <a:pt x="51" y="31"/>
                          <a:pt x="51" y="31"/>
                        </a:cubicBezTo>
                        <a:cubicBezTo>
                          <a:pt x="51" y="31"/>
                          <a:pt x="51" y="31"/>
                          <a:pt x="51" y="31"/>
                        </a:cubicBezTo>
                        <a:cubicBezTo>
                          <a:pt x="51" y="30"/>
                          <a:pt x="51" y="31"/>
                          <a:pt x="51" y="30"/>
                        </a:cubicBezTo>
                        <a:cubicBezTo>
                          <a:pt x="51" y="31"/>
                          <a:pt x="51" y="31"/>
                          <a:pt x="51" y="31"/>
                        </a:cubicBezTo>
                        <a:cubicBezTo>
                          <a:pt x="51" y="31"/>
                          <a:pt x="51" y="30"/>
                          <a:pt x="51" y="31"/>
                        </a:cubicBezTo>
                        <a:cubicBezTo>
                          <a:pt x="50" y="30"/>
                          <a:pt x="51" y="30"/>
                          <a:pt x="51" y="30"/>
                        </a:cubicBezTo>
                        <a:cubicBezTo>
                          <a:pt x="51" y="30"/>
                          <a:pt x="51" y="30"/>
                          <a:pt x="51" y="30"/>
                        </a:cubicBezTo>
                        <a:cubicBezTo>
                          <a:pt x="51" y="30"/>
                          <a:pt x="51" y="30"/>
                          <a:pt x="51" y="30"/>
                        </a:cubicBezTo>
                        <a:cubicBezTo>
                          <a:pt x="51" y="30"/>
                          <a:pt x="51" y="30"/>
                          <a:pt x="51" y="30"/>
                        </a:cubicBezTo>
                        <a:cubicBezTo>
                          <a:pt x="51" y="30"/>
                          <a:pt x="51" y="30"/>
                          <a:pt x="51" y="30"/>
                        </a:cubicBezTo>
                        <a:cubicBezTo>
                          <a:pt x="52" y="30"/>
                          <a:pt x="52" y="29"/>
                          <a:pt x="52" y="29"/>
                        </a:cubicBezTo>
                        <a:cubicBezTo>
                          <a:pt x="52" y="29"/>
                          <a:pt x="52" y="29"/>
                          <a:pt x="52" y="29"/>
                        </a:cubicBezTo>
                        <a:cubicBezTo>
                          <a:pt x="52" y="28"/>
                          <a:pt x="53" y="28"/>
                          <a:pt x="53" y="27"/>
                        </a:cubicBezTo>
                        <a:cubicBezTo>
                          <a:pt x="53" y="27"/>
                          <a:pt x="53" y="27"/>
                          <a:pt x="53" y="27"/>
                        </a:cubicBezTo>
                        <a:cubicBezTo>
                          <a:pt x="53" y="27"/>
                          <a:pt x="53" y="27"/>
                          <a:pt x="53" y="27"/>
                        </a:cubicBezTo>
                        <a:cubicBezTo>
                          <a:pt x="53" y="27"/>
                          <a:pt x="53" y="27"/>
                          <a:pt x="53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8"/>
                          <a:pt x="52" y="28"/>
                          <a:pt x="52" y="28"/>
                        </a:cubicBezTo>
                        <a:cubicBezTo>
                          <a:pt x="52" y="28"/>
                          <a:pt x="52" y="28"/>
                          <a:pt x="52" y="28"/>
                        </a:cubicBezTo>
                        <a:cubicBezTo>
                          <a:pt x="52" y="27"/>
                          <a:pt x="52" y="28"/>
                          <a:pt x="52" y="28"/>
                        </a:cubicBezTo>
                        <a:cubicBezTo>
                          <a:pt x="52" y="28"/>
                          <a:pt x="52" y="28"/>
                          <a:pt x="52" y="29"/>
                        </a:cubicBezTo>
                        <a:cubicBezTo>
                          <a:pt x="51" y="29"/>
                          <a:pt x="51" y="29"/>
                          <a:pt x="51" y="30"/>
                        </a:cubicBezTo>
                        <a:cubicBezTo>
                          <a:pt x="51" y="30"/>
                          <a:pt x="51" y="30"/>
                          <a:pt x="51" y="30"/>
                        </a:cubicBezTo>
                        <a:cubicBezTo>
                          <a:pt x="51" y="30"/>
                          <a:pt x="51" y="30"/>
                          <a:pt x="51" y="30"/>
                        </a:cubicBezTo>
                        <a:cubicBezTo>
                          <a:pt x="51" y="29"/>
                          <a:pt x="51" y="30"/>
                          <a:pt x="51" y="30"/>
                        </a:cubicBezTo>
                        <a:cubicBezTo>
                          <a:pt x="51" y="30"/>
                          <a:pt x="51" y="30"/>
                          <a:pt x="51" y="30"/>
                        </a:cubicBezTo>
                        <a:cubicBezTo>
                          <a:pt x="51" y="30"/>
                          <a:pt x="51" y="30"/>
                          <a:pt x="51" y="30"/>
                        </a:cubicBezTo>
                        <a:cubicBezTo>
                          <a:pt x="50" y="30"/>
                          <a:pt x="50" y="30"/>
                          <a:pt x="50" y="30"/>
                        </a:cubicBezTo>
                        <a:cubicBezTo>
                          <a:pt x="50" y="30"/>
                          <a:pt x="50" y="30"/>
                          <a:pt x="50" y="30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0" y="31"/>
                          <a:pt x="49" y="32"/>
                          <a:pt x="50" y="31"/>
                        </a:cubicBezTo>
                        <a:cubicBezTo>
                          <a:pt x="50" y="31"/>
                          <a:pt x="49" y="32"/>
                          <a:pt x="49" y="32"/>
                        </a:cubicBezTo>
                        <a:cubicBezTo>
                          <a:pt x="49" y="32"/>
                          <a:pt x="49" y="32"/>
                          <a:pt x="49" y="32"/>
                        </a:cubicBezTo>
                        <a:cubicBezTo>
                          <a:pt x="49" y="32"/>
                          <a:pt x="49" y="32"/>
                          <a:pt x="49" y="32"/>
                        </a:cubicBezTo>
                        <a:cubicBezTo>
                          <a:pt x="49" y="32"/>
                          <a:pt x="49" y="32"/>
                          <a:pt x="48" y="32"/>
                        </a:cubicBezTo>
                        <a:cubicBezTo>
                          <a:pt x="48" y="32"/>
                          <a:pt x="49" y="32"/>
                          <a:pt x="49" y="32"/>
                        </a:cubicBezTo>
                        <a:cubicBezTo>
                          <a:pt x="49" y="32"/>
                          <a:pt x="49" y="32"/>
                          <a:pt x="49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9" y="32"/>
                          <a:pt x="49" y="32"/>
                        </a:cubicBezTo>
                        <a:cubicBezTo>
                          <a:pt x="49" y="32"/>
                          <a:pt x="48" y="32"/>
                          <a:pt x="48" y="32"/>
                        </a:cubicBezTo>
                        <a:cubicBezTo>
                          <a:pt x="49" y="31"/>
                          <a:pt x="49" y="31"/>
                          <a:pt x="49" y="31"/>
                        </a:cubicBezTo>
                        <a:cubicBezTo>
                          <a:pt x="49" y="31"/>
                          <a:pt x="49" y="31"/>
                          <a:pt x="49" y="31"/>
                        </a:cubicBezTo>
                        <a:cubicBezTo>
                          <a:pt x="49" y="31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8" y="32"/>
                          <a:pt x="48" y="32"/>
                          <a:pt x="48" y="32"/>
                        </a:cubicBezTo>
                        <a:cubicBezTo>
                          <a:pt x="47" y="33"/>
                          <a:pt x="48" y="33"/>
                          <a:pt x="47" y="33"/>
                        </a:cubicBezTo>
                        <a:cubicBezTo>
                          <a:pt x="47" y="33"/>
                          <a:pt x="46" y="33"/>
                          <a:pt x="46" y="33"/>
                        </a:cubicBezTo>
                        <a:cubicBezTo>
                          <a:pt x="46" y="34"/>
                          <a:pt x="46" y="34"/>
                          <a:pt x="46" y="34"/>
                        </a:cubicBezTo>
                        <a:cubicBezTo>
                          <a:pt x="46" y="34"/>
                          <a:pt x="46" y="33"/>
                          <a:pt x="46" y="33"/>
                        </a:cubicBezTo>
                        <a:cubicBezTo>
                          <a:pt x="47" y="33"/>
                          <a:pt x="47" y="33"/>
                          <a:pt x="47" y="33"/>
                        </a:cubicBezTo>
                        <a:cubicBezTo>
                          <a:pt x="47" y="33"/>
                          <a:pt x="47" y="34"/>
                          <a:pt x="46" y="34"/>
                        </a:cubicBezTo>
                        <a:cubicBezTo>
                          <a:pt x="46" y="34"/>
                          <a:pt x="46" y="34"/>
                          <a:pt x="47" y="34"/>
                        </a:cubicBezTo>
                        <a:cubicBezTo>
                          <a:pt x="47" y="34"/>
                          <a:pt x="47" y="34"/>
                          <a:pt x="47" y="34"/>
                        </a:cubicBezTo>
                        <a:cubicBezTo>
                          <a:pt x="47" y="34"/>
                          <a:pt x="46" y="34"/>
                          <a:pt x="46" y="34"/>
                        </a:cubicBezTo>
                        <a:cubicBezTo>
                          <a:pt x="46" y="34"/>
                          <a:pt x="46" y="34"/>
                          <a:pt x="46" y="34"/>
                        </a:cubicBezTo>
                        <a:cubicBezTo>
                          <a:pt x="46" y="34"/>
                          <a:pt x="46" y="34"/>
                          <a:pt x="46" y="34"/>
                        </a:cubicBezTo>
                        <a:cubicBezTo>
                          <a:pt x="46" y="34"/>
                          <a:pt x="46" y="34"/>
                          <a:pt x="46" y="34"/>
                        </a:cubicBezTo>
                        <a:cubicBezTo>
                          <a:pt x="46" y="34"/>
                          <a:pt x="46" y="34"/>
                          <a:pt x="46" y="34"/>
                        </a:cubicBezTo>
                        <a:cubicBezTo>
                          <a:pt x="46" y="34"/>
                          <a:pt x="46" y="34"/>
                          <a:pt x="46" y="34"/>
                        </a:cubicBezTo>
                        <a:cubicBezTo>
                          <a:pt x="46" y="35"/>
                          <a:pt x="46" y="34"/>
                          <a:pt x="46" y="34"/>
                        </a:cubicBezTo>
                        <a:cubicBezTo>
                          <a:pt x="46" y="34"/>
                          <a:pt x="46" y="35"/>
                          <a:pt x="46" y="35"/>
                        </a:cubicBezTo>
                        <a:cubicBezTo>
                          <a:pt x="46" y="35"/>
                          <a:pt x="46" y="35"/>
                          <a:pt x="46" y="35"/>
                        </a:cubicBezTo>
                        <a:cubicBezTo>
                          <a:pt x="46" y="35"/>
                          <a:pt x="46" y="35"/>
                          <a:pt x="46" y="35"/>
                        </a:cubicBezTo>
                        <a:cubicBezTo>
                          <a:pt x="46" y="35"/>
                          <a:pt x="46" y="35"/>
                          <a:pt x="45" y="35"/>
                        </a:cubicBezTo>
                        <a:cubicBezTo>
                          <a:pt x="46" y="35"/>
                          <a:pt x="46" y="35"/>
                          <a:pt x="46" y="35"/>
                        </a:cubicBezTo>
                        <a:cubicBezTo>
                          <a:pt x="45" y="35"/>
                          <a:pt x="45" y="35"/>
                          <a:pt x="45" y="35"/>
                        </a:cubicBezTo>
                        <a:cubicBezTo>
                          <a:pt x="45" y="35"/>
                          <a:pt x="45" y="35"/>
                          <a:pt x="45" y="36"/>
                        </a:cubicBezTo>
                        <a:cubicBezTo>
                          <a:pt x="46" y="35"/>
                          <a:pt x="46" y="35"/>
                          <a:pt x="46" y="35"/>
                        </a:cubicBezTo>
                        <a:cubicBezTo>
                          <a:pt x="46" y="35"/>
                          <a:pt x="46" y="35"/>
                          <a:pt x="46" y="35"/>
                        </a:cubicBezTo>
                        <a:cubicBezTo>
                          <a:pt x="46" y="35"/>
                          <a:pt x="47" y="35"/>
                          <a:pt x="47" y="35"/>
                        </a:cubicBezTo>
                        <a:cubicBezTo>
                          <a:pt x="47" y="35"/>
                          <a:pt x="47" y="35"/>
                          <a:pt x="47" y="35"/>
                        </a:cubicBezTo>
                        <a:cubicBezTo>
                          <a:pt x="47" y="35"/>
                          <a:pt x="47" y="35"/>
                          <a:pt x="47" y="35"/>
                        </a:cubicBezTo>
                        <a:cubicBezTo>
                          <a:pt x="47" y="35"/>
                          <a:pt x="47" y="35"/>
                          <a:pt x="47" y="35"/>
                        </a:cubicBezTo>
                        <a:cubicBezTo>
                          <a:pt x="47" y="35"/>
                          <a:pt x="47" y="35"/>
                          <a:pt x="47" y="35"/>
                        </a:cubicBezTo>
                        <a:cubicBezTo>
                          <a:pt x="47" y="35"/>
                          <a:pt x="47" y="35"/>
                          <a:pt x="47" y="35"/>
                        </a:cubicBezTo>
                        <a:cubicBezTo>
                          <a:pt x="46" y="35"/>
                          <a:pt x="46" y="36"/>
                          <a:pt x="46" y="35"/>
                        </a:cubicBezTo>
                        <a:cubicBezTo>
                          <a:pt x="46" y="35"/>
                          <a:pt x="46" y="35"/>
                          <a:pt x="46" y="35"/>
                        </a:cubicBezTo>
                        <a:cubicBezTo>
                          <a:pt x="46" y="35"/>
                          <a:pt x="46" y="35"/>
                          <a:pt x="46" y="35"/>
                        </a:cubicBezTo>
                        <a:cubicBezTo>
                          <a:pt x="46" y="35"/>
                          <a:pt x="46" y="36"/>
                          <a:pt x="46" y="36"/>
                        </a:cubicBezTo>
                        <a:cubicBezTo>
                          <a:pt x="46" y="36"/>
                          <a:pt x="46" y="36"/>
                          <a:pt x="46" y="36"/>
                        </a:cubicBezTo>
                        <a:cubicBezTo>
                          <a:pt x="46" y="36"/>
                          <a:pt x="46" y="36"/>
                          <a:pt x="46" y="36"/>
                        </a:cubicBezTo>
                        <a:cubicBezTo>
                          <a:pt x="46" y="36"/>
                          <a:pt x="46" y="36"/>
                          <a:pt x="46" y="36"/>
                        </a:cubicBezTo>
                        <a:cubicBezTo>
                          <a:pt x="46" y="36"/>
                          <a:pt x="46" y="37"/>
                          <a:pt x="45" y="37"/>
                        </a:cubicBezTo>
                        <a:cubicBezTo>
                          <a:pt x="45" y="37"/>
                          <a:pt x="45" y="37"/>
                          <a:pt x="45" y="37"/>
                        </a:cubicBezTo>
                        <a:cubicBezTo>
                          <a:pt x="45" y="38"/>
                          <a:pt x="45" y="38"/>
                          <a:pt x="45" y="38"/>
                        </a:cubicBezTo>
                        <a:cubicBezTo>
                          <a:pt x="45" y="38"/>
                          <a:pt x="45" y="38"/>
                          <a:pt x="45" y="38"/>
                        </a:cubicBezTo>
                        <a:cubicBezTo>
                          <a:pt x="45" y="38"/>
                          <a:pt x="45" y="38"/>
                          <a:pt x="45" y="38"/>
                        </a:cubicBezTo>
                        <a:cubicBezTo>
                          <a:pt x="45" y="38"/>
                          <a:pt x="45" y="38"/>
                          <a:pt x="45" y="38"/>
                        </a:cubicBezTo>
                        <a:cubicBezTo>
                          <a:pt x="45" y="38"/>
                          <a:pt x="45" y="39"/>
                          <a:pt x="45" y="39"/>
                        </a:cubicBezTo>
                        <a:cubicBezTo>
                          <a:pt x="45" y="39"/>
                          <a:pt x="45" y="39"/>
                          <a:pt x="44" y="39"/>
                        </a:cubicBezTo>
                        <a:cubicBezTo>
                          <a:pt x="44" y="39"/>
                          <a:pt x="44" y="39"/>
                          <a:pt x="44" y="39"/>
                        </a:cubicBezTo>
                        <a:cubicBezTo>
                          <a:pt x="44" y="39"/>
                          <a:pt x="44" y="39"/>
                          <a:pt x="44" y="39"/>
                        </a:cubicBezTo>
                        <a:cubicBezTo>
                          <a:pt x="44" y="39"/>
                          <a:pt x="44" y="39"/>
                          <a:pt x="44" y="39"/>
                        </a:cubicBezTo>
                        <a:cubicBezTo>
                          <a:pt x="44" y="39"/>
                          <a:pt x="44" y="39"/>
                          <a:pt x="44" y="40"/>
                        </a:cubicBezTo>
                        <a:cubicBezTo>
                          <a:pt x="44" y="40"/>
                          <a:pt x="44" y="40"/>
                          <a:pt x="44" y="40"/>
                        </a:cubicBezTo>
                        <a:cubicBezTo>
                          <a:pt x="44" y="40"/>
                          <a:pt x="43" y="40"/>
                          <a:pt x="43" y="40"/>
                        </a:cubicBezTo>
                        <a:cubicBezTo>
                          <a:pt x="43" y="40"/>
                          <a:pt x="44" y="40"/>
                          <a:pt x="43" y="40"/>
                        </a:cubicBezTo>
                        <a:cubicBezTo>
                          <a:pt x="44" y="39"/>
                          <a:pt x="44" y="40"/>
                          <a:pt x="44" y="40"/>
                        </a:cubicBezTo>
                        <a:cubicBezTo>
                          <a:pt x="44" y="39"/>
                          <a:pt x="44" y="39"/>
                          <a:pt x="44" y="39"/>
                        </a:cubicBezTo>
                        <a:cubicBezTo>
                          <a:pt x="44" y="39"/>
                          <a:pt x="44" y="39"/>
                          <a:pt x="44" y="39"/>
                        </a:cubicBezTo>
                        <a:cubicBezTo>
                          <a:pt x="44" y="38"/>
                          <a:pt x="44" y="39"/>
                          <a:pt x="44" y="38"/>
                        </a:cubicBezTo>
                        <a:cubicBezTo>
                          <a:pt x="44" y="38"/>
                          <a:pt x="44" y="38"/>
                          <a:pt x="44" y="38"/>
                        </a:cubicBezTo>
                        <a:cubicBezTo>
                          <a:pt x="44" y="38"/>
                          <a:pt x="44" y="38"/>
                          <a:pt x="44" y="38"/>
                        </a:cubicBezTo>
                        <a:cubicBezTo>
                          <a:pt x="44" y="38"/>
                          <a:pt x="44" y="38"/>
                          <a:pt x="44" y="38"/>
                        </a:cubicBezTo>
                        <a:cubicBezTo>
                          <a:pt x="44" y="38"/>
                          <a:pt x="44" y="38"/>
                          <a:pt x="44" y="38"/>
                        </a:cubicBezTo>
                        <a:cubicBezTo>
                          <a:pt x="45" y="38"/>
                          <a:pt x="45" y="38"/>
                          <a:pt x="44" y="38"/>
                        </a:cubicBezTo>
                        <a:cubicBezTo>
                          <a:pt x="45" y="38"/>
                          <a:pt x="45" y="38"/>
                          <a:pt x="45" y="37"/>
                        </a:cubicBezTo>
                        <a:cubicBezTo>
                          <a:pt x="45" y="37"/>
                          <a:pt x="44" y="37"/>
                          <a:pt x="44" y="37"/>
                        </a:cubicBezTo>
                        <a:cubicBezTo>
                          <a:pt x="44" y="37"/>
                          <a:pt x="44" y="38"/>
                          <a:pt x="44" y="37"/>
                        </a:cubicBezTo>
                        <a:cubicBezTo>
                          <a:pt x="44" y="37"/>
                          <a:pt x="45" y="37"/>
                          <a:pt x="45" y="37"/>
                        </a:cubicBezTo>
                        <a:cubicBezTo>
                          <a:pt x="45" y="37"/>
                          <a:pt x="45" y="37"/>
                          <a:pt x="45" y="37"/>
                        </a:cubicBezTo>
                        <a:cubicBezTo>
                          <a:pt x="45" y="37"/>
                          <a:pt x="45" y="37"/>
                          <a:pt x="45" y="37"/>
                        </a:cubicBezTo>
                        <a:cubicBezTo>
                          <a:pt x="45" y="37"/>
                          <a:pt x="45" y="37"/>
                          <a:pt x="45" y="37"/>
                        </a:cubicBezTo>
                        <a:cubicBezTo>
                          <a:pt x="45" y="37"/>
                          <a:pt x="45" y="36"/>
                          <a:pt x="45" y="36"/>
                        </a:cubicBezTo>
                        <a:cubicBezTo>
                          <a:pt x="45" y="36"/>
                          <a:pt x="45" y="36"/>
                          <a:pt x="45" y="36"/>
                        </a:cubicBezTo>
                        <a:cubicBezTo>
                          <a:pt x="45" y="36"/>
                          <a:pt x="45" y="36"/>
                          <a:pt x="46" y="36"/>
                        </a:cubicBezTo>
                        <a:cubicBezTo>
                          <a:pt x="45" y="36"/>
                          <a:pt x="46" y="36"/>
                          <a:pt x="46" y="35"/>
                        </a:cubicBezTo>
                        <a:cubicBezTo>
                          <a:pt x="46" y="35"/>
                          <a:pt x="46" y="36"/>
                          <a:pt x="46" y="36"/>
                        </a:cubicBezTo>
                        <a:cubicBezTo>
                          <a:pt x="46" y="36"/>
                          <a:pt x="45" y="36"/>
                          <a:pt x="45" y="36"/>
                        </a:cubicBezTo>
                        <a:cubicBezTo>
                          <a:pt x="45" y="36"/>
                          <a:pt x="45" y="36"/>
                          <a:pt x="45" y="36"/>
                        </a:cubicBezTo>
                        <a:cubicBezTo>
                          <a:pt x="45" y="36"/>
                          <a:pt x="45" y="35"/>
                          <a:pt x="45" y="35"/>
                        </a:cubicBezTo>
                        <a:cubicBezTo>
                          <a:pt x="45" y="35"/>
                          <a:pt x="45" y="35"/>
                          <a:pt x="45" y="35"/>
                        </a:cubicBezTo>
                        <a:cubicBezTo>
                          <a:pt x="45" y="36"/>
                          <a:pt x="45" y="36"/>
                          <a:pt x="45" y="36"/>
                        </a:cubicBezTo>
                        <a:cubicBezTo>
                          <a:pt x="45" y="36"/>
                          <a:pt x="45" y="36"/>
                          <a:pt x="45" y="36"/>
                        </a:cubicBezTo>
                        <a:cubicBezTo>
                          <a:pt x="45" y="36"/>
                          <a:pt x="44" y="36"/>
                          <a:pt x="45" y="36"/>
                        </a:cubicBezTo>
                        <a:cubicBezTo>
                          <a:pt x="44" y="36"/>
                          <a:pt x="44" y="36"/>
                          <a:pt x="44" y="36"/>
                        </a:cubicBezTo>
                        <a:cubicBezTo>
                          <a:pt x="44" y="36"/>
                          <a:pt x="44" y="35"/>
                          <a:pt x="45" y="35"/>
                        </a:cubicBezTo>
                        <a:cubicBezTo>
                          <a:pt x="45" y="35"/>
                          <a:pt x="44" y="35"/>
                          <a:pt x="44" y="35"/>
                        </a:cubicBezTo>
                        <a:cubicBezTo>
                          <a:pt x="44" y="35"/>
                          <a:pt x="45" y="35"/>
                          <a:pt x="45" y="35"/>
                        </a:cubicBezTo>
                        <a:cubicBezTo>
                          <a:pt x="45" y="35"/>
                          <a:pt x="45" y="35"/>
                          <a:pt x="45" y="35"/>
                        </a:cubicBezTo>
                        <a:cubicBezTo>
                          <a:pt x="45" y="34"/>
                          <a:pt x="45" y="34"/>
                          <a:pt x="45" y="34"/>
                        </a:cubicBezTo>
                        <a:cubicBezTo>
                          <a:pt x="45" y="34"/>
                          <a:pt x="45" y="34"/>
                          <a:pt x="45" y="34"/>
                        </a:cubicBezTo>
                        <a:cubicBezTo>
                          <a:pt x="45" y="34"/>
                          <a:pt x="45" y="34"/>
                          <a:pt x="46" y="34"/>
                        </a:cubicBezTo>
                        <a:cubicBezTo>
                          <a:pt x="46" y="34"/>
                          <a:pt x="46" y="33"/>
                          <a:pt x="46" y="33"/>
                        </a:cubicBezTo>
                        <a:cubicBezTo>
                          <a:pt x="46" y="33"/>
                          <a:pt x="46" y="33"/>
                          <a:pt x="46" y="33"/>
                        </a:cubicBezTo>
                        <a:cubicBezTo>
                          <a:pt x="45" y="33"/>
                          <a:pt x="46" y="33"/>
                          <a:pt x="46" y="33"/>
                        </a:cubicBezTo>
                        <a:cubicBezTo>
                          <a:pt x="46" y="33"/>
                          <a:pt x="46" y="33"/>
                          <a:pt x="46" y="33"/>
                        </a:cubicBezTo>
                        <a:cubicBezTo>
                          <a:pt x="46" y="33"/>
                          <a:pt x="46" y="33"/>
                          <a:pt x="46" y="33"/>
                        </a:cubicBezTo>
                        <a:cubicBezTo>
                          <a:pt x="46" y="33"/>
                          <a:pt x="46" y="33"/>
                          <a:pt x="46" y="33"/>
                        </a:cubicBezTo>
                        <a:cubicBezTo>
                          <a:pt x="46" y="33"/>
                          <a:pt x="46" y="33"/>
                          <a:pt x="46" y="33"/>
                        </a:cubicBezTo>
                        <a:cubicBezTo>
                          <a:pt x="46" y="33"/>
                          <a:pt x="46" y="33"/>
                          <a:pt x="46" y="33"/>
                        </a:cubicBezTo>
                        <a:cubicBezTo>
                          <a:pt x="46" y="33"/>
                          <a:pt x="46" y="33"/>
                          <a:pt x="47" y="33"/>
                        </a:cubicBezTo>
                        <a:cubicBezTo>
                          <a:pt x="47" y="33"/>
                          <a:pt x="47" y="33"/>
                          <a:pt x="47" y="33"/>
                        </a:cubicBezTo>
                        <a:cubicBezTo>
                          <a:pt x="47" y="32"/>
                          <a:pt x="46" y="32"/>
                          <a:pt x="46" y="33"/>
                        </a:cubicBezTo>
                        <a:cubicBezTo>
                          <a:pt x="46" y="33"/>
                          <a:pt x="46" y="33"/>
                          <a:pt x="46" y="32"/>
                        </a:cubicBezTo>
                        <a:cubicBezTo>
                          <a:pt x="46" y="32"/>
                          <a:pt x="46" y="32"/>
                          <a:pt x="47" y="32"/>
                        </a:cubicBezTo>
                        <a:cubicBezTo>
                          <a:pt x="46" y="32"/>
                          <a:pt x="46" y="32"/>
                          <a:pt x="46" y="32"/>
                        </a:cubicBezTo>
                        <a:cubicBezTo>
                          <a:pt x="46" y="32"/>
                          <a:pt x="46" y="32"/>
                          <a:pt x="46" y="32"/>
                        </a:cubicBezTo>
                        <a:cubicBezTo>
                          <a:pt x="46" y="32"/>
                          <a:pt x="46" y="32"/>
                          <a:pt x="46" y="32"/>
                        </a:cubicBezTo>
                        <a:cubicBezTo>
                          <a:pt x="46" y="32"/>
                          <a:pt x="47" y="31"/>
                          <a:pt x="47" y="31"/>
                        </a:cubicBezTo>
                        <a:cubicBezTo>
                          <a:pt x="47" y="31"/>
                          <a:pt x="47" y="31"/>
                          <a:pt x="47" y="31"/>
                        </a:cubicBezTo>
                        <a:cubicBezTo>
                          <a:pt x="47" y="31"/>
                          <a:pt x="47" y="31"/>
                          <a:pt x="47" y="31"/>
                        </a:cubicBezTo>
                        <a:cubicBezTo>
                          <a:pt x="47" y="31"/>
                          <a:pt x="47" y="30"/>
                          <a:pt x="47" y="30"/>
                        </a:cubicBezTo>
                        <a:cubicBezTo>
                          <a:pt x="47" y="30"/>
                          <a:pt x="47" y="30"/>
                          <a:pt x="47" y="30"/>
                        </a:cubicBezTo>
                        <a:cubicBezTo>
                          <a:pt x="47" y="30"/>
                          <a:pt x="47" y="30"/>
                          <a:pt x="47" y="30"/>
                        </a:cubicBezTo>
                        <a:cubicBezTo>
                          <a:pt x="47" y="30"/>
                          <a:pt x="47" y="30"/>
                          <a:pt x="47" y="30"/>
                        </a:cubicBezTo>
                        <a:cubicBezTo>
                          <a:pt x="47" y="30"/>
                          <a:pt x="47" y="30"/>
                          <a:pt x="48" y="30"/>
                        </a:cubicBezTo>
                        <a:cubicBezTo>
                          <a:pt x="48" y="30"/>
                          <a:pt x="47" y="30"/>
                          <a:pt x="48" y="30"/>
                        </a:cubicBezTo>
                        <a:cubicBezTo>
                          <a:pt x="48" y="30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7" y="30"/>
                          <a:pt x="47" y="30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9"/>
                        </a:cubicBezTo>
                        <a:cubicBezTo>
                          <a:pt x="48" y="29"/>
                          <a:pt x="48" y="29"/>
                          <a:pt x="48" y="28"/>
                        </a:cubicBezTo>
                        <a:cubicBezTo>
                          <a:pt x="48" y="28"/>
                          <a:pt x="48" y="29"/>
                          <a:pt x="48" y="28"/>
                        </a:cubicBezTo>
                        <a:cubicBezTo>
                          <a:pt x="48" y="28"/>
                          <a:pt x="48" y="28"/>
                          <a:pt x="48" y="28"/>
                        </a:cubicBezTo>
                        <a:cubicBezTo>
                          <a:pt x="48" y="28"/>
                          <a:pt x="48" y="28"/>
                          <a:pt x="48" y="28"/>
                        </a:cubicBezTo>
                        <a:cubicBezTo>
                          <a:pt x="48" y="28"/>
                          <a:pt x="48" y="28"/>
                          <a:pt x="48" y="28"/>
                        </a:cubicBezTo>
                        <a:cubicBezTo>
                          <a:pt x="48" y="28"/>
                          <a:pt x="48" y="28"/>
                          <a:pt x="47" y="28"/>
                        </a:cubicBezTo>
                        <a:cubicBezTo>
                          <a:pt x="48" y="28"/>
                          <a:pt x="48" y="28"/>
                          <a:pt x="48" y="28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8"/>
                        </a:cubicBezTo>
                        <a:cubicBezTo>
                          <a:pt x="48" y="28"/>
                          <a:pt x="47" y="27"/>
                          <a:pt x="47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7" y="27"/>
                          <a:pt x="47" y="27"/>
                          <a:pt x="47" y="27"/>
                        </a:cubicBezTo>
                        <a:cubicBezTo>
                          <a:pt x="47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7" y="27"/>
                          <a:pt x="47" y="27"/>
                          <a:pt x="47" y="28"/>
                        </a:cubicBezTo>
                        <a:cubicBezTo>
                          <a:pt x="47" y="27"/>
                          <a:pt x="47" y="27"/>
                          <a:pt x="47" y="27"/>
                        </a:cubicBezTo>
                        <a:cubicBezTo>
                          <a:pt x="47" y="27"/>
                          <a:pt x="47" y="27"/>
                          <a:pt x="47" y="27"/>
                        </a:cubicBezTo>
                        <a:cubicBezTo>
                          <a:pt x="47" y="27"/>
                          <a:pt x="47" y="27"/>
                          <a:pt x="47" y="26"/>
                        </a:cubicBezTo>
                        <a:cubicBezTo>
                          <a:pt x="47" y="27"/>
                          <a:pt x="47" y="27"/>
                          <a:pt x="47" y="27"/>
                        </a:cubicBezTo>
                        <a:cubicBezTo>
                          <a:pt x="47" y="27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8" y="26"/>
                        </a:cubicBezTo>
                        <a:cubicBezTo>
                          <a:pt x="47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6"/>
                          <a:pt x="48" y="27"/>
                          <a:pt x="48" y="26"/>
                        </a:cubicBezTo>
                        <a:cubicBezTo>
                          <a:pt x="48" y="26"/>
                          <a:pt x="48" y="27"/>
                          <a:pt x="48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9" y="26"/>
                          <a:pt x="48" y="26"/>
                          <a:pt x="48" y="26"/>
                        </a:cubicBezTo>
                        <a:cubicBezTo>
                          <a:pt x="48" y="26"/>
                          <a:pt x="49" y="26"/>
                          <a:pt x="49" y="26"/>
                        </a:cubicBezTo>
                        <a:cubicBezTo>
                          <a:pt x="49" y="26"/>
                          <a:pt x="49" y="26"/>
                          <a:pt x="48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9" y="26"/>
                          <a:pt x="49" y="26"/>
                          <a:pt x="49" y="26"/>
                        </a:cubicBezTo>
                        <a:cubicBezTo>
                          <a:pt x="49" y="26"/>
                          <a:pt x="49" y="26"/>
                          <a:pt x="49" y="25"/>
                        </a:cubicBezTo>
                        <a:cubicBezTo>
                          <a:pt x="49" y="25"/>
                          <a:pt x="48" y="25"/>
                          <a:pt x="48" y="25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8" y="26"/>
                          <a:pt x="48" y="26"/>
                          <a:pt x="47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8" y="26"/>
                          <a:pt x="48" y="26"/>
                          <a:pt x="48" y="26"/>
                        </a:cubicBezTo>
                        <a:cubicBezTo>
                          <a:pt x="48" y="26"/>
                          <a:pt x="48" y="26"/>
                          <a:pt x="47" y="26"/>
                        </a:cubicBezTo>
                        <a:cubicBezTo>
                          <a:pt x="47" y="26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6" y="26"/>
                        </a:cubicBezTo>
                        <a:cubicBezTo>
                          <a:pt x="46" y="26"/>
                          <a:pt x="47" y="26"/>
                          <a:pt x="47" y="26"/>
                        </a:cubicBezTo>
                        <a:cubicBezTo>
                          <a:pt x="46" y="26"/>
                          <a:pt x="47" y="27"/>
                          <a:pt x="47" y="27"/>
                        </a:cubicBezTo>
                        <a:cubicBezTo>
                          <a:pt x="47" y="27"/>
                          <a:pt x="47" y="26"/>
                          <a:pt x="47" y="26"/>
                        </a:cubicBezTo>
                        <a:cubicBezTo>
                          <a:pt x="47" y="26"/>
                          <a:pt x="47" y="26"/>
                          <a:pt x="47" y="27"/>
                        </a:cubicBezTo>
                        <a:cubicBezTo>
                          <a:pt x="47" y="27"/>
                          <a:pt x="47" y="27"/>
                          <a:pt x="47" y="27"/>
                        </a:cubicBezTo>
                        <a:cubicBezTo>
                          <a:pt x="47" y="27"/>
                          <a:pt x="47" y="27"/>
                          <a:pt x="47" y="27"/>
                        </a:cubicBezTo>
                        <a:cubicBezTo>
                          <a:pt x="47" y="27"/>
                          <a:pt x="47" y="28"/>
                          <a:pt x="47" y="27"/>
                        </a:cubicBezTo>
                        <a:cubicBezTo>
                          <a:pt x="46" y="28"/>
                          <a:pt x="47" y="28"/>
                          <a:pt x="47" y="28"/>
                        </a:cubicBezTo>
                        <a:cubicBezTo>
                          <a:pt x="47" y="28"/>
                          <a:pt x="47" y="28"/>
                          <a:pt x="47" y="28"/>
                        </a:cubicBezTo>
                        <a:cubicBezTo>
                          <a:pt x="47" y="28"/>
                          <a:pt x="47" y="28"/>
                          <a:pt x="47" y="28"/>
                        </a:cubicBezTo>
                        <a:cubicBezTo>
                          <a:pt x="47" y="28"/>
                          <a:pt x="47" y="28"/>
                          <a:pt x="46" y="28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ubicBezTo>
                          <a:pt x="46" y="28"/>
                          <a:pt x="46" y="29"/>
                          <a:pt x="46" y="29"/>
                        </a:cubicBezTo>
                        <a:cubicBezTo>
                          <a:pt x="46" y="29"/>
                          <a:pt x="46" y="29"/>
                          <a:pt x="46" y="29"/>
                        </a:cubicBezTo>
                        <a:cubicBezTo>
                          <a:pt x="46" y="29"/>
                          <a:pt x="46" y="29"/>
                          <a:pt x="46" y="29"/>
                        </a:cubicBezTo>
                        <a:cubicBezTo>
                          <a:pt x="46" y="29"/>
                          <a:pt x="46" y="29"/>
                          <a:pt x="45" y="29"/>
                        </a:cubicBezTo>
                        <a:cubicBezTo>
                          <a:pt x="45" y="30"/>
                          <a:pt x="45" y="30"/>
                          <a:pt x="45" y="30"/>
                        </a:cubicBezTo>
                        <a:cubicBezTo>
                          <a:pt x="45" y="30"/>
                          <a:pt x="45" y="30"/>
                          <a:pt x="45" y="30"/>
                        </a:cubicBezTo>
                        <a:cubicBezTo>
                          <a:pt x="45" y="30"/>
                          <a:pt x="45" y="30"/>
                          <a:pt x="45" y="30"/>
                        </a:cubicBezTo>
                        <a:cubicBezTo>
                          <a:pt x="46" y="30"/>
                          <a:pt x="46" y="30"/>
                          <a:pt x="46" y="30"/>
                        </a:cubicBezTo>
                        <a:cubicBezTo>
                          <a:pt x="46" y="30"/>
                          <a:pt x="45" y="30"/>
                          <a:pt x="45" y="30"/>
                        </a:cubicBezTo>
                        <a:cubicBezTo>
                          <a:pt x="45" y="30"/>
                          <a:pt x="45" y="30"/>
                          <a:pt x="45" y="30"/>
                        </a:cubicBezTo>
                        <a:cubicBezTo>
                          <a:pt x="45" y="30"/>
                          <a:pt x="45" y="30"/>
                          <a:pt x="45" y="30"/>
                        </a:cubicBezTo>
                        <a:cubicBezTo>
                          <a:pt x="45" y="30"/>
                          <a:pt x="45" y="30"/>
                          <a:pt x="45" y="31"/>
                        </a:cubicBezTo>
                        <a:cubicBezTo>
                          <a:pt x="45" y="31"/>
                          <a:pt x="45" y="31"/>
                          <a:pt x="45" y="30"/>
                        </a:cubicBezTo>
                        <a:cubicBezTo>
                          <a:pt x="45" y="31"/>
                          <a:pt x="45" y="31"/>
                          <a:pt x="45" y="31"/>
                        </a:cubicBezTo>
                        <a:cubicBezTo>
                          <a:pt x="45" y="31"/>
                          <a:pt x="45" y="31"/>
                          <a:pt x="45" y="31"/>
                        </a:cubicBezTo>
                        <a:cubicBezTo>
                          <a:pt x="45" y="31"/>
                          <a:pt x="44" y="31"/>
                          <a:pt x="45" y="31"/>
                        </a:cubicBezTo>
                        <a:cubicBezTo>
                          <a:pt x="44" y="31"/>
                          <a:pt x="44" y="31"/>
                          <a:pt x="44" y="31"/>
                        </a:cubicBezTo>
                        <a:cubicBezTo>
                          <a:pt x="44" y="31"/>
                          <a:pt x="44" y="31"/>
                          <a:pt x="44" y="31"/>
                        </a:cubicBezTo>
                        <a:cubicBezTo>
                          <a:pt x="44" y="31"/>
                          <a:pt x="44" y="32"/>
                          <a:pt x="44" y="32"/>
                        </a:cubicBezTo>
                        <a:cubicBezTo>
                          <a:pt x="44" y="32"/>
                          <a:pt x="44" y="32"/>
                          <a:pt x="44" y="32"/>
                        </a:cubicBezTo>
                        <a:cubicBezTo>
                          <a:pt x="44" y="32"/>
                          <a:pt x="44" y="32"/>
                          <a:pt x="44" y="32"/>
                        </a:cubicBezTo>
                        <a:cubicBezTo>
                          <a:pt x="43" y="32"/>
                          <a:pt x="43" y="33"/>
                          <a:pt x="43" y="33"/>
                        </a:cubicBezTo>
                        <a:cubicBezTo>
                          <a:pt x="43" y="33"/>
                          <a:pt x="43" y="33"/>
                          <a:pt x="43" y="33"/>
                        </a:cubicBezTo>
                        <a:cubicBezTo>
                          <a:pt x="44" y="32"/>
                          <a:pt x="44" y="30"/>
                          <a:pt x="45" y="30"/>
                        </a:cubicBezTo>
                        <a:cubicBezTo>
                          <a:pt x="45" y="30"/>
                          <a:pt x="45" y="30"/>
                          <a:pt x="45" y="30"/>
                        </a:cubicBezTo>
                        <a:cubicBezTo>
                          <a:pt x="45" y="30"/>
                          <a:pt x="45" y="30"/>
                          <a:pt x="45" y="30"/>
                        </a:cubicBezTo>
                        <a:cubicBezTo>
                          <a:pt x="45" y="30"/>
                          <a:pt x="45" y="30"/>
                          <a:pt x="45" y="29"/>
                        </a:cubicBezTo>
                        <a:cubicBezTo>
                          <a:pt x="45" y="29"/>
                          <a:pt x="45" y="29"/>
                          <a:pt x="45" y="29"/>
                        </a:cubicBezTo>
                        <a:cubicBezTo>
                          <a:pt x="45" y="29"/>
                          <a:pt x="45" y="29"/>
                          <a:pt x="45" y="29"/>
                        </a:cubicBezTo>
                        <a:cubicBezTo>
                          <a:pt x="45" y="29"/>
                          <a:pt x="45" y="29"/>
                          <a:pt x="45" y="29"/>
                        </a:cubicBezTo>
                        <a:cubicBezTo>
                          <a:pt x="45" y="29"/>
                          <a:pt x="45" y="29"/>
                          <a:pt x="45" y="29"/>
                        </a:cubicBezTo>
                        <a:cubicBezTo>
                          <a:pt x="45" y="29"/>
                          <a:pt x="45" y="29"/>
                          <a:pt x="45" y="29"/>
                        </a:cubicBezTo>
                        <a:cubicBezTo>
                          <a:pt x="45" y="29"/>
                          <a:pt x="45" y="28"/>
                          <a:pt x="45" y="28"/>
                        </a:cubicBezTo>
                        <a:cubicBezTo>
                          <a:pt x="45" y="28"/>
                          <a:pt x="45" y="29"/>
                          <a:pt x="45" y="29"/>
                        </a:cubicBezTo>
                        <a:cubicBezTo>
                          <a:pt x="46" y="29"/>
                          <a:pt x="45" y="28"/>
                          <a:pt x="45" y="28"/>
                        </a:cubicBezTo>
                        <a:cubicBezTo>
                          <a:pt x="45" y="28"/>
                          <a:pt x="45" y="28"/>
                          <a:pt x="45" y="28"/>
                        </a:cubicBezTo>
                        <a:cubicBezTo>
                          <a:pt x="45" y="28"/>
                          <a:pt x="46" y="28"/>
                          <a:pt x="46" y="27"/>
                        </a:cubicBezTo>
                        <a:cubicBezTo>
                          <a:pt x="46" y="27"/>
                          <a:pt x="46" y="27"/>
                          <a:pt x="46" y="27"/>
                        </a:cubicBezTo>
                        <a:cubicBezTo>
                          <a:pt x="45" y="27"/>
                          <a:pt x="46" y="27"/>
                          <a:pt x="46" y="27"/>
                        </a:cubicBezTo>
                        <a:cubicBezTo>
                          <a:pt x="46" y="27"/>
                          <a:pt x="46" y="27"/>
                          <a:pt x="46" y="27"/>
                        </a:cubicBezTo>
                        <a:cubicBezTo>
                          <a:pt x="46" y="27"/>
                          <a:pt x="46" y="27"/>
                          <a:pt x="46" y="27"/>
                        </a:cubicBezTo>
                        <a:cubicBezTo>
                          <a:pt x="46" y="27"/>
                          <a:pt x="46" y="27"/>
                          <a:pt x="46" y="27"/>
                        </a:cubicBezTo>
                        <a:cubicBezTo>
                          <a:pt x="46" y="27"/>
                          <a:pt x="46" y="27"/>
                          <a:pt x="45" y="27"/>
                        </a:cubicBezTo>
                        <a:cubicBezTo>
                          <a:pt x="46" y="26"/>
                          <a:pt x="45" y="26"/>
                          <a:pt x="45" y="26"/>
                        </a:cubicBezTo>
                        <a:cubicBezTo>
                          <a:pt x="46" y="26"/>
                          <a:pt x="46" y="26"/>
                          <a:pt x="46" y="26"/>
                        </a:cubicBezTo>
                        <a:cubicBezTo>
                          <a:pt x="46" y="26"/>
                          <a:pt x="45" y="26"/>
                          <a:pt x="45" y="26"/>
                        </a:cubicBezTo>
                        <a:cubicBezTo>
                          <a:pt x="45" y="26"/>
                          <a:pt x="45" y="26"/>
                          <a:pt x="45" y="27"/>
                        </a:cubicBezTo>
                        <a:cubicBezTo>
                          <a:pt x="45" y="27"/>
                          <a:pt x="45" y="27"/>
                          <a:pt x="45" y="27"/>
                        </a:cubicBezTo>
                        <a:cubicBezTo>
                          <a:pt x="45" y="27"/>
                          <a:pt x="45" y="27"/>
                          <a:pt x="45" y="27"/>
                        </a:cubicBezTo>
                        <a:cubicBezTo>
                          <a:pt x="45" y="26"/>
                          <a:pt x="45" y="26"/>
                          <a:pt x="45" y="26"/>
                        </a:cubicBezTo>
                        <a:cubicBezTo>
                          <a:pt x="45" y="26"/>
                          <a:pt x="45" y="26"/>
                          <a:pt x="45" y="26"/>
                        </a:cubicBezTo>
                        <a:cubicBezTo>
                          <a:pt x="45" y="25"/>
                          <a:pt x="45" y="26"/>
                          <a:pt x="45" y="26"/>
                        </a:cubicBezTo>
                        <a:cubicBezTo>
                          <a:pt x="45" y="26"/>
                          <a:pt x="45" y="26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4"/>
                          <a:pt x="45" y="25"/>
                          <a:pt x="45" y="25"/>
                        </a:cubicBezTo>
                        <a:cubicBezTo>
                          <a:pt x="45" y="24"/>
                          <a:pt x="45" y="25"/>
                          <a:pt x="45" y="24"/>
                        </a:cubicBezTo>
                        <a:cubicBezTo>
                          <a:pt x="45" y="24"/>
                          <a:pt x="45" y="24"/>
                          <a:pt x="45" y="24"/>
                        </a:cubicBezTo>
                        <a:cubicBezTo>
                          <a:pt x="45" y="24"/>
                          <a:pt x="45" y="24"/>
                          <a:pt x="46" y="24"/>
                        </a:cubicBezTo>
                        <a:cubicBezTo>
                          <a:pt x="45" y="24"/>
                          <a:pt x="45" y="24"/>
                          <a:pt x="45" y="24"/>
                        </a:cubicBezTo>
                        <a:cubicBezTo>
                          <a:pt x="45" y="24"/>
                          <a:pt x="45" y="24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5" y="25"/>
                          <a:pt x="45" y="26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5" y="25"/>
                          <a:pt x="45" y="25"/>
                        </a:cubicBezTo>
                        <a:cubicBezTo>
                          <a:pt x="45" y="25"/>
                          <a:pt x="44" y="26"/>
                          <a:pt x="44" y="26"/>
                        </a:cubicBezTo>
                        <a:cubicBezTo>
                          <a:pt x="44" y="26"/>
                          <a:pt x="44" y="25"/>
                          <a:pt x="44" y="25"/>
                        </a:cubicBezTo>
                        <a:cubicBezTo>
                          <a:pt x="44" y="25"/>
                          <a:pt x="44" y="25"/>
                          <a:pt x="44" y="25"/>
                        </a:cubicBezTo>
                        <a:cubicBezTo>
                          <a:pt x="44" y="25"/>
                          <a:pt x="44" y="25"/>
                          <a:pt x="44" y="25"/>
                        </a:cubicBezTo>
                        <a:cubicBezTo>
                          <a:pt x="44" y="25"/>
                          <a:pt x="44" y="25"/>
                          <a:pt x="45" y="25"/>
                        </a:cubicBezTo>
                        <a:cubicBezTo>
                          <a:pt x="45" y="25"/>
                          <a:pt x="45" y="24"/>
                          <a:pt x="44" y="24"/>
                        </a:cubicBezTo>
                        <a:cubicBezTo>
                          <a:pt x="45" y="24"/>
                          <a:pt x="45" y="24"/>
                          <a:pt x="45" y="24"/>
                        </a:cubicBezTo>
                        <a:cubicBezTo>
                          <a:pt x="45" y="24"/>
                          <a:pt x="45" y="24"/>
                          <a:pt x="45" y="24"/>
                        </a:cubicBezTo>
                        <a:cubicBezTo>
                          <a:pt x="45" y="24"/>
                          <a:pt x="45" y="24"/>
                          <a:pt x="44" y="24"/>
                        </a:cubicBezTo>
                        <a:cubicBezTo>
                          <a:pt x="44" y="24"/>
                          <a:pt x="45" y="24"/>
                          <a:pt x="44" y="24"/>
                        </a:cubicBezTo>
                        <a:cubicBezTo>
                          <a:pt x="44" y="24"/>
                          <a:pt x="44" y="24"/>
                          <a:pt x="44" y="24"/>
                        </a:cubicBezTo>
                        <a:cubicBezTo>
                          <a:pt x="45" y="24"/>
                          <a:pt x="45" y="24"/>
                          <a:pt x="45" y="24"/>
                        </a:cubicBezTo>
                        <a:cubicBezTo>
                          <a:pt x="45" y="24"/>
                          <a:pt x="45" y="24"/>
                          <a:pt x="44" y="23"/>
                        </a:cubicBezTo>
                        <a:cubicBezTo>
                          <a:pt x="45" y="23"/>
                          <a:pt x="45" y="24"/>
                          <a:pt x="45" y="23"/>
                        </a:cubicBezTo>
                        <a:cubicBezTo>
                          <a:pt x="45" y="23"/>
                          <a:pt x="45" y="23"/>
                          <a:pt x="45" y="23"/>
                        </a:cubicBezTo>
                        <a:cubicBezTo>
                          <a:pt x="45" y="23"/>
                          <a:pt x="45" y="23"/>
                          <a:pt x="45" y="23"/>
                        </a:cubicBezTo>
                        <a:cubicBezTo>
                          <a:pt x="45" y="23"/>
                          <a:pt x="45" y="23"/>
                          <a:pt x="45" y="23"/>
                        </a:cubicBezTo>
                        <a:cubicBezTo>
                          <a:pt x="45" y="23"/>
                          <a:pt x="45" y="23"/>
                          <a:pt x="45" y="23"/>
                        </a:cubicBezTo>
                        <a:cubicBezTo>
                          <a:pt x="45" y="23"/>
                          <a:pt x="45" y="23"/>
                          <a:pt x="45" y="23"/>
                        </a:cubicBezTo>
                        <a:cubicBezTo>
                          <a:pt x="45" y="22"/>
                          <a:pt x="45" y="23"/>
                          <a:pt x="45" y="22"/>
                        </a:cubicBezTo>
                        <a:cubicBezTo>
                          <a:pt x="45" y="22"/>
                          <a:pt x="45" y="22"/>
                          <a:pt x="45" y="22"/>
                        </a:cubicBezTo>
                        <a:cubicBezTo>
                          <a:pt x="45" y="22"/>
                          <a:pt x="45" y="22"/>
                          <a:pt x="45" y="22"/>
                        </a:cubicBezTo>
                        <a:cubicBezTo>
                          <a:pt x="45" y="22"/>
                          <a:pt x="45" y="22"/>
                          <a:pt x="45" y="22"/>
                        </a:cubicBezTo>
                        <a:cubicBezTo>
                          <a:pt x="45" y="22"/>
                          <a:pt x="45" y="22"/>
                          <a:pt x="45" y="22"/>
                        </a:cubicBezTo>
                        <a:cubicBezTo>
                          <a:pt x="45" y="22"/>
                          <a:pt x="45" y="22"/>
                          <a:pt x="45" y="22"/>
                        </a:cubicBezTo>
                        <a:cubicBezTo>
                          <a:pt x="45" y="22"/>
                          <a:pt x="46" y="22"/>
                          <a:pt x="46" y="22"/>
                        </a:cubicBezTo>
                        <a:cubicBezTo>
                          <a:pt x="46" y="22"/>
                          <a:pt x="46" y="22"/>
                          <a:pt x="46" y="22"/>
                        </a:cubicBezTo>
                        <a:cubicBezTo>
                          <a:pt x="46" y="22"/>
                          <a:pt x="46" y="22"/>
                          <a:pt x="45" y="22"/>
                        </a:cubicBezTo>
                        <a:cubicBezTo>
                          <a:pt x="46" y="22"/>
                          <a:pt x="46" y="22"/>
                          <a:pt x="46" y="22"/>
                        </a:cubicBezTo>
                        <a:cubicBezTo>
                          <a:pt x="46" y="22"/>
                          <a:pt x="46" y="22"/>
                          <a:pt x="46" y="21"/>
                        </a:cubicBezTo>
                        <a:cubicBezTo>
                          <a:pt x="45" y="21"/>
                          <a:pt x="46" y="22"/>
                          <a:pt x="45" y="21"/>
                        </a:cubicBezTo>
                        <a:cubicBezTo>
                          <a:pt x="45" y="21"/>
                          <a:pt x="45" y="21"/>
                          <a:pt x="46" y="21"/>
                        </a:cubicBezTo>
                        <a:cubicBezTo>
                          <a:pt x="46" y="21"/>
                          <a:pt x="46" y="21"/>
                          <a:pt x="46" y="21"/>
                        </a:cubicBezTo>
                        <a:cubicBezTo>
                          <a:pt x="46" y="21"/>
                          <a:pt x="46" y="21"/>
                          <a:pt x="46" y="21"/>
                        </a:cubicBezTo>
                        <a:cubicBezTo>
                          <a:pt x="46" y="21"/>
                          <a:pt x="46" y="20"/>
                          <a:pt x="46" y="20"/>
                        </a:cubicBezTo>
                        <a:cubicBezTo>
                          <a:pt x="46" y="20"/>
                          <a:pt x="46" y="20"/>
                          <a:pt x="46" y="20"/>
                        </a:cubicBezTo>
                        <a:cubicBezTo>
                          <a:pt x="46" y="20"/>
                          <a:pt x="46" y="20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8"/>
                          <a:pt x="46" y="19"/>
                        </a:cubicBezTo>
                        <a:cubicBezTo>
                          <a:pt x="45" y="19"/>
                          <a:pt x="46" y="19"/>
                          <a:pt x="45" y="19"/>
                        </a:cubicBezTo>
                        <a:cubicBezTo>
                          <a:pt x="45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5" y="19"/>
                        </a:cubicBezTo>
                        <a:cubicBezTo>
                          <a:pt x="46" y="19"/>
                          <a:pt x="46" y="19"/>
                          <a:pt x="45" y="19"/>
                        </a:cubicBezTo>
                        <a:cubicBezTo>
                          <a:pt x="45" y="19"/>
                          <a:pt x="46" y="19"/>
                          <a:pt x="46" y="19"/>
                        </a:cubicBezTo>
                        <a:cubicBezTo>
                          <a:pt x="46" y="20"/>
                          <a:pt x="45" y="19"/>
                          <a:pt x="45" y="19"/>
                        </a:cubicBezTo>
                        <a:cubicBezTo>
                          <a:pt x="45" y="20"/>
                          <a:pt x="45" y="20"/>
                          <a:pt x="45" y="20"/>
                        </a:cubicBezTo>
                        <a:cubicBezTo>
                          <a:pt x="45" y="20"/>
                          <a:pt x="45" y="20"/>
                          <a:pt x="45" y="20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8"/>
                          <a:pt x="45" y="18"/>
                          <a:pt x="45" y="18"/>
                        </a:cubicBezTo>
                        <a:cubicBezTo>
                          <a:pt x="45" y="18"/>
                          <a:pt x="45" y="18"/>
                          <a:pt x="45" y="18"/>
                        </a:cubicBezTo>
                        <a:cubicBezTo>
                          <a:pt x="45" y="18"/>
                          <a:pt x="45" y="18"/>
                          <a:pt x="45" y="18"/>
                        </a:cubicBezTo>
                        <a:cubicBezTo>
                          <a:pt x="45" y="17"/>
                          <a:pt x="45" y="17"/>
                          <a:pt x="45" y="17"/>
                        </a:cubicBezTo>
                        <a:cubicBezTo>
                          <a:pt x="45" y="17"/>
                          <a:pt x="45" y="17"/>
                          <a:pt x="45" y="17"/>
                        </a:cubicBezTo>
                        <a:cubicBezTo>
                          <a:pt x="45" y="17"/>
                          <a:pt x="45" y="17"/>
                          <a:pt x="45" y="17"/>
                        </a:cubicBezTo>
                        <a:cubicBezTo>
                          <a:pt x="45" y="17"/>
                          <a:pt x="45" y="17"/>
                          <a:pt x="45" y="17"/>
                        </a:cubicBezTo>
                        <a:cubicBezTo>
                          <a:pt x="45" y="17"/>
                          <a:pt x="45" y="17"/>
                          <a:pt x="46" y="17"/>
                        </a:cubicBezTo>
                        <a:cubicBezTo>
                          <a:pt x="45" y="17"/>
                          <a:pt x="45" y="17"/>
                          <a:pt x="46" y="16"/>
                        </a:cubicBezTo>
                        <a:cubicBezTo>
                          <a:pt x="46" y="16"/>
                          <a:pt x="46" y="17"/>
                          <a:pt x="45" y="17"/>
                        </a:cubicBezTo>
                        <a:cubicBezTo>
                          <a:pt x="46" y="17"/>
                          <a:pt x="46" y="16"/>
                          <a:pt x="45" y="16"/>
                        </a:cubicBezTo>
                        <a:cubicBezTo>
                          <a:pt x="46" y="16"/>
                          <a:pt x="46" y="16"/>
                          <a:pt x="46" y="15"/>
                        </a:cubicBezTo>
                        <a:cubicBezTo>
                          <a:pt x="46" y="15"/>
                          <a:pt x="46" y="16"/>
                          <a:pt x="46" y="15"/>
                        </a:cubicBezTo>
                        <a:cubicBezTo>
                          <a:pt x="46" y="15"/>
                          <a:pt x="45" y="15"/>
                          <a:pt x="45" y="15"/>
                        </a:cubicBezTo>
                        <a:cubicBezTo>
                          <a:pt x="46" y="15"/>
                          <a:pt x="46" y="15"/>
                          <a:pt x="46" y="14"/>
                        </a:cubicBezTo>
                        <a:cubicBezTo>
                          <a:pt x="46" y="14"/>
                          <a:pt x="46" y="15"/>
                          <a:pt x="45" y="15"/>
                        </a:cubicBezTo>
                        <a:cubicBezTo>
                          <a:pt x="45" y="15"/>
                          <a:pt x="45" y="14"/>
                          <a:pt x="45" y="14"/>
                        </a:cubicBezTo>
                        <a:cubicBezTo>
                          <a:pt x="45" y="14"/>
                          <a:pt x="46" y="14"/>
                          <a:pt x="46" y="14"/>
                        </a:cubicBezTo>
                        <a:cubicBezTo>
                          <a:pt x="46" y="14"/>
                          <a:pt x="46" y="14"/>
                          <a:pt x="46" y="14"/>
                        </a:cubicBezTo>
                        <a:cubicBezTo>
                          <a:pt x="46" y="14"/>
                          <a:pt x="46" y="14"/>
                          <a:pt x="46" y="14"/>
                        </a:cubicBezTo>
                        <a:cubicBezTo>
                          <a:pt x="46" y="14"/>
                          <a:pt x="46" y="14"/>
                          <a:pt x="46" y="14"/>
                        </a:cubicBezTo>
                        <a:cubicBezTo>
                          <a:pt x="46" y="14"/>
                          <a:pt x="46" y="14"/>
                          <a:pt x="46" y="14"/>
                        </a:cubicBezTo>
                        <a:cubicBezTo>
                          <a:pt x="46" y="14"/>
                          <a:pt x="46" y="14"/>
                          <a:pt x="46" y="14"/>
                        </a:cubicBezTo>
                        <a:cubicBezTo>
                          <a:pt x="47" y="14"/>
                          <a:pt x="46" y="13"/>
                          <a:pt x="47" y="13"/>
                        </a:cubicBezTo>
                        <a:cubicBezTo>
                          <a:pt x="47" y="13"/>
                          <a:pt x="47" y="13"/>
                          <a:pt x="47" y="12"/>
                        </a:cubicBezTo>
                        <a:cubicBezTo>
                          <a:pt x="47" y="12"/>
                          <a:pt x="47" y="12"/>
                          <a:pt x="47" y="12"/>
                        </a:cubicBezTo>
                        <a:cubicBezTo>
                          <a:pt x="47" y="12"/>
                          <a:pt x="47" y="13"/>
                          <a:pt x="47" y="12"/>
                        </a:cubicBezTo>
                        <a:cubicBezTo>
                          <a:pt x="47" y="12"/>
                          <a:pt x="47" y="12"/>
                          <a:pt x="47" y="12"/>
                        </a:cubicBezTo>
                        <a:cubicBezTo>
                          <a:pt x="47" y="12"/>
                          <a:pt x="48" y="12"/>
                          <a:pt x="48" y="12"/>
                        </a:cubicBezTo>
                        <a:cubicBezTo>
                          <a:pt x="48" y="12"/>
                          <a:pt x="48" y="12"/>
                          <a:pt x="47" y="12"/>
                        </a:cubicBezTo>
                        <a:cubicBezTo>
                          <a:pt x="47" y="12"/>
                          <a:pt x="48" y="12"/>
                          <a:pt x="48" y="11"/>
                        </a:cubicBezTo>
                        <a:cubicBezTo>
                          <a:pt x="48" y="11"/>
                          <a:pt x="48" y="11"/>
                          <a:pt x="48" y="11"/>
                        </a:cubicBezTo>
                        <a:cubicBezTo>
                          <a:pt x="48" y="11"/>
                          <a:pt x="48" y="11"/>
                          <a:pt x="49" y="11"/>
                        </a:cubicBezTo>
                        <a:cubicBezTo>
                          <a:pt x="49" y="11"/>
                          <a:pt x="49" y="11"/>
                          <a:pt x="49" y="10"/>
                        </a:cubicBezTo>
                        <a:cubicBezTo>
                          <a:pt x="49" y="11"/>
                          <a:pt x="49" y="10"/>
                          <a:pt x="50" y="10"/>
                        </a:cubicBezTo>
                        <a:cubicBezTo>
                          <a:pt x="50" y="10"/>
                          <a:pt x="50" y="10"/>
                          <a:pt x="50" y="10"/>
                        </a:cubicBezTo>
                        <a:cubicBezTo>
                          <a:pt x="49" y="10"/>
                          <a:pt x="49" y="10"/>
                          <a:pt x="49" y="11"/>
                        </a:cubicBezTo>
                        <a:cubicBezTo>
                          <a:pt x="49" y="11"/>
                          <a:pt x="49" y="11"/>
                          <a:pt x="49" y="11"/>
                        </a:cubicBezTo>
                        <a:cubicBezTo>
                          <a:pt x="49" y="11"/>
                          <a:pt x="49" y="11"/>
                          <a:pt x="49" y="11"/>
                        </a:cubicBezTo>
                        <a:cubicBezTo>
                          <a:pt x="49" y="11"/>
                          <a:pt x="48" y="11"/>
                          <a:pt x="48" y="11"/>
                        </a:cubicBezTo>
                        <a:cubicBezTo>
                          <a:pt x="48" y="10"/>
                          <a:pt x="48" y="10"/>
                          <a:pt x="48" y="10"/>
                        </a:cubicBezTo>
                        <a:cubicBezTo>
                          <a:pt x="48" y="10"/>
                          <a:pt x="48" y="10"/>
                          <a:pt x="48" y="10"/>
                        </a:cubicBezTo>
                        <a:cubicBezTo>
                          <a:pt x="48" y="10"/>
                          <a:pt x="49" y="10"/>
                          <a:pt x="49" y="10"/>
                        </a:cubicBezTo>
                        <a:cubicBezTo>
                          <a:pt x="49" y="10"/>
                          <a:pt x="49" y="10"/>
                          <a:pt x="49" y="9"/>
                        </a:cubicBezTo>
                        <a:cubicBezTo>
                          <a:pt x="49" y="10"/>
                          <a:pt x="49" y="10"/>
                          <a:pt x="50" y="10"/>
                        </a:cubicBezTo>
                        <a:cubicBezTo>
                          <a:pt x="49" y="9"/>
                          <a:pt x="49" y="10"/>
                          <a:pt x="49" y="9"/>
                        </a:cubicBezTo>
                        <a:cubicBezTo>
                          <a:pt x="49" y="9"/>
                          <a:pt x="49" y="9"/>
                          <a:pt x="50" y="9"/>
                        </a:cubicBezTo>
                        <a:cubicBezTo>
                          <a:pt x="50" y="8"/>
                          <a:pt x="50" y="8"/>
                          <a:pt x="51" y="8"/>
                        </a:cubicBezTo>
                        <a:cubicBezTo>
                          <a:pt x="51" y="7"/>
                          <a:pt x="51" y="7"/>
                          <a:pt x="51" y="7"/>
                        </a:cubicBezTo>
                        <a:cubicBezTo>
                          <a:pt x="51" y="7"/>
                          <a:pt x="50" y="7"/>
                          <a:pt x="50" y="8"/>
                        </a:cubicBezTo>
                        <a:cubicBezTo>
                          <a:pt x="50" y="7"/>
                          <a:pt x="51" y="7"/>
                          <a:pt x="51" y="7"/>
                        </a:cubicBezTo>
                        <a:cubicBezTo>
                          <a:pt x="50" y="7"/>
                          <a:pt x="50" y="7"/>
                          <a:pt x="50" y="7"/>
                        </a:cubicBezTo>
                        <a:cubicBezTo>
                          <a:pt x="50" y="6"/>
                          <a:pt x="51" y="6"/>
                          <a:pt x="51" y="7"/>
                        </a:cubicBezTo>
                        <a:cubicBezTo>
                          <a:pt x="51" y="7"/>
                          <a:pt x="51" y="7"/>
                          <a:pt x="51" y="7"/>
                        </a:cubicBezTo>
                        <a:cubicBezTo>
                          <a:pt x="51" y="7"/>
                          <a:pt x="51" y="7"/>
                          <a:pt x="51" y="7"/>
                        </a:cubicBezTo>
                        <a:cubicBezTo>
                          <a:pt x="51" y="6"/>
                          <a:pt x="51" y="6"/>
                          <a:pt x="52" y="6"/>
                        </a:cubicBezTo>
                        <a:cubicBezTo>
                          <a:pt x="51" y="6"/>
                          <a:pt x="51" y="6"/>
                          <a:pt x="51" y="6"/>
                        </a:cubicBezTo>
                        <a:cubicBezTo>
                          <a:pt x="51" y="6"/>
                          <a:pt x="51" y="6"/>
                          <a:pt x="51" y="6"/>
                        </a:cubicBezTo>
                        <a:cubicBezTo>
                          <a:pt x="51" y="6"/>
                          <a:pt x="51" y="6"/>
                          <a:pt x="51" y="6"/>
                        </a:cubicBezTo>
                        <a:cubicBezTo>
                          <a:pt x="50" y="6"/>
                          <a:pt x="51" y="6"/>
                          <a:pt x="51" y="6"/>
                        </a:cubicBezTo>
                        <a:cubicBezTo>
                          <a:pt x="52" y="6"/>
                          <a:pt x="52" y="5"/>
                          <a:pt x="52" y="6"/>
                        </a:cubicBezTo>
                        <a:cubicBezTo>
                          <a:pt x="52" y="5"/>
                          <a:pt x="52" y="6"/>
                          <a:pt x="52" y="5"/>
                        </a:cubicBezTo>
                        <a:cubicBezTo>
                          <a:pt x="52" y="5"/>
                          <a:pt x="52" y="5"/>
                          <a:pt x="52" y="5"/>
                        </a:cubicBezTo>
                        <a:cubicBezTo>
                          <a:pt x="52" y="5"/>
                          <a:pt x="52" y="5"/>
                          <a:pt x="51" y="5"/>
                        </a:cubicBezTo>
                        <a:cubicBezTo>
                          <a:pt x="51" y="5"/>
                          <a:pt x="52" y="5"/>
                          <a:pt x="52" y="5"/>
                        </a:cubicBezTo>
                        <a:cubicBezTo>
                          <a:pt x="52" y="5"/>
                          <a:pt x="52" y="5"/>
                          <a:pt x="52" y="5"/>
                        </a:cubicBezTo>
                        <a:cubicBezTo>
                          <a:pt x="52" y="5"/>
                          <a:pt x="52" y="5"/>
                          <a:pt x="52" y="5"/>
                        </a:cubicBezTo>
                        <a:cubicBezTo>
                          <a:pt x="52" y="4"/>
                          <a:pt x="52" y="4"/>
                          <a:pt x="52" y="4"/>
                        </a:cubicBezTo>
                        <a:cubicBezTo>
                          <a:pt x="52" y="4"/>
                          <a:pt x="53" y="4"/>
                          <a:pt x="53" y="3"/>
                        </a:cubicBezTo>
                        <a:cubicBezTo>
                          <a:pt x="53" y="3"/>
                          <a:pt x="53" y="3"/>
                          <a:pt x="53" y="3"/>
                        </a:cubicBezTo>
                        <a:cubicBezTo>
                          <a:pt x="53" y="3"/>
                          <a:pt x="53" y="3"/>
                          <a:pt x="54" y="3"/>
                        </a:cubicBezTo>
                        <a:cubicBezTo>
                          <a:pt x="54" y="2"/>
                          <a:pt x="54" y="2"/>
                          <a:pt x="55" y="1"/>
                        </a:cubicBezTo>
                        <a:cubicBezTo>
                          <a:pt x="55" y="1"/>
                          <a:pt x="55" y="1"/>
                          <a:pt x="55" y="1"/>
                        </a:cubicBezTo>
                        <a:cubicBezTo>
                          <a:pt x="56" y="0"/>
                          <a:pt x="58" y="0"/>
                          <a:pt x="59" y="0"/>
                        </a:cubicBezTo>
                        <a:cubicBezTo>
                          <a:pt x="59" y="0"/>
                          <a:pt x="59" y="0"/>
                          <a:pt x="59" y="0"/>
                        </a:cubicBezTo>
                        <a:cubicBezTo>
                          <a:pt x="59" y="0"/>
                          <a:pt x="59" y="0"/>
                          <a:pt x="60" y="0"/>
                        </a:cubicBezTo>
                        <a:cubicBezTo>
                          <a:pt x="60" y="0"/>
                          <a:pt x="60" y="0"/>
                          <a:pt x="60" y="0"/>
                        </a:cubicBezTo>
                        <a:cubicBezTo>
                          <a:pt x="61" y="1"/>
                          <a:pt x="62" y="1"/>
                          <a:pt x="62" y="1"/>
                        </a:cubicBezTo>
                        <a:cubicBezTo>
                          <a:pt x="62" y="1"/>
                          <a:pt x="62" y="1"/>
                          <a:pt x="62" y="2"/>
                        </a:cubicBezTo>
                        <a:cubicBezTo>
                          <a:pt x="62" y="2"/>
                          <a:pt x="62" y="2"/>
                          <a:pt x="62" y="2"/>
                        </a:cubicBezTo>
                        <a:cubicBezTo>
                          <a:pt x="63" y="2"/>
                          <a:pt x="63" y="3"/>
                          <a:pt x="64" y="3"/>
                        </a:cubicBezTo>
                        <a:cubicBezTo>
                          <a:pt x="64" y="3"/>
                          <a:pt x="64" y="3"/>
                          <a:pt x="64" y="3"/>
                        </a:cubicBezTo>
                        <a:cubicBezTo>
                          <a:pt x="65" y="4"/>
                          <a:pt x="64" y="5"/>
                          <a:pt x="65" y="6"/>
                        </a:cubicBezTo>
                        <a:cubicBezTo>
                          <a:pt x="65" y="6"/>
                          <a:pt x="65" y="6"/>
                          <a:pt x="65" y="6"/>
                        </a:cubicBezTo>
                        <a:cubicBezTo>
                          <a:pt x="65" y="6"/>
                          <a:pt x="65" y="6"/>
                          <a:pt x="65" y="6"/>
                        </a:cubicBezTo>
                        <a:cubicBezTo>
                          <a:pt x="65" y="6"/>
                          <a:pt x="65" y="7"/>
                          <a:pt x="65" y="7"/>
                        </a:cubicBezTo>
                        <a:cubicBezTo>
                          <a:pt x="65" y="8"/>
                          <a:pt x="65" y="9"/>
                          <a:pt x="65" y="10"/>
                        </a:cubicBezTo>
                        <a:cubicBezTo>
                          <a:pt x="65" y="10"/>
                          <a:pt x="65" y="10"/>
                          <a:pt x="65" y="10"/>
                        </a:cubicBezTo>
                        <a:cubicBezTo>
                          <a:pt x="64" y="11"/>
                          <a:pt x="65" y="11"/>
                          <a:pt x="65" y="12"/>
                        </a:cubicBezTo>
                        <a:cubicBezTo>
                          <a:pt x="64" y="12"/>
                          <a:pt x="64" y="12"/>
                          <a:pt x="64" y="13"/>
                        </a:cubicBezTo>
                        <a:cubicBezTo>
                          <a:pt x="64" y="13"/>
                          <a:pt x="64" y="13"/>
                          <a:pt x="64" y="14"/>
                        </a:cubicBezTo>
                        <a:cubicBezTo>
                          <a:pt x="64" y="14"/>
                          <a:pt x="63" y="14"/>
                          <a:pt x="63" y="14"/>
                        </a:cubicBezTo>
                        <a:cubicBezTo>
                          <a:pt x="63" y="15"/>
                          <a:pt x="63" y="16"/>
                          <a:pt x="62" y="17"/>
                        </a:cubicBezTo>
                        <a:cubicBezTo>
                          <a:pt x="62" y="17"/>
                          <a:pt x="62" y="17"/>
                          <a:pt x="62" y="17"/>
                        </a:cubicBezTo>
                        <a:close/>
                        <a:moveTo>
                          <a:pt x="46" y="16"/>
                        </a:moveTo>
                        <a:cubicBezTo>
                          <a:pt x="46" y="16"/>
                          <a:pt x="46" y="16"/>
                          <a:pt x="46" y="16"/>
                        </a:cubicBezTo>
                        <a:cubicBezTo>
                          <a:pt x="46" y="16"/>
                          <a:pt x="46" y="16"/>
                          <a:pt x="46" y="16"/>
                        </a:cubicBezTo>
                        <a:close/>
                        <a:moveTo>
                          <a:pt x="46" y="16"/>
                        </a:moveTo>
                        <a:cubicBezTo>
                          <a:pt x="46" y="16"/>
                          <a:pt x="46" y="16"/>
                          <a:pt x="46" y="16"/>
                        </a:cubicBezTo>
                        <a:cubicBezTo>
                          <a:pt x="46" y="16"/>
                          <a:pt x="46" y="16"/>
                          <a:pt x="46" y="16"/>
                        </a:cubicBezTo>
                        <a:close/>
                        <a:moveTo>
                          <a:pt x="45" y="19"/>
                        </a:move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lose/>
                        <a:moveTo>
                          <a:pt x="47" y="17"/>
                        </a:moveTo>
                        <a:cubicBezTo>
                          <a:pt x="47" y="17"/>
                          <a:pt x="47" y="17"/>
                          <a:pt x="47" y="17"/>
                        </a:cubicBezTo>
                        <a:cubicBezTo>
                          <a:pt x="47" y="17"/>
                          <a:pt x="47" y="17"/>
                          <a:pt x="47" y="17"/>
                        </a:cubicBezTo>
                        <a:cubicBezTo>
                          <a:pt x="47" y="17"/>
                          <a:pt x="47" y="17"/>
                          <a:pt x="47" y="17"/>
                        </a:cubicBezTo>
                        <a:close/>
                        <a:moveTo>
                          <a:pt x="46" y="18"/>
                        </a:moveTo>
                        <a:cubicBezTo>
                          <a:pt x="46" y="18"/>
                          <a:pt x="46" y="18"/>
                          <a:pt x="46" y="18"/>
                        </a:cubicBezTo>
                        <a:cubicBezTo>
                          <a:pt x="46" y="18"/>
                          <a:pt x="46" y="17"/>
                          <a:pt x="46" y="18"/>
                        </a:cubicBezTo>
                        <a:cubicBezTo>
                          <a:pt x="46" y="18"/>
                          <a:pt x="46" y="18"/>
                          <a:pt x="46" y="18"/>
                        </a:cubicBezTo>
                        <a:cubicBezTo>
                          <a:pt x="46" y="18"/>
                          <a:pt x="46" y="18"/>
                          <a:pt x="46" y="18"/>
                        </a:cubicBezTo>
                        <a:cubicBezTo>
                          <a:pt x="46" y="18"/>
                          <a:pt x="46" y="18"/>
                          <a:pt x="46" y="18"/>
                        </a:cubicBezTo>
                        <a:close/>
                        <a:moveTo>
                          <a:pt x="46" y="18"/>
                        </a:moveTo>
                        <a:cubicBezTo>
                          <a:pt x="46" y="18"/>
                          <a:pt x="46" y="18"/>
                          <a:pt x="46" y="18"/>
                        </a:cubicBezTo>
                        <a:cubicBezTo>
                          <a:pt x="46" y="18"/>
                          <a:pt x="46" y="18"/>
                          <a:pt x="46" y="18"/>
                        </a:cubicBezTo>
                        <a:close/>
                        <a:moveTo>
                          <a:pt x="46" y="19"/>
                        </a:moveTo>
                        <a:cubicBezTo>
                          <a:pt x="46" y="19"/>
                          <a:pt x="46" y="19"/>
                          <a:pt x="46" y="18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lose/>
                        <a:moveTo>
                          <a:pt x="47" y="18"/>
                        </a:moveTo>
                        <a:cubicBezTo>
                          <a:pt x="47" y="18"/>
                          <a:pt x="47" y="18"/>
                          <a:pt x="47" y="18"/>
                        </a:cubicBezTo>
                        <a:cubicBezTo>
                          <a:pt x="47" y="17"/>
                          <a:pt x="47" y="17"/>
                          <a:pt x="47" y="17"/>
                        </a:cubicBezTo>
                        <a:cubicBezTo>
                          <a:pt x="47" y="17"/>
                          <a:pt x="47" y="17"/>
                          <a:pt x="47" y="17"/>
                        </a:cubicBezTo>
                        <a:cubicBezTo>
                          <a:pt x="47" y="18"/>
                          <a:pt x="47" y="18"/>
                          <a:pt x="47" y="18"/>
                        </a:cubicBezTo>
                        <a:close/>
                        <a:moveTo>
                          <a:pt x="46" y="19"/>
                        </a:move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lose/>
                        <a:moveTo>
                          <a:pt x="47" y="18"/>
                        </a:moveTo>
                        <a:cubicBezTo>
                          <a:pt x="47" y="18"/>
                          <a:pt x="47" y="18"/>
                          <a:pt x="47" y="18"/>
                        </a:cubicBezTo>
                        <a:cubicBezTo>
                          <a:pt x="47" y="18"/>
                          <a:pt x="47" y="18"/>
                          <a:pt x="47" y="18"/>
                        </a:cubicBezTo>
                        <a:cubicBezTo>
                          <a:pt x="47" y="18"/>
                          <a:pt x="47" y="18"/>
                          <a:pt x="47" y="18"/>
                        </a:cubicBezTo>
                        <a:close/>
                        <a:moveTo>
                          <a:pt x="46" y="20"/>
                        </a:moveTo>
                        <a:cubicBezTo>
                          <a:pt x="46" y="20"/>
                          <a:pt x="46" y="20"/>
                          <a:pt x="46" y="20"/>
                        </a:cubicBezTo>
                        <a:cubicBezTo>
                          <a:pt x="46" y="20"/>
                          <a:pt x="46" y="20"/>
                          <a:pt x="46" y="20"/>
                        </a:cubicBezTo>
                        <a:cubicBezTo>
                          <a:pt x="46" y="20"/>
                          <a:pt x="46" y="20"/>
                          <a:pt x="46" y="20"/>
                        </a:cubicBezTo>
                        <a:cubicBezTo>
                          <a:pt x="46" y="20"/>
                          <a:pt x="46" y="20"/>
                          <a:pt x="46" y="20"/>
                        </a:cubicBezTo>
                        <a:close/>
                        <a:moveTo>
                          <a:pt x="46" y="21"/>
                        </a:moveTo>
                        <a:cubicBezTo>
                          <a:pt x="46" y="21"/>
                          <a:pt x="46" y="21"/>
                          <a:pt x="46" y="21"/>
                        </a:cubicBezTo>
                        <a:cubicBezTo>
                          <a:pt x="46" y="21"/>
                          <a:pt x="46" y="21"/>
                          <a:pt x="46" y="21"/>
                        </a:cubicBezTo>
                        <a:close/>
                        <a:moveTo>
                          <a:pt x="46" y="22"/>
                        </a:moveTo>
                        <a:cubicBezTo>
                          <a:pt x="46" y="21"/>
                          <a:pt x="46" y="21"/>
                          <a:pt x="46" y="21"/>
                        </a:cubicBezTo>
                        <a:cubicBezTo>
                          <a:pt x="46" y="21"/>
                          <a:pt x="46" y="21"/>
                          <a:pt x="46" y="21"/>
                        </a:cubicBezTo>
                        <a:cubicBezTo>
                          <a:pt x="46" y="22"/>
                          <a:pt x="46" y="22"/>
                          <a:pt x="46" y="22"/>
                        </a:cubicBezTo>
                        <a:cubicBezTo>
                          <a:pt x="46" y="22"/>
                          <a:pt x="46" y="22"/>
                          <a:pt x="46" y="22"/>
                        </a:cubicBezTo>
                        <a:close/>
                        <a:moveTo>
                          <a:pt x="45" y="23"/>
                        </a:moveTo>
                        <a:cubicBezTo>
                          <a:pt x="45" y="23"/>
                          <a:pt x="45" y="23"/>
                          <a:pt x="45" y="23"/>
                        </a:cubicBezTo>
                        <a:cubicBezTo>
                          <a:pt x="45" y="23"/>
                          <a:pt x="45" y="23"/>
                          <a:pt x="45" y="23"/>
                        </a:cubicBezTo>
                        <a:close/>
                        <a:moveTo>
                          <a:pt x="47" y="22"/>
                        </a:moveTo>
                        <a:cubicBezTo>
                          <a:pt x="47" y="22"/>
                          <a:pt x="47" y="22"/>
                          <a:pt x="47" y="22"/>
                        </a:cubicBezTo>
                        <a:cubicBezTo>
                          <a:pt x="47" y="22"/>
                          <a:pt x="47" y="22"/>
                          <a:pt x="47" y="22"/>
                        </a:cubicBezTo>
                        <a:cubicBezTo>
                          <a:pt x="47" y="22"/>
                          <a:pt x="46" y="22"/>
                          <a:pt x="47" y="22"/>
                        </a:cubicBezTo>
                        <a:close/>
                        <a:moveTo>
                          <a:pt x="46" y="22"/>
                        </a:moveTo>
                        <a:cubicBezTo>
                          <a:pt x="47" y="22"/>
                          <a:pt x="46" y="22"/>
                          <a:pt x="46" y="22"/>
                        </a:cubicBezTo>
                        <a:cubicBezTo>
                          <a:pt x="46" y="22"/>
                          <a:pt x="47" y="22"/>
                          <a:pt x="46" y="22"/>
                        </a:cubicBezTo>
                        <a:cubicBezTo>
                          <a:pt x="46" y="22"/>
                          <a:pt x="46" y="22"/>
                          <a:pt x="46" y="22"/>
                        </a:cubicBezTo>
                        <a:cubicBezTo>
                          <a:pt x="46" y="22"/>
                          <a:pt x="46" y="22"/>
                          <a:pt x="46" y="22"/>
                        </a:cubicBezTo>
                        <a:close/>
                        <a:moveTo>
                          <a:pt x="46" y="23"/>
                        </a:moveTo>
                        <a:cubicBezTo>
                          <a:pt x="46" y="23"/>
                          <a:pt x="46" y="22"/>
                          <a:pt x="46" y="23"/>
                        </a:cubicBezTo>
                        <a:cubicBezTo>
                          <a:pt x="46" y="22"/>
                          <a:pt x="46" y="22"/>
                          <a:pt x="46" y="23"/>
                        </a:cubicBezTo>
                        <a:close/>
                        <a:moveTo>
                          <a:pt x="46" y="23"/>
                        </a:moveTo>
                        <a:cubicBezTo>
                          <a:pt x="46" y="23"/>
                          <a:pt x="46" y="23"/>
                          <a:pt x="46" y="23"/>
                        </a:cubicBezTo>
                        <a:cubicBezTo>
                          <a:pt x="46" y="23"/>
                          <a:pt x="46" y="23"/>
                          <a:pt x="46" y="23"/>
                        </a:cubicBezTo>
                        <a:cubicBezTo>
                          <a:pt x="46" y="23"/>
                          <a:pt x="46" y="23"/>
                          <a:pt x="46" y="23"/>
                        </a:cubicBezTo>
                        <a:cubicBezTo>
                          <a:pt x="46" y="23"/>
                          <a:pt x="46" y="23"/>
                          <a:pt x="46" y="23"/>
                        </a:cubicBezTo>
                        <a:cubicBezTo>
                          <a:pt x="46" y="23"/>
                          <a:pt x="46" y="23"/>
                          <a:pt x="46" y="23"/>
                        </a:cubicBezTo>
                        <a:close/>
                        <a:moveTo>
                          <a:pt x="46" y="24"/>
                        </a:moveTo>
                        <a:cubicBezTo>
                          <a:pt x="46" y="24"/>
                          <a:pt x="46" y="24"/>
                          <a:pt x="46" y="23"/>
                        </a:cubicBezTo>
                        <a:cubicBezTo>
                          <a:pt x="46" y="24"/>
                          <a:pt x="46" y="24"/>
                          <a:pt x="46" y="24"/>
                        </a:cubicBezTo>
                        <a:cubicBezTo>
                          <a:pt x="46" y="24"/>
                          <a:pt x="46" y="24"/>
                          <a:pt x="46" y="24"/>
                        </a:cubicBezTo>
                        <a:close/>
                        <a:moveTo>
                          <a:pt x="46" y="26"/>
                        </a:moveTo>
                        <a:cubicBezTo>
                          <a:pt x="46" y="26"/>
                          <a:pt x="46" y="26"/>
                          <a:pt x="46" y="26"/>
                        </a:cubicBezTo>
                        <a:cubicBezTo>
                          <a:pt x="46" y="26"/>
                          <a:pt x="46" y="26"/>
                          <a:pt x="46" y="26"/>
                        </a:cubicBezTo>
                        <a:cubicBezTo>
                          <a:pt x="46" y="26"/>
                          <a:pt x="46" y="26"/>
                          <a:pt x="46" y="26"/>
                        </a:cubicBezTo>
                        <a:cubicBezTo>
                          <a:pt x="46" y="26"/>
                          <a:pt x="46" y="26"/>
                          <a:pt x="46" y="26"/>
                        </a:cubicBezTo>
                        <a:cubicBezTo>
                          <a:pt x="46" y="26"/>
                          <a:pt x="46" y="26"/>
                          <a:pt x="46" y="26"/>
                        </a:cubicBezTo>
                        <a:close/>
                        <a:moveTo>
                          <a:pt x="46" y="26"/>
                        </a:moveTo>
                        <a:cubicBezTo>
                          <a:pt x="46" y="26"/>
                          <a:pt x="46" y="26"/>
                          <a:pt x="46" y="25"/>
                        </a:cubicBezTo>
                        <a:cubicBezTo>
                          <a:pt x="46" y="25"/>
                          <a:pt x="46" y="25"/>
                          <a:pt x="45" y="25"/>
                        </a:cubicBezTo>
                        <a:cubicBezTo>
                          <a:pt x="46" y="26"/>
                          <a:pt x="46" y="25"/>
                          <a:pt x="46" y="26"/>
                        </a:cubicBezTo>
                        <a:cubicBezTo>
                          <a:pt x="46" y="26"/>
                          <a:pt x="46" y="26"/>
                          <a:pt x="46" y="26"/>
                        </a:cubicBezTo>
                        <a:cubicBezTo>
                          <a:pt x="46" y="26"/>
                          <a:pt x="46" y="26"/>
                          <a:pt x="46" y="26"/>
                        </a:cubicBezTo>
                        <a:close/>
                        <a:moveTo>
                          <a:pt x="46" y="28"/>
                        </a:moveTo>
                        <a:cubicBezTo>
                          <a:pt x="46" y="28"/>
                          <a:pt x="46" y="28"/>
                          <a:pt x="46" y="28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lose/>
                        <a:moveTo>
                          <a:pt x="46" y="28"/>
                        </a:moveTo>
                        <a:cubicBezTo>
                          <a:pt x="46" y="28"/>
                          <a:pt x="46" y="28"/>
                          <a:pt x="46" y="28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lose/>
                        <a:moveTo>
                          <a:pt x="45" y="30"/>
                        </a:moveTo>
                        <a:cubicBezTo>
                          <a:pt x="45" y="30"/>
                          <a:pt x="45" y="30"/>
                          <a:pt x="45" y="30"/>
                        </a:cubicBezTo>
                        <a:cubicBezTo>
                          <a:pt x="45" y="30"/>
                          <a:pt x="45" y="30"/>
                          <a:pt x="45" y="30"/>
                        </a:cubicBezTo>
                        <a:cubicBezTo>
                          <a:pt x="45" y="30"/>
                          <a:pt x="45" y="30"/>
                          <a:pt x="45" y="30"/>
                        </a:cubicBezTo>
                        <a:close/>
                        <a:moveTo>
                          <a:pt x="46" y="28"/>
                        </a:moveTo>
                        <a:cubicBezTo>
                          <a:pt x="46" y="28"/>
                          <a:pt x="46" y="28"/>
                          <a:pt x="46" y="28"/>
                        </a:cubicBezTo>
                        <a:cubicBezTo>
                          <a:pt x="46" y="27"/>
                          <a:pt x="46" y="27"/>
                          <a:pt x="46" y="28"/>
                        </a:cubicBezTo>
                        <a:close/>
                        <a:moveTo>
                          <a:pt x="46" y="28"/>
                        </a:moveTo>
                        <a:cubicBezTo>
                          <a:pt x="46" y="28"/>
                          <a:pt x="46" y="27"/>
                          <a:pt x="46" y="27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lose/>
                        <a:moveTo>
                          <a:pt x="46" y="28"/>
                        </a:moveTo>
                        <a:cubicBezTo>
                          <a:pt x="46" y="28"/>
                          <a:pt x="45" y="28"/>
                          <a:pt x="45" y="28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ubicBezTo>
                          <a:pt x="46" y="28"/>
                          <a:pt x="46" y="28"/>
                          <a:pt x="46" y="28"/>
                        </a:cubicBezTo>
                        <a:close/>
                        <a:moveTo>
                          <a:pt x="48" y="24"/>
                        </a:moveTo>
                        <a:cubicBezTo>
                          <a:pt x="47" y="24"/>
                          <a:pt x="48" y="24"/>
                          <a:pt x="47" y="25"/>
                        </a:cubicBezTo>
                        <a:cubicBezTo>
                          <a:pt x="48" y="25"/>
                          <a:pt x="48" y="24"/>
                          <a:pt x="48" y="24"/>
                        </a:cubicBezTo>
                        <a:close/>
                        <a:moveTo>
                          <a:pt x="52" y="17"/>
                        </a:moveTo>
                        <a:cubicBezTo>
                          <a:pt x="52" y="17"/>
                          <a:pt x="51" y="17"/>
                          <a:pt x="52" y="17"/>
                        </a:cubicBezTo>
                        <a:cubicBezTo>
                          <a:pt x="52" y="17"/>
                          <a:pt x="52" y="17"/>
                          <a:pt x="52" y="17"/>
                        </a:cubicBezTo>
                        <a:close/>
                        <a:moveTo>
                          <a:pt x="49" y="24"/>
                        </a:move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lose/>
                        <a:moveTo>
                          <a:pt x="49" y="24"/>
                        </a:move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3"/>
                          <a:pt x="49" y="23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lose/>
                        <a:moveTo>
                          <a:pt x="49" y="24"/>
                        </a:moveTo>
                        <a:cubicBezTo>
                          <a:pt x="48" y="24"/>
                          <a:pt x="48" y="24"/>
                          <a:pt x="48" y="25"/>
                        </a:cubicBezTo>
                        <a:cubicBezTo>
                          <a:pt x="49" y="25"/>
                          <a:pt x="49" y="24"/>
                          <a:pt x="49" y="24"/>
                        </a:cubicBezTo>
                        <a:cubicBezTo>
                          <a:pt x="49" y="24"/>
                          <a:pt x="48" y="24"/>
                          <a:pt x="48" y="24"/>
                        </a:cubicBezTo>
                        <a:cubicBezTo>
                          <a:pt x="48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lose/>
                        <a:moveTo>
                          <a:pt x="48" y="25"/>
                        </a:move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lose/>
                        <a:moveTo>
                          <a:pt x="49" y="22"/>
                        </a:moveTo>
                        <a:cubicBezTo>
                          <a:pt x="49" y="22"/>
                          <a:pt x="49" y="23"/>
                          <a:pt x="49" y="23"/>
                        </a:cubicBezTo>
                        <a:cubicBezTo>
                          <a:pt x="49" y="22"/>
                          <a:pt x="49" y="22"/>
                          <a:pt x="49" y="22"/>
                        </a:cubicBezTo>
                        <a:cubicBezTo>
                          <a:pt x="49" y="22"/>
                          <a:pt x="49" y="22"/>
                          <a:pt x="49" y="22"/>
                        </a:cubicBezTo>
                        <a:close/>
                        <a:moveTo>
                          <a:pt x="48" y="25"/>
                        </a:move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6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6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5"/>
                          <a:pt x="48" y="25"/>
                          <a:pt x="48" y="25"/>
                        </a:cubicBezTo>
                        <a:cubicBezTo>
                          <a:pt x="48" y="26"/>
                          <a:pt x="48" y="25"/>
                          <a:pt x="48" y="25"/>
                        </a:cubicBezTo>
                        <a:close/>
                        <a:moveTo>
                          <a:pt x="49" y="25"/>
                        </a:moveTo>
                        <a:cubicBezTo>
                          <a:pt x="49" y="25"/>
                          <a:pt x="48" y="25"/>
                          <a:pt x="49" y="25"/>
                        </a:cubicBezTo>
                        <a:cubicBezTo>
                          <a:pt x="48" y="25"/>
                          <a:pt x="49" y="25"/>
                          <a:pt x="49" y="25"/>
                        </a:cubicBezTo>
                        <a:close/>
                        <a:moveTo>
                          <a:pt x="49" y="25"/>
                        </a:moveTo>
                        <a:cubicBezTo>
                          <a:pt x="49" y="25"/>
                          <a:pt x="49" y="25"/>
                          <a:pt x="49" y="25"/>
                        </a:cubicBezTo>
                        <a:cubicBezTo>
                          <a:pt x="49" y="25"/>
                          <a:pt x="49" y="24"/>
                          <a:pt x="49" y="24"/>
                        </a:cubicBezTo>
                        <a:cubicBezTo>
                          <a:pt x="49" y="25"/>
                          <a:pt x="49" y="25"/>
                          <a:pt x="49" y="25"/>
                        </a:cubicBezTo>
                        <a:close/>
                        <a:moveTo>
                          <a:pt x="49" y="25"/>
                        </a:moveTo>
                        <a:cubicBezTo>
                          <a:pt x="49" y="25"/>
                          <a:pt x="49" y="25"/>
                          <a:pt x="49" y="25"/>
                        </a:cubicBezTo>
                        <a:cubicBezTo>
                          <a:pt x="49" y="25"/>
                          <a:pt x="49" y="25"/>
                          <a:pt x="49" y="25"/>
                        </a:cubicBezTo>
                        <a:cubicBezTo>
                          <a:pt x="49" y="25"/>
                          <a:pt x="49" y="25"/>
                          <a:pt x="49" y="25"/>
                        </a:cubicBezTo>
                        <a:cubicBezTo>
                          <a:pt x="49" y="25"/>
                          <a:pt x="49" y="25"/>
                          <a:pt x="49" y="25"/>
                        </a:cubicBezTo>
                        <a:close/>
                        <a:moveTo>
                          <a:pt x="50" y="25"/>
                        </a:moveTo>
                        <a:cubicBezTo>
                          <a:pt x="50" y="25"/>
                          <a:pt x="49" y="25"/>
                          <a:pt x="49" y="25"/>
                        </a:cubicBezTo>
                        <a:cubicBezTo>
                          <a:pt x="50" y="25"/>
                          <a:pt x="49" y="25"/>
                          <a:pt x="50" y="25"/>
                        </a:cubicBezTo>
                        <a:cubicBezTo>
                          <a:pt x="50" y="25"/>
                          <a:pt x="50" y="25"/>
                          <a:pt x="50" y="25"/>
                        </a:cubicBezTo>
                        <a:close/>
                        <a:moveTo>
                          <a:pt x="50" y="23"/>
                        </a:moveTo>
                        <a:cubicBezTo>
                          <a:pt x="50" y="23"/>
                          <a:pt x="50" y="23"/>
                          <a:pt x="50" y="23"/>
                        </a:cubicBezTo>
                        <a:cubicBezTo>
                          <a:pt x="50" y="23"/>
                          <a:pt x="50" y="23"/>
                          <a:pt x="50" y="23"/>
                        </a:cubicBezTo>
                        <a:cubicBezTo>
                          <a:pt x="50" y="23"/>
                          <a:pt x="50" y="23"/>
                          <a:pt x="50" y="23"/>
                        </a:cubicBezTo>
                        <a:close/>
                        <a:moveTo>
                          <a:pt x="49" y="26"/>
                        </a:moveTo>
                        <a:cubicBezTo>
                          <a:pt x="49" y="26"/>
                          <a:pt x="49" y="26"/>
                          <a:pt x="49" y="26"/>
                        </a:cubicBezTo>
                        <a:cubicBezTo>
                          <a:pt x="49" y="26"/>
                          <a:pt x="49" y="26"/>
                          <a:pt x="49" y="26"/>
                        </a:cubicBezTo>
                        <a:cubicBezTo>
                          <a:pt x="49" y="26"/>
                          <a:pt x="49" y="26"/>
                          <a:pt x="49" y="26"/>
                        </a:cubicBezTo>
                        <a:cubicBezTo>
                          <a:pt x="49" y="26"/>
                          <a:pt x="49" y="26"/>
                          <a:pt x="49" y="26"/>
                        </a:cubicBezTo>
                        <a:close/>
                        <a:moveTo>
                          <a:pt x="48" y="27"/>
                        </a:moveTo>
                        <a:cubicBezTo>
                          <a:pt x="48" y="27"/>
                          <a:pt x="48" y="27"/>
                          <a:pt x="48" y="27"/>
                        </a:cubicBezTo>
                        <a:cubicBezTo>
                          <a:pt x="48" y="27"/>
                          <a:pt x="48" y="27"/>
                          <a:pt x="48" y="28"/>
                        </a:cubicBezTo>
                        <a:cubicBezTo>
                          <a:pt x="48" y="28"/>
                          <a:pt x="48" y="28"/>
                          <a:pt x="48" y="27"/>
                        </a:cubicBezTo>
                        <a:close/>
                        <a:moveTo>
                          <a:pt x="48" y="28"/>
                        </a:moveTo>
                        <a:cubicBezTo>
                          <a:pt x="48" y="28"/>
                          <a:pt x="48" y="28"/>
                          <a:pt x="48" y="28"/>
                        </a:cubicBezTo>
                        <a:cubicBezTo>
                          <a:pt x="48" y="28"/>
                          <a:pt x="48" y="28"/>
                          <a:pt x="48" y="28"/>
                        </a:cubicBezTo>
                        <a:cubicBezTo>
                          <a:pt x="48" y="28"/>
                          <a:pt x="48" y="28"/>
                          <a:pt x="48" y="28"/>
                        </a:cubicBezTo>
                        <a:close/>
                        <a:moveTo>
                          <a:pt x="49" y="27"/>
                        </a:moveTo>
                        <a:cubicBezTo>
                          <a:pt x="49" y="27"/>
                          <a:pt x="49" y="27"/>
                          <a:pt x="49" y="27"/>
                        </a:cubicBezTo>
                        <a:cubicBezTo>
                          <a:pt x="49" y="27"/>
                          <a:pt x="49" y="27"/>
                          <a:pt x="49" y="27"/>
                        </a:cubicBezTo>
                        <a:close/>
                        <a:moveTo>
                          <a:pt x="44" y="39"/>
                        </a:moveTo>
                        <a:cubicBezTo>
                          <a:pt x="44" y="39"/>
                          <a:pt x="44" y="38"/>
                          <a:pt x="44" y="38"/>
                        </a:cubicBezTo>
                        <a:cubicBezTo>
                          <a:pt x="44" y="38"/>
                          <a:pt x="44" y="38"/>
                          <a:pt x="44" y="39"/>
                        </a:cubicBezTo>
                        <a:cubicBezTo>
                          <a:pt x="44" y="39"/>
                          <a:pt x="44" y="39"/>
                          <a:pt x="44" y="39"/>
                        </a:cubicBezTo>
                        <a:close/>
                        <a:moveTo>
                          <a:pt x="46" y="37"/>
                        </a:moveTo>
                        <a:cubicBezTo>
                          <a:pt x="46" y="36"/>
                          <a:pt x="46" y="36"/>
                          <a:pt x="46" y="36"/>
                        </a:cubicBezTo>
                        <a:cubicBezTo>
                          <a:pt x="46" y="36"/>
                          <a:pt x="45" y="36"/>
                          <a:pt x="46" y="37"/>
                        </a:cubicBezTo>
                        <a:close/>
                        <a:moveTo>
                          <a:pt x="45" y="35"/>
                        </a:moveTo>
                        <a:cubicBezTo>
                          <a:pt x="45" y="35"/>
                          <a:pt x="45" y="34"/>
                          <a:pt x="45" y="34"/>
                        </a:cubicBezTo>
                        <a:cubicBezTo>
                          <a:pt x="45" y="34"/>
                          <a:pt x="45" y="34"/>
                          <a:pt x="45" y="35"/>
                        </a:cubicBezTo>
                        <a:cubicBezTo>
                          <a:pt x="45" y="35"/>
                          <a:pt x="45" y="35"/>
                          <a:pt x="45" y="35"/>
                        </a:cubicBezTo>
                        <a:close/>
                        <a:moveTo>
                          <a:pt x="49" y="27"/>
                        </a:moveTo>
                        <a:cubicBezTo>
                          <a:pt x="49" y="27"/>
                          <a:pt x="49" y="27"/>
                          <a:pt x="49" y="27"/>
                        </a:cubicBezTo>
                        <a:cubicBezTo>
                          <a:pt x="49" y="27"/>
                          <a:pt x="49" y="28"/>
                          <a:pt x="49" y="28"/>
                        </a:cubicBezTo>
                        <a:cubicBezTo>
                          <a:pt x="49" y="28"/>
                          <a:pt x="49" y="28"/>
                          <a:pt x="49" y="28"/>
                        </a:cubicBezTo>
                        <a:cubicBezTo>
                          <a:pt x="49" y="28"/>
                          <a:pt x="49" y="28"/>
                          <a:pt x="49" y="27"/>
                        </a:cubicBezTo>
                        <a:close/>
                        <a:moveTo>
                          <a:pt x="47" y="30"/>
                        </a:moveTo>
                        <a:cubicBezTo>
                          <a:pt x="47" y="30"/>
                          <a:pt x="47" y="31"/>
                          <a:pt x="47" y="31"/>
                        </a:cubicBezTo>
                        <a:cubicBezTo>
                          <a:pt x="47" y="31"/>
                          <a:pt x="48" y="30"/>
                          <a:pt x="47" y="30"/>
                        </a:cubicBezTo>
                        <a:close/>
                        <a:moveTo>
                          <a:pt x="47" y="32"/>
                        </a:moveTo>
                        <a:cubicBezTo>
                          <a:pt x="47" y="32"/>
                          <a:pt x="47" y="32"/>
                          <a:pt x="47" y="32"/>
                        </a:cubicBezTo>
                        <a:cubicBezTo>
                          <a:pt x="47" y="32"/>
                          <a:pt x="47" y="32"/>
                          <a:pt x="47" y="32"/>
                        </a:cubicBezTo>
                        <a:close/>
                        <a:moveTo>
                          <a:pt x="47" y="32"/>
                        </a:moveTo>
                        <a:cubicBezTo>
                          <a:pt x="47" y="32"/>
                          <a:pt x="47" y="32"/>
                          <a:pt x="47" y="32"/>
                        </a:cubicBezTo>
                        <a:cubicBezTo>
                          <a:pt x="47" y="32"/>
                          <a:pt x="47" y="32"/>
                          <a:pt x="47" y="32"/>
                        </a:cubicBezTo>
                        <a:cubicBezTo>
                          <a:pt x="47" y="32"/>
                          <a:pt x="47" y="32"/>
                          <a:pt x="47" y="33"/>
                        </a:cubicBezTo>
                        <a:cubicBezTo>
                          <a:pt x="47" y="32"/>
                          <a:pt x="47" y="32"/>
                          <a:pt x="47" y="32"/>
                        </a:cubicBezTo>
                        <a:close/>
                        <a:moveTo>
                          <a:pt x="47" y="32"/>
                        </a:moveTo>
                        <a:cubicBezTo>
                          <a:pt x="47" y="32"/>
                          <a:pt x="47" y="32"/>
                          <a:pt x="47" y="32"/>
                        </a:cubicBezTo>
                        <a:cubicBezTo>
                          <a:pt x="48" y="32"/>
                          <a:pt x="47" y="31"/>
                          <a:pt x="48" y="31"/>
                        </a:cubicBezTo>
                        <a:cubicBezTo>
                          <a:pt x="47" y="31"/>
                          <a:pt x="47" y="31"/>
                          <a:pt x="47" y="31"/>
                        </a:cubicBezTo>
                        <a:cubicBezTo>
                          <a:pt x="47" y="31"/>
                          <a:pt x="47" y="31"/>
                          <a:pt x="47" y="31"/>
                        </a:cubicBezTo>
                        <a:cubicBezTo>
                          <a:pt x="47" y="31"/>
                          <a:pt x="47" y="31"/>
                          <a:pt x="47" y="31"/>
                        </a:cubicBezTo>
                        <a:cubicBezTo>
                          <a:pt x="47" y="31"/>
                          <a:pt x="48" y="31"/>
                          <a:pt x="48" y="31"/>
                        </a:cubicBezTo>
                        <a:cubicBezTo>
                          <a:pt x="48" y="31"/>
                          <a:pt x="48" y="31"/>
                          <a:pt x="48" y="31"/>
                        </a:cubicBezTo>
                        <a:cubicBezTo>
                          <a:pt x="48" y="31"/>
                          <a:pt x="48" y="31"/>
                          <a:pt x="47" y="31"/>
                        </a:cubicBezTo>
                        <a:cubicBezTo>
                          <a:pt x="47" y="31"/>
                          <a:pt x="47" y="31"/>
                          <a:pt x="47" y="31"/>
                        </a:cubicBezTo>
                        <a:cubicBezTo>
                          <a:pt x="47" y="31"/>
                          <a:pt x="47" y="31"/>
                          <a:pt x="47" y="31"/>
                        </a:cubicBezTo>
                        <a:cubicBezTo>
                          <a:pt x="47" y="31"/>
                          <a:pt x="47" y="31"/>
                          <a:pt x="47" y="32"/>
                        </a:cubicBezTo>
                        <a:cubicBezTo>
                          <a:pt x="47" y="32"/>
                          <a:pt x="47" y="32"/>
                          <a:pt x="47" y="32"/>
                        </a:cubicBezTo>
                        <a:close/>
                        <a:moveTo>
                          <a:pt x="49" y="30"/>
                        </a:moveTo>
                        <a:cubicBezTo>
                          <a:pt x="49" y="30"/>
                          <a:pt x="49" y="30"/>
                          <a:pt x="49" y="30"/>
                        </a:cubicBezTo>
                        <a:cubicBezTo>
                          <a:pt x="49" y="30"/>
                          <a:pt x="49" y="30"/>
                          <a:pt x="49" y="30"/>
                        </a:cubicBezTo>
                        <a:close/>
                        <a:moveTo>
                          <a:pt x="50" y="29"/>
                        </a:moveTo>
                        <a:cubicBezTo>
                          <a:pt x="50" y="29"/>
                          <a:pt x="50" y="29"/>
                          <a:pt x="50" y="29"/>
                        </a:cubicBezTo>
                        <a:cubicBezTo>
                          <a:pt x="50" y="29"/>
                          <a:pt x="49" y="29"/>
                          <a:pt x="50" y="29"/>
                        </a:cubicBezTo>
                        <a:close/>
                        <a:moveTo>
                          <a:pt x="49" y="30"/>
                        </a:moveTo>
                        <a:cubicBezTo>
                          <a:pt x="49" y="30"/>
                          <a:pt x="49" y="30"/>
                          <a:pt x="49" y="30"/>
                        </a:cubicBezTo>
                        <a:cubicBezTo>
                          <a:pt x="49" y="30"/>
                          <a:pt x="49" y="30"/>
                          <a:pt x="49" y="30"/>
                        </a:cubicBezTo>
                        <a:cubicBezTo>
                          <a:pt x="49" y="30"/>
                          <a:pt x="49" y="30"/>
                          <a:pt x="49" y="30"/>
                        </a:cubicBezTo>
                        <a:cubicBezTo>
                          <a:pt x="49" y="31"/>
                          <a:pt x="49" y="30"/>
                          <a:pt x="49" y="31"/>
                        </a:cubicBezTo>
                        <a:cubicBezTo>
                          <a:pt x="49" y="31"/>
                          <a:pt x="49" y="30"/>
                          <a:pt x="49" y="30"/>
                        </a:cubicBezTo>
                        <a:close/>
                        <a:moveTo>
                          <a:pt x="53" y="25"/>
                        </a:moveTo>
                        <a:cubicBezTo>
                          <a:pt x="53" y="25"/>
                          <a:pt x="53" y="25"/>
                          <a:pt x="53" y="25"/>
                        </a:cubicBezTo>
                        <a:cubicBezTo>
                          <a:pt x="53" y="25"/>
                          <a:pt x="53" y="25"/>
                          <a:pt x="53" y="25"/>
                        </a:cubicBezTo>
                        <a:close/>
                        <a:moveTo>
                          <a:pt x="52" y="27"/>
                        </a:move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lose/>
                        <a:moveTo>
                          <a:pt x="52" y="27"/>
                        </a:move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8"/>
                          <a:pt x="52" y="28"/>
                          <a:pt x="52" y="28"/>
                        </a:cubicBezTo>
                        <a:cubicBezTo>
                          <a:pt x="52" y="28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lose/>
                        <a:moveTo>
                          <a:pt x="53" y="26"/>
                        </a:move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26"/>
                          <a:pt x="53" y="26"/>
                          <a:pt x="53" y="25"/>
                        </a:cubicBezTo>
                        <a:cubicBezTo>
                          <a:pt x="53" y="25"/>
                          <a:pt x="53" y="26"/>
                          <a:pt x="53" y="25"/>
                        </a:cubicBezTo>
                        <a:lnTo>
                          <a:pt x="53" y="26"/>
                        </a:lnTo>
                        <a:close/>
                        <a:moveTo>
                          <a:pt x="52" y="26"/>
                        </a:move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26"/>
                          <a:pt x="52" y="26"/>
                          <a:pt x="52" y="26"/>
                        </a:cubicBezTo>
                        <a:close/>
                        <a:moveTo>
                          <a:pt x="52" y="26"/>
                        </a:moveTo>
                        <a:cubicBezTo>
                          <a:pt x="52" y="26"/>
                          <a:pt x="52" y="27"/>
                          <a:pt x="52" y="27"/>
                        </a:cubicBezTo>
                        <a:cubicBezTo>
                          <a:pt x="52" y="26"/>
                          <a:pt x="52" y="26"/>
                          <a:pt x="52" y="26"/>
                        </a:cubicBezTo>
                        <a:cubicBezTo>
                          <a:pt x="52" y="26"/>
                          <a:pt x="52" y="26"/>
                          <a:pt x="52" y="26"/>
                        </a:cubicBezTo>
                        <a:cubicBezTo>
                          <a:pt x="52" y="26"/>
                          <a:pt x="52" y="26"/>
                          <a:pt x="52" y="26"/>
                        </a:cubicBezTo>
                        <a:close/>
                        <a:moveTo>
                          <a:pt x="52" y="27"/>
                        </a:move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lose/>
                        <a:moveTo>
                          <a:pt x="51" y="29"/>
                        </a:moveTo>
                        <a:cubicBezTo>
                          <a:pt x="51" y="29"/>
                          <a:pt x="51" y="29"/>
                          <a:pt x="51" y="29"/>
                        </a:cubicBezTo>
                        <a:cubicBezTo>
                          <a:pt x="51" y="29"/>
                          <a:pt x="50" y="29"/>
                          <a:pt x="51" y="29"/>
                        </a:cubicBezTo>
                        <a:close/>
                        <a:moveTo>
                          <a:pt x="50" y="31"/>
                        </a:moveTo>
                        <a:cubicBezTo>
                          <a:pt x="50" y="31"/>
                          <a:pt x="50" y="30"/>
                          <a:pt x="50" y="30"/>
                        </a:cubicBezTo>
                        <a:cubicBezTo>
                          <a:pt x="50" y="30"/>
                          <a:pt x="50" y="30"/>
                          <a:pt x="50" y="31"/>
                        </a:cubicBezTo>
                        <a:close/>
                        <a:moveTo>
                          <a:pt x="50" y="30"/>
                        </a:moveTo>
                        <a:cubicBezTo>
                          <a:pt x="50" y="30"/>
                          <a:pt x="50" y="30"/>
                          <a:pt x="50" y="30"/>
                        </a:cubicBezTo>
                        <a:cubicBezTo>
                          <a:pt x="50" y="30"/>
                          <a:pt x="50" y="30"/>
                          <a:pt x="50" y="30"/>
                        </a:cubicBezTo>
                        <a:cubicBezTo>
                          <a:pt x="50" y="30"/>
                          <a:pt x="49" y="30"/>
                          <a:pt x="50" y="31"/>
                        </a:cubicBezTo>
                        <a:cubicBezTo>
                          <a:pt x="50" y="31"/>
                          <a:pt x="50" y="31"/>
                          <a:pt x="50" y="30"/>
                        </a:cubicBezTo>
                        <a:close/>
                        <a:moveTo>
                          <a:pt x="50" y="31"/>
                        </a:moveTo>
                        <a:cubicBezTo>
                          <a:pt x="50" y="31"/>
                          <a:pt x="50" y="31"/>
                          <a:pt x="49" y="31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lose/>
                        <a:moveTo>
                          <a:pt x="52" y="27"/>
                        </a:move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ubicBezTo>
                          <a:pt x="52" y="27"/>
                          <a:pt x="52" y="27"/>
                          <a:pt x="52" y="27"/>
                        </a:cubicBezTo>
                        <a:close/>
                        <a:moveTo>
                          <a:pt x="52" y="28"/>
                        </a:moveTo>
                        <a:cubicBezTo>
                          <a:pt x="52" y="28"/>
                          <a:pt x="52" y="27"/>
                          <a:pt x="52" y="27"/>
                        </a:cubicBezTo>
                        <a:cubicBezTo>
                          <a:pt x="52" y="28"/>
                          <a:pt x="52" y="28"/>
                          <a:pt x="52" y="28"/>
                        </a:cubicBezTo>
                        <a:close/>
                        <a:moveTo>
                          <a:pt x="51" y="29"/>
                        </a:moveTo>
                        <a:cubicBezTo>
                          <a:pt x="51" y="29"/>
                          <a:pt x="51" y="29"/>
                          <a:pt x="51" y="29"/>
                        </a:cubicBezTo>
                        <a:cubicBezTo>
                          <a:pt x="51" y="29"/>
                          <a:pt x="51" y="29"/>
                          <a:pt x="51" y="30"/>
                        </a:cubicBezTo>
                        <a:cubicBezTo>
                          <a:pt x="51" y="29"/>
                          <a:pt x="51" y="29"/>
                          <a:pt x="51" y="29"/>
                        </a:cubicBezTo>
                        <a:close/>
                        <a:moveTo>
                          <a:pt x="52" y="29"/>
                        </a:moveTo>
                        <a:cubicBezTo>
                          <a:pt x="51" y="29"/>
                          <a:pt x="51" y="29"/>
                          <a:pt x="51" y="28"/>
                        </a:cubicBezTo>
                        <a:cubicBezTo>
                          <a:pt x="51" y="28"/>
                          <a:pt x="51" y="28"/>
                          <a:pt x="51" y="28"/>
                        </a:cubicBezTo>
                        <a:cubicBezTo>
                          <a:pt x="51" y="28"/>
                          <a:pt x="51" y="28"/>
                          <a:pt x="51" y="29"/>
                        </a:cubicBezTo>
                        <a:cubicBezTo>
                          <a:pt x="51" y="29"/>
                          <a:pt x="51" y="28"/>
                          <a:pt x="51" y="29"/>
                        </a:cubicBezTo>
                        <a:cubicBezTo>
                          <a:pt x="51" y="29"/>
                          <a:pt x="51" y="29"/>
                          <a:pt x="51" y="29"/>
                        </a:cubicBezTo>
                        <a:cubicBezTo>
                          <a:pt x="51" y="29"/>
                          <a:pt x="51" y="29"/>
                          <a:pt x="51" y="29"/>
                        </a:cubicBezTo>
                        <a:cubicBezTo>
                          <a:pt x="51" y="29"/>
                          <a:pt x="51" y="29"/>
                          <a:pt x="52" y="29"/>
                        </a:cubicBezTo>
                        <a:close/>
                        <a:moveTo>
                          <a:pt x="54" y="24"/>
                        </a:moveTo>
                        <a:cubicBezTo>
                          <a:pt x="54" y="24"/>
                          <a:pt x="54" y="24"/>
                          <a:pt x="54" y="24"/>
                        </a:cubicBezTo>
                        <a:cubicBezTo>
                          <a:pt x="54" y="24"/>
                          <a:pt x="54" y="25"/>
                          <a:pt x="54" y="25"/>
                        </a:cubicBezTo>
                        <a:lnTo>
                          <a:pt x="54" y="24"/>
                        </a:lnTo>
                        <a:close/>
                        <a:moveTo>
                          <a:pt x="53" y="25"/>
                        </a:moveTo>
                        <a:cubicBezTo>
                          <a:pt x="54" y="25"/>
                          <a:pt x="54" y="25"/>
                          <a:pt x="54" y="25"/>
                        </a:cubicBezTo>
                        <a:cubicBezTo>
                          <a:pt x="54" y="25"/>
                          <a:pt x="54" y="25"/>
                          <a:pt x="54" y="25"/>
                        </a:cubicBezTo>
                        <a:lnTo>
                          <a:pt x="53" y="25"/>
                        </a:lnTo>
                        <a:close/>
                        <a:moveTo>
                          <a:pt x="53" y="26"/>
                        </a:move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26"/>
                          <a:pt x="53" y="26"/>
                          <a:pt x="53" y="26"/>
                        </a:cubicBezTo>
                        <a:cubicBezTo>
                          <a:pt x="53" y="26"/>
                          <a:pt x="53" y="26"/>
                          <a:pt x="53" y="27"/>
                        </a:cubicBezTo>
                        <a:cubicBezTo>
                          <a:pt x="53" y="27"/>
                          <a:pt x="53" y="27"/>
                          <a:pt x="53" y="27"/>
                        </a:cubicBezTo>
                        <a:cubicBezTo>
                          <a:pt x="53" y="26"/>
                          <a:pt x="53" y="26"/>
                          <a:pt x="53" y="26"/>
                        </a:cubicBezTo>
                        <a:close/>
                        <a:moveTo>
                          <a:pt x="47" y="37"/>
                        </a:moveTo>
                        <a:cubicBezTo>
                          <a:pt x="47" y="37"/>
                          <a:pt x="47" y="37"/>
                          <a:pt x="47" y="37"/>
                        </a:cubicBezTo>
                        <a:cubicBezTo>
                          <a:pt x="47" y="37"/>
                          <a:pt x="47" y="37"/>
                          <a:pt x="47" y="37"/>
                        </a:cubicBezTo>
                        <a:cubicBezTo>
                          <a:pt x="47" y="37"/>
                          <a:pt x="46" y="38"/>
                          <a:pt x="46" y="38"/>
                        </a:cubicBezTo>
                        <a:cubicBezTo>
                          <a:pt x="47" y="38"/>
                          <a:pt x="47" y="38"/>
                          <a:pt x="47" y="37"/>
                        </a:cubicBezTo>
                        <a:close/>
                        <a:moveTo>
                          <a:pt x="49" y="34"/>
                        </a:moveTo>
                        <a:cubicBezTo>
                          <a:pt x="49" y="35"/>
                          <a:pt x="49" y="35"/>
                          <a:pt x="49" y="35"/>
                        </a:cubicBezTo>
                        <a:cubicBezTo>
                          <a:pt x="49" y="35"/>
                          <a:pt x="49" y="35"/>
                          <a:pt x="49" y="34"/>
                        </a:cubicBezTo>
                        <a:close/>
                        <a:moveTo>
                          <a:pt x="49" y="35"/>
                        </a:moveTo>
                        <a:cubicBezTo>
                          <a:pt x="49" y="35"/>
                          <a:pt x="49" y="35"/>
                          <a:pt x="49" y="35"/>
                        </a:cubicBezTo>
                        <a:cubicBezTo>
                          <a:pt x="49" y="35"/>
                          <a:pt x="49" y="35"/>
                          <a:pt x="49" y="35"/>
                        </a:cubicBezTo>
                        <a:close/>
                        <a:moveTo>
                          <a:pt x="49" y="35"/>
                        </a:moveTo>
                        <a:cubicBezTo>
                          <a:pt x="49" y="35"/>
                          <a:pt x="49" y="35"/>
                          <a:pt x="49" y="35"/>
                        </a:cubicBezTo>
                        <a:cubicBezTo>
                          <a:pt x="49" y="35"/>
                          <a:pt x="49" y="35"/>
                          <a:pt x="49" y="35"/>
                        </a:cubicBezTo>
                        <a:cubicBezTo>
                          <a:pt x="49" y="35"/>
                          <a:pt x="50" y="35"/>
                          <a:pt x="50" y="35"/>
                        </a:cubicBezTo>
                        <a:cubicBezTo>
                          <a:pt x="50" y="35"/>
                          <a:pt x="50" y="35"/>
                          <a:pt x="50" y="34"/>
                        </a:cubicBezTo>
                        <a:cubicBezTo>
                          <a:pt x="50" y="34"/>
                          <a:pt x="50" y="34"/>
                          <a:pt x="50" y="34"/>
                        </a:cubicBezTo>
                        <a:cubicBezTo>
                          <a:pt x="49" y="34"/>
                          <a:pt x="49" y="35"/>
                          <a:pt x="49" y="35"/>
                        </a:cubicBezTo>
                        <a:cubicBezTo>
                          <a:pt x="49" y="35"/>
                          <a:pt x="49" y="35"/>
                          <a:pt x="49" y="35"/>
                        </a:cubicBezTo>
                        <a:close/>
                        <a:moveTo>
                          <a:pt x="49" y="34"/>
                        </a:moveTo>
                        <a:cubicBezTo>
                          <a:pt x="49" y="34"/>
                          <a:pt x="49" y="34"/>
                          <a:pt x="49" y="34"/>
                        </a:cubicBezTo>
                        <a:cubicBezTo>
                          <a:pt x="49" y="34"/>
                          <a:pt x="49" y="34"/>
                          <a:pt x="49" y="34"/>
                        </a:cubicBezTo>
                        <a:cubicBezTo>
                          <a:pt x="49" y="34"/>
                          <a:pt x="49" y="34"/>
                          <a:pt x="49" y="34"/>
                        </a:cubicBezTo>
                        <a:close/>
                        <a:moveTo>
                          <a:pt x="52" y="28"/>
                        </a:moveTo>
                        <a:cubicBezTo>
                          <a:pt x="52" y="29"/>
                          <a:pt x="52" y="28"/>
                          <a:pt x="53" y="28"/>
                        </a:cubicBezTo>
                        <a:cubicBezTo>
                          <a:pt x="53" y="28"/>
                          <a:pt x="53" y="28"/>
                          <a:pt x="53" y="28"/>
                        </a:cubicBezTo>
                        <a:cubicBezTo>
                          <a:pt x="53" y="29"/>
                          <a:pt x="53" y="29"/>
                          <a:pt x="53" y="29"/>
                        </a:cubicBezTo>
                        <a:cubicBezTo>
                          <a:pt x="53" y="29"/>
                          <a:pt x="53" y="29"/>
                          <a:pt x="53" y="28"/>
                        </a:cubicBezTo>
                        <a:cubicBezTo>
                          <a:pt x="53" y="29"/>
                          <a:pt x="53" y="28"/>
                          <a:pt x="53" y="28"/>
                        </a:cubicBezTo>
                        <a:cubicBezTo>
                          <a:pt x="52" y="28"/>
                          <a:pt x="53" y="28"/>
                          <a:pt x="52" y="28"/>
                        </a:cubicBezTo>
                        <a:close/>
                        <a:moveTo>
                          <a:pt x="52" y="29"/>
                        </a:moveTo>
                        <a:cubicBezTo>
                          <a:pt x="52" y="29"/>
                          <a:pt x="52" y="29"/>
                          <a:pt x="52" y="29"/>
                        </a:cubicBezTo>
                        <a:cubicBezTo>
                          <a:pt x="52" y="29"/>
                          <a:pt x="52" y="29"/>
                          <a:pt x="52" y="29"/>
                        </a:cubicBezTo>
                        <a:cubicBezTo>
                          <a:pt x="52" y="29"/>
                          <a:pt x="52" y="29"/>
                          <a:pt x="52" y="29"/>
                        </a:cubicBezTo>
                        <a:cubicBezTo>
                          <a:pt x="52" y="28"/>
                          <a:pt x="52" y="29"/>
                          <a:pt x="52" y="29"/>
                        </a:cubicBezTo>
                        <a:cubicBezTo>
                          <a:pt x="52" y="29"/>
                          <a:pt x="52" y="29"/>
                          <a:pt x="52" y="29"/>
                        </a:cubicBezTo>
                        <a:close/>
                        <a:moveTo>
                          <a:pt x="52" y="29"/>
                        </a:moveTo>
                        <a:cubicBezTo>
                          <a:pt x="52" y="29"/>
                          <a:pt x="52" y="29"/>
                          <a:pt x="52" y="30"/>
                        </a:cubicBezTo>
                        <a:cubicBezTo>
                          <a:pt x="52" y="30"/>
                          <a:pt x="52" y="29"/>
                          <a:pt x="52" y="29"/>
                        </a:cubicBezTo>
                        <a:cubicBezTo>
                          <a:pt x="52" y="29"/>
                          <a:pt x="52" y="29"/>
                          <a:pt x="52" y="29"/>
                        </a:cubicBezTo>
                        <a:cubicBezTo>
                          <a:pt x="52" y="29"/>
                          <a:pt x="52" y="29"/>
                          <a:pt x="52" y="29"/>
                        </a:cubicBezTo>
                        <a:cubicBezTo>
                          <a:pt x="52" y="29"/>
                          <a:pt x="52" y="29"/>
                          <a:pt x="52" y="29"/>
                        </a:cubicBezTo>
                        <a:close/>
                        <a:moveTo>
                          <a:pt x="52" y="30"/>
                        </a:moveTo>
                        <a:cubicBezTo>
                          <a:pt x="51" y="30"/>
                          <a:pt x="51" y="30"/>
                          <a:pt x="51" y="31"/>
                        </a:cubicBezTo>
                        <a:cubicBezTo>
                          <a:pt x="51" y="30"/>
                          <a:pt x="52" y="30"/>
                          <a:pt x="52" y="30"/>
                        </a:cubicBezTo>
                        <a:close/>
                        <a:moveTo>
                          <a:pt x="53" y="29"/>
                        </a:moveTo>
                        <a:cubicBezTo>
                          <a:pt x="53" y="29"/>
                          <a:pt x="53" y="29"/>
                          <a:pt x="52" y="29"/>
                        </a:cubicBezTo>
                        <a:cubicBezTo>
                          <a:pt x="52" y="29"/>
                          <a:pt x="52" y="29"/>
                          <a:pt x="52" y="29"/>
                        </a:cubicBezTo>
                        <a:cubicBezTo>
                          <a:pt x="52" y="29"/>
                          <a:pt x="52" y="30"/>
                          <a:pt x="52" y="30"/>
                        </a:cubicBezTo>
                        <a:cubicBezTo>
                          <a:pt x="52" y="30"/>
                          <a:pt x="53" y="29"/>
                          <a:pt x="53" y="29"/>
                        </a:cubicBezTo>
                        <a:close/>
                        <a:moveTo>
                          <a:pt x="52" y="30"/>
                        </a:moveTo>
                        <a:cubicBezTo>
                          <a:pt x="52" y="30"/>
                          <a:pt x="52" y="30"/>
                          <a:pt x="52" y="30"/>
                        </a:cubicBezTo>
                        <a:cubicBezTo>
                          <a:pt x="52" y="30"/>
                          <a:pt x="52" y="30"/>
                          <a:pt x="52" y="30"/>
                        </a:cubicBezTo>
                        <a:cubicBezTo>
                          <a:pt x="52" y="30"/>
                          <a:pt x="52" y="30"/>
                          <a:pt x="52" y="30"/>
                        </a:cubicBezTo>
                        <a:cubicBezTo>
                          <a:pt x="52" y="30"/>
                          <a:pt x="52" y="30"/>
                          <a:pt x="52" y="30"/>
                        </a:cubicBezTo>
                        <a:close/>
                        <a:moveTo>
                          <a:pt x="53" y="28"/>
                        </a:moveTo>
                        <a:cubicBezTo>
                          <a:pt x="53" y="28"/>
                          <a:pt x="53" y="28"/>
                          <a:pt x="53" y="28"/>
                        </a:cubicBezTo>
                        <a:cubicBezTo>
                          <a:pt x="53" y="28"/>
                          <a:pt x="53" y="28"/>
                          <a:pt x="53" y="28"/>
                        </a:cubicBezTo>
                        <a:cubicBezTo>
                          <a:pt x="53" y="28"/>
                          <a:pt x="53" y="27"/>
                          <a:pt x="53" y="27"/>
                        </a:cubicBezTo>
                        <a:cubicBezTo>
                          <a:pt x="53" y="27"/>
                          <a:pt x="53" y="27"/>
                          <a:pt x="53" y="27"/>
                        </a:cubicBezTo>
                        <a:cubicBezTo>
                          <a:pt x="53" y="27"/>
                          <a:pt x="53" y="27"/>
                          <a:pt x="53" y="27"/>
                        </a:cubicBezTo>
                        <a:cubicBezTo>
                          <a:pt x="53" y="27"/>
                          <a:pt x="53" y="27"/>
                          <a:pt x="53" y="27"/>
                        </a:cubicBezTo>
                        <a:cubicBezTo>
                          <a:pt x="53" y="27"/>
                          <a:pt x="53" y="28"/>
                          <a:pt x="53" y="28"/>
                        </a:cubicBezTo>
                        <a:cubicBezTo>
                          <a:pt x="53" y="27"/>
                          <a:pt x="53" y="27"/>
                          <a:pt x="53" y="27"/>
                        </a:cubicBezTo>
                        <a:cubicBezTo>
                          <a:pt x="53" y="27"/>
                          <a:pt x="53" y="28"/>
                          <a:pt x="53" y="28"/>
                        </a:cubicBezTo>
                        <a:cubicBezTo>
                          <a:pt x="53" y="28"/>
                          <a:pt x="53" y="27"/>
                          <a:pt x="53" y="27"/>
                        </a:cubicBezTo>
                        <a:cubicBezTo>
                          <a:pt x="53" y="28"/>
                          <a:pt x="53" y="28"/>
                          <a:pt x="53" y="28"/>
                        </a:cubicBezTo>
                        <a:cubicBezTo>
                          <a:pt x="53" y="28"/>
                          <a:pt x="53" y="28"/>
                          <a:pt x="53" y="28"/>
                        </a:cubicBezTo>
                        <a:cubicBezTo>
                          <a:pt x="53" y="28"/>
                          <a:pt x="53" y="28"/>
                          <a:pt x="53" y="28"/>
                        </a:cubicBezTo>
                        <a:close/>
                        <a:moveTo>
                          <a:pt x="52" y="30"/>
                        </a:moveTo>
                        <a:cubicBezTo>
                          <a:pt x="52" y="30"/>
                          <a:pt x="52" y="30"/>
                          <a:pt x="52" y="30"/>
                        </a:cubicBezTo>
                        <a:cubicBezTo>
                          <a:pt x="52" y="30"/>
                          <a:pt x="53" y="30"/>
                          <a:pt x="52" y="30"/>
                        </a:cubicBezTo>
                        <a:close/>
                        <a:moveTo>
                          <a:pt x="53" y="29"/>
                        </a:moveTo>
                        <a:cubicBezTo>
                          <a:pt x="53" y="29"/>
                          <a:pt x="53" y="29"/>
                          <a:pt x="53" y="29"/>
                        </a:cubicBezTo>
                        <a:cubicBezTo>
                          <a:pt x="53" y="29"/>
                          <a:pt x="53" y="29"/>
                          <a:pt x="53" y="29"/>
                        </a:cubicBezTo>
                        <a:cubicBezTo>
                          <a:pt x="53" y="29"/>
                          <a:pt x="53" y="29"/>
                          <a:pt x="53" y="29"/>
                        </a:cubicBezTo>
                        <a:close/>
                        <a:moveTo>
                          <a:pt x="55" y="26"/>
                        </a:moveTo>
                        <a:cubicBezTo>
                          <a:pt x="55" y="26"/>
                          <a:pt x="55" y="26"/>
                          <a:pt x="55" y="26"/>
                        </a:cubicBezTo>
                        <a:cubicBezTo>
                          <a:pt x="55" y="26"/>
                          <a:pt x="55" y="26"/>
                          <a:pt x="55" y="26"/>
                        </a:cubicBezTo>
                        <a:close/>
                        <a:moveTo>
                          <a:pt x="58" y="23"/>
                        </a:moveTo>
                        <a:cubicBezTo>
                          <a:pt x="58" y="23"/>
                          <a:pt x="58" y="23"/>
                          <a:pt x="58" y="23"/>
                        </a:cubicBezTo>
                        <a:cubicBezTo>
                          <a:pt x="58" y="23"/>
                          <a:pt x="58" y="23"/>
                          <a:pt x="58" y="23"/>
                        </a:cubicBezTo>
                        <a:cubicBezTo>
                          <a:pt x="58" y="23"/>
                          <a:pt x="58" y="23"/>
                          <a:pt x="58" y="23"/>
                        </a:cubicBezTo>
                        <a:close/>
                        <a:moveTo>
                          <a:pt x="59" y="21"/>
                        </a:moveTo>
                        <a:cubicBezTo>
                          <a:pt x="59" y="21"/>
                          <a:pt x="59" y="21"/>
                          <a:pt x="59" y="21"/>
                        </a:cubicBezTo>
                        <a:cubicBezTo>
                          <a:pt x="59" y="21"/>
                          <a:pt x="59" y="22"/>
                          <a:pt x="59" y="22"/>
                        </a:cubicBezTo>
                        <a:cubicBezTo>
                          <a:pt x="59" y="22"/>
                          <a:pt x="59" y="21"/>
                          <a:pt x="59" y="21"/>
                        </a:cubicBezTo>
                        <a:cubicBezTo>
                          <a:pt x="59" y="21"/>
                          <a:pt x="58" y="21"/>
                          <a:pt x="58" y="21"/>
                        </a:cubicBezTo>
                        <a:cubicBezTo>
                          <a:pt x="58" y="22"/>
                          <a:pt x="58" y="22"/>
                          <a:pt x="59" y="22"/>
                        </a:cubicBezTo>
                        <a:cubicBezTo>
                          <a:pt x="59" y="22"/>
                          <a:pt x="58" y="22"/>
                          <a:pt x="59" y="22"/>
                        </a:cubicBezTo>
                        <a:cubicBezTo>
                          <a:pt x="59" y="22"/>
                          <a:pt x="59" y="21"/>
                          <a:pt x="59" y="22"/>
                        </a:cubicBezTo>
                        <a:cubicBezTo>
                          <a:pt x="59" y="22"/>
                          <a:pt x="59" y="22"/>
                          <a:pt x="59" y="21"/>
                        </a:cubicBezTo>
                        <a:close/>
                        <a:moveTo>
                          <a:pt x="45" y="26"/>
                        </a:moveTo>
                        <a:cubicBezTo>
                          <a:pt x="45" y="26"/>
                          <a:pt x="45" y="26"/>
                          <a:pt x="45" y="26"/>
                        </a:cubicBezTo>
                        <a:cubicBezTo>
                          <a:pt x="45" y="26"/>
                          <a:pt x="45" y="26"/>
                          <a:pt x="45" y="26"/>
                        </a:cubicBezTo>
                        <a:cubicBezTo>
                          <a:pt x="44" y="26"/>
                          <a:pt x="44" y="26"/>
                          <a:pt x="44" y="26"/>
                        </a:cubicBezTo>
                        <a:cubicBezTo>
                          <a:pt x="44" y="26"/>
                          <a:pt x="45" y="26"/>
                          <a:pt x="45" y="26"/>
                        </a:cubicBezTo>
                        <a:close/>
                        <a:moveTo>
                          <a:pt x="50" y="31"/>
                        </a:move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0" y="31"/>
                          <a:pt x="51" y="30"/>
                          <a:pt x="51" y="31"/>
                        </a:cubicBezTo>
                        <a:cubicBezTo>
                          <a:pt x="51" y="31"/>
                          <a:pt x="50" y="31"/>
                          <a:pt x="50" y="31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ubicBezTo>
                          <a:pt x="50" y="31"/>
                          <a:pt x="50" y="31"/>
                          <a:pt x="50" y="31"/>
                        </a:cubicBezTo>
                        <a:close/>
                        <a:moveTo>
                          <a:pt x="64" y="4"/>
                        </a:moveTo>
                        <a:cubicBezTo>
                          <a:pt x="64" y="3"/>
                          <a:pt x="64" y="3"/>
                          <a:pt x="64" y="3"/>
                        </a:cubicBezTo>
                        <a:cubicBezTo>
                          <a:pt x="64" y="3"/>
                          <a:pt x="64" y="3"/>
                          <a:pt x="64" y="3"/>
                        </a:cubicBezTo>
                        <a:cubicBezTo>
                          <a:pt x="64" y="3"/>
                          <a:pt x="64" y="3"/>
                          <a:pt x="64" y="3"/>
                        </a:cubicBezTo>
                        <a:cubicBezTo>
                          <a:pt x="64" y="3"/>
                          <a:pt x="64" y="4"/>
                          <a:pt x="64" y="3"/>
                        </a:cubicBezTo>
                        <a:cubicBezTo>
                          <a:pt x="65" y="3"/>
                          <a:pt x="64" y="4"/>
                          <a:pt x="64" y="4"/>
                        </a:cubicBezTo>
                        <a:close/>
                        <a:moveTo>
                          <a:pt x="43" y="23"/>
                        </a:moveTo>
                        <a:cubicBezTo>
                          <a:pt x="42" y="23"/>
                          <a:pt x="42" y="23"/>
                          <a:pt x="42" y="23"/>
                        </a:cubicBezTo>
                        <a:cubicBezTo>
                          <a:pt x="42" y="23"/>
                          <a:pt x="42" y="23"/>
                          <a:pt x="42" y="23"/>
                        </a:cubicBezTo>
                        <a:cubicBezTo>
                          <a:pt x="42" y="23"/>
                          <a:pt x="42" y="23"/>
                          <a:pt x="42" y="23"/>
                        </a:cubicBezTo>
                        <a:cubicBezTo>
                          <a:pt x="43" y="23"/>
                          <a:pt x="42" y="23"/>
                          <a:pt x="43" y="23"/>
                        </a:cubicBezTo>
                        <a:close/>
                        <a:moveTo>
                          <a:pt x="44" y="26"/>
                        </a:moveTo>
                        <a:cubicBezTo>
                          <a:pt x="44" y="27"/>
                          <a:pt x="44" y="27"/>
                          <a:pt x="44" y="27"/>
                        </a:cubicBezTo>
                        <a:cubicBezTo>
                          <a:pt x="44" y="27"/>
                          <a:pt x="44" y="26"/>
                          <a:pt x="44" y="26"/>
                        </a:cubicBezTo>
                        <a:cubicBezTo>
                          <a:pt x="44" y="26"/>
                          <a:pt x="44" y="26"/>
                          <a:pt x="44" y="26"/>
                        </a:cubicBezTo>
                        <a:cubicBezTo>
                          <a:pt x="44" y="26"/>
                          <a:pt x="44" y="26"/>
                          <a:pt x="44" y="26"/>
                        </a:cubicBezTo>
                        <a:cubicBezTo>
                          <a:pt x="44" y="26"/>
                          <a:pt x="44" y="26"/>
                          <a:pt x="44" y="26"/>
                        </a:cubicBezTo>
                        <a:close/>
                        <a:moveTo>
                          <a:pt x="45" y="27"/>
                        </a:moveTo>
                        <a:cubicBezTo>
                          <a:pt x="45" y="27"/>
                          <a:pt x="45" y="27"/>
                          <a:pt x="45" y="28"/>
                        </a:cubicBezTo>
                        <a:cubicBezTo>
                          <a:pt x="45" y="28"/>
                          <a:pt x="45" y="27"/>
                          <a:pt x="45" y="27"/>
                        </a:cubicBezTo>
                        <a:cubicBezTo>
                          <a:pt x="45" y="27"/>
                          <a:pt x="45" y="27"/>
                          <a:pt x="45" y="27"/>
                        </a:cubicBezTo>
                        <a:cubicBezTo>
                          <a:pt x="45" y="27"/>
                          <a:pt x="45" y="27"/>
                          <a:pt x="45" y="27"/>
                        </a:cubicBezTo>
                        <a:close/>
                        <a:moveTo>
                          <a:pt x="44" y="28"/>
                        </a:moveTo>
                        <a:cubicBezTo>
                          <a:pt x="44" y="28"/>
                          <a:pt x="44" y="28"/>
                          <a:pt x="44" y="28"/>
                        </a:cubicBezTo>
                        <a:cubicBezTo>
                          <a:pt x="44" y="28"/>
                          <a:pt x="44" y="29"/>
                          <a:pt x="43" y="29"/>
                        </a:cubicBezTo>
                        <a:cubicBezTo>
                          <a:pt x="43" y="29"/>
                          <a:pt x="44" y="28"/>
                          <a:pt x="44" y="28"/>
                        </a:cubicBezTo>
                        <a:cubicBezTo>
                          <a:pt x="44" y="28"/>
                          <a:pt x="44" y="28"/>
                          <a:pt x="44" y="28"/>
                        </a:cubicBezTo>
                        <a:cubicBezTo>
                          <a:pt x="44" y="28"/>
                          <a:pt x="44" y="28"/>
                          <a:pt x="44" y="28"/>
                        </a:cubicBezTo>
                        <a:cubicBezTo>
                          <a:pt x="44" y="28"/>
                          <a:pt x="44" y="28"/>
                          <a:pt x="44" y="28"/>
                        </a:cubicBezTo>
                        <a:cubicBezTo>
                          <a:pt x="44" y="28"/>
                          <a:pt x="44" y="28"/>
                          <a:pt x="44" y="28"/>
                        </a:cubicBezTo>
                        <a:cubicBezTo>
                          <a:pt x="44" y="28"/>
                          <a:pt x="44" y="28"/>
                          <a:pt x="44" y="28"/>
                        </a:cubicBezTo>
                        <a:close/>
                        <a:moveTo>
                          <a:pt x="45" y="28"/>
                        </a:moveTo>
                        <a:cubicBezTo>
                          <a:pt x="45" y="28"/>
                          <a:pt x="45" y="28"/>
                          <a:pt x="45" y="28"/>
                        </a:cubicBezTo>
                        <a:cubicBezTo>
                          <a:pt x="45" y="28"/>
                          <a:pt x="45" y="28"/>
                          <a:pt x="44" y="28"/>
                        </a:cubicBezTo>
                        <a:cubicBezTo>
                          <a:pt x="44" y="28"/>
                          <a:pt x="45" y="28"/>
                          <a:pt x="45" y="28"/>
                        </a:cubicBezTo>
                        <a:close/>
                        <a:moveTo>
                          <a:pt x="44" y="28"/>
                        </a:moveTo>
                        <a:cubicBezTo>
                          <a:pt x="45" y="28"/>
                          <a:pt x="44" y="29"/>
                          <a:pt x="45" y="29"/>
                        </a:cubicBezTo>
                        <a:cubicBezTo>
                          <a:pt x="45" y="29"/>
                          <a:pt x="45" y="29"/>
                          <a:pt x="44" y="29"/>
                        </a:cubicBezTo>
                        <a:cubicBezTo>
                          <a:pt x="44" y="29"/>
                          <a:pt x="44" y="29"/>
                          <a:pt x="44" y="29"/>
                        </a:cubicBezTo>
                        <a:cubicBezTo>
                          <a:pt x="44" y="29"/>
                          <a:pt x="44" y="29"/>
                          <a:pt x="44" y="29"/>
                        </a:cubicBezTo>
                        <a:cubicBezTo>
                          <a:pt x="44" y="29"/>
                          <a:pt x="44" y="28"/>
                          <a:pt x="44" y="28"/>
                        </a:cubicBezTo>
                        <a:close/>
                        <a:moveTo>
                          <a:pt x="43" y="28"/>
                        </a:moveTo>
                        <a:cubicBezTo>
                          <a:pt x="43" y="28"/>
                          <a:pt x="43" y="28"/>
                          <a:pt x="43" y="28"/>
                        </a:cubicBezTo>
                        <a:cubicBezTo>
                          <a:pt x="43" y="28"/>
                          <a:pt x="43" y="28"/>
                          <a:pt x="43" y="28"/>
                        </a:cubicBezTo>
                        <a:cubicBezTo>
                          <a:pt x="43" y="28"/>
                          <a:pt x="43" y="28"/>
                          <a:pt x="43" y="28"/>
                        </a:cubicBezTo>
                        <a:close/>
                        <a:moveTo>
                          <a:pt x="43" y="29"/>
                        </a:moveTo>
                        <a:cubicBezTo>
                          <a:pt x="43" y="29"/>
                          <a:pt x="43" y="29"/>
                          <a:pt x="43" y="29"/>
                        </a:cubicBezTo>
                        <a:cubicBezTo>
                          <a:pt x="43" y="29"/>
                          <a:pt x="43" y="29"/>
                          <a:pt x="43" y="30"/>
                        </a:cubicBezTo>
                        <a:cubicBezTo>
                          <a:pt x="42" y="30"/>
                          <a:pt x="43" y="29"/>
                          <a:pt x="43" y="29"/>
                        </a:cubicBezTo>
                        <a:cubicBezTo>
                          <a:pt x="43" y="29"/>
                          <a:pt x="43" y="29"/>
                          <a:pt x="43" y="29"/>
                        </a:cubicBezTo>
                        <a:close/>
                        <a:moveTo>
                          <a:pt x="44" y="29"/>
                        </a:moveTo>
                        <a:cubicBezTo>
                          <a:pt x="44" y="29"/>
                          <a:pt x="44" y="29"/>
                          <a:pt x="44" y="29"/>
                        </a:cubicBezTo>
                        <a:cubicBezTo>
                          <a:pt x="44" y="29"/>
                          <a:pt x="44" y="29"/>
                          <a:pt x="44" y="29"/>
                        </a:cubicBezTo>
                        <a:cubicBezTo>
                          <a:pt x="44" y="29"/>
                          <a:pt x="43" y="29"/>
                          <a:pt x="44" y="29"/>
                        </a:cubicBezTo>
                        <a:cubicBezTo>
                          <a:pt x="44" y="29"/>
                          <a:pt x="44" y="29"/>
                          <a:pt x="44" y="29"/>
                        </a:cubicBezTo>
                        <a:cubicBezTo>
                          <a:pt x="44" y="29"/>
                          <a:pt x="44" y="29"/>
                          <a:pt x="44" y="29"/>
                        </a:cubicBezTo>
                        <a:close/>
                        <a:moveTo>
                          <a:pt x="45" y="31"/>
                        </a:moveTo>
                        <a:cubicBezTo>
                          <a:pt x="45" y="31"/>
                          <a:pt x="46" y="31"/>
                          <a:pt x="46" y="31"/>
                        </a:cubicBezTo>
                        <a:cubicBezTo>
                          <a:pt x="46" y="31"/>
                          <a:pt x="46" y="30"/>
                          <a:pt x="46" y="30"/>
                        </a:cubicBezTo>
                        <a:cubicBezTo>
                          <a:pt x="46" y="30"/>
                          <a:pt x="46" y="31"/>
                          <a:pt x="46" y="31"/>
                        </a:cubicBezTo>
                        <a:cubicBezTo>
                          <a:pt x="46" y="31"/>
                          <a:pt x="46" y="31"/>
                          <a:pt x="46" y="31"/>
                        </a:cubicBezTo>
                        <a:cubicBezTo>
                          <a:pt x="46" y="31"/>
                          <a:pt x="45" y="32"/>
                          <a:pt x="45" y="32"/>
                        </a:cubicBezTo>
                        <a:cubicBezTo>
                          <a:pt x="45" y="32"/>
                          <a:pt x="45" y="32"/>
                          <a:pt x="45" y="31"/>
                        </a:cubicBezTo>
                        <a:close/>
                        <a:moveTo>
                          <a:pt x="46" y="30"/>
                        </a:moveTo>
                        <a:cubicBezTo>
                          <a:pt x="46" y="30"/>
                          <a:pt x="46" y="31"/>
                          <a:pt x="46" y="31"/>
                        </a:cubicBezTo>
                        <a:cubicBezTo>
                          <a:pt x="46" y="31"/>
                          <a:pt x="46" y="30"/>
                          <a:pt x="46" y="30"/>
                        </a:cubicBezTo>
                        <a:cubicBezTo>
                          <a:pt x="46" y="30"/>
                          <a:pt x="46" y="30"/>
                          <a:pt x="46" y="30"/>
                        </a:cubicBezTo>
                        <a:cubicBezTo>
                          <a:pt x="46" y="30"/>
                          <a:pt x="46" y="30"/>
                          <a:pt x="46" y="30"/>
                        </a:cubicBezTo>
                        <a:cubicBezTo>
                          <a:pt x="46" y="30"/>
                          <a:pt x="46" y="31"/>
                          <a:pt x="46" y="30"/>
                        </a:cubicBezTo>
                        <a:close/>
                        <a:moveTo>
                          <a:pt x="44" y="30"/>
                        </a:moveTo>
                        <a:cubicBezTo>
                          <a:pt x="44" y="30"/>
                          <a:pt x="44" y="30"/>
                          <a:pt x="44" y="30"/>
                        </a:cubicBezTo>
                        <a:cubicBezTo>
                          <a:pt x="44" y="30"/>
                          <a:pt x="44" y="30"/>
                          <a:pt x="44" y="30"/>
                        </a:cubicBezTo>
                        <a:cubicBezTo>
                          <a:pt x="44" y="30"/>
                          <a:pt x="44" y="30"/>
                          <a:pt x="44" y="30"/>
                        </a:cubicBezTo>
                        <a:close/>
                        <a:moveTo>
                          <a:pt x="46" y="31"/>
                        </a:moveTo>
                        <a:cubicBezTo>
                          <a:pt x="46" y="31"/>
                          <a:pt x="46" y="31"/>
                          <a:pt x="46" y="31"/>
                        </a:cubicBezTo>
                        <a:cubicBezTo>
                          <a:pt x="46" y="31"/>
                          <a:pt x="46" y="31"/>
                          <a:pt x="46" y="31"/>
                        </a:cubicBezTo>
                        <a:close/>
                        <a:moveTo>
                          <a:pt x="49" y="33"/>
                        </a:moveTo>
                        <a:cubicBezTo>
                          <a:pt x="49" y="33"/>
                          <a:pt x="49" y="33"/>
                          <a:pt x="49" y="33"/>
                        </a:cubicBezTo>
                        <a:cubicBezTo>
                          <a:pt x="49" y="33"/>
                          <a:pt x="49" y="33"/>
                          <a:pt x="49" y="33"/>
                        </a:cubicBezTo>
                        <a:cubicBezTo>
                          <a:pt x="49" y="34"/>
                          <a:pt x="48" y="34"/>
                          <a:pt x="48" y="35"/>
                        </a:cubicBezTo>
                        <a:cubicBezTo>
                          <a:pt x="48" y="35"/>
                          <a:pt x="48" y="35"/>
                          <a:pt x="48" y="34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7" y="35"/>
                          <a:pt x="48" y="35"/>
                          <a:pt x="47" y="35"/>
                        </a:cubicBezTo>
                        <a:cubicBezTo>
                          <a:pt x="48" y="34"/>
                          <a:pt x="48" y="34"/>
                          <a:pt x="48" y="34"/>
                        </a:cubicBezTo>
                        <a:cubicBezTo>
                          <a:pt x="48" y="34"/>
                          <a:pt x="48" y="34"/>
                          <a:pt x="48" y="34"/>
                        </a:cubicBezTo>
                        <a:cubicBezTo>
                          <a:pt x="48" y="34"/>
                          <a:pt x="48" y="34"/>
                          <a:pt x="48" y="34"/>
                        </a:cubicBezTo>
                        <a:cubicBezTo>
                          <a:pt x="48" y="34"/>
                          <a:pt x="48" y="33"/>
                          <a:pt x="48" y="33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3"/>
                          <a:pt x="49" y="33"/>
                          <a:pt x="49" y="32"/>
                        </a:cubicBezTo>
                        <a:cubicBezTo>
                          <a:pt x="49" y="33"/>
                          <a:pt x="49" y="33"/>
                          <a:pt x="49" y="33"/>
                        </a:cubicBezTo>
                        <a:cubicBezTo>
                          <a:pt x="49" y="33"/>
                          <a:pt x="49" y="33"/>
                          <a:pt x="49" y="33"/>
                        </a:cubicBezTo>
                        <a:close/>
                        <a:moveTo>
                          <a:pt x="46" y="31"/>
                        </a:moveTo>
                        <a:cubicBezTo>
                          <a:pt x="46" y="31"/>
                          <a:pt x="46" y="31"/>
                          <a:pt x="46" y="31"/>
                        </a:cubicBezTo>
                        <a:cubicBezTo>
                          <a:pt x="46" y="31"/>
                          <a:pt x="46" y="31"/>
                          <a:pt x="46" y="32"/>
                        </a:cubicBezTo>
                        <a:cubicBezTo>
                          <a:pt x="46" y="31"/>
                          <a:pt x="46" y="31"/>
                          <a:pt x="46" y="31"/>
                        </a:cubicBezTo>
                        <a:close/>
                        <a:moveTo>
                          <a:pt x="43" y="31"/>
                        </a:moveTo>
                        <a:cubicBezTo>
                          <a:pt x="43" y="32"/>
                          <a:pt x="43" y="32"/>
                          <a:pt x="42" y="33"/>
                        </a:cubicBezTo>
                        <a:cubicBezTo>
                          <a:pt x="42" y="33"/>
                          <a:pt x="42" y="32"/>
                          <a:pt x="42" y="32"/>
                        </a:cubicBezTo>
                        <a:cubicBezTo>
                          <a:pt x="42" y="32"/>
                          <a:pt x="42" y="32"/>
                          <a:pt x="42" y="32"/>
                        </a:cubicBezTo>
                        <a:cubicBezTo>
                          <a:pt x="43" y="31"/>
                          <a:pt x="43" y="31"/>
                          <a:pt x="43" y="30"/>
                        </a:cubicBezTo>
                        <a:cubicBezTo>
                          <a:pt x="43" y="30"/>
                          <a:pt x="43" y="30"/>
                          <a:pt x="43" y="30"/>
                        </a:cubicBezTo>
                        <a:cubicBezTo>
                          <a:pt x="44" y="30"/>
                          <a:pt x="43" y="30"/>
                          <a:pt x="43" y="31"/>
                        </a:cubicBezTo>
                        <a:cubicBezTo>
                          <a:pt x="43" y="31"/>
                          <a:pt x="43" y="30"/>
                          <a:pt x="43" y="30"/>
                        </a:cubicBezTo>
                        <a:cubicBezTo>
                          <a:pt x="43" y="31"/>
                          <a:pt x="43" y="31"/>
                          <a:pt x="43" y="31"/>
                        </a:cubicBezTo>
                        <a:cubicBezTo>
                          <a:pt x="43" y="31"/>
                          <a:pt x="43" y="31"/>
                          <a:pt x="43" y="31"/>
                        </a:cubicBezTo>
                        <a:close/>
                        <a:moveTo>
                          <a:pt x="43" y="30"/>
                        </a:moveTo>
                        <a:cubicBezTo>
                          <a:pt x="43" y="30"/>
                          <a:pt x="43" y="30"/>
                          <a:pt x="43" y="30"/>
                        </a:cubicBezTo>
                        <a:cubicBezTo>
                          <a:pt x="43" y="30"/>
                          <a:pt x="43" y="30"/>
                          <a:pt x="43" y="30"/>
                        </a:cubicBezTo>
                        <a:cubicBezTo>
                          <a:pt x="43" y="30"/>
                          <a:pt x="43" y="30"/>
                          <a:pt x="43" y="30"/>
                        </a:cubicBezTo>
                        <a:cubicBezTo>
                          <a:pt x="43" y="30"/>
                          <a:pt x="43" y="30"/>
                          <a:pt x="43" y="30"/>
                        </a:cubicBezTo>
                        <a:close/>
                        <a:moveTo>
                          <a:pt x="47" y="34"/>
                        </a:moveTo>
                        <a:cubicBezTo>
                          <a:pt x="47" y="34"/>
                          <a:pt x="47" y="34"/>
                          <a:pt x="47" y="34"/>
                        </a:cubicBezTo>
                        <a:cubicBezTo>
                          <a:pt x="47" y="34"/>
                          <a:pt x="47" y="34"/>
                          <a:pt x="47" y="34"/>
                        </a:cubicBezTo>
                        <a:cubicBezTo>
                          <a:pt x="47" y="34"/>
                          <a:pt x="48" y="33"/>
                          <a:pt x="48" y="33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3"/>
                          <a:pt x="48" y="33"/>
                          <a:pt x="48" y="33"/>
                        </a:cubicBezTo>
                        <a:cubicBezTo>
                          <a:pt x="48" y="34"/>
                          <a:pt x="48" y="34"/>
                          <a:pt x="48" y="34"/>
                        </a:cubicBezTo>
                        <a:cubicBezTo>
                          <a:pt x="48" y="34"/>
                          <a:pt x="48" y="34"/>
                          <a:pt x="48" y="34"/>
                        </a:cubicBezTo>
                        <a:cubicBezTo>
                          <a:pt x="48" y="34"/>
                          <a:pt x="47" y="34"/>
                          <a:pt x="47" y="35"/>
                        </a:cubicBezTo>
                        <a:cubicBezTo>
                          <a:pt x="47" y="35"/>
                          <a:pt x="47" y="34"/>
                          <a:pt x="47" y="34"/>
                        </a:cubicBezTo>
                        <a:cubicBezTo>
                          <a:pt x="47" y="34"/>
                          <a:pt x="47" y="34"/>
                          <a:pt x="47" y="34"/>
                        </a:cubicBezTo>
                        <a:close/>
                        <a:moveTo>
                          <a:pt x="40" y="30"/>
                        </a:moveTo>
                        <a:cubicBezTo>
                          <a:pt x="40" y="30"/>
                          <a:pt x="40" y="30"/>
                          <a:pt x="40" y="30"/>
                        </a:cubicBezTo>
                        <a:cubicBezTo>
                          <a:pt x="40" y="30"/>
                          <a:pt x="40" y="30"/>
                          <a:pt x="40" y="30"/>
                        </a:cubicBezTo>
                        <a:close/>
                        <a:moveTo>
                          <a:pt x="42" y="31"/>
                        </a:moveTo>
                        <a:cubicBezTo>
                          <a:pt x="41" y="31"/>
                          <a:pt x="41" y="30"/>
                          <a:pt x="41" y="31"/>
                        </a:cubicBezTo>
                        <a:cubicBezTo>
                          <a:pt x="41" y="31"/>
                          <a:pt x="41" y="30"/>
                          <a:pt x="41" y="30"/>
                        </a:cubicBezTo>
                        <a:cubicBezTo>
                          <a:pt x="42" y="30"/>
                          <a:pt x="42" y="30"/>
                          <a:pt x="42" y="31"/>
                        </a:cubicBezTo>
                        <a:close/>
                        <a:moveTo>
                          <a:pt x="43" y="33"/>
                        </a:moveTo>
                        <a:cubicBezTo>
                          <a:pt x="43" y="33"/>
                          <a:pt x="43" y="33"/>
                          <a:pt x="43" y="33"/>
                        </a:cubicBezTo>
                        <a:cubicBezTo>
                          <a:pt x="43" y="33"/>
                          <a:pt x="43" y="33"/>
                          <a:pt x="43" y="34"/>
                        </a:cubicBezTo>
                        <a:cubicBezTo>
                          <a:pt x="43" y="34"/>
                          <a:pt x="43" y="34"/>
                          <a:pt x="43" y="34"/>
                        </a:cubicBezTo>
                        <a:cubicBezTo>
                          <a:pt x="43" y="34"/>
                          <a:pt x="43" y="34"/>
                          <a:pt x="43" y="34"/>
                        </a:cubicBezTo>
                        <a:cubicBezTo>
                          <a:pt x="43" y="34"/>
                          <a:pt x="43" y="34"/>
                          <a:pt x="43" y="34"/>
                        </a:cubicBezTo>
                        <a:cubicBezTo>
                          <a:pt x="43" y="34"/>
                          <a:pt x="43" y="34"/>
                          <a:pt x="43" y="34"/>
                        </a:cubicBezTo>
                        <a:cubicBezTo>
                          <a:pt x="43" y="34"/>
                          <a:pt x="43" y="34"/>
                          <a:pt x="43" y="34"/>
                        </a:cubicBezTo>
                        <a:cubicBezTo>
                          <a:pt x="43" y="34"/>
                          <a:pt x="43" y="34"/>
                          <a:pt x="43" y="35"/>
                        </a:cubicBezTo>
                        <a:cubicBezTo>
                          <a:pt x="42" y="35"/>
                          <a:pt x="42" y="34"/>
                          <a:pt x="42" y="34"/>
                        </a:cubicBezTo>
                        <a:cubicBezTo>
                          <a:pt x="43" y="34"/>
                          <a:pt x="43" y="33"/>
                          <a:pt x="43" y="33"/>
                        </a:cubicBezTo>
                        <a:cubicBezTo>
                          <a:pt x="43" y="33"/>
                          <a:pt x="43" y="33"/>
                          <a:pt x="43" y="33"/>
                        </a:cubicBezTo>
                        <a:close/>
                        <a:moveTo>
                          <a:pt x="43" y="36"/>
                        </a:moveTo>
                        <a:cubicBezTo>
                          <a:pt x="43" y="36"/>
                          <a:pt x="43" y="36"/>
                          <a:pt x="42" y="36"/>
                        </a:cubicBezTo>
                        <a:cubicBezTo>
                          <a:pt x="42" y="37"/>
                          <a:pt x="42" y="36"/>
                          <a:pt x="42" y="36"/>
                        </a:cubicBezTo>
                        <a:cubicBezTo>
                          <a:pt x="42" y="36"/>
                          <a:pt x="42" y="37"/>
                          <a:pt x="42" y="37"/>
                        </a:cubicBezTo>
                        <a:cubicBezTo>
                          <a:pt x="42" y="37"/>
                          <a:pt x="42" y="37"/>
                          <a:pt x="42" y="37"/>
                        </a:cubicBezTo>
                        <a:cubicBezTo>
                          <a:pt x="42" y="36"/>
                          <a:pt x="42" y="36"/>
                          <a:pt x="43" y="36"/>
                        </a:cubicBezTo>
                        <a:close/>
                        <a:moveTo>
                          <a:pt x="41" y="36"/>
                        </a:moveTo>
                        <a:cubicBezTo>
                          <a:pt x="41" y="36"/>
                          <a:pt x="41" y="36"/>
                          <a:pt x="41" y="36"/>
                        </a:cubicBezTo>
                        <a:cubicBezTo>
                          <a:pt x="41" y="36"/>
                          <a:pt x="41" y="36"/>
                          <a:pt x="41" y="36"/>
                        </a:cubicBezTo>
                        <a:cubicBezTo>
                          <a:pt x="41" y="36"/>
                          <a:pt x="41" y="36"/>
                          <a:pt x="41" y="36"/>
                        </a:cubicBezTo>
                        <a:cubicBezTo>
                          <a:pt x="41" y="35"/>
                          <a:pt x="41" y="36"/>
                          <a:pt x="41" y="36"/>
                        </a:cubicBezTo>
                        <a:cubicBezTo>
                          <a:pt x="41" y="36"/>
                          <a:pt x="41" y="36"/>
                          <a:pt x="41" y="36"/>
                        </a:cubicBezTo>
                        <a:close/>
                        <a:moveTo>
                          <a:pt x="40" y="36"/>
                        </a:moveTo>
                        <a:cubicBezTo>
                          <a:pt x="39" y="37"/>
                          <a:pt x="39" y="38"/>
                          <a:pt x="39" y="38"/>
                        </a:cubicBezTo>
                        <a:cubicBezTo>
                          <a:pt x="39" y="38"/>
                          <a:pt x="39" y="38"/>
                          <a:pt x="39" y="38"/>
                        </a:cubicBezTo>
                        <a:cubicBezTo>
                          <a:pt x="39" y="38"/>
                          <a:pt x="39" y="37"/>
                          <a:pt x="39" y="37"/>
                        </a:cubicBezTo>
                        <a:cubicBezTo>
                          <a:pt x="39" y="37"/>
                          <a:pt x="39" y="36"/>
                          <a:pt x="40" y="35"/>
                        </a:cubicBezTo>
                        <a:cubicBezTo>
                          <a:pt x="40" y="36"/>
                          <a:pt x="39" y="36"/>
                          <a:pt x="40" y="36"/>
                        </a:cubicBezTo>
                        <a:close/>
                        <a:moveTo>
                          <a:pt x="40" y="37"/>
                        </a:moveTo>
                        <a:cubicBezTo>
                          <a:pt x="40" y="37"/>
                          <a:pt x="40" y="37"/>
                          <a:pt x="40" y="38"/>
                        </a:cubicBezTo>
                        <a:cubicBezTo>
                          <a:pt x="40" y="38"/>
                          <a:pt x="40" y="37"/>
                          <a:pt x="40" y="37"/>
                        </a:cubicBezTo>
                        <a:cubicBezTo>
                          <a:pt x="40" y="37"/>
                          <a:pt x="40" y="38"/>
                          <a:pt x="40" y="38"/>
                        </a:cubicBezTo>
                        <a:cubicBezTo>
                          <a:pt x="40" y="38"/>
                          <a:pt x="40" y="37"/>
                          <a:pt x="40" y="38"/>
                        </a:cubicBezTo>
                        <a:cubicBezTo>
                          <a:pt x="40" y="38"/>
                          <a:pt x="40" y="38"/>
                          <a:pt x="40" y="38"/>
                        </a:cubicBezTo>
                        <a:cubicBezTo>
                          <a:pt x="40" y="38"/>
                          <a:pt x="40" y="38"/>
                          <a:pt x="40" y="38"/>
                        </a:cubicBezTo>
                        <a:cubicBezTo>
                          <a:pt x="40" y="37"/>
                          <a:pt x="40" y="37"/>
                          <a:pt x="40" y="37"/>
                        </a:cubicBezTo>
                        <a:cubicBezTo>
                          <a:pt x="40" y="37"/>
                          <a:pt x="40" y="37"/>
                          <a:pt x="40" y="37"/>
                        </a:cubicBezTo>
                        <a:close/>
                        <a:moveTo>
                          <a:pt x="40" y="37"/>
                        </a:moveTo>
                        <a:cubicBezTo>
                          <a:pt x="40" y="37"/>
                          <a:pt x="40" y="37"/>
                          <a:pt x="40" y="37"/>
                        </a:cubicBezTo>
                        <a:cubicBezTo>
                          <a:pt x="40" y="37"/>
                          <a:pt x="40" y="37"/>
                          <a:pt x="40" y="37"/>
                        </a:cubicBezTo>
                        <a:close/>
                        <a:moveTo>
                          <a:pt x="41" y="38"/>
                        </a:moveTo>
                        <a:cubicBezTo>
                          <a:pt x="41" y="38"/>
                          <a:pt x="41" y="38"/>
                          <a:pt x="41" y="38"/>
                        </a:cubicBezTo>
                        <a:cubicBezTo>
                          <a:pt x="41" y="38"/>
                          <a:pt x="41" y="38"/>
                          <a:pt x="42" y="38"/>
                        </a:cubicBezTo>
                        <a:cubicBezTo>
                          <a:pt x="41" y="38"/>
                          <a:pt x="41" y="38"/>
                          <a:pt x="41" y="39"/>
                        </a:cubicBezTo>
                        <a:cubicBezTo>
                          <a:pt x="41" y="39"/>
                          <a:pt x="41" y="38"/>
                          <a:pt x="41" y="38"/>
                        </a:cubicBezTo>
                        <a:cubicBezTo>
                          <a:pt x="41" y="38"/>
                          <a:pt x="41" y="38"/>
                          <a:pt x="41" y="38"/>
                        </a:cubicBezTo>
                        <a:cubicBezTo>
                          <a:pt x="41" y="38"/>
                          <a:pt x="41" y="38"/>
                          <a:pt x="41" y="38"/>
                        </a:cubicBezTo>
                        <a:cubicBezTo>
                          <a:pt x="41" y="38"/>
                          <a:pt x="41" y="38"/>
                          <a:pt x="41" y="38"/>
                        </a:cubicBezTo>
                        <a:cubicBezTo>
                          <a:pt x="41" y="38"/>
                          <a:pt x="41" y="38"/>
                          <a:pt x="41" y="38"/>
                        </a:cubicBezTo>
                        <a:close/>
                        <a:moveTo>
                          <a:pt x="46" y="42"/>
                        </a:moveTo>
                        <a:cubicBezTo>
                          <a:pt x="47" y="42"/>
                          <a:pt x="47" y="42"/>
                          <a:pt x="47" y="42"/>
                        </a:cubicBezTo>
                        <a:cubicBezTo>
                          <a:pt x="47" y="42"/>
                          <a:pt x="46" y="42"/>
                          <a:pt x="46" y="43"/>
                        </a:cubicBezTo>
                        <a:cubicBezTo>
                          <a:pt x="46" y="43"/>
                          <a:pt x="46" y="42"/>
                          <a:pt x="46" y="42"/>
                        </a:cubicBezTo>
                        <a:cubicBezTo>
                          <a:pt x="46" y="42"/>
                          <a:pt x="46" y="42"/>
                          <a:pt x="46" y="43"/>
                        </a:cubicBezTo>
                        <a:cubicBezTo>
                          <a:pt x="46" y="42"/>
                          <a:pt x="46" y="42"/>
                          <a:pt x="46" y="42"/>
                        </a:cubicBezTo>
                        <a:close/>
                        <a:moveTo>
                          <a:pt x="44" y="42"/>
                        </a:moveTo>
                        <a:cubicBezTo>
                          <a:pt x="44" y="42"/>
                          <a:pt x="45" y="42"/>
                          <a:pt x="44" y="42"/>
                        </a:cubicBezTo>
                        <a:cubicBezTo>
                          <a:pt x="44" y="42"/>
                          <a:pt x="44" y="42"/>
                          <a:pt x="44" y="42"/>
                        </a:cubicBezTo>
                        <a:cubicBezTo>
                          <a:pt x="44" y="43"/>
                          <a:pt x="44" y="43"/>
                          <a:pt x="44" y="43"/>
                        </a:cubicBezTo>
                        <a:cubicBezTo>
                          <a:pt x="43" y="43"/>
                          <a:pt x="44" y="42"/>
                          <a:pt x="44" y="42"/>
                        </a:cubicBezTo>
                        <a:close/>
                        <a:moveTo>
                          <a:pt x="39" y="40"/>
                        </a:moveTo>
                        <a:cubicBezTo>
                          <a:pt x="39" y="40"/>
                          <a:pt x="39" y="40"/>
                          <a:pt x="39" y="40"/>
                        </a:cubicBezTo>
                        <a:cubicBezTo>
                          <a:pt x="39" y="40"/>
                          <a:pt x="39" y="40"/>
                          <a:pt x="39" y="39"/>
                        </a:cubicBezTo>
                        <a:cubicBezTo>
                          <a:pt x="39" y="40"/>
                          <a:pt x="39" y="40"/>
                          <a:pt x="39" y="40"/>
                        </a:cubicBezTo>
                        <a:cubicBezTo>
                          <a:pt x="39" y="40"/>
                          <a:pt x="39" y="40"/>
                          <a:pt x="39" y="40"/>
                        </a:cubicBezTo>
                        <a:cubicBezTo>
                          <a:pt x="39" y="40"/>
                          <a:pt x="39" y="40"/>
                          <a:pt x="39" y="40"/>
                        </a:cubicBezTo>
                        <a:close/>
                        <a:moveTo>
                          <a:pt x="43" y="46"/>
                        </a:moveTo>
                        <a:cubicBezTo>
                          <a:pt x="43" y="46"/>
                          <a:pt x="43" y="46"/>
                          <a:pt x="43" y="46"/>
                        </a:cubicBezTo>
                        <a:cubicBezTo>
                          <a:pt x="42" y="46"/>
                          <a:pt x="42" y="46"/>
                          <a:pt x="42" y="47"/>
                        </a:cubicBezTo>
                        <a:cubicBezTo>
                          <a:pt x="42" y="47"/>
                          <a:pt x="42" y="47"/>
                          <a:pt x="42" y="47"/>
                        </a:cubicBezTo>
                        <a:cubicBezTo>
                          <a:pt x="42" y="47"/>
                          <a:pt x="42" y="47"/>
                          <a:pt x="42" y="47"/>
                        </a:cubicBezTo>
                        <a:cubicBezTo>
                          <a:pt x="42" y="47"/>
                          <a:pt x="42" y="47"/>
                          <a:pt x="42" y="47"/>
                        </a:cubicBezTo>
                        <a:cubicBezTo>
                          <a:pt x="42" y="47"/>
                          <a:pt x="42" y="47"/>
                          <a:pt x="42" y="47"/>
                        </a:cubicBezTo>
                        <a:cubicBezTo>
                          <a:pt x="42" y="46"/>
                          <a:pt x="43" y="45"/>
                          <a:pt x="43" y="44"/>
                        </a:cubicBezTo>
                        <a:cubicBezTo>
                          <a:pt x="43" y="44"/>
                          <a:pt x="44" y="43"/>
                          <a:pt x="44" y="43"/>
                        </a:cubicBezTo>
                        <a:cubicBezTo>
                          <a:pt x="44" y="43"/>
                          <a:pt x="44" y="43"/>
                          <a:pt x="44" y="44"/>
                        </a:cubicBezTo>
                        <a:cubicBezTo>
                          <a:pt x="44" y="44"/>
                          <a:pt x="44" y="44"/>
                          <a:pt x="44" y="44"/>
                        </a:cubicBezTo>
                        <a:cubicBezTo>
                          <a:pt x="44" y="44"/>
                          <a:pt x="44" y="44"/>
                          <a:pt x="44" y="44"/>
                        </a:cubicBezTo>
                        <a:cubicBezTo>
                          <a:pt x="44" y="44"/>
                          <a:pt x="44" y="44"/>
                          <a:pt x="44" y="44"/>
                        </a:cubicBezTo>
                        <a:cubicBezTo>
                          <a:pt x="43" y="44"/>
                          <a:pt x="43" y="45"/>
                          <a:pt x="43" y="46"/>
                        </a:cubicBezTo>
                        <a:cubicBezTo>
                          <a:pt x="43" y="46"/>
                          <a:pt x="43" y="46"/>
                          <a:pt x="43" y="46"/>
                        </a:cubicBezTo>
                        <a:close/>
                        <a:moveTo>
                          <a:pt x="42" y="46"/>
                        </a:moveTo>
                        <a:cubicBezTo>
                          <a:pt x="42" y="46"/>
                          <a:pt x="42" y="46"/>
                          <a:pt x="42" y="46"/>
                        </a:cubicBezTo>
                        <a:cubicBezTo>
                          <a:pt x="42" y="46"/>
                          <a:pt x="42" y="46"/>
                          <a:pt x="42" y="46"/>
                        </a:cubicBezTo>
                        <a:cubicBezTo>
                          <a:pt x="42" y="46"/>
                          <a:pt x="42" y="46"/>
                          <a:pt x="42" y="46"/>
                        </a:cubicBezTo>
                        <a:close/>
                        <a:moveTo>
                          <a:pt x="43" y="44"/>
                        </a:moveTo>
                        <a:cubicBezTo>
                          <a:pt x="43" y="44"/>
                          <a:pt x="43" y="44"/>
                          <a:pt x="43" y="44"/>
                        </a:cubicBezTo>
                        <a:cubicBezTo>
                          <a:pt x="43" y="44"/>
                          <a:pt x="43" y="44"/>
                          <a:pt x="43" y="44"/>
                        </a:cubicBezTo>
                        <a:close/>
                        <a:moveTo>
                          <a:pt x="45" y="45"/>
                        </a:move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4" y="45"/>
                        </a:cubicBezTo>
                        <a:cubicBezTo>
                          <a:pt x="44" y="45"/>
                          <a:pt x="44" y="45"/>
                          <a:pt x="44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lose/>
                        <a:moveTo>
                          <a:pt x="45" y="45"/>
                        </a:moveTo>
                        <a:cubicBezTo>
                          <a:pt x="45" y="45"/>
                          <a:pt x="45" y="46"/>
                          <a:pt x="45" y="46"/>
                        </a:cubicBezTo>
                        <a:cubicBezTo>
                          <a:pt x="45" y="46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6"/>
                        </a:cubicBezTo>
                        <a:cubicBezTo>
                          <a:pt x="45" y="46"/>
                          <a:pt x="44" y="46"/>
                          <a:pt x="44" y="46"/>
                        </a:cubicBezTo>
                        <a:cubicBezTo>
                          <a:pt x="44" y="46"/>
                          <a:pt x="44" y="46"/>
                          <a:pt x="44" y="45"/>
                        </a:cubicBezTo>
                        <a:cubicBezTo>
                          <a:pt x="44" y="45"/>
                          <a:pt x="44" y="46"/>
                          <a:pt x="44" y="46"/>
                        </a:cubicBezTo>
                        <a:cubicBezTo>
                          <a:pt x="44" y="46"/>
                          <a:pt x="44" y="45"/>
                          <a:pt x="44" y="45"/>
                        </a:cubicBezTo>
                        <a:cubicBezTo>
                          <a:pt x="44" y="45"/>
                          <a:pt x="44" y="45"/>
                          <a:pt x="44" y="45"/>
                        </a:cubicBezTo>
                        <a:cubicBezTo>
                          <a:pt x="44" y="45"/>
                          <a:pt x="44" y="45"/>
                          <a:pt x="44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ubicBezTo>
                          <a:pt x="45" y="45"/>
                          <a:pt x="45" y="45"/>
                          <a:pt x="45" y="45"/>
                        </a:cubicBezTo>
                        <a:close/>
                        <a:moveTo>
                          <a:pt x="44" y="46"/>
                        </a:moveTo>
                        <a:cubicBezTo>
                          <a:pt x="44" y="46"/>
                          <a:pt x="44" y="46"/>
                          <a:pt x="44" y="46"/>
                        </a:cubicBezTo>
                        <a:cubicBezTo>
                          <a:pt x="44" y="46"/>
                          <a:pt x="44" y="46"/>
                          <a:pt x="44" y="46"/>
                        </a:cubicBezTo>
                        <a:cubicBezTo>
                          <a:pt x="44" y="46"/>
                          <a:pt x="44" y="46"/>
                          <a:pt x="44" y="46"/>
                        </a:cubicBezTo>
                        <a:cubicBezTo>
                          <a:pt x="44" y="46"/>
                          <a:pt x="44" y="46"/>
                          <a:pt x="44" y="46"/>
                        </a:cubicBezTo>
                        <a:cubicBezTo>
                          <a:pt x="44" y="46"/>
                          <a:pt x="44" y="46"/>
                          <a:pt x="44" y="46"/>
                        </a:cubicBezTo>
                        <a:cubicBezTo>
                          <a:pt x="44" y="46"/>
                          <a:pt x="44" y="46"/>
                          <a:pt x="44" y="46"/>
                        </a:cubicBezTo>
                        <a:cubicBezTo>
                          <a:pt x="44" y="46"/>
                          <a:pt x="44" y="46"/>
                          <a:pt x="44" y="46"/>
                        </a:cubicBezTo>
                        <a:cubicBezTo>
                          <a:pt x="44" y="46"/>
                          <a:pt x="44" y="46"/>
                          <a:pt x="44" y="46"/>
                        </a:cubicBezTo>
                        <a:close/>
                        <a:moveTo>
                          <a:pt x="41" y="45"/>
                        </a:moveTo>
                        <a:cubicBezTo>
                          <a:pt x="41" y="45"/>
                          <a:pt x="41" y="45"/>
                          <a:pt x="41" y="45"/>
                        </a:cubicBezTo>
                        <a:cubicBezTo>
                          <a:pt x="41" y="45"/>
                          <a:pt x="41" y="45"/>
                          <a:pt x="41" y="45"/>
                        </a:cubicBezTo>
                        <a:cubicBezTo>
                          <a:pt x="41" y="45"/>
                          <a:pt x="41" y="45"/>
                          <a:pt x="41" y="45"/>
                        </a:cubicBezTo>
                        <a:cubicBezTo>
                          <a:pt x="41" y="45"/>
                          <a:pt x="41" y="45"/>
                          <a:pt x="41" y="44"/>
                        </a:cubicBezTo>
                        <a:cubicBezTo>
                          <a:pt x="41" y="44"/>
                          <a:pt x="41" y="45"/>
                          <a:pt x="41" y="45"/>
                        </a:cubicBezTo>
                        <a:cubicBezTo>
                          <a:pt x="41" y="45"/>
                          <a:pt x="41" y="45"/>
                          <a:pt x="41" y="45"/>
                        </a:cubicBezTo>
                        <a:cubicBezTo>
                          <a:pt x="41" y="45"/>
                          <a:pt x="41" y="45"/>
                          <a:pt x="41" y="45"/>
                        </a:cubicBezTo>
                        <a:cubicBezTo>
                          <a:pt x="41" y="45"/>
                          <a:pt x="41" y="45"/>
                          <a:pt x="41" y="45"/>
                        </a:cubicBezTo>
                        <a:cubicBezTo>
                          <a:pt x="42" y="45"/>
                          <a:pt x="41" y="45"/>
                          <a:pt x="42" y="45"/>
                        </a:cubicBezTo>
                        <a:cubicBezTo>
                          <a:pt x="41" y="45"/>
                          <a:pt x="41" y="45"/>
                          <a:pt x="41" y="45"/>
                        </a:cubicBezTo>
                        <a:cubicBezTo>
                          <a:pt x="41" y="45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1" y="46"/>
                          <a:pt x="41" y="45"/>
                        </a:cubicBezTo>
                        <a:cubicBezTo>
                          <a:pt x="41" y="46"/>
                          <a:pt x="40" y="46"/>
                          <a:pt x="40" y="46"/>
                        </a:cubicBezTo>
                        <a:cubicBezTo>
                          <a:pt x="40" y="45"/>
                          <a:pt x="40" y="45"/>
                          <a:pt x="40" y="45"/>
                        </a:cubicBezTo>
                        <a:cubicBezTo>
                          <a:pt x="40" y="45"/>
                          <a:pt x="40" y="45"/>
                          <a:pt x="40" y="45"/>
                        </a:cubicBezTo>
                        <a:cubicBezTo>
                          <a:pt x="41" y="45"/>
                          <a:pt x="40" y="45"/>
                          <a:pt x="40" y="45"/>
                        </a:cubicBezTo>
                        <a:cubicBezTo>
                          <a:pt x="40" y="45"/>
                          <a:pt x="40" y="45"/>
                          <a:pt x="40" y="45"/>
                        </a:cubicBezTo>
                        <a:cubicBezTo>
                          <a:pt x="40" y="45"/>
                          <a:pt x="40" y="45"/>
                          <a:pt x="40" y="45"/>
                        </a:cubicBezTo>
                        <a:cubicBezTo>
                          <a:pt x="40" y="45"/>
                          <a:pt x="40" y="45"/>
                          <a:pt x="40" y="45"/>
                        </a:cubicBezTo>
                        <a:cubicBezTo>
                          <a:pt x="40" y="45"/>
                          <a:pt x="41" y="45"/>
                          <a:pt x="41" y="45"/>
                        </a:cubicBezTo>
                        <a:cubicBezTo>
                          <a:pt x="41" y="45"/>
                          <a:pt x="41" y="45"/>
                          <a:pt x="41" y="45"/>
                        </a:cubicBezTo>
                        <a:close/>
                        <a:moveTo>
                          <a:pt x="41" y="45"/>
                        </a:moveTo>
                        <a:cubicBezTo>
                          <a:pt x="40" y="45"/>
                          <a:pt x="41" y="45"/>
                          <a:pt x="41" y="45"/>
                        </a:cubicBezTo>
                        <a:cubicBezTo>
                          <a:pt x="41" y="45"/>
                          <a:pt x="41" y="45"/>
                          <a:pt x="41" y="45"/>
                        </a:cubicBezTo>
                        <a:close/>
                        <a:moveTo>
                          <a:pt x="41" y="44"/>
                        </a:moveTo>
                        <a:cubicBezTo>
                          <a:pt x="42" y="45"/>
                          <a:pt x="42" y="45"/>
                          <a:pt x="42" y="45"/>
                        </a:cubicBezTo>
                        <a:cubicBezTo>
                          <a:pt x="41" y="45"/>
                          <a:pt x="41" y="45"/>
                          <a:pt x="41" y="44"/>
                        </a:cubicBezTo>
                        <a:close/>
                        <a:moveTo>
                          <a:pt x="40" y="46"/>
                        </a:move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1" y="46"/>
                          <a:pt x="40" y="46"/>
                          <a:pt x="40" y="46"/>
                        </a:cubicBezTo>
                        <a:close/>
                        <a:moveTo>
                          <a:pt x="40" y="46"/>
                        </a:moveTo>
                        <a:cubicBezTo>
                          <a:pt x="40" y="46"/>
                          <a:pt x="41" y="47"/>
                          <a:pt x="41" y="47"/>
                        </a:cubicBezTo>
                        <a:cubicBezTo>
                          <a:pt x="41" y="47"/>
                          <a:pt x="41" y="47"/>
                          <a:pt x="41" y="47"/>
                        </a:cubicBezTo>
                        <a:cubicBezTo>
                          <a:pt x="41" y="47"/>
                          <a:pt x="41" y="47"/>
                          <a:pt x="41" y="47"/>
                        </a:cubicBezTo>
                        <a:cubicBezTo>
                          <a:pt x="41" y="46"/>
                          <a:pt x="41" y="46"/>
                          <a:pt x="41" y="46"/>
                        </a:cubicBezTo>
                        <a:cubicBezTo>
                          <a:pt x="42" y="46"/>
                          <a:pt x="41" y="46"/>
                          <a:pt x="41" y="47"/>
                        </a:cubicBezTo>
                        <a:cubicBezTo>
                          <a:pt x="41" y="47"/>
                          <a:pt x="41" y="47"/>
                          <a:pt x="41" y="47"/>
                        </a:cubicBezTo>
                        <a:cubicBezTo>
                          <a:pt x="41" y="47"/>
                          <a:pt x="41" y="47"/>
                          <a:pt x="41" y="47"/>
                        </a:cubicBezTo>
                        <a:cubicBezTo>
                          <a:pt x="41" y="47"/>
                          <a:pt x="41" y="47"/>
                          <a:pt x="41" y="47"/>
                        </a:cubicBezTo>
                        <a:cubicBezTo>
                          <a:pt x="41" y="47"/>
                          <a:pt x="40" y="47"/>
                          <a:pt x="40" y="46"/>
                        </a:cubicBezTo>
                        <a:close/>
                        <a:moveTo>
                          <a:pt x="40" y="49"/>
                        </a:moveTo>
                        <a:cubicBezTo>
                          <a:pt x="40" y="49"/>
                          <a:pt x="40" y="48"/>
                          <a:pt x="41" y="48"/>
                        </a:cubicBezTo>
                        <a:cubicBezTo>
                          <a:pt x="41" y="48"/>
                          <a:pt x="41" y="48"/>
                          <a:pt x="41" y="48"/>
                        </a:cubicBezTo>
                        <a:cubicBezTo>
                          <a:pt x="41" y="48"/>
                          <a:pt x="41" y="48"/>
                          <a:pt x="41" y="48"/>
                        </a:cubicBezTo>
                        <a:cubicBezTo>
                          <a:pt x="41" y="48"/>
                          <a:pt x="41" y="48"/>
                          <a:pt x="41" y="48"/>
                        </a:cubicBezTo>
                        <a:cubicBezTo>
                          <a:pt x="41" y="48"/>
                          <a:pt x="41" y="48"/>
                          <a:pt x="41" y="48"/>
                        </a:cubicBezTo>
                        <a:cubicBezTo>
                          <a:pt x="41" y="48"/>
                          <a:pt x="41" y="48"/>
                          <a:pt x="42" y="48"/>
                        </a:cubicBezTo>
                        <a:cubicBezTo>
                          <a:pt x="42" y="48"/>
                          <a:pt x="42" y="48"/>
                          <a:pt x="42" y="48"/>
                        </a:cubicBezTo>
                        <a:cubicBezTo>
                          <a:pt x="42" y="48"/>
                          <a:pt x="42" y="48"/>
                          <a:pt x="42" y="48"/>
                        </a:cubicBezTo>
                        <a:cubicBezTo>
                          <a:pt x="42" y="48"/>
                          <a:pt x="42" y="48"/>
                          <a:pt x="42" y="48"/>
                        </a:cubicBezTo>
                        <a:cubicBezTo>
                          <a:pt x="42" y="48"/>
                          <a:pt x="42" y="47"/>
                          <a:pt x="43" y="47"/>
                        </a:cubicBezTo>
                        <a:cubicBezTo>
                          <a:pt x="43" y="47"/>
                          <a:pt x="42" y="47"/>
                          <a:pt x="42" y="48"/>
                        </a:cubicBezTo>
                        <a:cubicBezTo>
                          <a:pt x="42" y="48"/>
                          <a:pt x="42" y="48"/>
                          <a:pt x="42" y="48"/>
                        </a:cubicBezTo>
                        <a:cubicBezTo>
                          <a:pt x="42" y="48"/>
                          <a:pt x="42" y="48"/>
                          <a:pt x="42" y="49"/>
                        </a:cubicBezTo>
                        <a:cubicBezTo>
                          <a:pt x="42" y="49"/>
                          <a:pt x="42" y="49"/>
                          <a:pt x="42" y="49"/>
                        </a:cubicBezTo>
                        <a:cubicBezTo>
                          <a:pt x="42" y="49"/>
                          <a:pt x="41" y="49"/>
                          <a:pt x="42" y="50"/>
                        </a:cubicBezTo>
                        <a:cubicBezTo>
                          <a:pt x="41" y="50"/>
                          <a:pt x="41" y="50"/>
                          <a:pt x="41" y="50"/>
                        </a:cubicBezTo>
                        <a:cubicBezTo>
                          <a:pt x="41" y="50"/>
                          <a:pt x="42" y="50"/>
                          <a:pt x="41" y="50"/>
                        </a:cubicBezTo>
                        <a:cubicBezTo>
                          <a:pt x="41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49"/>
                        </a:cubicBezTo>
                        <a:cubicBezTo>
                          <a:pt x="42" y="49"/>
                          <a:pt x="42" y="49"/>
                          <a:pt x="42" y="49"/>
                        </a:cubicBezTo>
                        <a:cubicBezTo>
                          <a:pt x="43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51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2" y="51"/>
                          <a:pt x="42" y="50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1" y="50"/>
                          <a:pt x="41" y="50"/>
                        </a:cubicBezTo>
                        <a:cubicBezTo>
                          <a:pt x="41" y="51"/>
                          <a:pt x="41" y="51"/>
                          <a:pt x="41" y="51"/>
                        </a:cubicBezTo>
                        <a:cubicBezTo>
                          <a:pt x="41" y="51"/>
                          <a:pt x="41" y="51"/>
                          <a:pt x="41" y="51"/>
                        </a:cubicBezTo>
                        <a:cubicBezTo>
                          <a:pt x="41" y="51"/>
                          <a:pt x="41" y="51"/>
                          <a:pt x="41" y="51"/>
                        </a:cubicBezTo>
                        <a:cubicBezTo>
                          <a:pt x="41" y="51"/>
                          <a:pt x="41" y="51"/>
                          <a:pt x="41" y="51"/>
                        </a:cubicBezTo>
                        <a:cubicBezTo>
                          <a:pt x="41" y="51"/>
                          <a:pt x="41" y="51"/>
                          <a:pt x="41" y="51"/>
                        </a:cubicBezTo>
                        <a:cubicBezTo>
                          <a:pt x="42" y="51"/>
                          <a:pt x="41" y="51"/>
                          <a:pt x="42" y="51"/>
                        </a:cubicBezTo>
                        <a:cubicBezTo>
                          <a:pt x="42" y="51"/>
                          <a:pt x="42" y="51"/>
                          <a:pt x="42" y="51"/>
                        </a:cubicBezTo>
                        <a:cubicBezTo>
                          <a:pt x="42" y="51"/>
                          <a:pt x="42" y="51"/>
                          <a:pt x="42" y="51"/>
                        </a:cubicBezTo>
                        <a:cubicBezTo>
                          <a:pt x="42" y="51"/>
                          <a:pt x="42" y="51"/>
                          <a:pt x="42" y="51"/>
                        </a:cubicBezTo>
                        <a:cubicBezTo>
                          <a:pt x="42" y="51"/>
                          <a:pt x="42" y="51"/>
                          <a:pt x="42" y="52"/>
                        </a:cubicBezTo>
                        <a:cubicBezTo>
                          <a:pt x="42" y="52"/>
                          <a:pt x="42" y="52"/>
                          <a:pt x="42" y="52"/>
                        </a:cubicBezTo>
                        <a:cubicBezTo>
                          <a:pt x="41" y="52"/>
                          <a:pt x="42" y="52"/>
                          <a:pt x="41" y="52"/>
                        </a:cubicBezTo>
                        <a:cubicBezTo>
                          <a:pt x="42" y="52"/>
                          <a:pt x="42" y="52"/>
                          <a:pt x="42" y="52"/>
                        </a:cubicBezTo>
                        <a:cubicBezTo>
                          <a:pt x="42" y="52"/>
                          <a:pt x="42" y="52"/>
                          <a:pt x="42" y="52"/>
                        </a:cubicBezTo>
                        <a:cubicBezTo>
                          <a:pt x="42" y="52"/>
                          <a:pt x="42" y="52"/>
                          <a:pt x="42" y="51"/>
                        </a:cubicBezTo>
                        <a:cubicBezTo>
                          <a:pt x="42" y="52"/>
                          <a:pt x="42" y="52"/>
                          <a:pt x="42" y="52"/>
                        </a:cubicBezTo>
                        <a:cubicBezTo>
                          <a:pt x="42" y="52"/>
                          <a:pt x="42" y="52"/>
                          <a:pt x="42" y="51"/>
                        </a:cubicBezTo>
                        <a:cubicBezTo>
                          <a:pt x="42" y="51"/>
                          <a:pt x="42" y="51"/>
                          <a:pt x="42" y="51"/>
                        </a:cubicBezTo>
                        <a:cubicBezTo>
                          <a:pt x="42" y="52"/>
                          <a:pt x="42" y="52"/>
                          <a:pt x="42" y="52"/>
                        </a:cubicBezTo>
                        <a:cubicBezTo>
                          <a:pt x="42" y="52"/>
                          <a:pt x="42" y="52"/>
                          <a:pt x="42" y="52"/>
                        </a:cubicBezTo>
                        <a:cubicBezTo>
                          <a:pt x="42" y="52"/>
                          <a:pt x="42" y="52"/>
                          <a:pt x="41" y="52"/>
                        </a:cubicBezTo>
                        <a:cubicBezTo>
                          <a:pt x="42" y="52"/>
                          <a:pt x="42" y="52"/>
                          <a:pt x="42" y="52"/>
                        </a:cubicBezTo>
                        <a:cubicBezTo>
                          <a:pt x="42" y="52"/>
                          <a:pt x="42" y="52"/>
                          <a:pt x="42" y="52"/>
                        </a:cubicBezTo>
                        <a:cubicBezTo>
                          <a:pt x="41" y="52"/>
                          <a:pt x="41" y="52"/>
                          <a:pt x="42" y="52"/>
                        </a:cubicBezTo>
                        <a:cubicBezTo>
                          <a:pt x="41" y="52"/>
                          <a:pt x="41" y="53"/>
                          <a:pt x="41" y="53"/>
                        </a:cubicBezTo>
                        <a:cubicBezTo>
                          <a:pt x="41" y="53"/>
                          <a:pt x="41" y="53"/>
                          <a:pt x="41" y="53"/>
                        </a:cubicBezTo>
                        <a:cubicBezTo>
                          <a:pt x="41" y="53"/>
                          <a:pt x="41" y="53"/>
                          <a:pt x="41" y="53"/>
                        </a:cubicBezTo>
                        <a:cubicBezTo>
                          <a:pt x="41" y="53"/>
                          <a:pt x="41" y="53"/>
                          <a:pt x="41" y="53"/>
                        </a:cubicBezTo>
                        <a:cubicBezTo>
                          <a:pt x="41" y="53"/>
                          <a:pt x="41" y="53"/>
                          <a:pt x="41" y="53"/>
                        </a:cubicBezTo>
                        <a:cubicBezTo>
                          <a:pt x="41" y="53"/>
                          <a:pt x="41" y="53"/>
                          <a:pt x="41" y="53"/>
                        </a:cubicBezTo>
                        <a:cubicBezTo>
                          <a:pt x="41" y="53"/>
                          <a:pt x="41" y="53"/>
                          <a:pt x="41" y="53"/>
                        </a:cubicBezTo>
                        <a:cubicBezTo>
                          <a:pt x="41" y="53"/>
                          <a:pt x="41" y="53"/>
                          <a:pt x="41" y="53"/>
                        </a:cubicBezTo>
                        <a:cubicBezTo>
                          <a:pt x="41" y="53"/>
                          <a:pt x="41" y="54"/>
                          <a:pt x="41" y="53"/>
                        </a:cubicBezTo>
                        <a:cubicBezTo>
                          <a:pt x="41" y="54"/>
                          <a:pt x="41" y="54"/>
                          <a:pt x="40" y="54"/>
                        </a:cubicBezTo>
                        <a:cubicBezTo>
                          <a:pt x="40" y="53"/>
                          <a:pt x="40" y="53"/>
                          <a:pt x="41" y="53"/>
                        </a:cubicBezTo>
                        <a:cubicBezTo>
                          <a:pt x="41" y="53"/>
                          <a:pt x="40" y="53"/>
                          <a:pt x="40" y="53"/>
                        </a:cubicBezTo>
                        <a:cubicBezTo>
                          <a:pt x="40" y="53"/>
                          <a:pt x="41" y="53"/>
                          <a:pt x="41" y="53"/>
                        </a:cubicBezTo>
                        <a:cubicBezTo>
                          <a:pt x="41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39" y="53"/>
                          <a:pt x="39" y="53"/>
                          <a:pt x="39" y="53"/>
                        </a:cubicBezTo>
                        <a:cubicBezTo>
                          <a:pt x="39" y="53"/>
                          <a:pt x="40" y="53"/>
                          <a:pt x="40" y="53"/>
                        </a:cubicBezTo>
                        <a:cubicBezTo>
                          <a:pt x="39" y="53"/>
                          <a:pt x="39" y="53"/>
                          <a:pt x="39" y="53"/>
                        </a:cubicBezTo>
                        <a:cubicBezTo>
                          <a:pt x="39" y="53"/>
                          <a:pt x="39" y="53"/>
                          <a:pt x="39" y="53"/>
                        </a:cubicBezTo>
                        <a:cubicBezTo>
                          <a:pt x="39" y="53"/>
                          <a:pt x="39" y="53"/>
                          <a:pt x="39" y="53"/>
                        </a:cubicBezTo>
                        <a:cubicBezTo>
                          <a:pt x="39" y="53"/>
                          <a:pt x="39" y="53"/>
                          <a:pt x="39" y="53"/>
                        </a:cubicBezTo>
                        <a:cubicBezTo>
                          <a:pt x="40" y="53"/>
                          <a:pt x="40" y="53"/>
                          <a:pt x="40" y="53"/>
                        </a:cubicBezTo>
                        <a:cubicBezTo>
                          <a:pt x="40" y="53"/>
                          <a:pt x="40" y="53"/>
                          <a:pt x="40" y="54"/>
                        </a:cubicBez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4"/>
                          <a:pt x="38" y="54"/>
                          <a:pt x="38" y="54"/>
                        </a:cubicBezTo>
                        <a:cubicBezTo>
                          <a:pt x="38" y="54"/>
                          <a:pt x="38" y="54"/>
                          <a:pt x="38" y="54"/>
                        </a:cubicBezTo>
                        <a:cubicBezTo>
                          <a:pt x="38" y="54"/>
                          <a:pt x="38" y="54"/>
                          <a:pt x="39" y="54"/>
                        </a:cubicBezTo>
                        <a:cubicBezTo>
                          <a:pt x="38" y="54"/>
                          <a:pt x="39" y="54"/>
                          <a:pt x="39" y="54"/>
                        </a:cubicBez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4"/>
                          <a:pt x="39" y="53"/>
                          <a:pt x="39" y="53"/>
                        </a:cubicBezTo>
                        <a:cubicBezTo>
                          <a:pt x="39" y="53"/>
                          <a:pt x="39" y="53"/>
                          <a:pt x="39" y="54"/>
                        </a:cubicBezTo>
                        <a:cubicBezTo>
                          <a:pt x="39" y="53"/>
                          <a:pt x="39" y="53"/>
                          <a:pt x="38" y="54"/>
                        </a:cubicBezTo>
                        <a:cubicBezTo>
                          <a:pt x="39" y="53"/>
                          <a:pt x="39" y="53"/>
                          <a:pt x="39" y="53"/>
                        </a:cubicBezTo>
                        <a:cubicBezTo>
                          <a:pt x="39" y="53"/>
                          <a:pt x="39" y="53"/>
                          <a:pt x="39" y="52"/>
                        </a:cubicBezTo>
                        <a:cubicBezTo>
                          <a:pt x="39" y="52"/>
                          <a:pt x="39" y="52"/>
                          <a:pt x="39" y="52"/>
                        </a:cubicBezTo>
                        <a:cubicBezTo>
                          <a:pt x="39" y="52"/>
                          <a:pt x="39" y="52"/>
                          <a:pt x="39" y="52"/>
                        </a:cubicBezTo>
                        <a:cubicBezTo>
                          <a:pt x="39" y="52"/>
                          <a:pt x="39" y="52"/>
                          <a:pt x="39" y="52"/>
                        </a:cubicBezTo>
                        <a:cubicBezTo>
                          <a:pt x="40" y="52"/>
                          <a:pt x="39" y="52"/>
                          <a:pt x="40" y="52"/>
                        </a:cubicBezTo>
                        <a:cubicBezTo>
                          <a:pt x="40" y="52"/>
                          <a:pt x="39" y="52"/>
                          <a:pt x="40" y="52"/>
                        </a:cubicBezTo>
                        <a:cubicBezTo>
                          <a:pt x="40" y="52"/>
                          <a:pt x="40" y="51"/>
                          <a:pt x="40" y="51"/>
                        </a:cubicBezTo>
                        <a:cubicBezTo>
                          <a:pt x="40" y="52"/>
                          <a:pt x="40" y="51"/>
                          <a:pt x="41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0"/>
                          <a:pt x="40" y="50"/>
                          <a:pt x="41" y="50"/>
                        </a:cubicBezTo>
                        <a:cubicBezTo>
                          <a:pt x="40" y="50"/>
                          <a:pt x="40" y="50"/>
                          <a:pt x="40" y="50"/>
                        </a:cubicBezTo>
                        <a:cubicBezTo>
                          <a:pt x="40" y="50"/>
                          <a:pt x="40" y="51"/>
                          <a:pt x="40" y="51"/>
                        </a:cubicBezTo>
                        <a:cubicBezTo>
                          <a:pt x="40" y="50"/>
                          <a:pt x="40" y="50"/>
                          <a:pt x="40" y="50"/>
                        </a:cubicBezTo>
                        <a:cubicBezTo>
                          <a:pt x="40" y="50"/>
                          <a:pt x="40" y="51"/>
                          <a:pt x="40" y="50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40" y="51"/>
                          <a:pt x="40" y="51"/>
                          <a:pt x="40" y="51"/>
                        </a:cubicBezTo>
                        <a:cubicBezTo>
                          <a:pt x="39" y="51"/>
                          <a:pt x="39" y="51"/>
                          <a:pt x="40" y="51"/>
                        </a:cubicBezTo>
                        <a:cubicBezTo>
                          <a:pt x="39" y="51"/>
                          <a:pt x="39" y="51"/>
                          <a:pt x="39" y="51"/>
                        </a:cubicBezTo>
                        <a:cubicBezTo>
                          <a:pt x="39" y="51"/>
                          <a:pt x="39" y="51"/>
                          <a:pt x="39" y="51"/>
                        </a:cubicBezTo>
                        <a:cubicBezTo>
                          <a:pt x="39" y="51"/>
                          <a:pt x="39" y="52"/>
                          <a:pt x="38" y="52"/>
                        </a:cubicBezTo>
                        <a:cubicBezTo>
                          <a:pt x="38" y="53"/>
                          <a:pt x="38" y="53"/>
                          <a:pt x="38" y="53"/>
                        </a:cubicBezTo>
                        <a:cubicBezTo>
                          <a:pt x="38" y="53"/>
                          <a:pt x="38" y="53"/>
                          <a:pt x="38" y="53"/>
                        </a:cubicBezTo>
                        <a:cubicBezTo>
                          <a:pt x="38" y="53"/>
                          <a:pt x="38" y="53"/>
                          <a:pt x="38" y="53"/>
                        </a:cubicBezTo>
                        <a:cubicBezTo>
                          <a:pt x="38" y="53"/>
                          <a:pt x="38" y="53"/>
                          <a:pt x="38" y="53"/>
                        </a:cubicBezTo>
                        <a:cubicBezTo>
                          <a:pt x="38" y="53"/>
                          <a:pt x="38" y="53"/>
                          <a:pt x="38" y="54"/>
                        </a:cubicBezTo>
                        <a:cubicBezTo>
                          <a:pt x="38" y="53"/>
                          <a:pt x="38" y="53"/>
                          <a:pt x="38" y="54"/>
                        </a:cubicBezTo>
                        <a:cubicBezTo>
                          <a:pt x="37" y="53"/>
                          <a:pt x="38" y="53"/>
                          <a:pt x="38" y="53"/>
                        </a:cubicBezTo>
                        <a:cubicBezTo>
                          <a:pt x="38" y="53"/>
                          <a:pt x="38" y="53"/>
                          <a:pt x="38" y="53"/>
                        </a:cubicBezTo>
                        <a:cubicBezTo>
                          <a:pt x="38" y="53"/>
                          <a:pt x="38" y="52"/>
                          <a:pt x="38" y="53"/>
                        </a:cubicBezTo>
                        <a:cubicBezTo>
                          <a:pt x="38" y="53"/>
                          <a:pt x="38" y="52"/>
                          <a:pt x="38" y="52"/>
                        </a:cubicBezTo>
                        <a:cubicBezTo>
                          <a:pt x="38" y="51"/>
                          <a:pt x="39" y="50"/>
                          <a:pt x="39" y="49"/>
                        </a:cubicBezTo>
                        <a:cubicBezTo>
                          <a:pt x="39" y="49"/>
                          <a:pt x="39" y="49"/>
                          <a:pt x="39" y="49"/>
                        </a:cubicBezTo>
                        <a:cubicBezTo>
                          <a:pt x="39" y="49"/>
                          <a:pt x="39" y="49"/>
                          <a:pt x="39" y="49"/>
                        </a:cubicBezTo>
                        <a:cubicBezTo>
                          <a:pt x="39" y="49"/>
                          <a:pt x="39" y="49"/>
                          <a:pt x="39" y="49"/>
                        </a:cubicBezTo>
                        <a:cubicBezTo>
                          <a:pt x="39" y="50"/>
                          <a:pt x="39" y="50"/>
                          <a:pt x="39" y="50"/>
                        </a:cubicBezTo>
                        <a:cubicBezTo>
                          <a:pt x="39" y="50"/>
                          <a:pt x="39" y="49"/>
                          <a:pt x="39" y="49"/>
                        </a:cubicBezTo>
                        <a:cubicBezTo>
                          <a:pt x="39" y="49"/>
                          <a:pt x="39" y="49"/>
                          <a:pt x="39" y="49"/>
                        </a:cubicBezTo>
                        <a:cubicBezTo>
                          <a:pt x="39" y="50"/>
                          <a:pt x="39" y="50"/>
                          <a:pt x="38" y="50"/>
                        </a:cubicBezTo>
                        <a:cubicBezTo>
                          <a:pt x="38" y="50"/>
                          <a:pt x="38" y="50"/>
                          <a:pt x="38" y="50"/>
                        </a:cubicBezTo>
                        <a:cubicBezTo>
                          <a:pt x="38" y="50"/>
                          <a:pt x="38" y="50"/>
                          <a:pt x="38" y="50"/>
                        </a:cubicBezTo>
                        <a:cubicBezTo>
                          <a:pt x="38" y="50"/>
                          <a:pt x="38" y="50"/>
                          <a:pt x="38" y="50"/>
                        </a:cubicBezTo>
                        <a:cubicBezTo>
                          <a:pt x="38" y="50"/>
                          <a:pt x="38" y="50"/>
                          <a:pt x="38" y="50"/>
                        </a:cubicBezTo>
                        <a:cubicBezTo>
                          <a:pt x="38" y="49"/>
                          <a:pt x="38" y="50"/>
                          <a:pt x="38" y="50"/>
                        </a:cubicBezTo>
                        <a:cubicBezTo>
                          <a:pt x="38" y="49"/>
                          <a:pt x="38" y="49"/>
                          <a:pt x="38" y="49"/>
                        </a:cubicBezTo>
                        <a:cubicBezTo>
                          <a:pt x="39" y="49"/>
                          <a:pt x="38" y="49"/>
                          <a:pt x="38" y="49"/>
                        </a:cubicBezTo>
                        <a:cubicBezTo>
                          <a:pt x="38" y="49"/>
                          <a:pt x="38" y="49"/>
                          <a:pt x="38" y="49"/>
                        </a:cubicBezTo>
                        <a:cubicBezTo>
                          <a:pt x="38" y="49"/>
                          <a:pt x="38" y="49"/>
                          <a:pt x="38" y="49"/>
                        </a:cubicBezTo>
                        <a:cubicBezTo>
                          <a:pt x="38" y="49"/>
                          <a:pt x="38" y="48"/>
                          <a:pt x="38" y="48"/>
                        </a:cubicBezTo>
                        <a:cubicBezTo>
                          <a:pt x="38" y="48"/>
                          <a:pt x="38" y="48"/>
                          <a:pt x="38" y="48"/>
                        </a:cubicBezTo>
                        <a:cubicBezTo>
                          <a:pt x="38" y="48"/>
                          <a:pt x="38" y="48"/>
                          <a:pt x="38" y="48"/>
                        </a:cubicBezTo>
                        <a:cubicBezTo>
                          <a:pt x="38" y="48"/>
                          <a:pt x="38" y="48"/>
                          <a:pt x="38" y="49"/>
                        </a:cubicBezTo>
                        <a:cubicBezTo>
                          <a:pt x="38" y="48"/>
                          <a:pt x="38" y="49"/>
                          <a:pt x="37" y="49"/>
                        </a:cubicBezTo>
                        <a:cubicBezTo>
                          <a:pt x="37" y="49"/>
                          <a:pt x="37" y="49"/>
                          <a:pt x="37" y="49"/>
                        </a:cubicBezTo>
                        <a:cubicBezTo>
                          <a:pt x="37" y="49"/>
                          <a:pt x="37" y="49"/>
                          <a:pt x="37" y="49"/>
                        </a:cubicBezTo>
                        <a:cubicBezTo>
                          <a:pt x="37" y="49"/>
                          <a:pt x="37" y="49"/>
                          <a:pt x="37" y="49"/>
                        </a:cubicBezTo>
                        <a:cubicBezTo>
                          <a:pt x="37" y="49"/>
                          <a:pt x="37" y="48"/>
                          <a:pt x="37" y="48"/>
                        </a:cubicBezTo>
                        <a:cubicBezTo>
                          <a:pt x="37" y="48"/>
                          <a:pt x="37" y="49"/>
                          <a:pt x="37" y="49"/>
                        </a:cubicBezTo>
                        <a:cubicBezTo>
                          <a:pt x="37" y="48"/>
                          <a:pt x="37" y="48"/>
                          <a:pt x="37" y="49"/>
                        </a:cubicBezTo>
                        <a:cubicBezTo>
                          <a:pt x="37" y="48"/>
                          <a:pt x="37" y="48"/>
                          <a:pt x="37" y="48"/>
                        </a:cubicBezTo>
                        <a:cubicBezTo>
                          <a:pt x="37" y="48"/>
                          <a:pt x="37" y="48"/>
                          <a:pt x="37" y="48"/>
                        </a:cubicBezTo>
                        <a:cubicBezTo>
                          <a:pt x="37" y="47"/>
                          <a:pt x="37" y="47"/>
                          <a:pt x="37" y="47"/>
                        </a:cubicBezTo>
                        <a:cubicBezTo>
                          <a:pt x="37" y="47"/>
                          <a:pt x="37" y="47"/>
                          <a:pt x="37" y="47"/>
                        </a:cubicBezTo>
                        <a:cubicBezTo>
                          <a:pt x="37" y="47"/>
                          <a:pt x="37" y="47"/>
                          <a:pt x="37" y="47"/>
                        </a:cubicBezTo>
                        <a:cubicBezTo>
                          <a:pt x="37" y="46"/>
                          <a:pt x="37" y="47"/>
                          <a:pt x="38" y="47"/>
                        </a:cubicBezTo>
                        <a:cubicBezTo>
                          <a:pt x="38" y="47"/>
                          <a:pt x="38" y="47"/>
                          <a:pt x="38" y="47"/>
                        </a:cubicBezTo>
                        <a:cubicBezTo>
                          <a:pt x="38" y="47"/>
                          <a:pt x="38" y="47"/>
                          <a:pt x="38" y="47"/>
                        </a:cubicBezTo>
                        <a:cubicBezTo>
                          <a:pt x="38" y="47"/>
                          <a:pt x="38" y="47"/>
                          <a:pt x="38" y="47"/>
                        </a:cubicBezTo>
                        <a:cubicBezTo>
                          <a:pt x="38" y="47"/>
                          <a:pt x="38" y="47"/>
                          <a:pt x="38" y="47"/>
                        </a:cubicBezTo>
                        <a:cubicBezTo>
                          <a:pt x="38" y="47"/>
                          <a:pt x="38" y="47"/>
                          <a:pt x="38" y="47"/>
                        </a:cubicBezTo>
                        <a:cubicBezTo>
                          <a:pt x="38" y="47"/>
                          <a:pt x="38" y="47"/>
                          <a:pt x="39" y="47"/>
                        </a:cubicBezTo>
                        <a:cubicBezTo>
                          <a:pt x="39" y="47"/>
                          <a:pt x="39" y="47"/>
                          <a:pt x="39" y="47"/>
                        </a:cubicBezTo>
                        <a:cubicBezTo>
                          <a:pt x="39" y="47"/>
                          <a:pt x="39" y="47"/>
                          <a:pt x="39" y="47"/>
                        </a:cubicBezTo>
                        <a:cubicBezTo>
                          <a:pt x="39" y="47"/>
                          <a:pt x="39" y="47"/>
                          <a:pt x="39" y="47"/>
                        </a:cubicBezTo>
                        <a:cubicBezTo>
                          <a:pt x="39" y="47"/>
                          <a:pt x="39" y="46"/>
                          <a:pt x="40" y="46"/>
                        </a:cubicBezTo>
                        <a:cubicBezTo>
                          <a:pt x="39" y="47"/>
                          <a:pt x="40" y="47"/>
                          <a:pt x="40" y="47"/>
                        </a:cubicBezTo>
                        <a:cubicBezTo>
                          <a:pt x="39" y="47"/>
                          <a:pt x="39" y="47"/>
                          <a:pt x="39" y="47"/>
                        </a:cubicBezTo>
                        <a:cubicBezTo>
                          <a:pt x="39" y="47"/>
                          <a:pt x="39" y="47"/>
                          <a:pt x="39" y="47"/>
                        </a:cubicBezTo>
                        <a:cubicBezTo>
                          <a:pt x="39" y="47"/>
                          <a:pt x="39" y="47"/>
                          <a:pt x="39" y="47"/>
                        </a:cubicBezTo>
                        <a:cubicBezTo>
                          <a:pt x="39" y="47"/>
                          <a:pt x="40" y="48"/>
                          <a:pt x="39" y="48"/>
                        </a:cubicBezTo>
                        <a:cubicBezTo>
                          <a:pt x="39" y="48"/>
                          <a:pt x="39" y="48"/>
                          <a:pt x="40" y="48"/>
                        </a:cubicBezTo>
                        <a:cubicBezTo>
                          <a:pt x="39" y="48"/>
                          <a:pt x="39" y="48"/>
                          <a:pt x="39" y="48"/>
                        </a:cubicBezTo>
                        <a:cubicBezTo>
                          <a:pt x="39" y="48"/>
                          <a:pt x="39" y="48"/>
                          <a:pt x="39" y="48"/>
                        </a:cubicBezTo>
                        <a:cubicBezTo>
                          <a:pt x="40" y="48"/>
                          <a:pt x="40" y="48"/>
                          <a:pt x="40" y="48"/>
                        </a:cubicBezTo>
                        <a:cubicBezTo>
                          <a:pt x="40" y="48"/>
                          <a:pt x="40" y="48"/>
                          <a:pt x="40" y="48"/>
                        </a:cubicBezTo>
                        <a:cubicBezTo>
                          <a:pt x="40" y="48"/>
                          <a:pt x="40" y="48"/>
                          <a:pt x="40" y="48"/>
                        </a:cubicBezTo>
                        <a:cubicBezTo>
                          <a:pt x="40" y="47"/>
                          <a:pt x="40" y="47"/>
                          <a:pt x="40" y="47"/>
                        </a:cubicBezTo>
                        <a:cubicBezTo>
                          <a:pt x="40" y="47"/>
                          <a:pt x="40" y="47"/>
                          <a:pt x="40" y="47"/>
                        </a:cubicBezTo>
                        <a:cubicBezTo>
                          <a:pt x="40" y="47"/>
                          <a:pt x="40" y="47"/>
                          <a:pt x="40" y="47"/>
                        </a:cubicBezTo>
                        <a:cubicBezTo>
                          <a:pt x="40" y="47"/>
                          <a:pt x="40" y="47"/>
                          <a:pt x="40" y="47"/>
                        </a:cubicBezTo>
                        <a:cubicBezTo>
                          <a:pt x="40" y="47"/>
                          <a:pt x="40" y="47"/>
                          <a:pt x="41" y="47"/>
                        </a:cubicBezTo>
                        <a:cubicBezTo>
                          <a:pt x="41" y="47"/>
                          <a:pt x="40" y="47"/>
                          <a:pt x="40" y="47"/>
                        </a:cubicBezTo>
                        <a:cubicBezTo>
                          <a:pt x="40" y="48"/>
                          <a:pt x="40" y="48"/>
                          <a:pt x="40" y="48"/>
                        </a:cubicBezTo>
                        <a:cubicBezTo>
                          <a:pt x="40" y="48"/>
                          <a:pt x="40" y="48"/>
                          <a:pt x="40" y="48"/>
                        </a:cubicBezTo>
                        <a:cubicBezTo>
                          <a:pt x="40" y="48"/>
                          <a:pt x="40" y="48"/>
                          <a:pt x="40" y="48"/>
                        </a:cubicBezTo>
                        <a:cubicBezTo>
                          <a:pt x="40" y="48"/>
                          <a:pt x="40" y="48"/>
                          <a:pt x="40" y="48"/>
                        </a:cubicBezTo>
                        <a:cubicBezTo>
                          <a:pt x="40" y="48"/>
                          <a:pt x="40" y="49"/>
                          <a:pt x="40" y="49"/>
                        </a:cubicBezTo>
                        <a:cubicBezTo>
                          <a:pt x="40" y="49"/>
                          <a:pt x="40" y="49"/>
                          <a:pt x="40" y="49"/>
                        </a:cubicBezTo>
                        <a:close/>
                        <a:moveTo>
                          <a:pt x="37" y="47"/>
                        </a:moveTo>
                        <a:cubicBezTo>
                          <a:pt x="37" y="47"/>
                          <a:pt x="37" y="47"/>
                          <a:pt x="37" y="47"/>
                        </a:cubicBezTo>
                        <a:cubicBezTo>
                          <a:pt x="37" y="47"/>
                          <a:pt x="37" y="47"/>
                          <a:pt x="37" y="47"/>
                        </a:cubicBezTo>
                        <a:cubicBezTo>
                          <a:pt x="37" y="47"/>
                          <a:pt x="37" y="47"/>
                          <a:pt x="37" y="47"/>
                        </a:cubicBezTo>
                        <a:close/>
                        <a:moveTo>
                          <a:pt x="38" y="47"/>
                        </a:moveTo>
                        <a:cubicBezTo>
                          <a:pt x="38" y="48"/>
                          <a:pt x="38" y="47"/>
                          <a:pt x="38" y="47"/>
                        </a:cubicBezTo>
                        <a:cubicBezTo>
                          <a:pt x="37" y="47"/>
                          <a:pt x="38" y="48"/>
                          <a:pt x="37" y="48"/>
                        </a:cubicBezTo>
                        <a:cubicBezTo>
                          <a:pt x="37" y="48"/>
                          <a:pt x="37" y="48"/>
                          <a:pt x="37" y="48"/>
                        </a:cubicBezTo>
                        <a:cubicBezTo>
                          <a:pt x="37" y="48"/>
                          <a:pt x="37" y="48"/>
                          <a:pt x="37" y="48"/>
                        </a:cubicBezTo>
                        <a:cubicBezTo>
                          <a:pt x="37" y="48"/>
                          <a:pt x="38" y="48"/>
                          <a:pt x="37" y="48"/>
                        </a:cubicBezTo>
                        <a:cubicBezTo>
                          <a:pt x="38" y="48"/>
                          <a:pt x="38" y="47"/>
                          <a:pt x="38" y="48"/>
                        </a:cubicBezTo>
                        <a:cubicBezTo>
                          <a:pt x="38" y="47"/>
                          <a:pt x="38" y="47"/>
                          <a:pt x="38" y="47"/>
                        </a:cubicBezTo>
                        <a:close/>
                        <a:moveTo>
                          <a:pt x="38" y="48"/>
                        </a:moveTo>
                        <a:cubicBezTo>
                          <a:pt x="38" y="48"/>
                          <a:pt x="38" y="48"/>
                          <a:pt x="38" y="48"/>
                        </a:cubicBezTo>
                        <a:cubicBezTo>
                          <a:pt x="38" y="48"/>
                          <a:pt x="38" y="48"/>
                          <a:pt x="38" y="48"/>
                        </a:cubicBezTo>
                        <a:close/>
                        <a:moveTo>
                          <a:pt x="39" y="49"/>
                        </a:moveTo>
                        <a:cubicBezTo>
                          <a:pt x="39" y="48"/>
                          <a:pt x="39" y="48"/>
                          <a:pt x="39" y="48"/>
                        </a:cubicBezTo>
                        <a:cubicBezTo>
                          <a:pt x="39" y="48"/>
                          <a:pt x="39" y="48"/>
                          <a:pt x="39" y="48"/>
                        </a:cubicBezTo>
                        <a:cubicBezTo>
                          <a:pt x="39" y="48"/>
                          <a:pt x="39" y="48"/>
                          <a:pt x="39" y="49"/>
                        </a:cubicBezTo>
                        <a:close/>
                        <a:moveTo>
                          <a:pt x="39" y="53"/>
                        </a:move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4"/>
                          <a:pt x="39" y="54"/>
                          <a:pt x="39" y="54"/>
                        </a:cubicBezTo>
                        <a:cubicBezTo>
                          <a:pt x="39" y="53"/>
                          <a:pt x="39" y="54"/>
                          <a:pt x="39" y="54"/>
                        </a:cubicBezTo>
                        <a:cubicBezTo>
                          <a:pt x="39" y="53"/>
                          <a:pt x="39" y="54"/>
                          <a:pt x="39" y="53"/>
                        </a:cubicBezTo>
                        <a:cubicBezTo>
                          <a:pt x="39" y="53"/>
                          <a:pt x="39" y="53"/>
                          <a:pt x="39" y="53"/>
                        </a:cubicBezTo>
                        <a:close/>
                        <a:moveTo>
                          <a:pt x="40" y="52"/>
                        </a:moveTo>
                        <a:cubicBezTo>
                          <a:pt x="40" y="52"/>
                          <a:pt x="40" y="52"/>
                          <a:pt x="40" y="52"/>
                        </a:cubicBezTo>
                        <a:cubicBezTo>
                          <a:pt x="40" y="52"/>
                          <a:pt x="40" y="52"/>
                          <a:pt x="40" y="52"/>
                        </a:cubicBezTo>
                        <a:cubicBezTo>
                          <a:pt x="40" y="52"/>
                          <a:pt x="40" y="52"/>
                          <a:pt x="40" y="52"/>
                        </a:cubicBezTo>
                        <a:close/>
                        <a:moveTo>
                          <a:pt x="40" y="52"/>
                        </a:moveTo>
                        <a:cubicBezTo>
                          <a:pt x="40" y="52"/>
                          <a:pt x="40" y="52"/>
                          <a:pt x="40" y="52"/>
                        </a:cubicBezTo>
                        <a:cubicBezTo>
                          <a:pt x="39" y="52"/>
                          <a:pt x="39" y="52"/>
                          <a:pt x="39" y="52"/>
                        </a:cubicBezTo>
                        <a:cubicBezTo>
                          <a:pt x="39" y="52"/>
                          <a:pt x="40" y="52"/>
                          <a:pt x="40" y="52"/>
                        </a:cubicBezTo>
                        <a:close/>
                        <a:moveTo>
                          <a:pt x="40" y="53"/>
                        </a:moveTo>
                        <a:cubicBezTo>
                          <a:pt x="40" y="52"/>
                          <a:pt x="40" y="52"/>
                          <a:pt x="40" y="52"/>
                        </a:cubicBezTo>
                        <a:cubicBezTo>
                          <a:pt x="40" y="52"/>
                          <a:pt x="40" y="52"/>
                          <a:pt x="40" y="52"/>
                        </a:cubicBezTo>
                        <a:cubicBezTo>
                          <a:pt x="40" y="52"/>
                          <a:pt x="40" y="52"/>
                          <a:pt x="40" y="52"/>
                        </a:cubicBezTo>
                        <a:cubicBezTo>
                          <a:pt x="40" y="52"/>
                          <a:pt x="40" y="52"/>
                          <a:pt x="40" y="53"/>
                        </a:cubicBezTo>
                        <a:close/>
                        <a:moveTo>
                          <a:pt x="42" y="50"/>
                        </a:move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ubicBezTo>
                          <a:pt x="42" y="50"/>
                          <a:pt x="42" y="50"/>
                          <a:pt x="42" y="50"/>
                        </a:cubicBezTo>
                        <a:close/>
                        <a:moveTo>
                          <a:pt x="40" y="52"/>
                        </a:moveTo>
                        <a:cubicBezTo>
                          <a:pt x="40" y="52"/>
                          <a:pt x="40" y="52"/>
                          <a:pt x="41" y="52"/>
                        </a:cubicBezTo>
                        <a:cubicBezTo>
                          <a:pt x="41" y="52"/>
                          <a:pt x="41" y="52"/>
                          <a:pt x="41" y="52"/>
                        </a:cubicBezTo>
                        <a:cubicBezTo>
                          <a:pt x="40" y="52"/>
                          <a:pt x="40" y="52"/>
                          <a:pt x="40" y="53"/>
                        </a:cubicBezTo>
                        <a:cubicBezTo>
                          <a:pt x="40" y="53"/>
                          <a:pt x="40" y="52"/>
                          <a:pt x="40" y="52"/>
                        </a:cubicBezTo>
                        <a:cubicBezTo>
                          <a:pt x="40" y="52"/>
                          <a:pt x="40" y="52"/>
                          <a:pt x="40" y="52"/>
                        </a:cubicBezTo>
                        <a:cubicBezTo>
                          <a:pt x="41" y="52"/>
                          <a:pt x="40" y="52"/>
                          <a:pt x="40" y="52"/>
                        </a:cubicBezTo>
                        <a:close/>
                        <a:moveTo>
                          <a:pt x="40" y="52"/>
                        </a:moveTo>
                        <a:cubicBezTo>
                          <a:pt x="41" y="52"/>
                          <a:pt x="41" y="52"/>
                          <a:pt x="41" y="52"/>
                        </a:cubicBezTo>
                        <a:cubicBezTo>
                          <a:pt x="41" y="52"/>
                          <a:pt x="41" y="52"/>
                          <a:pt x="41" y="52"/>
                        </a:cubicBezTo>
                        <a:cubicBezTo>
                          <a:pt x="41" y="53"/>
                          <a:pt x="41" y="52"/>
                          <a:pt x="41" y="52"/>
                        </a:cubicBezTo>
                        <a:cubicBezTo>
                          <a:pt x="41" y="52"/>
                          <a:pt x="41" y="52"/>
                          <a:pt x="41" y="52"/>
                        </a:cubicBezTo>
                        <a:cubicBezTo>
                          <a:pt x="41" y="52"/>
                          <a:pt x="41" y="52"/>
                          <a:pt x="41" y="51"/>
                        </a:cubicBezTo>
                        <a:cubicBezTo>
                          <a:pt x="41" y="51"/>
                          <a:pt x="41" y="51"/>
                          <a:pt x="41" y="52"/>
                        </a:cubicBezTo>
                        <a:cubicBezTo>
                          <a:pt x="41" y="51"/>
                          <a:pt x="41" y="51"/>
                          <a:pt x="41" y="52"/>
                        </a:cubicBezTo>
                        <a:cubicBezTo>
                          <a:pt x="41" y="52"/>
                          <a:pt x="41" y="51"/>
                          <a:pt x="41" y="51"/>
                        </a:cubicBezTo>
                        <a:cubicBezTo>
                          <a:pt x="41" y="52"/>
                          <a:pt x="41" y="51"/>
                          <a:pt x="40" y="52"/>
                        </a:cubicBezTo>
                        <a:close/>
                        <a:moveTo>
                          <a:pt x="41" y="50"/>
                        </a:moveTo>
                        <a:cubicBezTo>
                          <a:pt x="41" y="50"/>
                          <a:pt x="41" y="49"/>
                          <a:pt x="41" y="49"/>
                        </a:cubicBezTo>
                        <a:cubicBezTo>
                          <a:pt x="41" y="49"/>
                          <a:pt x="41" y="50"/>
                          <a:pt x="41" y="50"/>
                        </a:cubicBezTo>
                        <a:close/>
                        <a:moveTo>
                          <a:pt x="40" y="50"/>
                        </a:moveTo>
                        <a:cubicBezTo>
                          <a:pt x="40" y="50"/>
                          <a:pt x="40" y="50"/>
                          <a:pt x="39" y="50"/>
                        </a:cubicBezTo>
                        <a:cubicBezTo>
                          <a:pt x="39" y="50"/>
                          <a:pt x="39" y="50"/>
                          <a:pt x="39" y="50"/>
                        </a:cubicBezTo>
                        <a:cubicBezTo>
                          <a:pt x="39" y="50"/>
                          <a:pt x="40" y="51"/>
                          <a:pt x="40" y="50"/>
                        </a:cubicBezTo>
                        <a:close/>
                        <a:moveTo>
                          <a:pt x="40" y="50"/>
                        </a:moveTo>
                        <a:cubicBezTo>
                          <a:pt x="40" y="50"/>
                          <a:pt x="40" y="50"/>
                          <a:pt x="40" y="50"/>
                        </a:cubicBezTo>
                        <a:cubicBezTo>
                          <a:pt x="40" y="50"/>
                          <a:pt x="40" y="50"/>
                          <a:pt x="40" y="50"/>
                        </a:cubicBezTo>
                        <a:cubicBezTo>
                          <a:pt x="40" y="50"/>
                          <a:pt x="40" y="50"/>
                          <a:pt x="40" y="50"/>
                        </a:cubicBezTo>
                        <a:cubicBezTo>
                          <a:pt x="40" y="50"/>
                          <a:pt x="40" y="50"/>
                          <a:pt x="40" y="50"/>
                        </a:cubicBezTo>
                        <a:cubicBezTo>
                          <a:pt x="40" y="50"/>
                          <a:pt x="39" y="50"/>
                          <a:pt x="40" y="50"/>
                        </a:cubicBezTo>
                        <a:cubicBezTo>
                          <a:pt x="40" y="50"/>
                          <a:pt x="40" y="50"/>
                          <a:pt x="40" y="50"/>
                        </a:cubicBezTo>
                        <a:cubicBezTo>
                          <a:pt x="40" y="50"/>
                          <a:pt x="40" y="50"/>
                          <a:pt x="40" y="50"/>
                        </a:cubicBezTo>
                        <a:cubicBezTo>
                          <a:pt x="40" y="50"/>
                          <a:pt x="40" y="50"/>
                          <a:pt x="40" y="50"/>
                        </a:cubicBezTo>
                        <a:close/>
                        <a:moveTo>
                          <a:pt x="41" y="49"/>
                        </a:move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lose/>
                        <a:moveTo>
                          <a:pt x="41" y="49"/>
                        </a:moveTo>
                        <a:cubicBezTo>
                          <a:pt x="40" y="49"/>
                          <a:pt x="41" y="49"/>
                          <a:pt x="41" y="49"/>
                        </a:cubicBezTo>
                        <a:cubicBezTo>
                          <a:pt x="40" y="49"/>
                          <a:pt x="41" y="49"/>
                          <a:pt x="40" y="49"/>
                        </a:cubicBezTo>
                        <a:cubicBezTo>
                          <a:pt x="40" y="49"/>
                          <a:pt x="40" y="49"/>
                          <a:pt x="40" y="49"/>
                        </a:cubicBezTo>
                        <a:cubicBezTo>
                          <a:pt x="40" y="49"/>
                          <a:pt x="40" y="49"/>
                          <a:pt x="41" y="49"/>
                        </a:cubicBezTo>
                        <a:cubicBezTo>
                          <a:pt x="41" y="49"/>
                          <a:pt x="41" y="49"/>
                          <a:pt x="40" y="50"/>
                        </a:cubicBezTo>
                        <a:cubicBezTo>
                          <a:pt x="41" y="50"/>
                          <a:pt x="41" y="49"/>
                          <a:pt x="41" y="49"/>
                        </a:cubicBezTo>
                        <a:close/>
                        <a:moveTo>
                          <a:pt x="41" y="49"/>
                        </a:move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9"/>
                          <a:pt x="41" y="49"/>
                          <a:pt x="41" y="50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lose/>
                        <a:moveTo>
                          <a:pt x="41" y="49"/>
                        </a:move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ubicBezTo>
                          <a:pt x="41" y="48"/>
                          <a:pt x="41" y="48"/>
                          <a:pt x="41" y="48"/>
                        </a:cubicBezTo>
                        <a:cubicBezTo>
                          <a:pt x="41" y="48"/>
                          <a:pt x="41" y="49"/>
                          <a:pt x="41" y="49"/>
                        </a:cubicBezTo>
                        <a:cubicBezTo>
                          <a:pt x="41" y="48"/>
                          <a:pt x="41" y="48"/>
                          <a:pt x="41" y="48"/>
                        </a:cubicBezTo>
                        <a:cubicBezTo>
                          <a:pt x="41" y="49"/>
                          <a:pt x="41" y="49"/>
                          <a:pt x="41" y="49"/>
                        </a:cubicBezTo>
                        <a:close/>
                        <a:moveTo>
                          <a:pt x="41" y="49"/>
                        </a:moveTo>
                        <a:cubicBezTo>
                          <a:pt x="41" y="49"/>
                          <a:pt x="41" y="48"/>
                          <a:pt x="41" y="48"/>
                        </a:cubicBezTo>
                        <a:cubicBezTo>
                          <a:pt x="41" y="48"/>
                          <a:pt x="41" y="48"/>
                          <a:pt x="41" y="49"/>
                        </a:cubicBezTo>
                        <a:close/>
                        <a:moveTo>
                          <a:pt x="40" y="49"/>
                        </a:moveTo>
                        <a:cubicBezTo>
                          <a:pt x="40" y="49"/>
                          <a:pt x="40" y="49"/>
                          <a:pt x="40" y="49"/>
                        </a:cubicBezTo>
                        <a:cubicBezTo>
                          <a:pt x="40" y="49"/>
                          <a:pt x="40" y="49"/>
                          <a:pt x="40" y="50"/>
                        </a:cubicBezTo>
                        <a:cubicBezTo>
                          <a:pt x="40" y="50"/>
                          <a:pt x="40" y="50"/>
                          <a:pt x="40" y="50"/>
                        </a:cubicBezTo>
                        <a:cubicBezTo>
                          <a:pt x="40" y="49"/>
                          <a:pt x="40" y="49"/>
                          <a:pt x="40" y="49"/>
                        </a:cubicBezTo>
                        <a:close/>
                        <a:moveTo>
                          <a:pt x="39" y="52"/>
                        </a:moveTo>
                        <a:cubicBezTo>
                          <a:pt x="38" y="53"/>
                          <a:pt x="38" y="53"/>
                          <a:pt x="39" y="53"/>
                        </a:cubicBezTo>
                        <a:cubicBezTo>
                          <a:pt x="38" y="53"/>
                          <a:pt x="38" y="53"/>
                          <a:pt x="38" y="54"/>
                        </a:cubicBezTo>
                        <a:cubicBezTo>
                          <a:pt x="38" y="53"/>
                          <a:pt x="38" y="53"/>
                          <a:pt x="38" y="53"/>
                        </a:cubicBezTo>
                        <a:cubicBezTo>
                          <a:pt x="38" y="53"/>
                          <a:pt x="38" y="53"/>
                          <a:pt x="38" y="53"/>
                        </a:cubicBezTo>
                        <a:cubicBezTo>
                          <a:pt x="38" y="53"/>
                          <a:pt x="38" y="53"/>
                          <a:pt x="38" y="53"/>
                        </a:cubicBezTo>
                        <a:cubicBezTo>
                          <a:pt x="38" y="53"/>
                          <a:pt x="38" y="53"/>
                          <a:pt x="38" y="53"/>
                        </a:cubicBezTo>
                        <a:cubicBezTo>
                          <a:pt x="38" y="53"/>
                          <a:pt x="39" y="53"/>
                          <a:pt x="38" y="52"/>
                        </a:cubicBezTo>
                        <a:cubicBezTo>
                          <a:pt x="39" y="52"/>
                          <a:pt x="39" y="52"/>
                          <a:pt x="39" y="52"/>
                        </a:cubicBezTo>
                        <a:close/>
                        <a:moveTo>
                          <a:pt x="41" y="51"/>
                        </a:moveTo>
                        <a:cubicBezTo>
                          <a:pt x="41" y="51"/>
                          <a:pt x="41" y="51"/>
                          <a:pt x="41" y="51"/>
                        </a:cubicBezTo>
                        <a:cubicBezTo>
                          <a:pt x="42" y="51"/>
                          <a:pt x="41" y="51"/>
                          <a:pt x="41" y="51"/>
                        </a:cubicBezTo>
                        <a:close/>
                        <a:moveTo>
                          <a:pt x="40" y="46"/>
                        </a:moveTo>
                        <a:cubicBezTo>
                          <a:pt x="40" y="46"/>
                          <a:pt x="40" y="46"/>
                          <a:pt x="40" y="46"/>
                        </a:cubicBezTo>
                        <a:cubicBezTo>
                          <a:pt x="40" y="46"/>
                          <a:pt x="40" y="47"/>
                          <a:pt x="40" y="46"/>
                        </a:cubicBezTo>
                        <a:close/>
                        <a:moveTo>
                          <a:pt x="39" y="45"/>
                        </a:moveTo>
                        <a:cubicBezTo>
                          <a:pt x="39" y="45"/>
                          <a:pt x="39" y="45"/>
                          <a:pt x="38" y="46"/>
                        </a:cubicBezTo>
                        <a:cubicBezTo>
                          <a:pt x="38" y="46"/>
                          <a:pt x="39" y="46"/>
                          <a:pt x="38" y="46"/>
                        </a:cubicBezTo>
                        <a:cubicBezTo>
                          <a:pt x="38" y="46"/>
                          <a:pt x="38" y="46"/>
                          <a:pt x="38" y="46"/>
                        </a:cubicBezTo>
                        <a:cubicBezTo>
                          <a:pt x="38" y="46"/>
                          <a:pt x="38" y="46"/>
                          <a:pt x="38" y="46"/>
                        </a:cubicBezTo>
                        <a:cubicBezTo>
                          <a:pt x="38" y="45"/>
                          <a:pt x="38" y="45"/>
                          <a:pt x="38" y="45"/>
                        </a:cubicBezTo>
                        <a:cubicBezTo>
                          <a:pt x="39" y="45"/>
                          <a:pt x="39" y="45"/>
                          <a:pt x="39" y="45"/>
                        </a:cubicBezTo>
                        <a:close/>
                        <a:moveTo>
                          <a:pt x="39" y="46"/>
                        </a:moveTo>
                        <a:cubicBezTo>
                          <a:pt x="39" y="46"/>
                          <a:pt x="39" y="46"/>
                          <a:pt x="39" y="46"/>
                        </a:cubicBezTo>
                        <a:cubicBezTo>
                          <a:pt x="39" y="46"/>
                          <a:pt x="39" y="46"/>
                          <a:pt x="39" y="46"/>
                        </a:cubicBezTo>
                        <a:close/>
                        <a:moveTo>
                          <a:pt x="34" y="44"/>
                        </a:moveTo>
                        <a:cubicBezTo>
                          <a:pt x="34" y="44"/>
                          <a:pt x="34" y="44"/>
                          <a:pt x="34" y="44"/>
                        </a:cubicBezTo>
                        <a:cubicBezTo>
                          <a:pt x="34" y="44"/>
                          <a:pt x="34" y="44"/>
                          <a:pt x="34" y="44"/>
                        </a:cubicBezTo>
                        <a:cubicBezTo>
                          <a:pt x="34" y="44"/>
                          <a:pt x="34" y="44"/>
                          <a:pt x="34" y="45"/>
                        </a:cubicBezTo>
                        <a:cubicBezTo>
                          <a:pt x="34" y="45"/>
                          <a:pt x="34" y="45"/>
                          <a:pt x="34" y="45"/>
                        </a:cubicBezTo>
                        <a:cubicBezTo>
                          <a:pt x="34" y="44"/>
                          <a:pt x="34" y="44"/>
                          <a:pt x="34" y="44"/>
                        </a:cubicBezTo>
                        <a:cubicBezTo>
                          <a:pt x="34" y="44"/>
                          <a:pt x="34" y="44"/>
                          <a:pt x="34" y="44"/>
                        </a:cubicBezTo>
                        <a:close/>
                        <a:moveTo>
                          <a:pt x="37" y="45"/>
                        </a:moveTo>
                        <a:cubicBezTo>
                          <a:pt x="37" y="45"/>
                          <a:pt x="36" y="46"/>
                          <a:pt x="36" y="46"/>
                        </a:cubicBezTo>
                        <a:cubicBezTo>
                          <a:pt x="36" y="46"/>
                          <a:pt x="36" y="46"/>
                          <a:pt x="37" y="46"/>
                        </a:cubicBezTo>
                        <a:cubicBezTo>
                          <a:pt x="37" y="46"/>
                          <a:pt x="36" y="46"/>
                          <a:pt x="36" y="46"/>
                        </a:cubicBezTo>
                        <a:cubicBezTo>
                          <a:pt x="36" y="46"/>
                          <a:pt x="36" y="47"/>
                          <a:pt x="36" y="47"/>
                        </a:cubicBezTo>
                        <a:cubicBezTo>
                          <a:pt x="36" y="47"/>
                          <a:pt x="36" y="47"/>
                          <a:pt x="36" y="47"/>
                        </a:cubicBezTo>
                        <a:cubicBezTo>
                          <a:pt x="36" y="47"/>
                          <a:pt x="36" y="47"/>
                          <a:pt x="36" y="47"/>
                        </a:cubicBezTo>
                        <a:cubicBezTo>
                          <a:pt x="36" y="47"/>
                          <a:pt x="36" y="47"/>
                          <a:pt x="36" y="47"/>
                        </a:cubicBezTo>
                        <a:cubicBezTo>
                          <a:pt x="36" y="47"/>
                          <a:pt x="36" y="47"/>
                          <a:pt x="36" y="47"/>
                        </a:cubicBezTo>
                        <a:cubicBezTo>
                          <a:pt x="36" y="47"/>
                          <a:pt x="36" y="47"/>
                          <a:pt x="36" y="48"/>
                        </a:cubicBezTo>
                        <a:cubicBezTo>
                          <a:pt x="36" y="48"/>
                          <a:pt x="36" y="48"/>
                          <a:pt x="36" y="48"/>
                        </a:cubicBezTo>
                        <a:cubicBezTo>
                          <a:pt x="36" y="47"/>
                          <a:pt x="36" y="47"/>
                          <a:pt x="36" y="47"/>
                        </a:cubicBezTo>
                        <a:cubicBezTo>
                          <a:pt x="36" y="47"/>
                          <a:pt x="36" y="47"/>
                          <a:pt x="36" y="48"/>
                        </a:cubicBezTo>
                        <a:cubicBezTo>
                          <a:pt x="36" y="48"/>
                          <a:pt x="36" y="47"/>
                          <a:pt x="36" y="47"/>
                        </a:cubicBezTo>
                        <a:cubicBezTo>
                          <a:pt x="35" y="48"/>
                          <a:pt x="35" y="48"/>
                          <a:pt x="35" y="48"/>
                        </a:cubicBezTo>
                        <a:cubicBezTo>
                          <a:pt x="35" y="48"/>
                          <a:pt x="35" y="48"/>
                          <a:pt x="36" y="48"/>
                        </a:cubicBezTo>
                        <a:cubicBezTo>
                          <a:pt x="36" y="48"/>
                          <a:pt x="36" y="48"/>
                          <a:pt x="36" y="48"/>
                        </a:cubicBezTo>
                        <a:cubicBezTo>
                          <a:pt x="35" y="48"/>
                          <a:pt x="35" y="48"/>
                          <a:pt x="35" y="48"/>
                        </a:cubicBezTo>
                        <a:cubicBezTo>
                          <a:pt x="35" y="47"/>
                          <a:pt x="36" y="47"/>
                          <a:pt x="35" y="47"/>
                        </a:cubicBezTo>
                        <a:cubicBezTo>
                          <a:pt x="35" y="47"/>
                          <a:pt x="35" y="47"/>
                          <a:pt x="35" y="48"/>
                        </a:cubicBezTo>
                        <a:cubicBezTo>
                          <a:pt x="35" y="48"/>
                          <a:pt x="35" y="48"/>
                          <a:pt x="35" y="48"/>
                        </a:cubicBezTo>
                        <a:cubicBezTo>
                          <a:pt x="35" y="48"/>
                          <a:pt x="35" y="48"/>
                          <a:pt x="35" y="48"/>
                        </a:cubicBezTo>
                        <a:cubicBezTo>
                          <a:pt x="35" y="49"/>
                          <a:pt x="35" y="48"/>
                          <a:pt x="35" y="49"/>
                        </a:cubicBezTo>
                        <a:cubicBezTo>
                          <a:pt x="35" y="48"/>
                          <a:pt x="35" y="48"/>
                          <a:pt x="35" y="48"/>
                        </a:cubicBezTo>
                        <a:cubicBezTo>
                          <a:pt x="35" y="48"/>
                          <a:pt x="35" y="48"/>
                          <a:pt x="34" y="48"/>
                        </a:cubicBezTo>
                        <a:cubicBezTo>
                          <a:pt x="34" y="48"/>
                          <a:pt x="35" y="48"/>
                          <a:pt x="35" y="48"/>
                        </a:cubicBezTo>
                        <a:cubicBezTo>
                          <a:pt x="35" y="47"/>
                          <a:pt x="35" y="48"/>
                          <a:pt x="35" y="47"/>
                        </a:cubicBezTo>
                        <a:cubicBezTo>
                          <a:pt x="34" y="48"/>
                          <a:pt x="34" y="48"/>
                          <a:pt x="34" y="48"/>
                        </a:cubicBezTo>
                        <a:cubicBezTo>
                          <a:pt x="34" y="48"/>
                          <a:pt x="34" y="48"/>
                          <a:pt x="34" y="48"/>
                        </a:cubicBezTo>
                        <a:cubicBezTo>
                          <a:pt x="34" y="48"/>
                          <a:pt x="34" y="48"/>
                          <a:pt x="34" y="48"/>
                        </a:cubicBezTo>
                        <a:cubicBezTo>
                          <a:pt x="34" y="48"/>
                          <a:pt x="34" y="47"/>
                          <a:pt x="34" y="48"/>
                        </a:cubicBezTo>
                        <a:cubicBezTo>
                          <a:pt x="34" y="47"/>
                          <a:pt x="34" y="48"/>
                          <a:pt x="33" y="48"/>
                        </a:cubicBezTo>
                        <a:cubicBezTo>
                          <a:pt x="33" y="48"/>
                          <a:pt x="33" y="48"/>
                          <a:pt x="33" y="48"/>
                        </a:cubicBezTo>
                        <a:cubicBezTo>
                          <a:pt x="33" y="48"/>
                          <a:pt x="33" y="48"/>
                          <a:pt x="33" y="48"/>
                        </a:cubicBezTo>
                        <a:cubicBezTo>
                          <a:pt x="33" y="48"/>
                          <a:pt x="33" y="48"/>
                          <a:pt x="33" y="48"/>
                        </a:cubicBezTo>
                        <a:cubicBezTo>
                          <a:pt x="33" y="48"/>
                          <a:pt x="33" y="48"/>
                          <a:pt x="33" y="48"/>
                        </a:cubicBezTo>
                        <a:cubicBezTo>
                          <a:pt x="33" y="48"/>
                          <a:pt x="33" y="48"/>
                          <a:pt x="33" y="48"/>
                        </a:cubicBezTo>
                        <a:cubicBezTo>
                          <a:pt x="33" y="48"/>
                          <a:pt x="33" y="48"/>
                          <a:pt x="33" y="48"/>
                        </a:cubicBezTo>
                        <a:cubicBezTo>
                          <a:pt x="33" y="48"/>
                          <a:pt x="33" y="48"/>
                          <a:pt x="33" y="48"/>
                        </a:cubicBezTo>
                        <a:cubicBezTo>
                          <a:pt x="33" y="48"/>
                          <a:pt x="33" y="48"/>
                          <a:pt x="33" y="48"/>
                        </a:cubicBezTo>
                        <a:cubicBezTo>
                          <a:pt x="32" y="48"/>
                          <a:pt x="33" y="48"/>
                          <a:pt x="32" y="48"/>
                        </a:cubicBezTo>
                        <a:cubicBezTo>
                          <a:pt x="32" y="48"/>
                          <a:pt x="32" y="48"/>
                          <a:pt x="32" y="48"/>
                        </a:cubicBezTo>
                        <a:cubicBezTo>
                          <a:pt x="32" y="48"/>
                          <a:pt x="32" y="48"/>
                          <a:pt x="32" y="48"/>
                        </a:cubicBezTo>
                        <a:cubicBezTo>
                          <a:pt x="32" y="48"/>
                          <a:pt x="32" y="48"/>
                          <a:pt x="32" y="48"/>
                        </a:cubicBezTo>
                        <a:cubicBezTo>
                          <a:pt x="32" y="48"/>
                          <a:pt x="32" y="48"/>
                          <a:pt x="32" y="48"/>
                        </a:cubicBezTo>
                        <a:cubicBezTo>
                          <a:pt x="32" y="49"/>
                          <a:pt x="32" y="48"/>
                          <a:pt x="32" y="48"/>
                        </a:cubicBezTo>
                        <a:cubicBezTo>
                          <a:pt x="32" y="49"/>
                          <a:pt x="32" y="49"/>
                          <a:pt x="32" y="49"/>
                        </a:cubicBezTo>
                        <a:cubicBezTo>
                          <a:pt x="32" y="49"/>
                          <a:pt x="32" y="49"/>
                          <a:pt x="32" y="48"/>
                        </a:cubicBezTo>
                        <a:cubicBezTo>
                          <a:pt x="32" y="49"/>
                          <a:pt x="32" y="49"/>
                          <a:pt x="32" y="49"/>
                        </a:cubicBezTo>
                        <a:cubicBezTo>
                          <a:pt x="32" y="49"/>
                          <a:pt x="32" y="49"/>
                          <a:pt x="32" y="48"/>
                        </a:cubicBezTo>
                        <a:cubicBezTo>
                          <a:pt x="32" y="48"/>
                          <a:pt x="32" y="47"/>
                          <a:pt x="33" y="48"/>
                        </a:cubicBezTo>
                        <a:cubicBezTo>
                          <a:pt x="33" y="47"/>
                          <a:pt x="33" y="47"/>
                          <a:pt x="33" y="47"/>
                        </a:cubicBezTo>
                        <a:cubicBezTo>
                          <a:pt x="33" y="47"/>
                          <a:pt x="33" y="47"/>
                          <a:pt x="33" y="47"/>
                        </a:cubicBezTo>
                        <a:cubicBezTo>
                          <a:pt x="33" y="47"/>
                          <a:pt x="33" y="47"/>
                          <a:pt x="33" y="48"/>
                        </a:cubicBezTo>
                        <a:cubicBezTo>
                          <a:pt x="33" y="48"/>
                          <a:pt x="33" y="47"/>
                          <a:pt x="34" y="47"/>
                        </a:cubicBezTo>
                        <a:cubicBezTo>
                          <a:pt x="33" y="47"/>
                          <a:pt x="33" y="47"/>
                          <a:pt x="33" y="48"/>
                        </a:cubicBezTo>
                        <a:cubicBezTo>
                          <a:pt x="33" y="48"/>
                          <a:pt x="33" y="47"/>
                          <a:pt x="34" y="47"/>
                        </a:cubicBez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7"/>
                          <a:pt x="34" y="47"/>
                          <a:pt x="33" y="47"/>
                        </a:cubicBez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6"/>
                          <a:pt x="34" y="47"/>
                          <a:pt x="34" y="47"/>
                        </a:cubicBezTo>
                        <a:cubicBezTo>
                          <a:pt x="34" y="46"/>
                          <a:pt x="34" y="46"/>
                          <a:pt x="34" y="46"/>
                        </a:cubicBezTo>
                        <a:cubicBezTo>
                          <a:pt x="34" y="46"/>
                          <a:pt x="34" y="47"/>
                          <a:pt x="34" y="47"/>
                        </a:cubicBez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7"/>
                          <a:pt x="35" y="47"/>
                          <a:pt x="34" y="47"/>
                        </a:cubicBezTo>
                        <a:cubicBezTo>
                          <a:pt x="35" y="47"/>
                          <a:pt x="35" y="46"/>
                          <a:pt x="35" y="46"/>
                        </a:cubicBezTo>
                        <a:cubicBezTo>
                          <a:pt x="35" y="46"/>
                          <a:pt x="35" y="46"/>
                          <a:pt x="35" y="46"/>
                        </a:cubicBezTo>
                        <a:cubicBezTo>
                          <a:pt x="35" y="46"/>
                          <a:pt x="35" y="46"/>
                          <a:pt x="35" y="47"/>
                        </a:cubicBezTo>
                        <a:cubicBezTo>
                          <a:pt x="35" y="47"/>
                          <a:pt x="35" y="46"/>
                          <a:pt x="35" y="46"/>
                        </a:cubicBezTo>
                        <a:cubicBezTo>
                          <a:pt x="35" y="46"/>
                          <a:pt x="35" y="46"/>
                          <a:pt x="35" y="46"/>
                        </a:cubicBezTo>
                        <a:cubicBezTo>
                          <a:pt x="35" y="46"/>
                          <a:pt x="35" y="46"/>
                          <a:pt x="35" y="46"/>
                        </a:cubicBezTo>
                        <a:cubicBezTo>
                          <a:pt x="35" y="46"/>
                          <a:pt x="35" y="46"/>
                          <a:pt x="36" y="46"/>
                        </a:cubicBezTo>
                        <a:cubicBezTo>
                          <a:pt x="36" y="46"/>
                          <a:pt x="36" y="46"/>
                          <a:pt x="36" y="46"/>
                        </a:cubicBezTo>
                        <a:cubicBezTo>
                          <a:pt x="36" y="46"/>
                          <a:pt x="36" y="46"/>
                          <a:pt x="36" y="46"/>
                        </a:cubicBezTo>
                        <a:cubicBezTo>
                          <a:pt x="36" y="46"/>
                          <a:pt x="36" y="46"/>
                          <a:pt x="36" y="46"/>
                        </a:cubicBezTo>
                        <a:cubicBezTo>
                          <a:pt x="36" y="46"/>
                          <a:pt x="36" y="45"/>
                          <a:pt x="37" y="45"/>
                        </a:cubicBezTo>
                        <a:close/>
                        <a:moveTo>
                          <a:pt x="34" y="47"/>
                        </a:move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7"/>
                          <a:pt x="34" y="47"/>
                          <a:pt x="34" y="47"/>
                        </a:cubicBezTo>
                        <a:close/>
                        <a:moveTo>
                          <a:pt x="34" y="47"/>
                        </a:move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7"/>
                          <a:pt x="34" y="47"/>
                          <a:pt x="34" y="47"/>
                        </a:cubicBezTo>
                        <a:cubicBezTo>
                          <a:pt x="34" y="47"/>
                          <a:pt x="34" y="47"/>
                          <a:pt x="34" y="48"/>
                        </a:cubicBezTo>
                        <a:cubicBezTo>
                          <a:pt x="34" y="48"/>
                          <a:pt x="34" y="47"/>
                          <a:pt x="34" y="47"/>
                        </a:cubicBezTo>
                        <a:close/>
                        <a:moveTo>
                          <a:pt x="36" y="46"/>
                        </a:moveTo>
                        <a:cubicBezTo>
                          <a:pt x="36" y="47"/>
                          <a:pt x="35" y="47"/>
                          <a:pt x="36" y="47"/>
                        </a:cubicBezTo>
                        <a:cubicBezTo>
                          <a:pt x="36" y="47"/>
                          <a:pt x="36" y="47"/>
                          <a:pt x="36" y="46"/>
                        </a:cubicBezTo>
                        <a:close/>
                        <a:moveTo>
                          <a:pt x="36" y="47"/>
                        </a:moveTo>
                        <a:cubicBezTo>
                          <a:pt x="36" y="47"/>
                          <a:pt x="36" y="47"/>
                          <a:pt x="36" y="46"/>
                        </a:cubicBezTo>
                        <a:cubicBezTo>
                          <a:pt x="36" y="47"/>
                          <a:pt x="36" y="47"/>
                          <a:pt x="36" y="47"/>
                        </a:cubicBezTo>
                        <a:close/>
                        <a:moveTo>
                          <a:pt x="40" y="47"/>
                        </a:moveTo>
                        <a:cubicBezTo>
                          <a:pt x="40" y="47"/>
                          <a:pt x="40" y="47"/>
                          <a:pt x="40" y="48"/>
                        </a:cubicBezTo>
                        <a:cubicBezTo>
                          <a:pt x="40" y="47"/>
                          <a:pt x="40" y="47"/>
                          <a:pt x="40" y="47"/>
                        </a:cubicBezTo>
                        <a:close/>
                        <a:moveTo>
                          <a:pt x="33" y="44"/>
                        </a:moveTo>
                        <a:cubicBezTo>
                          <a:pt x="33" y="44"/>
                          <a:pt x="33" y="44"/>
                          <a:pt x="33" y="44"/>
                        </a:cubicBezTo>
                        <a:cubicBezTo>
                          <a:pt x="32" y="44"/>
                          <a:pt x="32" y="44"/>
                          <a:pt x="32" y="44"/>
                        </a:cubicBezTo>
                        <a:cubicBezTo>
                          <a:pt x="32" y="44"/>
                          <a:pt x="32" y="44"/>
                          <a:pt x="32" y="44"/>
                        </a:cubicBezTo>
                        <a:cubicBezTo>
                          <a:pt x="32" y="44"/>
                          <a:pt x="33" y="44"/>
                          <a:pt x="33" y="44"/>
                        </a:cubicBezTo>
                        <a:close/>
                        <a:moveTo>
                          <a:pt x="37" y="50"/>
                        </a:moveTo>
                        <a:cubicBezTo>
                          <a:pt x="37" y="50"/>
                          <a:pt x="37" y="50"/>
                          <a:pt x="38" y="49"/>
                        </a:cubicBezTo>
                        <a:cubicBezTo>
                          <a:pt x="38" y="49"/>
                          <a:pt x="38" y="49"/>
                          <a:pt x="38" y="49"/>
                        </a:cubicBezTo>
                        <a:cubicBezTo>
                          <a:pt x="38" y="49"/>
                          <a:pt x="38" y="49"/>
                          <a:pt x="38" y="50"/>
                        </a:cubicBezTo>
                        <a:cubicBezTo>
                          <a:pt x="37" y="50"/>
                          <a:pt x="37" y="50"/>
                          <a:pt x="37" y="50"/>
                        </a:cubicBezTo>
                        <a:cubicBezTo>
                          <a:pt x="37" y="50"/>
                          <a:pt x="37" y="50"/>
                          <a:pt x="37" y="50"/>
                        </a:cubicBezTo>
                        <a:cubicBezTo>
                          <a:pt x="37" y="50"/>
                          <a:pt x="37" y="50"/>
                          <a:pt x="37" y="50"/>
                        </a:cubicBezTo>
                        <a:cubicBezTo>
                          <a:pt x="37" y="50"/>
                          <a:pt x="37" y="50"/>
                          <a:pt x="37" y="50"/>
                        </a:cubicBezTo>
                        <a:cubicBezTo>
                          <a:pt x="37" y="50"/>
                          <a:pt x="37" y="50"/>
                          <a:pt x="37" y="50"/>
                        </a:cubicBezTo>
                        <a:cubicBezTo>
                          <a:pt x="37" y="50"/>
                          <a:pt x="37" y="51"/>
                          <a:pt x="37" y="50"/>
                        </a:cubicBezTo>
                        <a:cubicBezTo>
                          <a:pt x="37" y="50"/>
                          <a:pt x="37" y="50"/>
                          <a:pt x="37" y="50"/>
                        </a:cubicBezTo>
                        <a:close/>
                        <a:moveTo>
                          <a:pt x="38" y="51"/>
                        </a:moveTo>
                        <a:cubicBezTo>
                          <a:pt x="38" y="51"/>
                          <a:pt x="38" y="51"/>
                          <a:pt x="38" y="51"/>
                        </a:cubicBezTo>
                        <a:cubicBezTo>
                          <a:pt x="38" y="51"/>
                          <a:pt x="38" y="51"/>
                          <a:pt x="38" y="51"/>
                        </a:cubicBezTo>
                        <a:cubicBezTo>
                          <a:pt x="38" y="51"/>
                          <a:pt x="39" y="50"/>
                          <a:pt x="39" y="50"/>
                        </a:cubicBezTo>
                        <a:cubicBezTo>
                          <a:pt x="39" y="50"/>
                          <a:pt x="38" y="51"/>
                          <a:pt x="38" y="51"/>
                        </a:cubicBezTo>
                        <a:close/>
                        <a:moveTo>
                          <a:pt x="26" y="74"/>
                        </a:moveTo>
                        <a:cubicBezTo>
                          <a:pt x="26" y="74"/>
                          <a:pt x="26" y="74"/>
                          <a:pt x="25" y="75"/>
                        </a:cubicBezTo>
                        <a:cubicBezTo>
                          <a:pt x="25" y="75"/>
                          <a:pt x="25" y="74"/>
                          <a:pt x="25" y="74"/>
                        </a:cubicBezTo>
                        <a:cubicBezTo>
                          <a:pt x="25" y="75"/>
                          <a:pt x="25" y="75"/>
                          <a:pt x="25" y="75"/>
                        </a:cubicBezTo>
                        <a:cubicBezTo>
                          <a:pt x="25" y="75"/>
                          <a:pt x="25" y="75"/>
                          <a:pt x="25" y="75"/>
                        </a:cubicBezTo>
                        <a:cubicBezTo>
                          <a:pt x="25" y="75"/>
                          <a:pt x="25" y="76"/>
                          <a:pt x="25" y="76"/>
                        </a:cubicBezTo>
                        <a:cubicBezTo>
                          <a:pt x="25" y="76"/>
                          <a:pt x="25" y="75"/>
                          <a:pt x="25" y="75"/>
                        </a:cubicBezTo>
                        <a:cubicBezTo>
                          <a:pt x="25" y="75"/>
                          <a:pt x="25" y="75"/>
                          <a:pt x="25" y="75"/>
                        </a:cubicBezTo>
                        <a:cubicBezTo>
                          <a:pt x="24" y="76"/>
                          <a:pt x="24" y="77"/>
                          <a:pt x="24" y="77"/>
                        </a:cubicBezTo>
                        <a:cubicBezTo>
                          <a:pt x="24" y="77"/>
                          <a:pt x="24" y="76"/>
                          <a:pt x="24" y="76"/>
                        </a:cubicBezTo>
                        <a:cubicBezTo>
                          <a:pt x="24" y="76"/>
                          <a:pt x="24" y="75"/>
                          <a:pt x="24" y="75"/>
                        </a:cubicBezTo>
                        <a:cubicBezTo>
                          <a:pt x="24" y="75"/>
                          <a:pt x="24" y="75"/>
                          <a:pt x="24" y="75"/>
                        </a:cubicBezTo>
                        <a:cubicBezTo>
                          <a:pt x="24" y="75"/>
                          <a:pt x="23" y="76"/>
                          <a:pt x="24" y="76"/>
                        </a:cubicBezTo>
                        <a:cubicBezTo>
                          <a:pt x="24" y="76"/>
                          <a:pt x="24" y="76"/>
                          <a:pt x="24" y="76"/>
                        </a:cubicBezTo>
                        <a:cubicBezTo>
                          <a:pt x="24" y="76"/>
                          <a:pt x="24" y="76"/>
                          <a:pt x="24" y="76"/>
                        </a:cubicBezTo>
                        <a:cubicBezTo>
                          <a:pt x="24" y="76"/>
                          <a:pt x="24" y="76"/>
                          <a:pt x="24" y="75"/>
                        </a:cubicBezTo>
                        <a:cubicBezTo>
                          <a:pt x="24" y="75"/>
                          <a:pt x="24" y="75"/>
                          <a:pt x="24" y="75"/>
                        </a:cubicBezTo>
                        <a:cubicBezTo>
                          <a:pt x="24" y="76"/>
                          <a:pt x="24" y="76"/>
                          <a:pt x="24" y="76"/>
                        </a:cubicBezTo>
                        <a:cubicBezTo>
                          <a:pt x="24" y="76"/>
                          <a:pt x="24" y="76"/>
                          <a:pt x="24" y="77"/>
                        </a:cubicBezTo>
                        <a:cubicBezTo>
                          <a:pt x="23" y="77"/>
                          <a:pt x="23" y="77"/>
                          <a:pt x="23" y="77"/>
                        </a:cubicBezTo>
                        <a:cubicBezTo>
                          <a:pt x="24" y="77"/>
                          <a:pt x="24" y="76"/>
                          <a:pt x="24" y="77"/>
                        </a:cubicBezTo>
                        <a:cubicBezTo>
                          <a:pt x="24" y="76"/>
                          <a:pt x="24" y="77"/>
                          <a:pt x="23" y="76"/>
                        </a:cubicBezTo>
                        <a:cubicBezTo>
                          <a:pt x="23" y="76"/>
                          <a:pt x="23" y="77"/>
                          <a:pt x="23" y="77"/>
                        </a:cubicBezTo>
                        <a:cubicBezTo>
                          <a:pt x="23" y="77"/>
                          <a:pt x="23" y="77"/>
                          <a:pt x="23" y="77"/>
                        </a:cubicBezTo>
                        <a:cubicBezTo>
                          <a:pt x="23" y="77"/>
                          <a:pt x="23" y="77"/>
                          <a:pt x="23" y="77"/>
                        </a:cubicBezTo>
                        <a:cubicBezTo>
                          <a:pt x="23" y="77"/>
                          <a:pt x="23" y="76"/>
                          <a:pt x="23" y="76"/>
                        </a:cubicBezTo>
                        <a:cubicBezTo>
                          <a:pt x="24" y="76"/>
                          <a:pt x="24" y="75"/>
                          <a:pt x="24" y="75"/>
                        </a:cubicBezTo>
                        <a:cubicBezTo>
                          <a:pt x="24" y="75"/>
                          <a:pt x="24" y="75"/>
                          <a:pt x="24" y="75"/>
                        </a:cubicBezTo>
                        <a:cubicBezTo>
                          <a:pt x="24" y="74"/>
                          <a:pt x="24" y="74"/>
                          <a:pt x="24" y="74"/>
                        </a:cubicBezTo>
                        <a:cubicBezTo>
                          <a:pt x="24" y="74"/>
                          <a:pt x="24" y="75"/>
                          <a:pt x="24" y="75"/>
                        </a:cubicBezTo>
                        <a:cubicBezTo>
                          <a:pt x="24" y="75"/>
                          <a:pt x="24" y="75"/>
                          <a:pt x="24" y="75"/>
                        </a:cubicBezTo>
                        <a:cubicBezTo>
                          <a:pt x="24" y="75"/>
                          <a:pt x="25" y="75"/>
                          <a:pt x="24" y="75"/>
                        </a:cubicBezTo>
                        <a:cubicBezTo>
                          <a:pt x="25" y="75"/>
                          <a:pt x="25" y="75"/>
                          <a:pt x="25" y="75"/>
                        </a:cubicBezTo>
                        <a:cubicBezTo>
                          <a:pt x="25" y="75"/>
                          <a:pt x="25" y="75"/>
                          <a:pt x="25" y="75"/>
                        </a:cubicBezTo>
                        <a:cubicBezTo>
                          <a:pt x="25" y="75"/>
                          <a:pt x="25" y="75"/>
                          <a:pt x="24" y="75"/>
                        </a:cubicBezTo>
                        <a:cubicBezTo>
                          <a:pt x="24" y="75"/>
                          <a:pt x="25" y="75"/>
                          <a:pt x="25" y="74"/>
                        </a:cubicBezTo>
                        <a:cubicBezTo>
                          <a:pt x="25" y="74"/>
                          <a:pt x="25" y="74"/>
                          <a:pt x="24" y="74"/>
                        </a:cubicBezTo>
                        <a:cubicBezTo>
                          <a:pt x="24" y="75"/>
                          <a:pt x="24" y="75"/>
                          <a:pt x="24" y="75"/>
                        </a:cubicBezTo>
                        <a:cubicBezTo>
                          <a:pt x="24" y="75"/>
                          <a:pt x="24" y="75"/>
                          <a:pt x="24" y="75"/>
                        </a:cubicBezTo>
                        <a:cubicBezTo>
                          <a:pt x="24" y="74"/>
                          <a:pt x="25" y="74"/>
                          <a:pt x="25" y="74"/>
                        </a:cubicBezTo>
                        <a:cubicBezTo>
                          <a:pt x="24" y="74"/>
                          <a:pt x="24" y="74"/>
                          <a:pt x="24" y="74"/>
                        </a:cubicBezTo>
                        <a:cubicBezTo>
                          <a:pt x="24" y="74"/>
                          <a:pt x="24" y="74"/>
                          <a:pt x="24" y="74"/>
                        </a:cubicBezTo>
                        <a:cubicBezTo>
                          <a:pt x="24" y="74"/>
                          <a:pt x="24" y="74"/>
                          <a:pt x="24" y="74"/>
                        </a:cubicBezTo>
                        <a:cubicBezTo>
                          <a:pt x="24" y="74"/>
                          <a:pt x="24" y="74"/>
                          <a:pt x="24" y="74"/>
                        </a:cubicBezTo>
                        <a:cubicBezTo>
                          <a:pt x="24" y="74"/>
                          <a:pt x="24" y="75"/>
                          <a:pt x="24" y="74"/>
                        </a:cubicBezTo>
                        <a:cubicBezTo>
                          <a:pt x="24" y="74"/>
                          <a:pt x="23" y="75"/>
                          <a:pt x="23" y="75"/>
                        </a:cubicBezTo>
                        <a:cubicBezTo>
                          <a:pt x="24" y="75"/>
                          <a:pt x="23" y="75"/>
                          <a:pt x="23" y="75"/>
                        </a:cubicBezTo>
                        <a:cubicBezTo>
                          <a:pt x="23" y="75"/>
                          <a:pt x="23" y="75"/>
                          <a:pt x="23" y="75"/>
                        </a:cubicBezTo>
                        <a:cubicBezTo>
                          <a:pt x="23" y="74"/>
                          <a:pt x="24" y="74"/>
                          <a:pt x="24" y="74"/>
                        </a:cubicBezTo>
                        <a:cubicBezTo>
                          <a:pt x="24" y="73"/>
                          <a:pt x="24" y="73"/>
                          <a:pt x="24" y="73"/>
                        </a:cubicBezTo>
                        <a:cubicBezTo>
                          <a:pt x="24" y="73"/>
                          <a:pt x="24" y="73"/>
                          <a:pt x="24" y="73"/>
                        </a:cubicBezTo>
                        <a:cubicBezTo>
                          <a:pt x="24" y="73"/>
                          <a:pt x="24" y="73"/>
                          <a:pt x="24" y="73"/>
                        </a:cubicBezTo>
                        <a:cubicBezTo>
                          <a:pt x="25" y="73"/>
                          <a:pt x="24" y="73"/>
                          <a:pt x="24" y="74"/>
                        </a:cubicBezTo>
                        <a:cubicBezTo>
                          <a:pt x="24" y="74"/>
                          <a:pt x="24" y="74"/>
                          <a:pt x="25" y="74"/>
                        </a:cubicBezTo>
                        <a:cubicBezTo>
                          <a:pt x="25" y="73"/>
                          <a:pt x="24" y="73"/>
                          <a:pt x="25" y="73"/>
                        </a:cubicBezTo>
                        <a:cubicBezTo>
                          <a:pt x="25" y="73"/>
                          <a:pt x="25" y="73"/>
                          <a:pt x="25" y="73"/>
                        </a:cubicBezTo>
                        <a:cubicBezTo>
                          <a:pt x="25" y="73"/>
                          <a:pt x="25" y="73"/>
                          <a:pt x="25" y="73"/>
                        </a:cubicBezTo>
                        <a:cubicBezTo>
                          <a:pt x="25" y="73"/>
                          <a:pt x="25" y="73"/>
                          <a:pt x="25" y="73"/>
                        </a:cubicBezTo>
                        <a:cubicBezTo>
                          <a:pt x="25" y="73"/>
                          <a:pt x="25" y="73"/>
                          <a:pt x="25" y="73"/>
                        </a:cubicBezTo>
                        <a:cubicBezTo>
                          <a:pt x="25" y="73"/>
                          <a:pt x="25" y="73"/>
                          <a:pt x="25" y="72"/>
                        </a:cubicBezTo>
                        <a:cubicBezTo>
                          <a:pt x="25" y="73"/>
                          <a:pt x="25" y="72"/>
                          <a:pt x="25" y="73"/>
                        </a:cubicBezTo>
                        <a:cubicBezTo>
                          <a:pt x="25" y="73"/>
                          <a:pt x="25" y="73"/>
                          <a:pt x="25" y="73"/>
                        </a:cubicBezTo>
                        <a:cubicBezTo>
                          <a:pt x="25" y="73"/>
                          <a:pt x="25" y="73"/>
                          <a:pt x="25" y="73"/>
                        </a:cubicBezTo>
                        <a:cubicBezTo>
                          <a:pt x="25" y="73"/>
                          <a:pt x="25" y="73"/>
                          <a:pt x="25" y="73"/>
                        </a:cubicBezTo>
                        <a:cubicBezTo>
                          <a:pt x="25" y="73"/>
                          <a:pt x="25" y="73"/>
                          <a:pt x="25" y="73"/>
                        </a:cubicBezTo>
                        <a:cubicBezTo>
                          <a:pt x="25" y="73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4"/>
                          <a:pt x="25" y="73"/>
                        </a:cubicBezTo>
                        <a:cubicBezTo>
                          <a:pt x="25" y="73"/>
                          <a:pt x="25" y="73"/>
                          <a:pt x="25" y="74"/>
                        </a:cubicBezTo>
                        <a:cubicBezTo>
                          <a:pt x="25" y="73"/>
                          <a:pt x="25" y="74"/>
                          <a:pt x="25" y="74"/>
                        </a:cubicBezTo>
                        <a:cubicBezTo>
                          <a:pt x="25" y="73"/>
                          <a:pt x="26" y="73"/>
                          <a:pt x="26" y="72"/>
                        </a:cubicBezTo>
                        <a:cubicBezTo>
                          <a:pt x="26" y="73"/>
                          <a:pt x="26" y="72"/>
                          <a:pt x="26" y="72"/>
                        </a:cubicBezTo>
                        <a:cubicBezTo>
                          <a:pt x="26" y="72"/>
                          <a:pt x="26" y="72"/>
                          <a:pt x="26" y="72"/>
                        </a:cubicBezTo>
                        <a:cubicBezTo>
                          <a:pt x="26" y="72"/>
                          <a:pt x="26" y="72"/>
                          <a:pt x="27" y="72"/>
                        </a:cubicBezTo>
                        <a:cubicBezTo>
                          <a:pt x="27" y="72"/>
                          <a:pt x="27" y="72"/>
                          <a:pt x="27" y="72"/>
                        </a:cubicBezTo>
                        <a:cubicBezTo>
                          <a:pt x="27" y="72"/>
                          <a:pt x="27" y="72"/>
                          <a:pt x="27" y="71"/>
                        </a:cubicBezTo>
                        <a:cubicBezTo>
                          <a:pt x="27" y="71"/>
                          <a:pt x="27" y="71"/>
                          <a:pt x="27" y="71"/>
                        </a:cubicBezTo>
                        <a:cubicBezTo>
                          <a:pt x="27" y="71"/>
                          <a:pt x="27" y="72"/>
                          <a:pt x="27" y="71"/>
                        </a:cubicBezTo>
                        <a:cubicBezTo>
                          <a:pt x="27" y="71"/>
                          <a:pt x="27" y="71"/>
                          <a:pt x="27" y="71"/>
                        </a:cubicBezTo>
                        <a:cubicBezTo>
                          <a:pt x="27" y="71"/>
                          <a:pt x="27" y="71"/>
                          <a:pt x="27" y="71"/>
                        </a:cubicBezTo>
                        <a:cubicBezTo>
                          <a:pt x="27" y="71"/>
                          <a:pt x="27" y="71"/>
                          <a:pt x="27" y="71"/>
                        </a:cubicBezTo>
                        <a:cubicBezTo>
                          <a:pt x="27" y="71"/>
                          <a:pt x="27" y="71"/>
                          <a:pt x="27" y="71"/>
                        </a:cubicBezTo>
                        <a:cubicBezTo>
                          <a:pt x="27" y="71"/>
                          <a:pt x="27" y="71"/>
                          <a:pt x="27" y="71"/>
                        </a:cubicBezTo>
                        <a:cubicBezTo>
                          <a:pt x="27" y="71"/>
                          <a:pt x="27" y="70"/>
                          <a:pt x="28" y="70"/>
                        </a:cubicBezTo>
                        <a:cubicBezTo>
                          <a:pt x="28" y="70"/>
                          <a:pt x="28" y="70"/>
                          <a:pt x="28" y="70"/>
                        </a:cubicBezTo>
                        <a:cubicBezTo>
                          <a:pt x="28" y="70"/>
                          <a:pt x="28" y="70"/>
                          <a:pt x="28" y="70"/>
                        </a:cubicBezTo>
                        <a:cubicBezTo>
                          <a:pt x="28" y="70"/>
                          <a:pt x="27" y="70"/>
                          <a:pt x="27" y="70"/>
                        </a:cubicBezTo>
                        <a:cubicBezTo>
                          <a:pt x="27" y="70"/>
                          <a:pt x="27" y="70"/>
                          <a:pt x="27" y="70"/>
                        </a:cubicBezTo>
                        <a:cubicBezTo>
                          <a:pt x="27" y="70"/>
                          <a:pt x="27" y="71"/>
                          <a:pt x="27" y="71"/>
                        </a:cubicBezTo>
                        <a:cubicBezTo>
                          <a:pt x="28" y="70"/>
                          <a:pt x="28" y="70"/>
                          <a:pt x="28" y="69"/>
                        </a:cubicBezTo>
                        <a:cubicBezTo>
                          <a:pt x="28" y="69"/>
                          <a:pt x="28" y="70"/>
                          <a:pt x="28" y="70"/>
                        </a:cubicBezTo>
                        <a:cubicBezTo>
                          <a:pt x="28" y="70"/>
                          <a:pt x="28" y="70"/>
                          <a:pt x="28" y="70"/>
                        </a:cubicBezTo>
                        <a:cubicBezTo>
                          <a:pt x="28" y="70"/>
                          <a:pt x="28" y="70"/>
                          <a:pt x="28" y="70"/>
                        </a:cubicBezTo>
                        <a:cubicBezTo>
                          <a:pt x="27" y="70"/>
                          <a:pt x="27" y="70"/>
                          <a:pt x="27" y="70"/>
                        </a:cubicBezTo>
                        <a:cubicBezTo>
                          <a:pt x="27" y="70"/>
                          <a:pt x="28" y="69"/>
                          <a:pt x="28" y="69"/>
                        </a:cubicBezTo>
                        <a:cubicBezTo>
                          <a:pt x="28" y="69"/>
                          <a:pt x="28" y="69"/>
                          <a:pt x="28" y="69"/>
                        </a:cubicBezTo>
                        <a:cubicBezTo>
                          <a:pt x="27" y="69"/>
                          <a:pt x="28" y="69"/>
                          <a:pt x="28" y="69"/>
                        </a:cubicBezTo>
                        <a:cubicBezTo>
                          <a:pt x="28" y="69"/>
                          <a:pt x="28" y="69"/>
                          <a:pt x="28" y="69"/>
                        </a:cubicBezTo>
                        <a:cubicBezTo>
                          <a:pt x="28" y="69"/>
                          <a:pt x="28" y="69"/>
                          <a:pt x="28" y="69"/>
                        </a:cubicBezTo>
                        <a:cubicBezTo>
                          <a:pt x="28" y="69"/>
                          <a:pt x="28" y="68"/>
                          <a:pt x="28" y="68"/>
                        </a:cubicBezTo>
                        <a:cubicBezTo>
                          <a:pt x="28" y="68"/>
                          <a:pt x="28" y="68"/>
                          <a:pt x="28" y="68"/>
                        </a:cubicBezTo>
                        <a:cubicBezTo>
                          <a:pt x="29" y="68"/>
                          <a:pt x="29" y="68"/>
                          <a:pt x="29" y="68"/>
                        </a:cubicBezTo>
                        <a:cubicBezTo>
                          <a:pt x="29" y="68"/>
                          <a:pt x="29" y="68"/>
                          <a:pt x="29" y="68"/>
                        </a:cubicBezTo>
                        <a:cubicBezTo>
                          <a:pt x="29" y="68"/>
                          <a:pt x="29" y="68"/>
                          <a:pt x="29" y="68"/>
                        </a:cubicBezTo>
                        <a:cubicBezTo>
                          <a:pt x="29" y="67"/>
                          <a:pt x="29" y="66"/>
                          <a:pt x="30" y="66"/>
                        </a:cubicBezTo>
                        <a:cubicBezTo>
                          <a:pt x="30" y="66"/>
                          <a:pt x="30" y="66"/>
                          <a:pt x="29" y="66"/>
                        </a:cubicBezTo>
                        <a:cubicBezTo>
                          <a:pt x="30" y="66"/>
                          <a:pt x="30" y="66"/>
                          <a:pt x="30" y="66"/>
                        </a:cubicBezTo>
                        <a:cubicBezTo>
                          <a:pt x="30" y="66"/>
                          <a:pt x="30" y="66"/>
                          <a:pt x="30" y="66"/>
                        </a:cubicBezTo>
                        <a:cubicBezTo>
                          <a:pt x="30" y="66"/>
                          <a:pt x="30" y="66"/>
                          <a:pt x="30" y="66"/>
                        </a:cubicBezTo>
                        <a:cubicBezTo>
                          <a:pt x="30" y="66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6"/>
                          <a:pt x="30" y="67"/>
                          <a:pt x="30" y="67"/>
                        </a:cubicBezTo>
                        <a:cubicBezTo>
                          <a:pt x="29" y="67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29" y="67"/>
                          <a:pt x="29" y="68"/>
                          <a:pt x="29" y="68"/>
                        </a:cubicBezTo>
                        <a:cubicBezTo>
                          <a:pt x="29" y="68"/>
                          <a:pt x="29" y="68"/>
                          <a:pt x="29" y="68"/>
                        </a:cubicBezTo>
                        <a:cubicBezTo>
                          <a:pt x="29" y="68"/>
                          <a:pt x="29" y="69"/>
                          <a:pt x="29" y="69"/>
                        </a:cubicBezTo>
                        <a:cubicBezTo>
                          <a:pt x="29" y="69"/>
                          <a:pt x="29" y="68"/>
                          <a:pt x="29" y="69"/>
                        </a:cubicBezTo>
                        <a:cubicBezTo>
                          <a:pt x="29" y="68"/>
                          <a:pt x="29" y="68"/>
                          <a:pt x="29" y="68"/>
                        </a:cubicBezTo>
                        <a:cubicBezTo>
                          <a:pt x="29" y="68"/>
                          <a:pt x="29" y="68"/>
                          <a:pt x="29" y="68"/>
                        </a:cubicBezTo>
                        <a:cubicBezTo>
                          <a:pt x="30" y="68"/>
                          <a:pt x="29" y="68"/>
                          <a:pt x="29" y="68"/>
                        </a:cubicBezTo>
                        <a:cubicBezTo>
                          <a:pt x="30" y="68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7"/>
                          <a:pt x="30" y="66"/>
                          <a:pt x="31" y="65"/>
                        </a:cubicBezTo>
                        <a:cubicBezTo>
                          <a:pt x="30" y="65"/>
                          <a:pt x="30" y="66"/>
                          <a:pt x="30" y="66"/>
                        </a:cubicBezTo>
                        <a:cubicBezTo>
                          <a:pt x="30" y="65"/>
                          <a:pt x="30" y="66"/>
                          <a:pt x="30" y="65"/>
                        </a:cubicBezTo>
                        <a:cubicBezTo>
                          <a:pt x="30" y="65"/>
                          <a:pt x="30" y="66"/>
                          <a:pt x="30" y="65"/>
                        </a:cubicBezTo>
                        <a:cubicBezTo>
                          <a:pt x="30" y="65"/>
                          <a:pt x="30" y="66"/>
                          <a:pt x="30" y="66"/>
                        </a:cubicBezTo>
                        <a:cubicBezTo>
                          <a:pt x="30" y="65"/>
                          <a:pt x="30" y="65"/>
                          <a:pt x="30" y="65"/>
                        </a:cubicBezTo>
                        <a:cubicBezTo>
                          <a:pt x="30" y="65"/>
                          <a:pt x="30" y="65"/>
                          <a:pt x="30" y="65"/>
                        </a:cubicBezTo>
                        <a:cubicBezTo>
                          <a:pt x="30" y="65"/>
                          <a:pt x="30" y="65"/>
                          <a:pt x="30" y="66"/>
                        </a:cubicBezTo>
                        <a:cubicBezTo>
                          <a:pt x="30" y="65"/>
                          <a:pt x="29" y="66"/>
                          <a:pt x="29" y="66"/>
                        </a:cubicBezTo>
                        <a:cubicBezTo>
                          <a:pt x="29" y="66"/>
                          <a:pt x="30" y="65"/>
                          <a:pt x="29" y="65"/>
                        </a:cubicBezTo>
                        <a:cubicBezTo>
                          <a:pt x="29" y="65"/>
                          <a:pt x="29" y="66"/>
                          <a:pt x="29" y="66"/>
                        </a:cubicBezTo>
                        <a:cubicBezTo>
                          <a:pt x="29" y="66"/>
                          <a:pt x="29" y="66"/>
                          <a:pt x="29" y="66"/>
                        </a:cubicBezTo>
                        <a:cubicBezTo>
                          <a:pt x="29" y="66"/>
                          <a:pt x="29" y="66"/>
                          <a:pt x="29" y="66"/>
                        </a:cubicBezTo>
                        <a:cubicBezTo>
                          <a:pt x="29" y="66"/>
                          <a:pt x="29" y="66"/>
                          <a:pt x="29" y="66"/>
                        </a:cubicBezTo>
                        <a:cubicBezTo>
                          <a:pt x="29" y="66"/>
                          <a:pt x="29" y="66"/>
                          <a:pt x="29" y="66"/>
                        </a:cubicBezTo>
                        <a:cubicBezTo>
                          <a:pt x="29" y="66"/>
                          <a:pt x="29" y="66"/>
                          <a:pt x="29" y="66"/>
                        </a:cubicBezTo>
                        <a:cubicBezTo>
                          <a:pt x="29" y="66"/>
                          <a:pt x="29" y="67"/>
                          <a:pt x="29" y="67"/>
                        </a:cubicBezTo>
                        <a:cubicBezTo>
                          <a:pt x="29" y="67"/>
                          <a:pt x="29" y="67"/>
                          <a:pt x="29" y="67"/>
                        </a:cubicBezTo>
                        <a:cubicBezTo>
                          <a:pt x="29" y="67"/>
                          <a:pt x="29" y="67"/>
                          <a:pt x="29" y="67"/>
                        </a:cubicBezTo>
                        <a:cubicBezTo>
                          <a:pt x="29" y="67"/>
                          <a:pt x="29" y="67"/>
                          <a:pt x="29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8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8"/>
                        </a:cubicBezTo>
                        <a:cubicBezTo>
                          <a:pt x="28" y="68"/>
                          <a:pt x="28" y="67"/>
                          <a:pt x="28" y="67"/>
                        </a:cubicBezTo>
                        <a:cubicBezTo>
                          <a:pt x="27" y="68"/>
                          <a:pt x="28" y="68"/>
                          <a:pt x="27" y="68"/>
                        </a:cubicBezTo>
                        <a:cubicBezTo>
                          <a:pt x="27" y="68"/>
                          <a:pt x="27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7" y="67"/>
                        </a:cubicBezTo>
                        <a:cubicBezTo>
                          <a:pt x="27" y="67"/>
                          <a:pt x="27" y="67"/>
                          <a:pt x="27" y="67"/>
                        </a:cubicBezTo>
                        <a:cubicBezTo>
                          <a:pt x="27" y="68"/>
                          <a:pt x="27" y="67"/>
                          <a:pt x="27" y="67"/>
                        </a:cubicBezTo>
                        <a:cubicBezTo>
                          <a:pt x="27" y="68"/>
                          <a:pt x="27" y="68"/>
                          <a:pt x="27" y="68"/>
                        </a:cubicBezTo>
                        <a:cubicBezTo>
                          <a:pt x="27" y="68"/>
                          <a:pt x="27" y="68"/>
                          <a:pt x="27" y="68"/>
                        </a:cubicBezTo>
                        <a:cubicBezTo>
                          <a:pt x="27" y="68"/>
                          <a:pt x="27" y="68"/>
                          <a:pt x="27" y="68"/>
                        </a:cubicBezTo>
                        <a:cubicBezTo>
                          <a:pt x="28" y="68"/>
                          <a:pt x="27" y="68"/>
                          <a:pt x="27" y="68"/>
                        </a:cubicBezTo>
                        <a:cubicBezTo>
                          <a:pt x="27" y="68"/>
                          <a:pt x="27" y="68"/>
                          <a:pt x="27" y="68"/>
                        </a:cubicBezTo>
                        <a:cubicBezTo>
                          <a:pt x="27" y="68"/>
                          <a:pt x="27" y="68"/>
                          <a:pt x="27" y="69"/>
                        </a:cubicBezTo>
                        <a:cubicBezTo>
                          <a:pt x="27" y="69"/>
                          <a:pt x="26" y="69"/>
                          <a:pt x="26" y="70"/>
                        </a:cubicBezTo>
                        <a:cubicBezTo>
                          <a:pt x="26" y="70"/>
                          <a:pt x="26" y="70"/>
                          <a:pt x="26" y="70"/>
                        </a:cubicBezTo>
                        <a:cubicBezTo>
                          <a:pt x="26" y="70"/>
                          <a:pt x="26" y="70"/>
                          <a:pt x="26" y="70"/>
                        </a:cubicBezTo>
                        <a:cubicBezTo>
                          <a:pt x="26" y="70"/>
                          <a:pt x="26" y="70"/>
                          <a:pt x="26" y="70"/>
                        </a:cubicBezTo>
                        <a:cubicBezTo>
                          <a:pt x="26" y="70"/>
                          <a:pt x="26" y="70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8"/>
                        </a:cubicBezTo>
                        <a:cubicBezTo>
                          <a:pt x="27" y="68"/>
                          <a:pt x="26" y="69"/>
                          <a:pt x="26" y="69"/>
                        </a:cubicBezTo>
                        <a:cubicBezTo>
                          <a:pt x="27" y="69"/>
                          <a:pt x="27" y="68"/>
                          <a:pt x="26" y="68"/>
                        </a:cubicBezTo>
                        <a:cubicBezTo>
                          <a:pt x="27" y="68"/>
                          <a:pt x="27" y="68"/>
                          <a:pt x="27" y="68"/>
                        </a:cubicBezTo>
                        <a:cubicBezTo>
                          <a:pt x="27" y="68"/>
                          <a:pt x="27" y="68"/>
                          <a:pt x="26" y="68"/>
                        </a:cubicBezTo>
                        <a:cubicBezTo>
                          <a:pt x="26" y="68"/>
                          <a:pt x="26" y="68"/>
                          <a:pt x="26" y="68"/>
                        </a:cubicBezTo>
                        <a:cubicBezTo>
                          <a:pt x="26" y="68"/>
                          <a:pt x="26" y="68"/>
                          <a:pt x="26" y="68"/>
                        </a:cubicBezTo>
                        <a:cubicBezTo>
                          <a:pt x="26" y="68"/>
                          <a:pt x="26" y="68"/>
                          <a:pt x="26" y="68"/>
                        </a:cubicBezTo>
                        <a:cubicBezTo>
                          <a:pt x="26" y="68"/>
                          <a:pt x="26" y="68"/>
                          <a:pt x="26" y="68"/>
                        </a:cubicBezTo>
                        <a:cubicBezTo>
                          <a:pt x="26" y="68"/>
                          <a:pt x="26" y="68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6" y="69"/>
                          <a:pt x="26" y="69"/>
                        </a:cubicBezTo>
                        <a:cubicBezTo>
                          <a:pt x="26" y="69"/>
                          <a:pt x="25" y="69"/>
                          <a:pt x="26" y="69"/>
                        </a:cubicBezTo>
                        <a:cubicBezTo>
                          <a:pt x="26" y="69"/>
                          <a:pt x="25" y="69"/>
                          <a:pt x="25" y="69"/>
                        </a:cubicBezTo>
                        <a:cubicBezTo>
                          <a:pt x="25" y="69"/>
                          <a:pt x="25" y="69"/>
                          <a:pt x="25" y="69"/>
                        </a:cubicBezTo>
                        <a:cubicBezTo>
                          <a:pt x="25" y="69"/>
                          <a:pt x="25" y="69"/>
                          <a:pt x="25" y="69"/>
                        </a:cubicBezTo>
                        <a:cubicBezTo>
                          <a:pt x="25" y="69"/>
                          <a:pt x="25" y="69"/>
                          <a:pt x="25" y="69"/>
                        </a:cubicBezTo>
                        <a:cubicBezTo>
                          <a:pt x="25" y="69"/>
                          <a:pt x="25" y="68"/>
                          <a:pt x="26" y="68"/>
                        </a:cubicBezTo>
                        <a:cubicBezTo>
                          <a:pt x="26" y="68"/>
                          <a:pt x="26" y="68"/>
                          <a:pt x="25" y="68"/>
                        </a:cubicBezTo>
                        <a:cubicBezTo>
                          <a:pt x="26" y="67"/>
                          <a:pt x="26" y="67"/>
                          <a:pt x="26" y="67"/>
                        </a:cubicBezTo>
                        <a:cubicBezTo>
                          <a:pt x="26" y="67"/>
                          <a:pt x="26" y="67"/>
                          <a:pt x="26" y="67"/>
                        </a:cubicBezTo>
                        <a:cubicBezTo>
                          <a:pt x="26" y="67"/>
                          <a:pt x="26" y="67"/>
                          <a:pt x="26" y="67"/>
                        </a:cubicBezTo>
                        <a:cubicBezTo>
                          <a:pt x="26" y="67"/>
                          <a:pt x="26" y="67"/>
                          <a:pt x="26" y="67"/>
                        </a:cubicBezTo>
                        <a:cubicBezTo>
                          <a:pt x="26" y="67"/>
                          <a:pt x="26" y="67"/>
                          <a:pt x="26" y="67"/>
                        </a:cubicBezTo>
                        <a:cubicBezTo>
                          <a:pt x="26" y="67"/>
                          <a:pt x="26" y="67"/>
                          <a:pt x="26" y="67"/>
                        </a:cubicBezTo>
                        <a:cubicBezTo>
                          <a:pt x="27" y="67"/>
                          <a:pt x="26" y="67"/>
                          <a:pt x="27" y="67"/>
                        </a:cubicBezTo>
                        <a:cubicBezTo>
                          <a:pt x="27" y="66"/>
                          <a:pt x="27" y="66"/>
                          <a:pt x="27" y="66"/>
                        </a:cubicBezTo>
                        <a:cubicBezTo>
                          <a:pt x="27" y="66"/>
                          <a:pt x="27" y="66"/>
                          <a:pt x="27" y="66"/>
                        </a:cubicBezTo>
                        <a:cubicBezTo>
                          <a:pt x="27" y="66"/>
                          <a:pt x="27" y="66"/>
                          <a:pt x="27" y="66"/>
                        </a:cubicBezTo>
                        <a:cubicBezTo>
                          <a:pt x="27" y="66"/>
                          <a:pt x="27" y="66"/>
                          <a:pt x="27" y="66"/>
                        </a:cubicBezTo>
                        <a:cubicBezTo>
                          <a:pt x="27" y="66"/>
                          <a:pt x="27" y="65"/>
                          <a:pt x="27" y="65"/>
                        </a:cubicBezTo>
                        <a:cubicBezTo>
                          <a:pt x="27" y="65"/>
                          <a:pt x="27" y="65"/>
                          <a:pt x="27" y="66"/>
                        </a:cubicBezTo>
                        <a:cubicBezTo>
                          <a:pt x="27" y="66"/>
                          <a:pt x="27" y="66"/>
                          <a:pt x="27" y="66"/>
                        </a:cubicBezTo>
                        <a:cubicBezTo>
                          <a:pt x="27" y="65"/>
                          <a:pt x="27" y="65"/>
                          <a:pt x="27" y="65"/>
                        </a:cubicBezTo>
                        <a:cubicBezTo>
                          <a:pt x="28" y="65"/>
                          <a:pt x="27" y="65"/>
                          <a:pt x="28" y="65"/>
                        </a:cubicBezTo>
                        <a:cubicBezTo>
                          <a:pt x="27" y="66"/>
                          <a:pt x="27" y="66"/>
                          <a:pt x="27" y="66"/>
                        </a:cubicBezTo>
                        <a:cubicBezTo>
                          <a:pt x="27" y="66"/>
                          <a:pt x="27" y="67"/>
                          <a:pt x="27" y="67"/>
                        </a:cubicBezTo>
                        <a:cubicBezTo>
                          <a:pt x="27" y="67"/>
                          <a:pt x="27" y="66"/>
                          <a:pt x="27" y="66"/>
                        </a:cubicBezTo>
                        <a:cubicBezTo>
                          <a:pt x="27" y="67"/>
                          <a:pt x="27" y="67"/>
                          <a:pt x="27" y="67"/>
                        </a:cubicBezTo>
                        <a:cubicBezTo>
                          <a:pt x="27" y="67"/>
                          <a:pt x="27" y="67"/>
                          <a:pt x="27" y="67"/>
                        </a:cubicBezTo>
                        <a:cubicBezTo>
                          <a:pt x="27" y="67"/>
                          <a:pt x="27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6"/>
                          <a:pt x="28" y="66"/>
                        </a:cubicBezTo>
                        <a:cubicBezTo>
                          <a:pt x="28" y="66"/>
                          <a:pt x="28" y="66"/>
                          <a:pt x="28" y="66"/>
                        </a:cubicBezTo>
                        <a:cubicBezTo>
                          <a:pt x="28" y="66"/>
                          <a:pt x="28" y="66"/>
                          <a:pt x="28" y="66"/>
                        </a:cubicBezTo>
                        <a:cubicBezTo>
                          <a:pt x="28" y="66"/>
                          <a:pt x="28" y="66"/>
                          <a:pt x="28" y="66"/>
                        </a:cubicBezTo>
                        <a:cubicBezTo>
                          <a:pt x="28" y="66"/>
                          <a:pt x="28" y="66"/>
                          <a:pt x="28" y="66"/>
                        </a:cubicBezTo>
                        <a:cubicBezTo>
                          <a:pt x="28" y="66"/>
                          <a:pt x="28" y="66"/>
                          <a:pt x="28" y="66"/>
                        </a:cubicBezTo>
                        <a:cubicBezTo>
                          <a:pt x="27" y="66"/>
                          <a:pt x="28" y="66"/>
                          <a:pt x="28" y="66"/>
                        </a:cubicBezTo>
                        <a:cubicBezTo>
                          <a:pt x="28" y="66"/>
                          <a:pt x="28" y="66"/>
                          <a:pt x="28" y="65"/>
                        </a:cubicBezTo>
                        <a:cubicBezTo>
                          <a:pt x="28" y="65"/>
                          <a:pt x="28" y="66"/>
                          <a:pt x="28" y="66"/>
                        </a:cubicBezTo>
                        <a:cubicBezTo>
                          <a:pt x="28" y="66"/>
                          <a:pt x="28" y="65"/>
                          <a:pt x="28" y="65"/>
                        </a:cubicBezTo>
                        <a:cubicBezTo>
                          <a:pt x="28" y="65"/>
                          <a:pt x="28" y="65"/>
                          <a:pt x="28" y="65"/>
                        </a:cubicBezTo>
                        <a:cubicBezTo>
                          <a:pt x="28" y="65"/>
                          <a:pt x="28" y="65"/>
                          <a:pt x="28" y="64"/>
                        </a:cubicBezTo>
                        <a:cubicBezTo>
                          <a:pt x="28" y="64"/>
                          <a:pt x="29" y="64"/>
                          <a:pt x="29" y="63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8" y="64"/>
                          <a:pt x="29" y="65"/>
                          <a:pt x="28" y="65"/>
                        </a:cubicBezTo>
                        <a:cubicBezTo>
                          <a:pt x="28" y="65"/>
                          <a:pt x="28" y="65"/>
                          <a:pt x="28" y="66"/>
                        </a:cubicBezTo>
                        <a:cubicBezTo>
                          <a:pt x="28" y="66"/>
                          <a:pt x="28" y="65"/>
                          <a:pt x="28" y="66"/>
                        </a:cubicBezTo>
                        <a:cubicBezTo>
                          <a:pt x="28" y="65"/>
                          <a:pt x="28" y="65"/>
                          <a:pt x="28" y="65"/>
                        </a:cubicBezTo>
                        <a:cubicBezTo>
                          <a:pt x="28" y="65"/>
                          <a:pt x="28" y="65"/>
                          <a:pt x="28" y="65"/>
                        </a:cubicBezTo>
                        <a:cubicBezTo>
                          <a:pt x="29" y="65"/>
                          <a:pt x="29" y="65"/>
                          <a:pt x="28" y="65"/>
                        </a:cubicBezTo>
                        <a:cubicBezTo>
                          <a:pt x="29" y="65"/>
                          <a:pt x="29" y="65"/>
                          <a:pt x="29" y="65"/>
                        </a:cubicBezTo>
                        <a:cubicBezTo>
                          <a:pt x="29" y="65"/>
                          <a:pt x="29" y="65"/>
                          <a:pt x="29" y="65"/>
                        </a:cubicBezTo>
                        <a:cubicBezTo>
                          <a:pt x="29" y="64"/>
                          <a:pt x="29" y="65"/>
                          <a:pt x="29" y="65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30" y="64"/>
                        </a:cubicBezTo>
                        <a:cubicBezTo>
                          <a:pt x="30" y="64"/>
                          <a:pt x="29" y="64"/>
                          <a:pt x="29" y="64"/>
                        </a:cubicBezTo>
                        <a:cubicBezTo>
                          <a:pt x="29" y="64"/>
                          <a:pt x="29" y="64"/>
                          <a:pt x="29" y="64"/>
                        </a:cubicBezTo>
                        <a:cubicBezTo>
                          <a:pt x="30" y="64"/>
                          <a:pt x="30" y="64"/>
                          <a:pt x="29" y="64"/>
                        </a:cubicBezTo>
                        <a:cubicBezTo>
                          <a:pt x="30" y="64"/>
                          <a:pt x="30" y="64"/>
                          <a:pt x="30" y="63"/>
                        </a:cubicBezTo>
                        <a:cubicBezTo>
                          <a:pt x="30" y="64"/>
                          <a:pt x="29" y="64"/>
                          <a:pt x="29" y="65"/>
                        </a:cubicBezTo>
                        <a:cubicBezTo>
                          <a:pt x="29" y="65"/>
                          <a:pt x="29" y="65"/>
                          <a:pt x="29" y="65"/>
                        </a:cubicBezTo>
                        <a:cubicBezTo>
                          <a:pt x="29" y="65"/>
                          <a:pt x="29" y="65"/>
                          <a:pt x="29" y="65"/>
                        </a:cubicBezTo>
                        <a:cubicBezTo>
                          <a:pt x="29" y="65"/>
                          <a:pt x="29" y="65"/>
                          <a:pt x="29" y="65"/>
                        </a:cubicBezTo>
                        <a:cubicBezTo>
                          <a:pt x="29" y="65"/>
                          <a:pt x="29" y="65"/>
                          <a:pt x="29" y="66"/>
                        </a:cubicBezTo>
                        <a:cubicBezTo>
                          <a:pt x="29" y="65"/>
                          <a:pt x="30" y="65"/>
                          <a:pt x="30" y="64"/>
                        </a:cubicBezTo>
                        <a:cubicBezTo>
                          <a:pt x="30" y="64"/>
                          <a:pt x="30" y="64"/>
                          <a:pt x="30" y="64"/>
                        </a:cubicBezTo>
                        <a:cubicBezTo>
                          <a:pt x="30" y="64"/>
                          <a:pt x="30" y="64"/>
                          <a:pt x="30" y="64"/>
                        </a:cubicBezTo>
                        <a:cubicBezTo>
                          <a:pt x="30" y="64"/>
                          <a:pt x="30" y="64"/>
                          <a:pt x="30" y="64"/>
                        </a:cubicBezTo>
                        <a:cubicBezTo>
                          <a:pt x="30" y="64"/>
                          <a:pt x="30" y="64"/>
                          <a:pt x="30" y="64"/>
                        </a:cubicBezTo>
                        <a:cubicBezTo>
                          <a:pt x="30" y="64"/>
                          <a:pt x="30" y="64"/>
                          <a:pt x="30" y="63"/>
                        </a:cubicBezTo>
                        <a:cubicBezTo>
                          <a:pt x="31" y="64"/>
                          <a:pt x="31" y="64"/>
                          <a:pt x="31" y="64"/>
                        </a:cubicBezTo>
                        <a:cubicBezTo>
                          <a:pt x="31" y="63"/>
                          <a:pt x="31" y="63"/>
                          <a:pt x="31" y="63"/>
                        </a:cubicBezTo>
                        <a:cubicBezTo>
                          <a:pt x="31" y="63"/>
                          <a:pt x="31" y="63"/>
                          <a:pt x="31" y="63"/>
                        </a:cubicBezTo>
                        <a:cubicBezTo>
                          <a:pt x="31" y="63"/>
                          <a:pt x="31" y="63"/>
                          <a:pt x="31" y="63"/>
                        </a:cubicBezTo>
                        <a:cubicBezTo>
                          <a:pt x="31" y="63"/>
                          <a:pt x="31" y="63"/>
                          <a:pt x="31" y="63"/>
                        </a:cubicBezTo>
                        <a:cubicBezTo>
                          <a:pt x="31" y="63"/>
                          <a:pt x="31" y="63"/>
                          <a:pt x="31" y="63"/>
                        </a:cubicBezTo>
                        <a:cubicBezTo>
                          <a:pt x="31" y="63"/>
                          <a:pt x="31" y="63"/>
                          <a:pt x="31" y="63"/>
                        </a:cubicBezTo>
                        <a:cubicBezTo>
                          <a:pt x="31" y="62"/>
                          <a:pt x="31" y="62"/>
                          <a:pt x="31" y="62"/>
                        </a:cubicBezTo>
                        <a:cubicBezTo>
                          <a:pt x="32" y="62"/>
                          <a:pt x="32" y="62"/>
                          <a:pt x="32" y="62"/>
                        </a:cubicBezTo>
                        <a:cubicBezTo>
                          <a:pt x="32" y="62"/>
                          <a:pt x="31" y="62"/>
                          <a:pt x="31" y="62"/>
                        </a:cubicBezTo>
                        <a:cubicBezTo>
                          <a:pt x="31" y="63"/>
                          <a:pt x="31" y="62"/>
                          <a:pt x="32" y="62"/>
                        </a:cubicBezTo>
                        <a:cubicBezTo>
                          <a:pt x="31" y="63"/>
                          <a:pt x="31" y="63"/>
                          <a:pt x="31" y="63"/>
                        </a:cubicBezTo>
                        <a:cubicBezTo>
                          <a:pt x="31" y="63"/>
                          <a:pt x="31" y="63"/>
                          <a:pt x="32" y="63"/>
                        </a:cubicBezTo>
                        <a:cubicBezTo>
                          <a:pt x="32" y="63"/>
                          <a:pt x="31" y="63"/>
                          <a:pt x="31" y="63"/>
                        </a:cubicBezTo>
                        <a:cubicBezTo>
                          <a:pt x="31" y="64"/>
                          <a:pt x="32" y="63"/>
                          <a:pt x="31" y="64"/>
                        </a:cubicBezTo>
                        <a:cubicBezTo>
                          <a:pt x="31" y="64"/>
                          <a:pt x="31" y="64"/>
                          <a:pt x="31" y="64"/>
                        </a:cubicBezTo>
                        <a:cubicBezTo>
                          <a:pt x="31" y="64"/>
                          <a:pt x="31" y="64"/>
                          <a:pt x="31" y="64"/>
                        </a:cubicBezTo>
                        <a:cubicBezTo>
                          <a:pt x="31" y="64"/>
                          <a:pt x="32" y="64"/>
                          <a:pt x="32" y="64"/>
                        </a:cubicBezTo>
                        <a:cubicBezTo>
                          <a:pt x="32" y="64"/>
                          <a:pt x="32" y="64"/>
                          <a:pt x="32" y="64"/>
                        </a:cubicBezTo>
                        <a:cubicBezTo>
                          <a:pt x="32" y="64"/>
                          <a:pt x="32" y="64"/>
                          <a:pt x="32" y="64"/>
                        </a:cubicBezTo>
                        <a:cubicBezTo>
                          <a:pt x="32" y="64"/>
                          <a:pt x="31" y="64"/>
                          <a:pt x="31" y="64"/>
                        </a:cubicBezTo>
                        <a:cubicBezTo>
                          <a:pt x="31" y="64"/>
                          <a:pt x="32" y="63"/>
                          <a:pt x="32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32" y="63"/>
                          <a:pt x="32" y="63"/>
                          <a:pt x="33" y="63"/>
                        </a:cubicBezTo>
                        <a:cubicBezTo>
                          <a:pt x="33" y="63"/>
                          <a:pt x="33" y="63"/>
                          <a:pt x="32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32" y="63"/>
                          <a:pt x="33" y="63"/>
                          <a:pt x="33" y="63"/>
                        </a:cubicBezTo>
                        <a:cubicBezTo>
                          <a:pt x="33" y="63"/>
                          <a:pt x="33" y="63"/>
                          <a:pt x="32" y="63"/>
                        </a:cubicBezTo>
                        <a:cubicBezTo>
                          <a:pt x="32" y="63"/>
                          <a:pt x="32" y="62"/>
                          <a:pt x="33" y="62"/>
                        </a:cubicBezTo>
                        <a:cubicBezTo>
                          <a:pt x="33" y="63"/>
                          <a:pt x="33" y="62"/>
                          <a:pt x="33" y="63"/>
                        </a:cubicBezTo>
                        <a:cubicBezTo>
                          <a:pt x="33" y="63"/>
                          <a:pt x="33" y="63"/>
                          <a:pt x="33" y="62"/>
                        </a:cubicBezTo>
                        <a:cubicBezTo>
                          <a:pt x="33" y="62"/>
                          <a:pt x="33" y="62"/>
                          <a:pt x="33" y="63"/>
                        </a:cubicBezTo>
                        <a:cubicBezTo>
                          <a:pt x="33" y="62"/>
                          <a:pt x="33" y="62"/>
                          <a:pt x="33" y="62"/>
                        </a:cubicBezTo>
                        <a:cubicBezTo>
                          <a:pt x="33" y="62"/>
                          <a:pt x="33" y="62"/>
                          <a:pt x="33" y="62"/>
                        </a:cubicBezTo>
                        <a:cubicBezTo>
                          <a:pt x="33" y="62"/>
                          <a:pt x="33" y="62"/>
                          <a:pt x="33" y="62"/>
                        </a:cubicBezTo>
                        <a:cubicBezTo>
                          <a:pt x="33" y="62"/>
                          <a:pt x="33" y="62"/>
                          <a:pt x="33" y="62"/>
                        </a:cubicBezTo>
                        <a:cubicBezTo>
                          <a:pt x="33" y="62"/>
                          <a:pt x="33" y="62"/>
                          <a:pt x="33" y="62"/>
                        </a:cubicBezTo>
                        <a:cubicBezTo>
                          <a:pt x="33" y="62"/>
                          <a:pt x="33" y="62"/>
                          <a:pt x="33" y="62"/>
                        </a:cubicBezTo>
                        <a:cubicBezTo>
                          <a:pt x="33" y="62"/>
                          <a:pt x="33" y="61"/>
                          <a:pt x="33" y="62"/>
                        </a:cubicBezTo>
                        <a:cubicBezTo>
                          <a:pt x="33" y="61"/>
                          <a:pt x="33" y="61"/>
                          <a:pt x="33" y="61"/>
                        </a:cubicBezTo>
                        <a:cubicBezTo>
                          <a:pt x="34" y="61"/>
                          <a:pt x="33" y="61"/>
                          <a:pt x="33" y="62"/>
                        </a:cubicBezTo>
                        <a:cubicBezTo>
                          <a:pt x="34" y="61"/>
                          <a:pt x="34" y="61"/>
                          <a:pt x="34" y="61"/>
                        </a:cubicBezTo>
                        <a:cubicBezTo>
                          <a:pt x="34" y="61"/>
                          <a:pt x="34" y="61"/>
                          <a:pt x="34" y="61"/>
                        </a:cubicBezTo>
                        <a:cubicBezTo>
                          <a:pt x="33" y="61"/>
                          <a:pt x="34" y="61"/>
                          <a:pt x="33" y="61"/>
                        </a:cubicBezTo>
                        <a:cubicBezTo>
                          <a:pt x="33" y="61"/>
                          <a:pt x="33" y="61"/>
                          <a:pt x="33" y="61"/>
                        </a:cubicBezTo>
                        <a:cubicBezTo>
                          <a:pt x="33" y="61"/>
                          <a:pt x="34" y="61"/>
                          <a:pt x="34" y="61"/>
                        </a:cubicBezTo>
                        <a:cubicBezTo>
                          <a:pt x="34" y="61"/>
                          <a:pt x="34" y="61"/>
                          <a:pt x="34" y="61"/>
                        </a:cubicBezTo>
                        <a:cubicBezTo>
                          <a:pt x="34" y="61"/>
                          <a:pt x="33" y="61"/>
                          <a:pt x="33" y="61"/>
                        </a:cubicBezTo>
                        <a:cubicBezTo>
                          <a:pt x="33" y="60"/>
                          <a:pt x="33" y="60"/>
                          <a:pt x="34" y="60"/>
                        </a:cubicBezTo>
                        <a:cubicBezTo>
                          <a:pt x="34" y="60"/>
                          <a:pt x="34" y="60"/>
                          <a:pt x="34" y="61"/>
                        </a:cubicBezTo>
                        <a:cubicBezTo>
                          <a:pt x="34" y="60"/>
                          <a:pt x="34" y="60"/>
                          <a:pt x="34" y="60"/>
                        </a:cubicBezTo>
                        <a:cubicBezTo>
                          <a:pt x="34" y="59"/>
                          <a:pt x="34" y="59"/>
                          <a:pt x="34" y="59"/>
                        </a:cubicBezTo>
                        <a:cubicBezTo>
                          <a:pt x="34" y="59"/>
                          <a:pt x="34" y="59"/>
                          <a:pt x="35" y="59"/>
                        </a:cubicBezTo>
                        <a:cubicBezTo>
                          <a:pt x="35" y="59"/>
                          <a:pt x="34" y="59"/>
                          <a:pt x="34" y="59"/>
                        </a:cubicBezTo>
                        <a:cubicBezTo>
                          <a:pt x="34" y="59"/>
                          <a:pt x="34" y="59"/>
                          <a:pt x="34" y="60"/>
                        </a:cubicBezTo>
                        <a:cubicBezTo>
                          <a:pt x="34" y="59"/>
                          <a:pt x="34" y="59"/>
                          <a:pt x="34" y="59"/>
                        </a:cubicBezTo>
                        <a:cubicBezTo>
                          <a:pt x="34" y="60"/>
                          <a:pt x="34" y="60"/>
                          <a:pt x="34" y="60"/>
                        </a:cubicBezTo>
                        <a:cubicBezTo>
                          <a:pt x="34" y="60"/>
                          <a:pt x="34" y="61"/>
                          <a:pt x="34" y="60"/>
                        </a:cubicBezTo>
                        <a:cubicBezTo>
                          <a:pt x="34" y="61"/>
                          <a:pt x="34" y="61"/>
                          <a:pt x="34" y="61"/>
                        </a:cubicBezTo>
                        <a:cubicBezTo>
                          <a:pt x="34" y="61"/>
                          <a:pt x="34" y="61"/>
                          <a:pt x="34" y="61"/>
                        </a:cubicBezTo>
                        <a:cubicBezTo>
                          <a:pt x="34" y="61"/>
                          <a:pt x="34" y="60"/>
                          <a:pt x="34" y="60"/>
                        </a:cubicBezTo>
                        <a:cubicBezTo>
                          <a:pt x="34" y="61"/>
                          <a:pt x="34" y="61"/>
                          <a:pt x="34" y="61"/>
                        </a:cubicBezTo>
                        <a:cubicBezTo>
                          <a:pt x="34" y="61"/>
                          <a:pt x="34" y="60"/>
                          <a:pt x="35" y="60"/>
                        </a:cubicBezTo>
                        <a:cubicBezTo>
                          <a:pt x="35" y="60"/>
                          <a:pt x="35" y="60"/>
                          <a:pt x="35" y="60"/>
                        </a:cubicBezTo>
                        <a:cubicBezTo>
                          <a:pt x="34" y="60"/>
                          <a:pt x="35" y="60"/>
                          <a:pt x="35" y="60"/>
                        </a:cubicBezTo>
                        <a:cubicBezTo>
                          <a:pt x="35" y="60"/>
                          <a:pt x="35" y="59"/>
                          <a:pt x="35" y="59"/>
                        </a:cubicBezTo>
                        <a:cubicBezTo>
                          <a:pt x="35" y="59"/>
                          <a:pt x="35" y="60"/>
                          <a:pt x="35" y="59"/>
                        </a:cubicBezTo>
                        <a:cubicBezTo>
                          <a:pt x="35" y="59"/>
                          <a:pt x="35" y="59"/>
                          <a:pt x="35" y="60"/>
                        </a:cubicBezTo>
                        <a:cubicBezTo>
                          <a:pt x="35" y="60"/>
                          <a:pt x="35" y="59"/>
                          <a:pt x="35" y="59"/>
                        </a:cubicBezTo>
                        <a:cubicBezTo>
                          <a:pt x="35" y="59"/>
                          <a:pt x="35" y="59"/>
                          <a:pt x="35" y="59"/>
                        </a:cubicBezTo>
                        <a:cubicBezTo>
                          <a:pt x="35" y="59"/>
                          <a:pt x="35" y="58"/>
                          <a:pt x="35" y="58"/>
                        </a:cubicBezTo>
                        <a:cubicBezTo>
                          <a:pt x="35" y="58"/>
                          <a:pt x="35" y="58"/>
                          <a:pt x="36" y="58"/>
                        </a:cubicBezTo>
                        <a:cubicBezTo>
                          <a:pt x="36" y="58"/>
                          <a:pt x="35" y="58"/>
                          <a:pt x="36" y="58"/>
                        </a:cubicBezTo>
                        <a:cubicBezTo>
                          <a:pt x="36" y="58"/>
                          <a:pt x="36" y="58"/>
                          <a:pt x="36" y="58"/>
                        </a:cubicBezTo>
                        <a:cubicBezTo>
                          <a:pt x="36" y="58"/>
                          <a:pt x="35" y="58"/>
                          <a:pt x="35" y="58"/>
                        </a:cubicBezTo>
                        <a:cubicBezTo>
                          <a:pt x="35" y="58"/>
                          <a:pt x="35" y="58"/>
                          <a:pt x="35" y="58"/>
                        </a:cubicBezTo>
                        <a:cubicBezTo>
                          <a:pt x="35" y="58"/>
                          <a:pt x="35" y="58"/>
                          <a:pt x="35" y="58"/>
                        </a:cubicBezTo>
                        <a:cubicBezTo>
                          <a:pt x="35" y="58"/>
                          <a:pt x="35" y="58"/>
                          <a:pt x="35" y="57"/>
                        </a:cubicBezTo>
                        <a:cubicBezTo>
                          <a:pt x="35" y="57"/>
                          <a:pt x="35" y="57"/>
                          <a:pt x="35" y="57"/>
                        </a:cubicBezTo>
                        <a:cubicBezTo>
                          <a:pt x="35" y="57"/>
                          <a:pt x="35" y="57"/>
                          <a:pt x="35" y="58"/>
                        </a:cubicBezTo>
                        <a:cubicBezTo>
                          <a:pt x="35" y="58"/>
                          <a:pt x="35" y="58"/>
                          <a:pt x="35" y="58"/>
                        </a:cubicBezTo>
                        <a:cubicBezTo>
                          <a:pt x="35" y="58"/>
                          <a:pt x="35" y="57"/>
                          <a:pt x="35" y="57"/>
                        </a:cubicBezTo>
                        <a:cubicBezTo>
                          <a:pt x="35" y="57"/>
                          <a:pt x="35" y="57"/>
                          <a:pt x="35" y="57"/>
                        </a:cubicBezTo>
                        <a:cubicBezTo>
                          <a:pt x="35" y="57"/>
                          <a:pt x="35" y="57"/>
                          <a:pt x="35" y="58"/>
                        </a:cubicBezTo>
                        <a:cubicBezTo>
                          <a:pt x="35" y="58"/>
                          <a:pt x="35" y="58"/>
                          <a:pt x="35" y="58"/>
                        </a:cubicBezTo>
                        <a:cubicBezTo>
                          <a:pt x="36" y="58"/>
                          <a:pt x="36" y="57"/>
                          <a:pt x="36" y="57"/>
                        </a:cubicBezTo>
                        <a:cubicBezTo>
                          <a:pt x="36" y="58"/>
                          <a:pt x="36" y="58"/>
                          <a:pt x="36" y="58"/>
                        </a:cubicBezTo>
                        <a:cubicBezTo>
                          <a:pt x="36" y="58"/>
                          <a:pt x="36" y="57"/>
                          <a:pt x="36" y="57"/>
                        </a:cubicBezTo>
                        <a:cubicBezTo>
                          <a:pt x="36" y="57"/>
                          <a:pt x="36" y="57"/>
                          <a:pt x="36" y="57"/>
                        </a:cubicBezTo>
                        <a:cubicBezTo>
                          <a:pt x="36" y="57"/>
                          <a:pt x="36" y="57"/>
                          <a:pt x="36" y="57"/>
                        </a:cubicBezTo>
                        <a:cubicBezTo>
                          <a:pt x="36" y="57"/>
                          <a:pt x="36" y="57"/>
                          <a:pt x="36" y="57"/>
                        </a:cubicBezTo>
                        <a:cubicBezTo>
                          <a:pt x="36" y="57"/>
                          <a:pt x="37" y="56"/>
                          <a:pt x="37" y="56"/>
                        </a:cubicBezTo>
                        <a:cubicBezTo>
                          <a:pt x="37" y="56"/>
                          <a:pt x="37" y="56"/>
                          <a:pt x="37" y="56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8"/>
                          <a:pt x="36" y="58"/>
                          <a:pt x="36" y="59"/>
                        </a:cubicBezTo>
                        <a:cubicBezTo>
                          <a:pt x="36" y="59"/>
                          <a:pt x="36" y="59"/>
                          <a:pt x="36" y="59"/>
                        </a:cubicBezTo>
                        <a:cubicBezTo>
                          <a:pt x="36" y="59"/>
                          <a:pt x="36" y="59"/>
                          <a:pt x="36" y="59"/>
                        </a:cubicBezTo>
                        <a:cubicBezTo>
                          <a:pt x="36" y="59"/>
                          <a:pt x="36" y="59"/>
                          <a:pt x="36" y="59"/>
                        </a:cubicBezTo>
                        <a:cubicBezTo>
                          <a:pt x="36" y="59"/>
                          <a:pt x="36" y="59"/>
                          <a:pt x="36" y="59"/>
                        </a:cubicBezTo>
                        <a:cubicBezTo>
                          <a:pt x="36" y="59"/>
                          <a:pt x="36" y="59"/>
                          <a:pt x="36" y="59"/>
                        </a:cubicBezTo>
                        <a:cubicBezTo>
                          <a:pt x="36" y="59"/>
                          <a:pt x="36" y="59"/>
                          <a:pt x="36" y="59"/>
                        </a:cubicBezTo>
                        <a:cubicBezTo>
                          <a:pt x="35" y="59"/>
                          <a:pt x="35" y="60"/>
                          <a:pt x="35" y="60"/>
                        </a:cubicBezTo>
                        <a:cubicBezTo>
                          <a:pt x="35" y="60"/>
                          <a:pt x="35" y="60"/>
                          <a:pt x="36" y="59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59"/>
                          <a:pt x="36" y="59"/>
                          <a:pt x="36" y="59"/>
                        </a:cubicBezTo>
                        <a:cubicBezTo>
                          <a:pt x="36" y="59"/>
                          <a:pt x="36" y="59"/>
                          <a:pt x="37" y="59"/>
                        </a:cubicBezTo>
                        <a:cubicBezTo>
                          <a:pt x="37" y="59"/>
                          <a:pt x="37" y="59"/>
                          <a:pt x="37" y="59"/>
                        </a:cubicBezTo>
                        <a:cubicBezTo>
                          <a:pt x="37" y="59"/>
                          <a:pt x="36" y="59"/>
                          <a:pt x="37" y="59"/>
                        </a:cubicBezTo>
                        <a:cubicBezTo>
                          <a:pt x="36" y="59"/>
                          <a:pt x="37" y="59"/>
                          <a:pt x="36" y="59"/>
                        </a:cubicBezTo>
                        <a:cubicBezTo>
                          <a:pt x="36" y="58"/>
                          <a:pt x="37" y="58"/>
                          <a:pt x="37" y="58"/>
                        </a:cubicBezTo>
                        <a:cubicBezTo>
                          <a:pt x="37" y="58"/>
                          <a:pt x="37" y="58"/>
                          <a:pt x="37" y="58"/>
                        </a:cubicBezTo>
                        <a:cubicBezTo>
                          <a:pt x="37" y="58"/>
                          <a:pt x="37" y="58"/>
                          <a:pt x="37" y="58"/>
                        </a:cubicBezTo>
                        <a:cubicBezTo>
                          <a:pt x="37" y="58"/>
                          <a:pt x="37" y="58"/>
                          <a:pt x="37" y="58"/>
                        </a:cubicBezTo>
                        <a:cubicBezTo>
                          <a:pt x="37" y="58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8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8"/>
                          <a:pt x="37" y="58"/>
                          <a:pt x="37" y="58"/>
                        </a:cubicBezTo>
                        <a:cubicBezTo>
                          <a:pt x="37" y="58"/>
                          <a:pt x="37" y="58"/>
                          <a:pt x="37" y="58"/>
                        </a:cubicBezTo>
                        <a:cubicBezTo>
                          <a:pt x="37" y="58"/>
                          <a:pt x="37" y="58"/>
                          <a:pt x="37" y="58"/>
                        </a:cubicBezTo>
                        <a:cubicBezTo>
                          <a:pt x="37" y="57"/>
                          <a:pt x="38" y="57"/>
                          <a:pt x="38" y="57"/>
                        </a:cubicBezTo>
                        <a:cubicBezTo>
                          <a:pt x="38" y="57"/>
                          <a:pt x="38" y="57"/>
                          <a:pt x="38" y="57"/>
                        </a:cubicBezTo>
                        <a:cubicBezTo>
                          <a:pt x="38" y="57"/>
                          <a:pt x="38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7" y="56"/>
                          <a:pt x="38" y="56"/>
                          <a:pt x="38" y="56"/>
                        </a:cubicBezTo>
                        <a:cubicBezTo>
                          <a:pt x="38" y="55"/>
                          <a:pt x="38" y="56"/>
                          <a:pt x="38" y="56"/>
                        </a:cubicBezTo>
                        <a:cubicBezTo>
                          <a:pt x="38" y="56"/>
                          <a:pt x="38" y="55"/>
                          <a:pt x="38" y="56"/>
                        </a:cubicBezTo>
                        <a:cubicBezTo>
                          <a:pt x="38" y="56"/>
                          <a:pt x="38" y="55"/>
                          <a:pt x="38" y="55"/>
                        </a:cubicBezTo>
                        <a:cubicBezTo>
                          <a:pt x="38" y="55"/>
                          <a:pt x="38" y="55"/>
                          <a:pt x="38" y="55"/>
                        </a:cubicBezTo>
                        <a:cubicBezTo>
                          <a:pt x="38" y="55"/>
                          <a:pt x="38" y="55"/>
                          <a:pt x="38" y="55"/>
                        </a:cubicBezTo>
                        <a:cubicBezTo>
                          <a:pt x="38" y="55"/>
                          <a:pt x="38" y="55"/>
                          <a:pt x="38" y="55"/>
                        </a:cubicBezTo>
                        <a:cubicBezTo>
                          <a:pt x="38" y="55"/>
                          <a:pt x="38" y="55"/>
                          <a:pt x="38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6"/>
                          <a:pt x="39" y="56"/>
                          <a:pt x="39" y="56"/>
                        </a:cubicBezTo>
                        <a:cubicBezTo>
                          <a:pt x="39" y="56"/>
                          <a:pt x="39" y="55"/>
                          <a:pt x="39" y="55"/>
                        </a:cubicBezTo>
                        <a:cubicBezTo>
                          <a:pt x="39" y="56"/>
                          <a:pt x="39" y="55"/>
                          <a:pt x="39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6"/>
                          <a:pt x="39" y="55"/>
                          <a:pt x="39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5"/>
                          <a:pt x="40" y="55"/>
                          <a:pt x="40" y="55"/>
                        </a:cubicBezTo>
                        <a:cubicBezTo>
                          <a:pt x="40" y="55"/>
                          <a:pt x="40" y="55"/>
                          <a:pt x="40" y="55"/>
                        </a:cubicBezTo>
                        <a:cubicBezTo>
                          <a:pt x="39" y="55"/>
                          <a:pt x="39" y="55"/>
                          <a:pt x="39" y="55"/>
                        </a:cubicBezTo>
                        <a:cubicBezTo>
                          <a:pt x="39" y="54"/>
                          <a:pt x="40" y="54"/>
                          <a:pt x="40" y="54"/>
                        </a:cubicBezTo>
                        <a:cubicBezTo>
                          <a:pt x="40" y="55"/>
                          <a:pt x="40" y="55"/>
                          <a:pt x="40" y="55"/>
                        </a:cubicBezTo>
                        <a:cubicBezTo>
                          <a:pt x="40" y="55"/>
                          <a:pt x="40" y="55"/>
                          <a:pt x="40" y="55"/>
                        </a:cubicBezTo>
                        <a:cubicBezTo>
                          <a:pt x="40" y="54"/>
                          <a:pt x="40" y="54"/>
                          <a:pt x="40" y="54"/>
                        </a:cubicBezTo>
                        <a:cubicBezTo>
                          <a:pt x="40" y="54"/>
                          <a:pt x="40" y="54"/>
                          <a:pt x="40" y="54"/>
                        </a:cubicBezTo>
                        <a:cubicBezTo>
                          <a:pt x="40" y="54"/>
                          <a:pt x="40" y="54"/>
                          <a:pt x="40" y="54"/>
                        </a:cubicBezTo>
                        <a:cubicBezTo>
                          <a:pt x="40" y="54"/>
                          <a:pt x="40" y="54"/>
                          <a:pt x="41" y="54"/>
                        </a:cubicBezTo>
                        <a:cubicBezTo>
                          <a:pt x="41" y="54"/>
                          <a:pt x="41" y="54"/>
                          <a:pt x="41" y="54"/>
                        </a:cubicBezTo>
                        <a:cubicBezTo>
                          <a:pt x="41" y="54"/>
                          <a:pt x="41" y="54"/>
                          <a:pt x="41" y="54"/>
                        </a:cubicBezTo>
                        <a:cubicBezTo>
                          <a:pt x="40" y="54"/>
                          <a:pt x="41" y="54"/>
                          <a:pt x="41" y="54"/>
                        </a:cubicBezTo>
                        <a:cubicBezTo>
                          <a:pt x="41" y="53"/>
                          <a:pt x="41" y="53"/>
                          <a:pt x="41" y="53"/>
                        </a:cubicBezTo>
                        <a:cubicBezTo>
                          <a:pt x="42" y="53"/>
                          <a:pt x="41" y="53"/>
                          <a:pt x="41" y="54"/>
                        </a:cubicBezTo>
                        <a:cubicBezTo>
                          <a:pt x="41" y="54"/>
                          <a:pt x="41" y="54"/>
                          <a:pt x="41" y="54"/>
                        </a:cubicBezTo>
                        <a:cubicBezTo>
                          <a:pt x="41" y="54"/>
                          <a:pt x="41" y="54"/>
                          <a:pt x="41" y="54"/>
                        </a:cubicBezTo>
                        <a:cubicBezTo>
                          <a:pt x="41" y="54"/>
                          <a:pt x="41" y="54"/>
                          <a:pt x="41" y="54"/>
                        </a:cubicBezTo>
                        <a:cubicBezTo>
                          <a:pt x="41" y="54"/>
                          <a:pt x="41" y="54"/>
                          <a:pt x="41" y="54"/>
                        </a:cubicBezTo>
                        <a:cubicBezTo>
                          <a:pt x="41" y="54"/>
                          <a:pt x="41" y="54"/>
                          <a:pt x="41" y="54"/>
                        </a:cubicBezTo>
                        <a:cubicBezTo>
                          <a:pt x="41" y="54"/>
                          <a:pt x="41" y="54"/>
                          <a:pt x="41" y="54"/>
                        </a:cubicBezTo>
                        <a:cubicBezTo>
                          <a:pt x="41" y="54"/>
                          <a:pt x="41" y="55"/>
                          <a:pt x="41" y="55"/>
                        </a:cubicBezTo>
                        <a:cubicBezTo>
                          <a:pt x="41" y="55"/>
                          <a:pt x="41" y="54"/>
                          <a:pt x="41" y="54"/>
                        </a:cubicBezTo>
                        <a:cubicBezTo>
                          <a:pt x="41" y="55"/>
                          <a:pt x="41" y="55"/>
                          <a:pt x="40" y="56"/>
                        </a:cubicBezTo>
                        <a:cubicBezTo>
                          <a:pt x="40" y="56"/>
                          <a:pt x="40" y="56"/>
                          <a:pt x="40" y="56"/>
                        </a:cubicBezTo>
                        <a:cubicBezTo>
                          <a:pt x="40" y="56"/>
                          <a:pt x="40" y="56"/>
                          <a:pt x="40" y="56"/>
                        </a:cubicBezTo>
                        <a:cubicBezTo>
                          <a:pt x="40" y="56"/>
                          <a:pt x="40" y="56"/>
                          <a:pt x="40" y="56"/>
                        </a:cubicBezTo>
                        <a:cubicBezTo>
                          <a:pt x="40" y="56"/>
                          <a:pt x="40" y="56"/>
                          <a:pt x="40" y="57"/>
                        </a:cubicBezTo>
                        <a:cubicBezTo>
                          <a:pt x="40" y="57"/>
                          <a:pt x="40" y="57"/>
                          <a:pt x="40" y="57"/>
                        </a:cubicBezTo>
                        <a:cubicBezTo>
                          <a:pt x="40" y="57"/>
                          <a:pt x="40" y="57"/>
                          <a:pt x="40" y="57"/>
                        </a:cubicBezTo>
                        <a:cubicBezTo>
                          <a:pt x="40" y="58"/>
                          <a:pt x="40" y="58"/>
                          <a:pt x="40" y="58"/>
                        </a:cubicBezTo>
                        <a:cubicBezTo>
                          <a:pt x="39" y="58"/>
                          <a:pt x="39" y="59"/>
                          <a:pt x="39" y="59"/>
                        </a:cubicBezTo>
                        <a:cubicBezTo>
                          <a:pt x="39" y="59"/>
                          <a:pt x="39" y="59"/>
                          <a:pt x="39" y="58"/>
                        </a:cubicBezTo>
                        <a:cubicBezTo>
                          <a:pt x="39" y="58"/>
                          <a:pt x="39" y="58"/>
                          <a:pt x="39" y="58"/>
                        </a:cubicBezTo>
                        <a:cubicBezTo>
                          <a:pt x="39" y="58"/>
                          <a:pt x="39" y="58"/>
                          <a:pt x="39" y="59"/>
                        </a:cubicBezTo>
                        <a:cubicBezTo>
                          <a:pt x="39" y="58"/>
                          <a:pt x="38" y="60"/>
                          <a:pt x="38" y="60"/>
                        </a:cubicBezTo>
                        <a:cubicBezTo>
                          <a:pt x="38" y="60"/>
                          <a:pt x="38" y="60"/>
                          <a:pt x="38" y="60"/>
                        </a:cubicBezTo>
                        <a:cubicBezTo>
                          <a:pt x="38" y="60"/>
                          <a:pt x="38" y="60"/>
                          <a:pt x="38" y="60"/>
                        </a:cubicBezTo>
                        <a:cubicBezTo>
                          <a:pt x="38" y="60"/>
                          <a:pt x="38" y="60"/>
                          <a:pt x="38" y="60"/>
                        </a:cubicBezTo>
                        <a:cubicBezTo>
                          <a:pt x="38" y="61"/>
                          <a:pt x="37" y="62"/>
                          <a:pt x="36" y="63"/>
                        </a:cubicBezTo>
                        <a:cubicBezTo>
                          <a:pt x="37" y="63"/>
                          <a:pt x="37" y="63"/>
                          <a:pt x="36" y="63"/>
                        </a:cubicBezTo>
                        <a:cubicBezTo>
                          <a:pt x="36" y="63"/>
                          <a:pt x="36" y="63"/>
                          <a:pt x="36" y="63"/>
                        </a:cubicBezTo>
                        <a:cubicBezTo>
                          <a:pt x="36" y="63"/>
                          <a:pt x="36" y="63"/>
                          <a:pt x="36" y="63"/>
                        </a:cubicBezTo>
                        <a:cubicBezTo>
                          <a:pt x="36" y="64"/>
                          <a:pt x="36" y="63"/>
                          <a:pt x="36" y="64"/>
                        </a:cubicBezTo>
                        <a:cubicBezTo>
                          <a:pt x="36" y="64"/>
                          <a:pt x="36" y="64"/>
                          <a:pt x="36" y="64"/>
                        </a:cubicBezTo>
                        <a:cubicBezTo>
                          <a:pt x="36" y="64"/>
                          <a:pt x="36" y="64"/>
                          <a:pt x="36" y="64"/>
                        </a:cubicBezTo>
                        <a:cubicBezTo>
                          <a:pt x="36" y="64"/>
                          <a:pt x="36" y="64"/>
                          <a:pt x="36" y="64"/>
                        </a:cubicBezTo>
                        <a:cubicBezTo>
                          <a:pt x="36" y="64"/>
                          <a:pt x="36" y="64"/>
                          <a:pt x="36" y="64"/>
                        </a:cubicBezTo>
                        <a:cubicBezTo>
                          <a:pt x="36" y="64"/>
                          <a:pt x="36" y="64"/>
                          <a:pt x="36" y="65"/>
                        </a:cubicBezTo>
                        <a:cubicBezTo>
                          <a:pt x="36" y="64"/>
                          <a:pt x="36" y="65"/>
                          <a:pt x="36" y="65"/>
                        </a:cubicBezTo>
                        <a:cubicBezTo>
                          <a:pt x="36" y="65"/>
                          <a:pt x="35" y="65"/>
                          <a:pt x="35" y="65"/>
                        </a:cubicBezTo>
                        <a:cubicBezTo>
                          <a:pt x="35" y="65"/>
                          <a:pt x="36" y="65"/>
                          <a:pt x="35" y="65"/>
                        </a:cubicBezTo>
                        <a:cubicBezTo>
                          <a:pt x="36" y="65"/>
                          <a:pt x="36" y="65"/>
                          <a:pt x="36" y="65"/>
                        </a:cubicBezTo>
                        <a:cubicBezTo>
                          <a:pt x="35" y="65"/>
                          <a:pt x="35" y="66"/>
                          <a:pt x="35" y="66"/>
                        </a:cubicBezTo>
                        <a:cubicBezTo>
                          <a:pt x="35" y="66"/>
                          <a:pt x="35" y="66"/>
                          <a:pt x="35" y="66"/>
                        </a:cubicBezTo>
                        <a:cubicBezTo>
                          <a:pt x="35" y="66"/>
                          <a:pt x="35" y="67"/>
                          <a:pt x="34" y="67"/>
                        </a:cubicBezTo>
                        <a:cubicBezTo>
                          <a:pt x="34" y="67"/>
                          <a:pt x="35" y="67"/>
                          <a:pt x="35" y="67"/>
                        </a:cubicBezTo>
                        <a:cubicBezTo>
                          <a:pt x="34" y="67"/>
                          <a:pt x="34" y="67"/>
                          <a:pt x="34" y="68"/>
                        </a:cubicBezTo>
                        <a:cubicBezTo>
                          <a:pt x="34" y="67"/>
                          <a:pt x="34" y="67"/>
                          <a:pt x="34" y="67"/>
                        </a:cubicBezTo>
                        <a:cubicBezTo>
                          <a:pt x="34" y="67"/>
                          <a:pt x="34" y="68"/>
                          <a:pt x="34" y="68"/>
                        </a:cubicBezTo>
                        <a:cubicBezTo>
                          <a:pt x="34" y="68"/>
                          <a:pt x="34" y="67"/>
                          <a:pt x="34" y="67"/>
                        </a:cubicBezTo>
                        <a:cubicBezTo>
                          <a:pt x="34" y="67"/>
                          <a:pt x="34" y="67"/>
                          <a:pt x="34" y="67"/>
                        </a:cubicBezTo>
                        <a:cubicBezTo>
                          <a:pt x="34" y="67"/>
                          <a:pt x="34" y="67"/>
                          <a:pt x="34" y="67"/>
                        </a:cubicBezTo>
                        <a:cubicBezTo>
                          <a:pt x="34" y="66"/>
                          <a:pt x="35" y="66"/>
                          <a:pt x="35" y="65"/>
                        </a:cubicBezTo>
                        <a:cubicBezTo>
                          <a:pt x="35" y="65"/>
                          <a:pt x="35" y="65"/>
                          <a:pt x="35" y="65"/>
                        </a:cubicBezTo>
                        <a:cubicBezTo>
                          <a:pt x="35" y="65"/>
                          <a:pt x="36" y="63"/>
                          <a:pt x="36" y="63"/>
                        </a:cubicBezTo>
                        <a:cubicBezTo>
                          <a:pt x="36" y="63"/>
                          <a:pt x="36" y="63"/>
                          <a:pt x="36" y="63"/>
                        </a:cubicBezTo>
                        <a:cubicBezTo>
                          <a:pt x="37" y="62"/>
                          <a:pt x="36" y="62"/>
                          <a:pt x="36" y="62"/>
                        </a:cubicBezTo>
                        <a:cubicBezTo>
                          <a:pt x="37" y="62"/>
                          <a:pt x="37" y="62"/>
                          <a:pt x="37" y="61"/>
                        </a:cubicBezTo>
                        <a:cubicBezTo>
                          <a:pt x="37" y="61"/>
                          <a:pt x="37" y="61"/>
                          <a:pt x="37" y="61"/>
                        </a:cubicBezTo>
                        <a:cubicBezTo>
                          <a:pt x="37" y="61"/>
                          <a:pt x="37" y="61"/>
                          <a:pt x="37" y="61"/>
                        </a:cubicBezTo>
                        <a:cubicBezTo>
                          <a:pt x="37" y="61"/>
                          <a:pt x="37" y="61"/>
                          <a:pt x="37" y="61"/>
                        </a:cubicBezTo>
                        <a:cubicBezTo>
                          <a:pt x="37" y="61"/>
                          <a:pt x="37" y="61"/>
                          <a:pt x="37" y="61"/>
                        </a:cubicBezTo>
                        <a:cubicBezTo>
                          <a:pt x="37" y="61"/>
                          <a:pt x="37" y="61"/>
                          <a:pt x="37" y="60"/>
                        </a:cubicBezTo>
                        <a:cubicBezTo>
                          <a:pt x="37" y="61"/>
                          <a:pt x="37" y="61"/>
                          <a:pt x="37" y="61"/>
                        </a:cubicBezTo>
                        <a:cubicBezTo>
                          <a:pt x="36" y="62"/>
                          <a:pt x="37" y="61"/>
                          <a:pt x="37" y="62"/>
                        </a:cubicBezTo>
                        <a:cubicBezTo>
                          <a:pt x="37" y="61"/>
                          <a:pt x="37" y="61"/>
                          <a:pt x="36" y="62"/>
                        </a:cubicBezTo>
                        <a:cubicBezTo>
                          <a:pt x="36" y="62"/>
                          <a:pt x="36" y="62"/>
                          <a:pt x="36" y="62"/>
                        </a:cubicBezTo>
                        <a:cubicBezTo>
                          <a:pt x="36" y="62"/>
                          <a:pt x="36" y="62"/>
                          <a:pt x="36" y="62"/>
                        </a:cubicBezTo>
                        <a:cubicBezTo>
                          <a:pt x="36" y="63"/>
                          <a:pt x="36" y="63"/>
                          <a:pt x="36" y="62"/>
                        </a:cubicBezTo>
                        <a:cubicBezTo>
                          <a:pt x="36" y="62"/>
                          <a:pt x="35" y="63"/>
                          <a:pt x="35" y="63"/>
                        </a:cubicBezTo>
                        <a:cubicBezTo>
                          <a:pt x="35" y="62"/>
                          <a:pt x="35" y="62"/>
                          <a:pt x="36" y="62"/>
                        </a:cubicBezTo>
                        <a:cubicBezTo>
                          <a:pt x="36" y="62"/>
                          <a:pt x="36" y="62"/>
                          <a:pt x="36" y="62"/>
                        </a:cubicBezTo>
                        <a:cubicBezTo>
                          <a:pt x="36" y="62"/>
                          <a:pt x="36" y="62"/>
                          <a:pt x="36" y="62"/>
                        </a:cubicBezTo>
                        <a:cubicBezTo>
                          <a:pt x="36" y="61"/>
                          <a:pt x="36" y="61"/>
                          <a:pt x="37" y="61"/>
                        </a:cubicBezTo>
                        <a:cubicBezTo>
                          <a:pt x="36" y="61"/>
                          <a:pt x="36" y="61"/>
                          <a:pt x="36" y="61"/>
                        </a:cubicBezTo>
                        <a:cubicBezTo>
                          <a:pt x="36" y="61"/>
                          <a:pt x="36" y="61"/>
                          <a:pt x="36" y="61"/>
                        </a:cubicBezTo>
                        <a:cubicBezTo>
                          <a:pt x="36" y="61"/>
                          <a:pt x="36" y="62"/>
                          <a:pt x="36" y="62"/>
                        </a:cubicBezTo>
                        <a:cubicBezTo>
                          <a:pt x="35" y="62"/>
                          <a:pt x="36" y="62"/>
                          <a:pt x="36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5" y="62"/>
                          <a:pt x="34" y="63"/>
                          <a:pt x="34" y="63"/>
                        </a:cubicBezTo>
                        <a:cubicBezTo>
                          <a:pt x="34" y="63"/>
                          <a:pt x="35" y="63"/>
                          <a:pt x="35" y="63"/>
                        </a:cubicBezTo>
                        <a:cubicBezTo>
                          <a:pt x="35" y="63"/>
                          <a:pt x="34" y="63"/>
                          <a:pt x="34" y="63"/>
                        </a:cubicBezTo>
                        <a:cubicBezTo>
                          <a:pt x="34" y="63"/>
                          <a:pt x="34" y="63"/>
                          <a:pt x="34" y="63"/>
                        </a:cubicBezTo>
                        <a:cubicBezTo>
                          <a:pt x="34" y="63"/>
                          <a:pt x="34" y="64"/>
                          <a:pt x="34" y="64"/>
                        </a:cubicBezTo>
                        <a:cubicBezTo>
                          <a:pt x="34" y="64"/>
                          <a:pt x="33" y="65"/>
                          <a:pt x="33" y="65"/>
                        </a:cubicBezTo>
                        <a:cubicBezTo>
                          <a:pt x="33" y="65"/>
                          <a:pt x="33" y="65"/>
                          <a:pt x="33" y="65"/>
                        </a:cubicBezTo>
                        <a:cubicBezTo>
                          <a:pt x="33" y="65"/>
                          <a:pt x="34" y="65"/>
                          <a:pt x="34" y="64"/>
                        </a:cubicBezTo>
                        <a:cubicBezTo>
                          <a:pt x="34" y="64"/>
                          <a:pt x="34" y="64"/>
                          <a:pt x="34" y="64"/>
                        </a:cubicBezTo>
                        <a:cubicBezTo>
                          <a:pt x="34" y="64"/>
                          <a:pt x="34" y="64"/>
                          <a:pt x="34" y="64"/>
                        </a:cubicBezTo>
                        <a:cubicBezTo>
                          <a:pt x="34" y="64"/>
                          <a:pt x="34" y="64"/>
                          <a:pt x="34" y="65"/>
                        </a:cubicBezTo>
                        <a:cubicBezTo>
                          <a:pt x="34" y="65"/>
                          <a:pt x="34" y="65"/>
                          <a:pt x="34" y="65"/>
                        </a:cubicBezTo>
                        <a:cubicBezTo>
                          <a:pt x="34" y="65"/>
                          <a:pt x="34" y="64"/>
                          <a:pt x="34" y="64"/>
                        </a:cubicBezTo>
                        <a:cubicBezTo>
                          <a:pt x="34" y="64"/>
                          <a:pt x="34" y="64"/>
                          <a:pt x="34" y="65"/>
                        </a:cubicBezTo>
                        <a:cubicBezTo>
                          <a:pt x="34" y="65"/>
                          <a:pt x="34" y="65"/>
                          <a:pt x="34" y="65"/>
                        </a:cubicBezTo>
                        <a:cubicBezTo>
                          <a:pt x="34" y="65"/>
                          <a:pt x="34" y="65"/>
                          <a:pt x="33" y="65"/>
                        </a:cubicBezTo>
                        <a:cubicBezTo>
                          <a:pt x="34" y="65"/>
                          <a:pt x="34" y="65"/>
                          <a:pt x="34" y="65"/>
                        </a:cubicBezTo>
                        <a:cubicBezTo>
                          <a:pt x="34" y="65"/>
                          <a:pt x="34" y="65"/>
                          <a:pt x="34" y="65"/>
                        </a:cubicBezTo>
                        <a:cubicBezTo>
                          <a:pt x="34" y="65"/>
                          <a:pt x="34" y="65"/>
                          <a:pt x="33" y="66"/>
                        </a:cubicBezTo>
                        <a:cubicBezTo>
                          <a:pt x="33" y="66"/>
                          <a:pt x="34" y="66"/>
                          <a:pt x="34" y="66"/>
                        </a:cubicBezTo>
                        <a:cubicBezTo>
                          <a:pt x="34" y="66"/>
                          <a:pt x="33" y="66"/>
                          <a:pt x="33" y="66"/>
                        </a:cubicBezTo>
                        <a:cubicBezTo>
                          <a:pt x="33" y="66"/>
                          <a:pt x="33" y="66"/>
                          <a:pt x="33" y="67"/>
                        </a:cubicBezTo>
                        <a:cubicBezTo>
                          <a:pt x="33" y="67"/>
                          <a:pt x="33" y="67"/>
                          <a:pt x="33" y="66"/>
                        </a:cubicBezTo>
                        <a:cubicBezTo>
                          <a:pt x="34" y="67"/>
                          <a:pt x="33" y="67"/>
                          <a:pt x="33" y="67"/>
                        </a:cubicBezTo>
                        <a:cubicBezTo>
                          <a:pt x="33" y="67"/>
                          <a:pt x="33" y="67"/>
                          <a:pt x="33" y="67"/>
                        </a:cubicBezTo>
                        <a:cubicBezTo>
                          <a:pt x="33" y="67"/>
                          <a:pt x="33" y="67"/>
                          <a:pt x="33" y="67"/>
                        </a:cubicBezTo>
                        <a:cubicBezTo>
                          <a:pt x="33" y="67"/>
                          <a:pt x="33" y="67"/>
                          <a:pt x="33" y="67"/>
                        </a:cubicBezTo>
                        <a:cubicBezTo>
                          <a:pt x="33" y="67"/>
                          <a:pt x="33" y="67"/>
                          <a:pt x="33" y="67"/>
                        </a:cubicBezTo>
                        <a:cubicBezTo>
                          <a:pt x="33" y="67"/>
                          <a:pt x="33" y="67"/>
                          <a:pt x="33" y="67"/>
                        </a:cubicBezTo>
                        <a:cubicBezTo>
                          <a:pt x="33" y="67"/>
                          <a:pt x="33" y="67"/>
                          <a:pt x="33" y="68"/>
                        </a:cubicBezTo>
                        <a:cubicBezTo>
                          <a:pt x="33" y="67"/>
                          <a:pt x="33" y="67"/>
                          <a:pt x="33" y="67"/>
                        </a:cubicBezTo>
                        <a:cubicBezTo>
                          <a:pt x="33" y="68"/>
                          <a:pt x="33" y="68"/>
                          <a:pt x="33" y="68"/>
                        </a:cubicBezTo>
                        <a:cubicBezTo>
                          <a:pt x="33" y="68"/>
                          <a:pt x="33" y="68"/>
                          <a:pt x="33" y="68"/>
                        </a:cubicBezTo>
                        <a:cubicBezTo>
                          <a:pt x="33" y="68"/>
                          <a:pt x="33" y="68"/>
                          <a:pt x="33" y="68"/>
                        </a:cubicBezTo>
                        <a:cubicBezTo>
                          <a:pt x="33" y="68"/>
                          <a:pt x="33" y="68"/>
                          <a:pt x="33" y="68"/>
                        </a:cubicBezTo>
                        <a:cubicBezTo>
                          <a:pt x="33" y="68"/>
                          <a:pt x="33" y="68"/>
                          <a:pt x="33" y="68"/>
                        </a:cubicBezTo>
                        <a:cubicBezTo>
                          <a:pt x="33" y="68"/>
                          <a:pt x="33" y="69"/>
                          <a:pt x="33" y="69"/>
                        </a:cubicBezTo>
                        <a:cubicBezTo>
                          <a:pt x="32" y="70"/>
                          <a:pt x="32" y="70"/>
                          <a:pt x="32" y="71"/>
                        </a:cubicBezTo>
                        <a:cubicBezTo>
                          <a:pt x="32" y="70"/>
                          <a:pt x="32" y="71"/>
                          <a:pt x="31" y="71"/>
                        </a:cubicBezTo>
                        <a:cubicBezTo>
                          <a:pt x="31" y="71"/>
                          <a:pt x="31" y="71"/>
                          <a:pt x="31" y="70"/>
                        </a:cubicBezTo>
                        <a:cubicBezTo>
                          <a:pt x="31" y="70"/>
                          <a:pt x="31" y="70"/>
                          <a:pt x="32" y="71"/>
                        </a:cubicBezTo>
                        <a:cubicBezTo>
                          <a:pt x="32" y="70"/>
                          <a:pt x="32" y="70"/>
                          <a:pt x="31" y="70"/>
                        </a:cubicBezTo>
                        <a:cubicBezTo>
                          <a:pt x="32" y="70"/>
                          <a:pt x="32" y="70"/>
                          <a:pt x="32" y="70"/>
                        </a:cubicBezTo>
                        <a:cubicBezTo>
                          <a:pt x="32" y="70"/>
                          <a:pt x="32" y="70"/>
                          <a:pt x="32" y="70"/>
                        </a:cubicBezTo>
                        <a:cubicBezTo>
                          <a:pt x="32" y="70"/>
                          <a:pt x="32" y="69"/>
                          <a:pt x="32" y="69"/>
                        </a:cubicBezTo>
                        <a:cubicBezTo>
                          <a:pt x="32" y="69"/>
                          <a:pt x="32" y="70"/>
                          <a:pt x="31" y="70"/>
                        </a:cubicBezTo>
                        <a:cubicBezTo>
                          <a:pt x="31" y="70"/>
                          <a:pt x="32" y="70"/>
                          <a:pt x="32" y="70"/>
                        </a:cubicBezTo>
                        <a:cubicBezTo>
                          <a:pt x="32" y="70"/>
                          <a:pt x="32" y="70"/>
                          <a:pt x="32" y="69"/>
                        </a:cubicBezTo>
                        <a:cubicBezTo>
                          <a:pt x="32" y="70"/>
                          <a:pt x="32" y="70"/>
                          <a:pt x="32" y="70"/>
                        </a:cubicBezTo>
                        <a:cubicBezTo>
                          <a:pt x="32" y="70"/>
                          <a:pt x="32" y="70"/>
                          <a:pt x="32" y="70"/>
                        </a:cubicBezTo>
                        <a:cubicBezTo>
                          <a:pt x="32" y="70"/>
                          <a:pt x="32" y="70"/>
                          <a:pt x="32" y="70"/>
                        </a:cubicBezTo>
                        <a:cubicBezTo>
                          <a:pt x="31" y="70"/>
                          <a:pt x="32" y="70"/>
                          <a:pt x="31" y="70"/>
                        </a:cubicBezTo>
                        <a:cubicBezTo>
                          <a:pt x="31" y="70"/>
                          <a:pt x="31" y="70"/>
                          <a:pt x="31" y="70"/>
                        </a:cubicBezTo>
                        <a:cubicBezTo>
                          <a:pt x="31" y="71"/>
                          <a:pt x="31" y="71"/>
                          <a:pt x="31" y="71"/>
                        </a:cubicBezTo>
                        <a:cubicBezTo>
                          <a:pt x="31" y="71"/>
                          <a:pt x="31" y="71"/>
                          <a:pt x="31" y="71"/>
                        </a:cubicBezTo>
                        <a:cubicBezTo>
                          <a:pt x="31" y="71"/>
                          <a:pt x="30" y="72"/>
                          <a:pt x="31" y="72"/>
                        </a:cubicBezTo>
                        <a:cubicBezTo>
                          <a:pt x="31" y="72"/>
                          <a:pt x="30" y="72"/>
                          <a:pt x="30" y="72"/>
                        </a:cubicBezTo>
                        <a:cubicBezTo>
                          <a:pt x="30" y="72"/>
                          <a:pt x="30" y="72"/>
                          <a:pt x="31" y="71"/>
                        </a:cubicBezTo>
                        <a:cubicBezTo>
                          <a:pt x="31" y="72"/>
                          <a:pt x="31" y="72"/>
                          <a:pt x="31" y="72"/>
                        </a:cubicBezTo>
                        <a:cubicBezTo>
                          <a:pt x="30" y="72"/>
                          <a:pt x="31" y="72"/>
                          <a:pt x="31" y="72"/>
                        </a:cubicBezTo>
                        <a:cubicBezTo>
                          <a:pt x="30" y="72"/>
                          <a:pt x="30" y="73"/>
                          <a:pt x="30" y="73"/>
                        </a:cubicBezTo>
                        <a:cubicBezTo>
                          <a:pt x="30" y="73"/>
                          <a:pt x="30" y="73"/>
                          <a:pt x="30" y="73"/>
                        </a:cubicBezTo>
                        <a:cubicBezTo>
                          <a:pt x="30" y="73"/>
                          <a:pt x="30" y="73"/>
                          <a:pt x="30" y="73"/>
                        </a:cubicBezTo>
                        <a:cubicBezTo>
                          <a:pt x="30" y="73"/>
                          <a:pt x="30" y="73"/>
                          <a:pt x="30" y="73"/>
                        </a:cubicBezTo>
                        <a:cubicBezTo>
                          <a:pt x="31" y="73"/>
                          <a:pt x="30" y="73"/>
                          <a:pt x="31" y="73"/>
                        </a:cubicBezTo>
                        <a:cubicBezTo>
                          <a:pt x="31" y="73"/>
                          <a:pt x="31" y="73"/>
                          <a:pt x="30" y="73"/>
                        </a:cubicBezTo>
                        <a:cubicBezTo>
                          <a:pt x="30" y="74"/>
                          <a:pt x="30" y="74"/>
                          <a:pt x="30" y="74"/>
                        </a:cubicBezTo>
                        <a:cubicBezTo>
                          <a:pt x="30" y="74"/>
                          <a:pt x="30" y="75"/>
                          <a:pt x="30" y="75"/>
                        </a:cubicBezTo>
                        <a:cubicBezTo>
                          <a:pt x="29" y="75"/>
                          <a:pt x="30" y="75"/>
                          <a:pt x="30" y="75"/>
                        </a:cubicBezTo>
                        <a:cubicBezTo>
                          <a:pt x="29" y="75"/>
                          <a:pt x="29" y="75"/>
                          <a:pt x="30" y="75"/>
                        </a:cubicBezTo>
                        <a:cubicBezTo>
                          <a:pt x="30" y="75"/>
                          <a:pt x="29" y="75"/>
                          <a:pt x="29" y="75"/>
                        </a:cubicBezTo>
                        <a:cubicBezTo>
                          <a:pt x="30" y="75"/>
                          <a:pt x="29" y="76"/>
                          <a:pt x="29" y="76"/>
                        </a:cubicBezTo>
                        <a:cubicBezTo>
                          <a:pt x="29" y="75"/>
                          <a:pt x="29" y="76"/>
                          <a:pt x="29" y="76"/>
                        </a:cubicBezTo>
                        <a:cubicBezTo>
                          <a:pt x="29" y="76"/>
                          <a:pt x="29" y="76"/>
                          <a:pt x="29" y="76"/>
                        </a:cubicBezTo>
                        <a:cubicBezTo>
                          <a:pt x="29" y="76"/>
                          <a:pt x="30" y="76"/>
                          <a:pt x="29" y="76"/>
                        </a:cubicBezTo>
                        <a:cubicBezTo>
                          <a:pt x="30" y="75"/>
                          <a:pt x="30" y="75"/>
                          <a:pt x="30" y="74"/>
                        </a:cubicBezTo>
                        <a:cubicBezTo>
                          <a:pt x="30" y="74"/>
                          <a:pt x="30" y="74"/>
                          <a:pt x="30" y="74"/>
                        </a:cubicBezTo>
                        <a:cubicBezTo>
                          <a:pt x="30" y="74"/>
                          <a:pt x="30" y="74"/>
                          <a:pt x="30" y="74"/>
                        </a:cubicBezTo>
                        <a:cubicBezTo>
                          <a:pt x="30" y="74"/>
                          <a:pt x="30" y="74"/>
                          <a:pt x="30" y="74"/>
                        </a:cubicBezTo>
                        <a:cubicBezTo>
                          <a:pt x="30" y="74"/>
                          <a:pt x="31" y="74"/>
                          <a:pt x="31" y="73"/>
                        </a:cubicBezTo>
                        <a:cubicBezTo>
                          <a:pt x="31" y="73"/>
                          <a:pt x="31" y="73"/>
                          <a:pt x="31" y="73"/>
                        </a:cubicBezTo>
                        <a:cubicBezTo>
                          <a:pt x="32" y="71"/>
                          <a:pt x="32" y="70"/>
                          <a:pt x="33" y="68"/>
                        </a:cubicBezTo>
                        <a:cubicBezTo>
                          <a:pt x="34" y="68"/>
                          <a:pt x="33" y="68"/>
                          <a:pt x="33" y="68"/>
                        </a:cubicBezTo>
                        <a:cubicBezTo>
                          <a:pt x="34" y="68"/>
                          <a:pt x="34" y="68"/>
                          <a:pt x="34" y="68"/>
                        </a:cubicBezTo>
                        <a:cubicBezTo>
                          <a:pt x="34" y="68"/>
                          <a:pt x="34" y="68"/>
                          <a:pt x="34" y="68"/>
                        </a:cubicBezTo>
                        <a:cubicBezTo>
                          <a:pt x="34" y="68"/>
                          <a:pt x="34" y="69"/>
                          <a:pt x="34" y="69"/>
                        </a:cubicBezTo>
                        <a:cubicBezTo>
                          <a:pt x="33" y="69"/>
                          <a:pt x="33" y="69"/>
                          <a:pt x="33" y="69"/>
                        </a:cubicBezTo>
                        <a:cubicBezTo>
                          <a:pt x="33" y="69"/>
                          <a:pt x="33" y="69"/>
                          <a:pt x="33" y="69"/>
                        </a:cubicBezTo>
                        <a:cubicBezTo>
                          <a:pt x="33" y="69"/>
                          <a:pt x="33" y="69"/>
                          <a:pt x="33" y="69"/>
                        </a:cubicBezTo>
                        <a:cubicBezTo>
                          <a:pt x="33" y="70"/>
                          <a:pt x="33" y="70"/>
                          <a:pt x="33" y="70"/>
                        </a:cubicBezTo>
                        <a:cubicBezTo>
                          <a:pt x="33" y="70"/>
                          <a:pt x="33" y="69"/>
                          <a:pt x="33" y="69"/>
                        </a:cubicBezTo>
                        <a:cubicBezTo>
                          <a:pt x="33" y="70"/>
                          <a:pt x="33" y="70"/>
                          <a:pt x="33" y="70"/>
                        </a:cubicBezTo>
                        <a:cubicBezTo>
                          <a:pt x="33" y="70"/>
                          <a:pt x="33" y="70"/>
                          <a:pt x="33" y="70"/>
                        </a:cubicBezTo>
                        <a:cubicBezTo>
                          <a:pt x="33" y="70"/>
                          <a:pt x="33" y="70"/>
                          <a:pt x="33" y="70"/>
                        </a:cubicBezTo>
                        <a:cubicBezTo>
                          <a:pt x="33" y="70"/>
                          <a:pt x="33" y="70"/>
                          <a:pt x="33" y="70"/>
                        </a:cubicBezTo>
                        <a:cubicBezTo>
                          <a:pt x="33" y="71"/>
                          <a:pt x="33" y="70"/>
                          <a:pt x="33" y="70"/>
                        </a:cubicBezTo>
                        <a:cubicBezTo>
                          <a:pt x="32" y="71"/>
                          <a:pt x="32" y="71"/>
                          <a:pt x="32" y="71"/>
                        </a:cubicBezTo>
                        <a:cubicBezTo>
                          <a:pt x="32" y="71"/>
                          <a:pt x="32" y="71"/>
                          <a:pt x="32" y="71"/>
                        </a:cubicBezTo>
                        <a:cubicBezTo>
                          <a:pt x="32" y="71"/>
                          <a:pt x="32" y="71"/>
                          <a:pt x="32" y="71"/>
                        </a:cubicBezTo>
                        <a:cubicBezTo>
                          <a:pt x="32" y="71"/>
                          <a:pt x="32" y="71"/>
                          <a:pt x="32" y="71"/>
                        </a:cubicBezTo>
                        <a:cubicBezTo>
                          <a:pt x="32" y="72"/>
                          <a:pt x="32" y="72"/>
                          <a:pt x="32" y="72"/>
                        </a:cubicBezTo>
                        <a:cubicBezTo>
                          <a:pt x="32" y="72"/>
                          <a:pt x="31" y="72"/>
                          <a:pt x="32" y="72"/>
                        </a:cubicBezTo>
                        <a:cubicBezTo>
                          <a:pt x="31" y="73"/>
                          <a:pt x="30" y="75"/>
                          <a:pt x="30" y="76"/>
                        </a:cubicBezTo>
                        <a:cubicBezTo>
                          <a:pt x="30" y="76"/>
                          <a:pt x="30" y="76"/>
                          <a:pt x="30" y="76"/>
                        </a:cubicBezTo>
                        <a:cubicBezTo>
                          <a:pt x="29" y="76"/>
                          <a:pt x="29" y="77"/>
                          <a:pt x="29" y="77"/>
                        </a:cubicBezTo>
                        <a:cubicBezTo>
                          <a:pt x="29" y="77"/>
                          <a:pt x="29" y="77"/>
                          <a:pt x="29" y="77"/>
                        </a:cubicBezTo>
                        <a:cubicBezTo>
                          <a:pt x="29" y="77"/>
                          <a:pt x="29" y="77"/>
                          <a:pt x="29" y="77"/>
                        </a:cubicBezTo>
                        <a:cubicBezTo>
                          <a:pt x="29" y="77"/>
                          <a:pt x="29" y="77"/>
                          <a:pt x="29" y="77"/>
                        </a:cubicBezTo>
                        <a:cubicBezTo>
                          <a:pt x="29" y="77"/>
                          <a:pt x="29" y="77"/>
                          <a:pt x="29" y="76"/>
                        </a:cubicBezTo>
                        <a:cubicBezTo>
                          <a:pt x="29" y="76"/>
                          <a:pt x="29" y="76"/>
                          <a:pt x="29" y="76"/>
                        </a:cubicBezTo>
                        <a:cubicBezTo>
                          <a:pt x="29" y="76"/>
                          <a:pt x="29" y="76"/>
                          <a:pt x="29" y="76"/>
                        </a:cubicBezTo>
                        <a:cubicBezTo>
                          <a:pt x="29" y="76"/>
                          <a:pt x="29" y="76"/>
                          <a:pt x="29" y="76"/>
                        </a:cubicBezTo>
                        <a:cubicBezTo>
                          <a:pt x="29" y="76"/>
                          <a:pt x="29" y="76"/>
                          <a:pt x="29" y="76"/>
                        </a:cubicBezTo>
                        <a:cubicBezTo>
                          <a:pt x="29" y="76"/>
                          <a:pt x="29" y="76"/>
                          <a:pt x="29" y="76"/>
                        </a:cubicBezTo>
                        <a:cubicBezTo>
                          <a:pt x="29" y="76"/>
                          <a:pt x="29" y="76"/>
                          <a:pt x="29" y="76"/>
                        </a:cubicBezTo>
                        <a:cubicBezTo>
                          <a:pt x="29" y="76"/>
                          <a:pt x="29" y="76"/>
                          <a:pt x="29" y="77"/>
                        </a:cubicBezTo>
                        <a:cubicBezTo>
                          <a:pt x="29" y="77"/>
                          <a:pt x="29" y="77"/>
                          <a:pt x="29" y="77"/>
                        </a:cubicBezTo>
                        <a:cubicBezTo>
                          <a:pt x="28" y="77"/>
                          <a:pt x="29" y="77"/>
                          <a:pt x="28" y="77"/>
                        </a:cubicBezTo>
                        <a:cubicBezTo>
                          <a:pt x="28" y="77"/>
                          <a:pt x="28" y="77"/>
                          <a:pt x="28" y="77"/>
                        </a:cubicBezTo>
                        <a:cubicBezTo>
                          <a:pt x="28" y="77"/>
                          <a:pt x="28" y="77"/>
                          <a:pt x="28" y="77"/>
                        </a:cubicBezTo>
                        <a:cubicBezTo>
                          <a:pt x="28" y="77"/>
                          <a:pt x="28" y="77"/>
                          <a:pt x="28" y="77"/>
                        </a:cubicBezTo>
                        <a:cubicBezTo>
                          <a:pt x="28" y="78"/>
                          <a:pt x="28" y="78"/>
                          <a:pt x="28" y="78"/>
                        </a:cubicBezTo>
                        <a:cubicBezTo>
                          <a:pt x="28" y="78"/>
                          <a:pt x="27" y="78"/>
                          <a:pt x="27" y="78"/>
                        </a:cubicBezTo>
                        <a:cubicBezTo>
                          <a:pt x="27" y="78"/>
                          <a:pt x="27" y="78"/>
                          <a:pt x="28" y="78"/>
                        </a:cubicBezTo>
                        <a:cubicBezTo>
                          <a:pt x="28" y="78"/>
                          <a:pt x="27" y="78"/>
                          <a:pt x="28" y="78"/>
                        </a:cubicBezTo>
                        <a:cubicBezTo>
                          <a:pt x="27" y="78"/>
                          <a:pt x="27" y="78"/>
                          <a:pt x="27" y="78"/>
                        </a:cubicBezTo>
                        <a:cubicBezTo>
                          <a:pt x="27" y="78"/>
                          <a:pt x="27" y="78"/>
                          <a:pt x="27" y="78"/>
                        </a:cubicBezTo>
                        <a:cubicBezTo>
                          <a:pt x="27" y="78"/>
                          <a:pt x="27" y="78"/>
                          <a:pt x="27" y="78"/>
                        </a:cubicBezTo>
                        <a:cubicBezTo>
                          <a:pt x="27" y="78"/>
                          <a:pt x="27" y="78"/>
                          <a:pt x="27" y="78"/>
                        </a:cubicBezTo>
                        <a:cubicBezTo>
                          <a:pt x="27" y="78"/>
                          <a:pt x="27" y="78"/>
                          <a:pt x="27" y="78"/>
                        </a:cubicBezTo>
                        <a:cubicBezTo>
                          <a:pt x="27" y="78"/>
                          <a:pt x="27" y="78"/>
                          <a:pt x="27" y="77"/>
                        </a:cubicBezTo>
                        <a:cubicBezTo>
                          <a:pt x="27" y="77"/>
                          <a:pt x="27" y="78"/>
                          <a:pt x="27" y="77"/>
                        </a:cubicBezTo>
                        <a:cubicBezTo>
                          <a:pt x="27" y="77"/>
                          <a:pt x="28" y="77"/>
                          <a:pt x="28" y="77"/>
                        </a:cubicBezTo>
                        <a:cubicBezTo>
                          <a:pt x="27" y="77"/>
                          <a:pt x="28" y="77"/>
                          <a:pt x="28" y="77"/>
                        </a:cubicBezTo>
                        <a:cubicBezTo>
                          <a:pt x="28" y="77"/>
                          <a:pt x="28" y="77"/>
                          <a:pt x="28" y="77"/>
                        </a:cubicBezTo>
                        <a:cubicBezTo>
                          <a:pt x="28" y="77"/>
                          <a:pt x="28" y="77"/>
                          <a:pt x="28" y="76"/>
                        </a:cubicBezTo>
                        <a:cubicBezTo>
                          <a:pt x="28" y="76"/>
                          <a:pt x="28" y="76"/>
                          <a:pt x="28" y="76"/>
                        </a:cubicBezTo>
                        <a:cubicBezTo>
                          <a:pt x="28" y="76"/>
                          <a:pt x="28" y="76"/>
                          <a:pt x="28" y="76"/>
                        </a:cubicBezTo>
                        <a:cubicBezTo>
                          <a:pt x="28" y="76"/>
                          <a:pt x="28" y="76"/>
                          <a:pt x="28" y="76"/>
                        </a:cubicBezTo>
                        <a:cubicBezTo>
                          <a:pt x="28" y="76"/>
                          <a:pt x="28" y="76"/>
                          <a:pt x="28" y="76"/>
                        </a:cubicBezTo>
                        <a:cubicBezTo>
                          <a:pt x="28" y="76"/>
                          <a:pt x="28" y="76"/>
                          <a:pt x="28" y="76"/>
                        </a:cubicBezTo>
                        <a:cubicBezTo>
                          <a:pt x="28" y="75"/>
                          <a:pt x="29" y="75"/>
                          <a:pt x="29" y="75"/>
                        </a:cubicBezTo>
                        <a:cubicBezTo>
                          <a:pt x="29" y="75"/>
                          <a:pt x="29" y="75"/>
                          <a:pt x="29" y="75"/>
                        </a:cubicBezTo>
                        <a:cubicBezTo>
                          <a:pt x="28" y="75"/>
                          <a:pt x="29" y="74"/>
                          <a:pt x="29" y="74"/>
                        </a:cubicBezTo>
                        <a:cubicBezTo>
                          <a:pt x="29" y="74"/>
                          <a:pt x="29" y="74"/>
                          <a:pt x="29" y="74"/>
                        </a:cubicBezTo>
                        <a:cubicBezTo>
                          <a:pt x="29" y="74"/>
                          <a:pt x="29" y="74"/>
                          <a:pt x="29" y="74"/>
                        </a:cubicBezTo>
                        <a:cubicBezTo>
                          <a:pt x="29" y="74"/>
                          <a:pt x="29" y="74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7" y="75"/>
                          <a:pt x="28" y="75"/>
                        </a:cubicBezTo>
                        <a:cubicBezTo>
                          <a:pt x="28" y="76"/>
                          <a:pt x="27" y="76"/>
                          <a:pt x="27" y="76"/>
                        </a:cubicBezTo>
                        <a:cubicBezTo>
                          <a:pt x="27" y="76"/>
                          <a:pt x="27" y="76"/>
                          <a:pt x="27" y="76"/>
                        </a:cubicBezTo>
                        <a:cubicBezTo>
                          <a:pt x="27" y="76"/>
                          <a:pt x="28" y="76"/>
                          <a:pt x="28" y="75"/>
                        </a:cubicBezTo>
                        <a:cubicBezTo>
                          <a:pt x="28" y="76"/>
                          <a:pt x="27" y="76"/>
                          <a:pt x="27" y="76"/>
                        </a:cubicBezTo>
                        <a:cubicBezTo>
                          <a:pt x="27" y="75"/>
                          <a:pt x="27" y="75"/>
                          <a:pt x="27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7" y="75"/>
                          <a:pt x="28" y="75"/>
                          <a:pt x="27" y="75"/>
                        </a:cubicBezTo>
                        <a:cubicBezTo>
                          <a:pt x="27" y="75"/>
                          <a:pt x="27" y="75"/>
                          <a:pt x="27" y="75"/>
                        </a:cubicBezTo>
                        <a:cubicBezTo>
                          <a:pt x="27" y="75"/>
                          <a:pt x="27" y="75"/>
                          <a:pt x="27" y="75"/>
                        </a:cubicBezTo>
                        <a:cubicBezTo>
                          <a:pt x="27" y="75"/>
                          <a:pt x="27" y="75"/>
                          <a:pt x="26" y="76"/>
                        </a:cubicBezTo>
                        <a:cubicBezTo>
                          <a:pt x="26" y="75"/>
                          <a:pt x="26" y="75"/>
                          <a:pt x="27" y="75"/>
                        </a:cubicBezTo>
                        <a:cubicBezTo>
                          <a:pt x="26" y="75"/>
                          <a:pt x="26" y="76"/>
                          <a:pt x="26" y="76"/>
                        </a:cubicBezTo>
                        <a:cubicBezTo>
                          <a:pt x="26" y="75"/>
                          <a:pt x="26" y="75"/>
                          <a:pt x="26" y="75"/>
                        </a:cubicBezTo>
                        <a:cubicBezTo>
                          <a:pt x="26" y="75"/>
                          <a:pt x="27" y="75"/>
                          <a:pt x="27" y="75"/>
                        </a:cubicBezTo>
                        <a:cubicBezTo>
                          <a:pt x="27" y="75"/>
                          <a:pt x="27" y="75"/>
                          <a:pt x="27" y="75"/>
                        </a:cubicBezTo>
                        <a:cubicBezTo>
                          <a:pt x="27" y="75"/>
                          <a:pt x="27" y="75"/>
                          <a:pt x="27" y="75"/>
                        </a:cubicBezTo>
                        <a:cubicBezTo>
                          <a:pt x="27" y="75"/>
                          <a:pt x="27" y="75"/>
                          <a:pt x="27" y="75"/>
                        </a:cubicBezTo>
                        <a:cubicBezTo>
                          <a:pt x="27" y="75"/>
                          <a:pt x="27" y="75"/>
                          <a:pt x="27" y="75"/>
                        </a:cubicBezTo>
                        <a:cubicBezTo>
                          <a:pt x="27" y="75"/>
                          <a:pt x="27" y="75"/>
                          <a:pt x="27" y="74"/>
                        </a:cubicBezTo>
                        <a:cubicBezTo>
                          <a:pt x="27" y="74"/>
                          <a:pt x="27" y="74"/>
                          <a:pt x="27" y="74"/>
                        </a:cubicBezTo>
                        <a:cubicBezTo>
                          <a:pt x="27" y="74"/>
                          <a:pt x="27" y="74"/>
                          <a:pt x="28" y="74"/>
                        </a:cubicBezTo>
                        <a:cubicBezTo>
                          <a:pt x="27" y="74"/>
                          <a:pt x="27" y="74"/>
                          <a:pt x="27" y="74"/>
                        </a:cubicBezTo>
                        <a:cubicBezTo>
                          <a:pt x="27" y="73"/>
                          <a:pt x="28" y="73"/>
                          <a:pt x="28" y="73"/>
                        </a:cubicBezTo>
                        <a:cubicBezTo>
                          <a:pt x="28" y="73"/>
                          <a:pt x="28" y="73"/>
                          <a:pt x="28" y="73"/>
                        </a:cubicBezTo>
                        <a:cubicBezTo>
                          <a:pt x="28" y="73"/>
                          <a:pt x="28" y="73"/>
                          <a:pt x="28" y="73"/>
                        </a:cubicBezTo>
                        <a:cubicBezTo>
                          <a:pt x="28" y="73"/>
                          <a:pt x="28" y="72"/>
                          <a:pt x="28" y="73"/>
                        </a:cubicBezTo>
                        <a:cubicBezTo>
                          <a:pt x="28" y="73"/>
                          <a:pt x="28" y="73"/>
                          <a:pt x="28" y="72"/>
                        </a:cubicBezTo>
                        <a:cubicBezTo>
                          <a:pt x="28" y="72"/>
                          <a:pt x="29" y="72"/>
                          <a:pt x="29" y="71"/>
                        </a:cubicBezTo>
                        <a:cubicBezTo>
                          <a:pt x="29" y="71"/>
                          <a:pt x="29" y="71"/>
                          <a:pt x="29" y="71"/>
                        </a:cubicBezTo>
                        <a:cubicBezTo>
                          <a:pt x="29" y="71"/>
                          <a:pt x="29" y="71"/>
                          <a:pt x="29" y="71"/>
                        </a:cubicBezTo>
                        <a:cubicBezTo>
                          <a:pt x="29" y="71"/>
                          <a:pt x="29" y="71"/>
                          <a:pt x="29" y="71"/>
                        </a:cubicBezTo>
                        <a:cubicBezTo>
                          <a:pt x="29" y="71"/>
                          <a:pt x="29" y="71"/>
                          <a:pt x="29" y="71"/>
                        </a:cubicBezTo>
                        <a:cubicBezTo>
                          <a:pt x="29" y="71"/>
                          <a:pt x="29" y="71"/>
                          <a:pt x="29" y="71"/>
                        </a:cubicBezTo>
                        <a:cubicBezTo>
                          <a:pt x="29" y="71"/>
                          <a:pt x="28" y="71"/>
                          <a:pt x="28" y="71"/>
                        </a:cubicBezTo>
                        <a:cubicBezTo>
                          <a:pt x="29" y="71"/>
                          <a:pt x="28" y="72"/>
                          <a:pt x="28" y="72"/>
                        </a:cubicBezTo>
                        <a:cubicBezTo>
                          <a:pt x="28" y="72"/>
                          <a:pt x="28" y="72"/>
                          <a:pt x="28" y="72"/>
                        </a:cubicBezTo>
                        <a:cubicBezTo>
                          <a:pt x="28" y="72"/>
                          <a:pt x="28" y="72"/>
                          <a:pt x="28" y="71"/>
                        </a:cubicBezTo>
                        <a:cubicBezTo>
                          <a:pt x="28" y="72"/>
                          <a:pt x="27" y="72"/>
                          <a:pt x="27" y="73"/>
                        </a:cubicBezTo>
                        <a:cubicBezTo>
                          <a:pt x="27" y="73"/>
                          <a:pt x="27" y="73"/>
                          <a:pt x="27" y="73"/>
                        </a:cubicBezTo>
                        <a:cubicBezTo>
                          <a:pt x="27" y="73"/>
                          <a:pt x="27" y="73"/>
                          <a:pt x="27" y="73"/>
                        </a:cubicBezTo>
                        <a:cubicBezTo>
                          <a:pt x="27" y="73"/>
                          <a:pt x="27" y="73"/>
                          <a:pt x="27" y="73"/>
                        </a:cubicBezTo>
                        <a:cubicBezTo>
                          <a:pt x="27" y="73"/>
                          <a:pt x="27" y="73"/>
                          <a:pt x="27" y="74"/>
                        </a:cubicBezTo>
                        <a:cubicBezTo>
                          <a:pt x="27" y="74"/>
                          <a:pt x="27" y="73"/>
                          <a:pt x="27" y="73"/>
                        </a:cubicBezTo>
                        <a:cubicBezTo>
                          <a:pt x="27" y="74"/>
                          <a:pt x="27" y="74"/>
                          <a:pt x="27" y="74"/>
                        </a:cubicBezTo>
                        <a:cubicBezTo>
                          <a:pt x="27" y="74"/>
                          <a:pt x="27" y="74"/>
                          <a:pt x="26" y="74"/>
                        </a:cubicBezTo>
                        <a:cubicBezTo>
                          <a:pt x="26" y="74"/>
                          <a:pt x="26" y="74"/>
                          <a:pt x="26" y="74"/>
                        </a:cubicBezTo>
                        <a:cubicBezTo>
                          <a:pt x="26" y="73"/>
                          <a:pt x="27" y="73"/>
                          <a:pt x="27" y="73"/>
                        </a:cubicBezTo>
                        <a:cubicBezTo>
                          <a:pt x="27" y="73"/>
                          <a:pt x="27" y="73"/>
                          <a:pt x="27" y="73"/>
                        </a:cubicBezTo>
                        <a:cubicBezTo>
                          <a:pt x="26" y="73"/>
                          <a:pt x="27" y="72"/>
                          <a:pt x="26" y="72"/>
                        </a:cubicBezTo>
                        <a:cubicBezTo>
                          <a:pt x="27" y="72"/>
                          <a:pt x="26" y="72"/>
                          <a:pt x="27" y="72"/>
                        </a:cubicBezTo>
                        <a:cubicBezTo>
                          <a:pt x="26" y="72"/>
                          <a:pt x="26" y="72"/>
                          <a:pt x="26" y="73"/>
                        </a:cubicBezTo>
                        <a:cubicBezTo>
                          <a:pt x="26" y="73"/>
                          <a:pt x="26" y="73"/>
                          <a:pt x="26" y="73"/>
                        </a:cubicBezTo>
                        <a:cubicBezTo>
                          <a:pt x="26" y="73"/>
                          <a:pt x="25" y="74"/>
                          <a:pt x="25" y="74"/>
                        </a:cubicBezTo>
                        <a:cubicBezTo>
                          <a:pt x="26" y="74"/>
                          <a:pt x="26" y="73"/>
                          <a:pt x="26" y="73"/>
                        </a:cubicBezTo>
                        <a:cubicBezTo>
                          <a:pt x="27" y="73"/>
                          <a:pt x="26" y="74"/>
                          <a:pt x="26" y="74"/>
                        </a:cubicBezTo>
                        <a:cubicBezTo>
                          <a:pt x="26" y="74"/>
                          <a:pt x="26" y="74"/>
                          <a:pt x="26" y="74"/>
                        </a:cubicBezTo>
                        <a:cubicBezTo>
                          <a:pt x="26" y="74"/>
                          <a:pt x="26" y="74"/>
                          <a:pt x="26" y="74"/>
                        </a:cubicBezTo>
                        <a:cubicBezTo>
                          <a:pt x="26" y="74"/>
                          <a:pt x="26" y="74"/>
                          <a:pt x="26" y="74"/>
                        </a:cubicBezTo>
                        <a:cubicBezTo>
                          <a:pt x="26" y="74"/>
                          <a:pt x="26" y="74"/>
                          <a:pt x="26" y="74"/>
                        </a:cubicBezTo>
                        <a:cubicBezTo>
                          <a:pt x="26" y="74"/>
                          <a:pt x="26" y="74"/>
                          <a:pt x="26" y="74"/>
                        </a:cubicBezTo>
                        <a:close/>
                        <a:moveTo>
                          <a:pt x="39" y="58"/>
                        </a:moveTo>
                        <a:cubicBezTo>
                          <a:pt x="39" y="58"/>
                          <a:pt x="39" y="58"/>
                          <a:pt x="39" y="58"/>
                        </a:cubicBezTo>
                        <a:cubicBezTo>
                          <a:pt x="39" y="58"/>
                          <a:pt x="39" y="58"/>
                          <a:pt x="39" y="58"/>
                        </a:cubicBezTo>
                        <a:cubicBezTo>
                          <a:pt x="39" y="58"/>
                          <a:pt x="39" y="58"/>
                          <a:pt x="39" y="58"/>
                        </a:cubicBezTo>
                        <a:close/>
                        <a:moveTo>
                          <a:pt x="36" y="64"/>
                        </a:moveTo>
                        <a:cubicBezTo>
                          <a:pt x="36" y="64"/>
                          <a:pt x="36" y="64"/>
                          <a:pt x="36" y="64"/>
                        </a:cubicBezTo>
                        <a:cubicBezTo>
                          <a:pt x="36" y="64"/>
                          <a:pt x="36" y="64"/>
                          <a:pt x="36" y="64"/>
                        </a:cubicBezTo>
                        <a:cubicBezTo>
                          <a:pt x="36" y="64"/>
                          <a:pt x="36" y="64"/>
                          <a:pt x="36" y="64"/>
                        </a:cubicBezTo>
                        <a:close/>
                        <a:moveTo>
                          <a:pt x="35" y="62"/>
                        </a:move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lose/>
                        <a:moveTo>
                          <a:pt x="37" y="60"/>
                        </a:moveTo>
                        <a:cubicBezTo>
                          <a:pt x="37" y="60"/>
                          <a:pt x="37" y="61"/>
                          <a:pt x="37" y="61"/>
                        </a:cubicBezTo>
                        <a:cubicBezTo>
                          <a:pt x="36" y="60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6" y="60"/>
                          <a:pt x="37" y="61"/>
                          <a:pt x="36" y="61"/>
                        </a:cubicBezTo>
                        <a:cubicBezTo>
                          <a:pt x="37" y="61"/>
                          <a:pt x="37" y="60"/>
                          <a:pt x="37" y="60"/>
                        </a:cubicBezTo>
                        <a:close/>
                        <a:moveTo>
                          <a:pt x="37" y="61"/>
                        </a:moveTo>
                        <a:cubicBezTo>
                          <a:pt x="37" y="61"/>
                          <a:pt x="37" y="61"/>
                          <a:pt x="37" y="61"/>
                        </a:cubicBezTo>
                        <a:cubicBezTo>
                          <a:pt x="37" y="61"/>
                          <a:pt x="37" y="61"/>
                          <a:pt x="37" y="61"/>
                        </a:cubicBezTo>
                        <a:close/>
                        <a:moveTo>
                          <a:pt x="37" y="60"/>
                        </a:move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61"/>
                          <a:pt x="37" y="60"/>
                        </a:cubicBezTo>
                        <a:close/>
                        <a:moveTo>
                          <a:pt x="37" y="60"/>
                        </a:moveTo>
                        <a:cubicBezTo>
                          <a:pt x="38" y="60"/>
                          <a:pt x="38" y="60"/>
                          <a:pt x="38" y="60"/>
                        </a:cubicBezTo>
                        <a:cubicBezTo>
                          <a:pt x="38" y="60"/>
                          <a:pt x="38" y="60"/>
                          <a:pt x="38" y="60"/>
                        </a:cubicBezTo>
                        <a:cubicBezTo>
                          <a:pt x="38" y="60"/>
                          <a:pt x="38" y="60"/>
                          <a:pt x="38" y="60"/>
                        </a:cubicBezTo>
                        <a:cubicBezTo>
                          <a:pt x="38" y="60"/>
                          <a:pt x="37" y="60"/>
                          <a:pt x="37" y="60"/>
                        </a:cubicBezTo>
                        <a:close/>
                        <a:moveTo>
                          <a:pt x="39" y="56"/>
                        </a:moveTo>
                        <a:cubicBezTo>
                          <a:pt x="39" y="56"/>
                          <a:pt x="39" y="57"/>
                          <a:pt x="39" y="57"/>
                        </a:cubicBezTo>
                        <a:cubicBezTo>
                          <a:pt x="39" y="57"/>
                          <a:pt x="39" y="57"/>
                          <a:pt x="39" y="57"/>
                        </a:cubicBezTo>
                        <a:cubicBezTo>
                          <a:pt x="39" y="56"/>
                          <a:pt x="39" y="56"/>
                          <a:pt x="39" y="56"/>
                        </a:cubicBezTo>
                        <a:close/>
                        <a:moveTo>
                          <a:pt x="39" y="57"/>
                        </a:moveTo>
                        <a:cubicBezTo>
                          <a:pt x="39" y="57"/>
                          <a:pt x="39" y="57"/>
                          <a:pt x="39" y="57"/>
                        </a:cubicBezTo>
                        <a:cubicBezTo>
                          <a:pt x="39" y="57"/>
                          <a:pt x="39" y="57"/>
                          <a:pt x="39" y="57"/>
                        </a:cubicBezTo>
                        <a:close/>
                        <a:moveTo>
                          <a:pt x="38" y="59"/>
                        </a:moveTo>
                        <a:cubicBezTo>
                          <a:pt x="38" y="60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8" y="60"/>
                          <a:pt x="38" y="60"/>
                        </a:cubicBezTo>
                        <a:cubicBezTo>
                          <a:pt x="38" y="60"/>
                          <a:pt x="38" y="60"/>
                          <a:pt x="38" y="60"/>
                        </a:cubicBezTo>
                        <a:cubicBezTo>
                          <a:pt x="38" y="60"/>
                          <a:pt x="38" y="59"/>
                          <a:pt x="38" y="59"/>
                        </a:cubicBezTo>
                        <a:cubicBezTo>
                          <a:pt x="38" y="59"/>
                          <a:pt x="38" y="60"/>
                          <a:pt x="38" y="60"/>
                        </a:cubicBezTo>
                        <a:cubicBezTo>
                          <a:pt x="38" y="59"/>
                          <a:pt x="39" y="58"/>
                          <a:pt x="39" y="58"/>
                        </a:cubicBezTo>
                        <a:cubicBezTo>
                          <a:pt x="38" y="58"/>
                          <a:pt x="38" y="59"/>
                          <a:pt x="38" y="59"/>
                        </a:cubicBezTo>
                        <a:cubicBezTo>
                          <a:pt x="38" y="59"/>
                          <a:pt x="38" y="59"/>
                          <a:pt x="38" y="59"/>
                        </a:cubicBezTo>
                        <a:close/>
                        <a:moveTo>
                          <a:pt x="39" y="56"/>
                        </a:moveTo>
                        <a:cubicBezTo>
                          <a:pt x="39" y="56"/>
                          <a:pt x="39" y="56"/>
                          <a:pt x="39" y="56"/>
                        </a:cubicBezTo>
                        <a:cubicBezTo>
                          <a:pt x="39" y="56"/>
                          <a:pt x="40" y="55"/>
                          <a:pt x="39" y="55"/>
                        </a:cubicBezTo>
                        <a:cubicBezTo>
                          <a:pt x="39" y="55"/>
                          <a:pt x="39" y="55"/>
                          <a:pt x="39" y="56"/>
                        </a:cubicBezTo>
                        <a:close/>
                        <a:moveTo>
                          <a:pt x="39" y="56"/>
                        </a:moveTo>
                        <a:cubicBezTo>
                          <a:pt x="39" y="56"/>
                          <a:pt x="39" y="56"/>
                          <a:pt x="39" y="56"/>
                        </a:cubicBezTo>
                        <a:cubicBezTo>
                          <a:pt x="39" y="56"/>
                          <a:pt x="39" y="56"/>
                          <a:pt x="39" y="56"/>
                        </a:cubicBezTo>
                        <a:cubicBezTo>
                          <a:pt x="39" y="56"/>
                          <a:pt x="39" y="56"/>
                          <a:pt x="39" y="56"/>
                        </a:cubicBezTo>
                        <a:close/>
                        <a:moveTo>
                          <a:pt x="39" y="56"/>
                        </a:moveTo>
                        <a:cubicBezTo>
                          <a:pt x="39" y="56"/>
                          <a:pt x="39" y="56"/>
                          <a:pt x="39" y="56"/>
                        </a:cubicBezTo>
                        <a:cubicBezTo>
                          <a:pt x="39" y="56"/>
                          <a:pt x="39" y="56"/>
                          <a:pt x="39" y="56"/>
                        </a:cubicBezTo>
                        <a:close/>
                        <a:moveTo>
                          <a:pt x="37" y="58"/>
                        </a:moveTo>
                        <a:cubicBezTo>
                          <a:pt x="38" y="58"/>
                          <a:pt x="38" y="58"/>
                          <a:pt x="38" y="58"/>
                        </a:cubicBezTo>
                        <a:cubicBezTo>
                          <a:pt x="38" y="58"/>
                          <a:pt x="38" y="58"/>
                          <a:pt x="37" y="58"/>
                        </a:cubicBezTo>
                        <a:close/>
                        <a:moveTo>
                          <a:pt x="38" y="56"/>
                        </a:moveTo>
                        <a:cubicBezTo>
                          <a:pt x="38" y="56"/>
                          <a:pt x="38" y="56"/>
                          <a:pt x="39" y="56"/>
                        </a:cubicBezTo>
                        <a:cubicBezTo>
                          <a:pt x="38" y="56"/>
                          <a:pt x="38" y="56"/>
                          <a:pt x="38" y="56"/>
                        </a:cubicBezTo>
                        <a:close/>
                        <a:moveTo>
                          <a:pt x="38" y="56"/>
                        </a:moveTo>
                        <a:cubicBezTo>
                          <a:pt x="38" y="56"/>
                          <a:pt x="38" y="56"/>
                          <a:pt x="38" y="56"/>
                        </a:cubicBezTo>
                        <a:cubicBezTo>
                          <a:pt x="38" y="56"/>
                          <a:pt x="38" y="56"/>
                          <a:pt x="38" y="56"/>
                        </a:cubicBezTo>
                        <a:cubicBezTo>
                          <a:pt x="38" y="56"/>
                          <a:pt x="38" y="56"/>
                          <a:pt x="38" y="56"/>
                        </a:cubicBezTo>
                        <a:cubicBezTo>
                          <a:pt x="38" y="56"/>
                          <a:pt x="38" y="56"/>
                          <a:pt x="38" y="56"/>
                        </a:cubicBezTo>
                        <a:cubicBezTo>
                          <a:pt x="38" y="56"/>
                          <a:pt x="38" y="56"/>
                          <a:pt x="38" y="56"/>
                        </a:cubicBezTo>
                        <a:cubicBezTo>
                          <a:pt x="38" y="56"/>
                          <a:pt x="38" y="56"/>
                          <a:pt x="38" y="56"/>
                        </a:cubicBezTo>
                        <a:close/>
                        <a:moveTo>
                          <a:pt x="38" y="57"/>
                        </a:moveTo>
                        <a:cubicBezTo>
                          <a:pt x="38" y="57"/>
                          <a:pt x="38" y="56"/>
                          <a:pt x="38" y="56"/>
                        </a:cubicBezTo>
                        <a:cubicBezTo>
                          <a:pt x="38" y="56"/>
                          <a:pt x="38" y="56"/>
                          <a:pt x="38" y="56"/>
                        </a:cubicBezTo>
                        <a:cubicBezTo>
                          <a:pt x="38" y="56"/>
                          <a:pt x="37" y="56"/>
                          <a:pt x="37" y="57"/>
                        </a:cubicBezTo>
                        <a:cubicBezTo>
                          <a:pt x="38" y="57"/>
                          <a:pt x="37" y="57"/>
                          <a:pt x="37" y="57"/>
                        </a:cubicBezTo>
                        <a:cubicBezTo>
                          <a:pt x="38" y="57"/>
                          <a:pt x="38" y="57"/>
                          <a:pt x="38" y="57"/>
                        </a:cubicBezTo>
                        <a:cubicBezTo>
                          <a:pt x="38" y="57"/>
                          <a:pt x="38" y="57"/>
                          <a:pt x="38" y="57"/>
                        </a:cubicBezTo>
                        <a:close/>
                        <a:moveTo>
                          <a:pt x="38" y="56"/>
                        </a:moveTo>
                        <a:cubicBezTo>
                          <a:pt x="38" y="56"/>
                          <a:pt x="38" y="56"/>
                          <a:pt x="38" y="57"/>
                        </a:cubicBezTo>
                        <a:cubicBezTo>
                          <a:pt x="38" y="56"/>
                          <a:pt x="38" y="56"/>
                          <a:pt x="38" y="56"/>
                        </a:cubicBezTo>
                        <a:cubicBezTo>
                          <a:pt x="38" y="57"/>
                          <a:pt x="38" y="57"/>
                          <a:pt x="38" y="57"/>
                        </a:cubicBezTo>
                        <a:cubicBezTo>
                          <a:pt x="38" y="57"/>
                          <a:pt x="38" y="56"/>
                          <a:pt x="38" y="56"/>
                        </a:cubicBezTo>
                        <a:close/>
                        <a:moveTo>
                          <a:pt x="36" y="60"/>
                        </a:moveTo>
                        <a:cubicBezTo>
                          <a:pt x="35" y="60"/>
                          <a:pt x="35" y="61"/>
                          <a:pt x="35" y="61"/>
                        </a:cubicBezTo>
                        <a:cubicBezTo>
                          <a:pt x="35" y="61"/>
                          <a:pt x="36" y="61"/>
                          <a:pt x="36" y="61"/>
                        </a:cubicBezTo>
                        <a:cubicBezTo>
                          <a:pt x="36" y="61"/>
                          <a:pt x="36" y="61"/>
                          <a:pt x="36" y="61"/>
                        </a:cubicBezTo>
                        <a:cubicBezTo>
                          <a:pt x="36" y="61"/>
                          <a:pt x="36" y="61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60"/>
                          <a:pt x="36" y="61"/>
                          <a:pt x="36" y="61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59"/>
                          <a:pt x="37" y="59"/>
                        </a:cubicBezTo>
                        <a:cubicBezTo>
                          <a:pt x="37" y="59"/>
                          <a:pt x="37" y="59"/>
                          <a:pt x="37" y="59"/>
                        </a:cubicBezTo>
                        <a:cubicBezTo>
                          <a:pt x="37" y="59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60"/>
                          <a:pt x="37" y="60"/>
                        </a:cubicBezTo>
                        <a:cubicBezTo>
                          <a:pt x="37" y="60"/>
                          <a:pt x="37" y="59"/>
                          <a:pt x="37" y="59"/>
                        </a:cubicBezTo>
                        <a:cubicBezTo>
                          <a:pt x="37" y="59"/>
                          <a:pt x="37" y="60"/>
                          <a:pt x="37" y="60"/>
                        </a:cubicBezTo>
                        <a:cubicBezTo>
                          <a:pt x="37" y="59"/>
                          <a:pt x="37" y="59"/>
                          <a:pt x="38" y="59"/>
                        </a:cubicBezTo>
                        <a:cubicBezTo>
                          <a:pt x="37" y="59"/>
                          <a:pt x="37" y="59"/>
                          <a:pt x="37" y="59"/>
                        </a:cubicBezTo>
                        <a:cubicBezTo>
                          <a:pt x="37" y="59"/>
                          <a:pt x="37" y="59"/>
                          <a:pt x="37" y="59"/>
                        </a:cubicBezTo>
                        <a:cubicBezTo>
                          <a:pt x="37" y="59"/>
                          <a:pt x="37" y="59"/>
                          <a:pt x="37" y="59"/>
                        </a:cubicBezTo>
                        <a:cubicBezTo>
                          <a:pt x="37" y="59"/>
                          <a:pt x="37" y="59"/>
                          <a:pt x="37" y="59"/>
                        </a:cubicBezTo>
                        <a:cubicBezTo>
                          <a:pt x="37" y="59"/>
                          <a:pt x="37" y="59"/>
                          <a:pt x="37" y="59"/>
                        </a:cubicBezTo>
                        <a:cubicBezTo>
                          <a:pt x="37" y="59"/>
                          <a:pt x="37" y="59"/>
                          <a:pt x="36" y="59"/>
                        </a:cubicBezTo>
                        <a:cubicBezTo>
                          <a:pt x="37" y="60"/>
                          <a:pt x="36" y="60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lose/>
                        <a:moveTo>
                          <a:pt x="36" y="60"/>
                        </a:move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lose/>
                        <a:moveTo>
                          <a:pt x="26" y="67"/>
                        </a:moveTo>
                        <a:cubicBezTo>
                          <a:pt x="26" y="67"/>
                          <a:pt x="26" y="67"/>
                          <a:pt x="26" y="67"/>
                        </a:cubicBezTo>
                        <a:cubicBezTo>
                          <a:pt x="26" y="67"/>
                          <a:pt x="26" y="67"/>
                          <a:pt x="26" y="67"/>
                        </a:cubicBezTo>
                        <a:cubicBezTo>
                          <a:pt x="26" y="67"/>
                          <a:pt x="26" y="67"/>
                          <a:pt x="26" y="67"/>
                        </a:cubicBezTo>
                        <a:close/>
                        <a:moveTo>
                          <a:pt x="26" y="68"/>
                        </a:moveTo>
                        <a:cubicBezTo>
                          <a:pt x="26" y="68"/>
                          <a:pt x="26" y="68"/>
                          <a:pt x="26" y="69"/>
                        </a:cubicBezTo>
                        <a:cubicBezTo>
                          <a:pt x="26" y="69"/>
                          <a:pt x="26" y="68"/>
                          <a:pt x="26" y="68"/>
                        </a:cubicBezTo>
                        <a:close/>
                        <a:moveTo>
                          <a:pt x="27" y="67"/>
                        </a:moveTo>
                        <a:cubicBezTo>
                          <a:pt x="27" y="67"/>
                          <a:pt x="27" y="67"/>
                          <a:pt x="27" y="67"/>
                        </a:cubicBezTo>
                        <a:cubicBezTo>
                          <a:pt x="27" y="67"/>
                          <a:pt x="27" y="67"/>
                          <a:pt x="27" y="67"/>
                        </a:cubicBezTo>
                        <a:cubicBezTo>
                          <a:pt x="27" y="67"/>
                          <a:pt x="27" y="67"/>
                          <a:pt x="27" y="67"/>
                        </a:cubicBezTo>
                        <a:cubicBezTo>
                          <a:pt x="27" y="67"/>
                          <a:pt x="27" y="67"/>
                          <a:pt x="27" y="67"/>
                        </a:cubicBezTo>
                        <a:cubicBezTo>
                          <a:pt x="27" y="67"/>
                          <a:pt x="27" y="67"/>
                          <a:pt x="27" y="67"/>
                        </a:cubicBezTo>
                        <a:cubicBezTo>
                          <a:pt x="27" y="67"/>
                          <a:pt x="26" y="67"/>
                          <a:pt x="27" y="67"/>
                        </a:cubicBezTo>
                        <a:cubicBezTo>
                          <a:pt x="27" y="67"/>
                          <a:pt x="27" y="67"/>
                          <a:pt x="27" y="67"/>
                        </a:cubicBezTo>
                        <a:close/>
                        <a:moveTo>
                          <a:pt x="27" y="67"/>
                        </a:moveTo>
                        <a:cubicBezTo>
                          <a:pt x="27" y="67"/>
                          <a:pt x="27" y="68"/>
                          <a:pt x="27" y="68"/>
                        </a:cubicBezTo>
                        <a:cubicBezTo>
                          <a:pt x="27" y="67"/>
                          <a:pt x="27" y="67"/>
                          <a:pt x="27" y="67"/>
                        </a:cubicBezTo>
                        <a:close/>
                        <a:moveTo>
                          <a:pt x="28" y="66"/>
                        </a:moveTo>
                        <a:cubicBezTo>
                          <a:pt x="29" y="66"/>
                          <a:pt x="28" y="66"/>
                          <a:pt x="28" y="66"/>
                        </a:cubicBezTo>
                        <a:cubicBezTo>
                          <a:pt x="28" y="66"/>
                          <a:pt x="28" y="66"/>
                          <a:pt x="28" y="66"/>
                        </a:cubicBezTo>
                        <a:cubicBezTo>
                          <a:pt x="29" y="66"/>
                          <a:pt x="28" y="66"/>
                          <a:pt x="29" y="66"/>
                        </a:cubicBezTo>
                        <a:cubicBezTo>
                          <a:pt x="29" y="66"/>
                          <a:pt x="29" y="66"/>
                          <a:pt x="29" y="66"/>
                        </a:cubicBezTo>
                        <a:cubicBezTo>
                          <a:pt x="29" y="66"/>
                          <a:pt x="28" y="66"/>
                          <a:pt x="28" y="66"/>
                        </a:cubicBezTo>
                        <a:cubicBezTo>
                          <a:pt x="28" y="66"/>
                          <a:pt x="28" y="66"/>
                          <a:pt x="28" y="66"/>
                        </a:cubicBezTo>
                        <a:cubicBezTo>
                          <a:pt x="28" y="66"/>
                          <a:pt x="28" y="66"/>
                          <a:pt x="28" y="66"/>
                        </a:cubicBezTo>
                        <a:cubicBezTo>
                          <a:pt x="28" y="66"/>
                          <a:pt x="28" y="67"/>
                          <a:pt x="28" y="66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8" y="67"/>
                        </a:cubicBezTo>
                        <a:cubicBezTo>
                          <a:pt x="28" y="67"/>
                          <a:pt x="28" y="67"/>
                          <a:pt x="29" y="67"/>
                        </a:cubicBezTo>
                        <a:cubicBezTo>
                          <a:pt x="28" y="67"/>
                          <a:pt x="29" y="67"/>
                          <a:pt x="29" y="66"/>
                        </a:cubicBezTo>
                        <a:cubicBezTo>
                          <a:pt x="29" y="66"/>
                          <a:pt x="29" y="66"/>
                          <a:pt x="28" y="66"/>
                        </a:cubicBezTo>
                        <a:close/>
                        <a:moveTo>
                          <a:pt x="31" y="63"/>
                        </a:moveTo>
                        <a:cubicBezTo>
                          <a:pt x="31" y="64"/>
                          <a:pt x="31" y="64"/>
                          <a:pt x="31" y="64"/>
                        </a:cubicBezTo>
                        <a:cubicBezTo>
                          <a:pt x="31" y="64"/>
                          <a:pt x="31" y="64"/>
                          <a:pt x="31" y="63"/>
                        </a:cubicBezTo>
                        <a:cubicBezTo>
                          <a:pt x="31" y="63"/>
                          <a:pt x="31" y="63"/>
                          <a:pt x="31" y="63"/>
                        </a:cubicBezTo>
                        <a:close/>
                        <a:moveTo>
                          <a:pt x="30" y="65"/>
                        </a:moveTo>
                        <a:cubicBezTo>
                          <a:pt x="30" y="65"/>
                          <a:pt x="30" y="65"/>
                          <a:pt x="30" y="64"/>
                        </a:cubicBezTo>
                        <a:cubicBezTo>
                          <a:pt x="30" y="65"/>
                          <a:pt x="30" y="65"/>
                          <a:pt x="30" y="65"/>
                        </a:cubicBezTo>
                        <a:cubicBezTo>
                          <a:pt x="30" y="65"/>
                          <a:pt x="30" y="65"/>
                          <a:pt x="30" y="65"/>
                        </a:cubicBezTo>
                        <a:close/>
                        <a:moveTo>
                          <a:pt x="31" y="64"/>
                        </a:moveTo>
                        <a:cubicBezTo>
                          <a:pt x="31" y="64"/>
                          <a:pt x="31" y="64"/>
                          <a:pt x="31" y="65"/>
                        </a:cubicBezTo>
                        <a:cubicBezTo>
                          <a:pt x="31" y="65"/>
                          <a:pt x="31" y="64"/>
                          <a:pt x="31" y="64"/>
                        </a:cubicBezTo>
                        <a:cubicBezTo>
                          <a:pt x="31" y="64"/>
                          <a:pt x="31" y="64"/>
                          <a:pt x="31" y="64"/>
                        </a:cubicBezTo>
                        <a:cubicBezTo>
                          <a:pt x="31" y="64"/>
                          <a:pt x="31" y="64"/>
                          <a:pt x="30" y="64"/>
                        </a:cubicBezTo>
                        <a:cubicBezTo>
                          <a:pt x="31" y="64"/>
                          <a:pt x="31" y="64"/>
                          <a:pt x="30" y="64"/>
                        </a:cubicBezTo>
                        <a:cubicBezTo>
                          <a:pt x="31" y="64"/>
                          <a:pt x="31" y="64"/>
                          <a:pt x="31" y="64"/>
                        </a:cubicBezTo>
                        <a:cubicBezTo>
                          <a:pt x="30" y="64"/>
                          <a:pt x="31" y="64"/>
                          <a:pt x="31" y="64"/>
                        </a:cubicBezTo>
                        <a:cubicBezTo>
                          <a:pt x="30" y="64"/>
                          <a:pt x="30" y="64"/>
                          <a:pt x="30" y="64"/>
                        </a:cubicBezTo>
                        <a:cubicBezTo>
                          <a:pt x="31" y="65"/>
                          <a:pt x="31" y="64"/>
                          <a:pt x="31" y="64"/>
                        </a:cubicBezTo>
                        <a:close/>
                        <a:moveTo>
                          <a:pt x="31" y="65"/>
                        </a:moveTo>
                        <a:cubicBezTo>
                          <a:pt x="31" y="65"/>
                          <a:pt x="31" y="65"/>
                          <a:pt x="31" y="65"/>
                        </a:cubicBezTo>
                        <a:cubicBezTo>
                          <a:pt x="31" y="65"/>
                          <a:pt x="31" y="65"/>
                          <a:pt x="31" y="65"/>
                        </a:cubicBezTo>
                        <a:cubicBezTo>
                          <a:pt x="30" y="65"/>
                          <a:pt x="30" y="65"/>
                          <a:pt x="30" y="65"/>
                        </a:cubicBezTo>
                        <a:cubicBezTo>
                          <a:pt x="30" y="65"/>
                          <a:pt x="30" y="65"/>
                          <a:pt x="30" y="65"/>
                        </a:cubicBezTo>
                        <a:cubicBezTo>
                          <a:pt x="31" y="65"/>
                          <a:pt x="31" y="65"/>
                          <a:pt x="31" y="65"/>
                        </a:cubicBezTo>
                        <a:close/>
                        <a:moveTo>
                          <a:pt x="31" y="65"/>
                        </a:moveTo>
                        <a:cubicBezTo>
                          <a:pt x="31" y="64"/>
                          <a:pt x="31" y="64"/>
                          <a:pt x="31" y="64"/>
                        </a:cubicBezTo>
                        <a:cubicBezTo>
                          <a:pt x="31" y="64"/>
                          <a:pt x="31" y="64"/>
                          <a:pt x="31" y="64"/>
                        </a:cubicBezTo>
                        <a:cubicBezTo>
                          <a:pt x="31" y="64"/>
                          <a:pt x="31" y="64"/>
                          <a:pt x="31" y="65"/>
                        </a:cubicBezTo>
                        <a:close/>
                        <a:moveTo>
                          <a:pt x="27" y="73"/>
                        </a:moveTo>
                        <a:cubicBezTo>
                          <a:pt x="27" y="73"/>
                          <a:pt x="27" y="73"/>
                          <a:pt x="27" y="73"/>
                        </a:cubicBezTo>
                        <a:cubicBezTo>
                          <a:pt x="27" y="73"/>
                          <a:pt x="27" y="73"/>
                          <a:pt x="27" y="73"/>
                        </a:cubicBezTo>
                        <a:cubicBezTo>
                          <a:pt x="27" y="73"/>
                          <a:pt x="27" y="73"/>
                          <a:pt x="27" y="73"/>
                        </a:cubicBezTo>
                        <a:close/>
                        <a:moveTo>
                          <a:pt x="28" y="71"/>
                        </a:moveTo>
                        <a:cubicBezTo>
                          <a:pt x="28" y="71"/>
                          <a:pt x="28" y="71"/>
                          <a:pt x="28" y="71"/>
                        </a:cubicBezTo>
                        <a:cubicBezTo>
                          <a:pt x="28" y="71"/>
                          <a:pt x="28" y="71"/>
                          <a:pt x="28" y="71"/>
                        </a:cubicBezTo>
                        <a:close/>
                        <a:moveTo>
                          <a:pt x="28" y="70"/>
                        </a:moveTo>
                        <a:cubicBezTo>
                          <a:pt x="28" y="71"/>
                          <a:pt x="28" y="70"/>
                          <a:pt x="28" y="71"/>
                        </a:cubicBezTo>
                        <a:cubicBezTo>
                          <a:pt x="28" y="71"/>
                          <a:pt x="28" y="71"/>
                          <a:pt x="28" y="71"/>
                        </a:cubicBezTo>
                        <a:cubicBezTo>
                          <a:pt x="28" y="71"/>
                          <a:pt x="28" y="71"/>
                          <a:pt x="28" y="71"/>
                        </a:cubicBezTo>
                        <a:cubicBezTo>
                          <a:pt x="28" y="70"/>
                          <a:pt x="28" y="70"/>
                          <a:pt x="28" y="70"/>
                        </a:cubicBezTo>
                        <a:cubicBezTo>
                          <a:pt x="28" y="70"/>
                          <a:pt x="28" y="71"/>
                          <a:pt x="28" y="71"/>
                        </a:cubicBezTo>
                        <a:cubicBezTo>
                          <a:pt x="28" y="71"/>
                          <a:pt x="28" y="71"/>
                          <a:pt x="28" y="71"/>
                        </a:cubicBezTo>
                        <a:cubicBezTo>
                          <a:pt x="28" y="71"/>
                          <a:pt x="28" y="71"/>
                          <a:pt x="28" y="71"/>
                        </a:cubicBezTo>
                        <a:cubicBezTo>
                          <a:pt x="28" y="71"/>
                          <a:pt x="28" y="71"/>
                          <a:pt x="28" y="71"/>
                        </a:cubicBezTo>
                        <a:cubicBezTo>
                          <a:pt x="28" y="71"/>
                          <a:pt x="28" y="71"/>
                          <a:pt x="28" y="71"/>
                        </a:cubicBezTo>
                        <a:cubicBezTo>
                          <a:pt x="29" y="71"/>
                          <a:pt x="28" y="71"/>
                          <a:pt x="28" y="70"/>
                        </a:cubicBezTo>
                        <a:close/>
                        <a:moveTo>
                          <a:pt x="29" y="69"/>
                        </a:moveTo>
                        <a:cubicBezTo>
                          <a:pt x="29" y="69"/>
                          <a:pt x="29" y="70"/>
                          <a:pt x="28" y="70"/>
                        </a:cubicBezTo>
                        <a:cubicBezTo>
                          <a:pt x="28" y="70"/>
                          <a:pt x="28" y="70"/>
                          <a:pt x="28" y="70"/>
                        </a:cubicBezTo>
                        <a:cubicBezTo>
                          <a:pt x="28" y="70"/>
                          <a:pt x="28" y="70"/>
                          <a:pt x="29" y="70"/>
                        </a:cubicBezTo>
                        <a:cubicBezTo>
                          <a:pt x="29" y="70"/>
                          <a:pt x="29" y="70"/>
                          <a:pt x="29" y="70"/>
                        </a:cubicBezTo>
                        <a:cubicBezTo>
                          <a:pt x="29" y="70"/>
                          <a:pt x="29" y="69"/>
                          <a:pt x="29" y="69"/>
                        </a:cubicBezTo>
                        <a:close/>
                        <a:moveTo>
                          <a:pt x="30" y="67"/>
                        </a:move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7"/>
                          <a:pt x="30" y="67"/>
                          <a:pt x="30" y="67"/>
                        </a:cubicBez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7"/>
                          <a:pt x="31" y="67"/>
                          <a:pt x="30" y="67"/>
                        </a:cubicBezTo>
                        <a:cubicBezTo>
                          <a:pt x="30" y="67"/>
                          <a:pt x="30" y="67"/>
                          <a:pt x="30" y="67"/>
                        </a:cubicBezTo>
                        <a:close/>
                        <a:moveTo>
                          <a:pt x="30" y="68"/>
                        </a:moveTo>
                        <a:cubicBezTo>
                          <a:pt x="30" y="68"/>
                          <a:pt x="30" y="68"/>
                          <a:pt x="30" y="67"/>
                        </a:cubicBezTo>
                        <a:cubicBezTo>
                          <a:pt x="30" y="68"/>
                          <a:pt x="30" y="68"/>
                          <a:pt x="30" y="68"/>
                        </a:cubicBezTo>
                        <a:close/>
                        <a:moveTo>
                          <a:pt x="30" y="68"/>
                        </a:moveTo>
                        <a:cubicBezTo>
                          <a:pt x="29" y="68"/>
                          <a:pt x="29" y="69"/>
                          <a:pt x="29" y="69"/>
                        </a:cubicBezTo>
                        <a:cubicBezTo>
                          <a:pt x="30" y="69"/>
                          <a:pt x="30" y="68"/>
                          <a:pt x="30" y="68"/>
                        </a:cubicBezTo>
                        <a:cubicBezTo>
                          <a:pt x="30" y="68"/>
                          <a:pt x="30" y="68"/>
                          <a:pt x="30" y="68"/>
                        </a:cubicBezTo>
                        <a:close/>
                        <a:moveTo>
                          <a:pt x="29" y="71"/>
                        </a:moveTo>
                        <a:cubicBezTo>
                          <a:pt x="29" y="71"/>
                          <a:pt x="29" y="71"/>
                          <a:pt x="29" y="70"/>
                        </a:cubicBezTo>
                        <a:cubicBezTo>
                          <a:pt x="29" y="70"/>
                          <a:pt x="29" y="71"/>
                          <a:pt x="29" y="71"/>
                        </a:cubicBezTo>
                        <a:cubicBezTo>
                          <a:pt x="29" y="70"/>
                          <a:pt x="29" y="70"/>
                          <a:pt x="29" y="70"/>
                        </a:cubicBezTo>
                        <a:cubicBezTo>
                          <a:pt x="29" y="70"/>
                          <a:pt x="29" y="70"/>
                          <a:pt x="29" y="70"/>
                        </a:cubicBezTo>
                        <a:cubicBezTo>
                          <a:pt x="29" y="70"/>
                          <a:pt x="29" y="70"/>
                          <a:pt x="29" y="70"/>
                        </a:cubicBezTo>
                        <a:cubicBezTo>
                          <a:pt x="29" y="70"/>
                          <a:pt x="29" y="70"/>
                          <a:pt x="29" y="70"/>
                        </a:cubicBezTo>
                        <a:cubicBezTo>
                          <a:pt x="29" y="70"/>
                          <a:pt x="29" y="70"/>
                          <a:pt x="29" y="70"/>
                        </a:cubicBezTo>
                        <a:cubicBezTo>
                          <a:pt x="29" y="70"/>
                          <a:pt x="28" y="70"/>
                          <a:pt x="29" y="71"/>
                        </a:cubicBezTo>
                        <a:cubicBezTo>
                          <a:pt x="29" y="71"/>
                          <a:pt x="29" y="71"/>
                          <a:pt x="29" y="71"/>
                        </a:cubicBezTo>
                        <a:close/>
                        <a:moveTo>
                          <a:pt x="29" y="69"/>
                        </a:moveTo>
                        <a:cubicBezTo>
                          <a:pt x="29" y="69"/>
                          <a:pt x="29" y="69"/>
                          <a:pt x="29" y="69"/>
                        </a:cubicBezTo>
                        <a:cubicBezTo>
                          <a:pt x="29" y="69"/>
                          <a:pt x="29" y="70"/>
                          <a:pt x="29" y="70"/>
                        </a:cubicBezTo>
                        <a:cubicBezTo>
                          <a:pt x="29" y="69"/>
                          <a:pt x="29" y="69"/>
                          <a:pt x="29" y="69"/>
                        </a:cubicBezTo>
                        <a:close/>
                        <a:moveTo>
                          <a:pt x="29" y="70"/>
                        </a:moveTo>
                        <a:cubicBezTo>
                          <a:pt x="29" y="70"/>
                          <a:pt x="29" y="70"/>
                          <a:pt x="29" y="70"/>
                        </a:cubicBezTo>
                        <a:cubicBezTo>
                          <a:pt x="29" y="70"/>
                          <a:pt x="29" y="70"/>
                          <a:pt x="29" y="70"/>
                        </a:cubicBezTo>
                        <a:close/>
                        <a:moveTo>
                          <a:pt x="30" y="69"/>
                        </a:moveTo>
                        <a:cubicBezTo>
                          <a:pt x="30" y="69"/>
                          <a:pt x="30" y="69"/>
                          <a:pt x="30" y="69"/>
                        </a:cubicBezTo>
                        <a:cubicBezTo>
                          <a:pt x="30" y="69"/>
                          <a:pt x="30" y="69"/>
                          <a:pt x="30" y="69"/>
                        </a:cubicBezTo>
                        <a:cubicBezTo>
                          <a:pt x="30" y="69"/>
                          <a:pt x="30" y="69"/>
                          <a:pt x="30" y="69"/>
                        </a:cubicBezTo>
                        <a:cubicBezTo>
                          <a:pt x="30" y="69"/>
                          <a:pt x="31" y="68"/>
                          <a:pt x="30" y="68"/>
                        </a:cubicBezTo>
                        <a:cubicBezTo>
                          <a:pt x="30" y="68"/>
                          <a:pt x="30" y="69"/>
                          <a:pt x="30" y="69"/>
                        </a:cubicBezTo>
                        <a:cubicBezTo>
                          <a:pt x="30" y="69"/>
                          <a:pt x="30" y="69"/>
                          <a:pt x="30" y="69"/>
                        </a:cubicBezTo>
                        <a:cubicBezTo>
                          <a:pt x="30" y="69"/>
                          <a:pt x="30" y="69"/>
                          <a:pt x="29" y="69"/>
                        </a:cubicBezTo>
                        <a:cubicBezTo>
                          <a:pt x="29" y="69"/>
                          <a:pt x="30" y="69"/>
                          <a:pt x="30" y="69"/>
                        </a:cubicBezTo>
                        <a:cubicBezTo>
                          <a:pt x="29" y="69"/>
                          <a:pt x="29" y="69"/>
                          <a:pt x="29" y="69"/>
                        </a:cubicBezTo>
                        <a:cubicBezTo>
                          <a:pt x="29" y="69"/>
                          <a:pt x="29" y="69"/>
                          <a:pt x="29" y="69"/>
                        </a:cubicBezTo>
                        <a:cubicBezTo>
                          <a:pt x="29" y="69"/>
                          <a:pt x="29" y="69"/>
                          <a:pt x="30" y="69"/>
                        </a:cubicBezTo>
                        <a:cubicBezTo>
                          <a:pt x="30" y="69"/>
                          <a:pt x="29" y="69"/>
                          <a:pt x="30" y="69"/>
                        </a:cubicBezTo>
                        <a:cubicBezTo>
                          <a:pt x="30" y="69"/>
                          <a:pt x="30" y="69"/>
                          <a:pt x="30" y="69"/>
                        </a:cubicBezTo>
                        <a:cubicBezTo>
                          <a:pt x="30" y="69"/>
                          <a:pt x="30" y="69"/>
                          <a:pt x="30" y="69"/>
                        </a:cubicBezTo>
                        <a:close/>
                        <a:moveTo>
                          <a:pt x="31" y="68"/>
                        </a:moveTo>
                        <a:cubicBezTo>
                          <a:pt x="30" y="68"/>
                          <a:pt x="30" y="68"/>
                          <a:pt x="30" y="68"/>
                        </a:cubicBezTo>
                        <a:cubicBezTo>
                          <a:pt x="30" y="68"/>
                          <a:pt x="31" y="68"/>
                          <a:pt x="31" y="68"/>
                        </a:cubicBezTo>
                        <a:cubicBezTo>
                          <a:pt x="31" y="68"/>
                          <a:pt x="31" y="68"/>
                          <a:pt x="31" y="67"/>
                        </a:cubicBez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8"/>
                          <a:pt x="31" y="68"/>
                          <a:pt x="31" y="68"/>
                        </a:cubicBezTo>
                        <a:close/>
                        <a:moveTo>
                          <a:pt x="31" y="66"/>
                        </a:moveTo>
                        <a:cubicBezTo>
                          <a:pt x="31" y="66"/>
                          <a:pt x="31" y="67"/>
                          <a:pt x="31" y="67"/>
                        </a:cubicBezTo>
                        <a:cubicBezTo>
                          <a:pt x="31" y="66"/>
                          <a:pt x="32" y="66"/>
                          <a:pt x="31" y="66"/>
                        </a:cubicBezTo>
                        <a:close/>
                        <a:moveTo>
                          <a:pt x="32" y="65"/>
                        </a:moveTo>
                        <a:cubicBezTo>
                          <a:pt x="32" y="65"/>
                          <a:pt x="32" y="66"/>
                          <a:pt x="32" y="66"/>
                        </a:cubicBezTo>
                        <a:cubicBezTo>
                          <a:pt x="32" y="65"/>
                          <a:pt x="32" y="65"/>
                          <a:pt x="32" y="65"/>
                        </a:cubicBezTo>
                        <a:cubicBezTo>
                          <a:pt x="32" y="65"/>
                          <a:pt x="32" y="65"/>
                          <a:pt x="32" y="65"/>
                        </a:cubicBezTo>
                        <a:close/>
                        <a:moveTo>
                          <a:pt x="32" y="65"/>
                        </a:moveTo>
                        <a:cubicBezTo>
                          <a:pt x="32" y="65"/>
                          <a:pt x="32" y="64"/>
                          <a:pt x="32" y="64"/>
                        </a:cubicBezTo>
                        <a:cubicBezTo>
                          <a:pt x="32" y="64"/>
                          <a:pt x="32" y="64"/>
                          <a:pt x="32" y="64"/>
                        </a:cubicBezTo>
                        <a:cubicBezTo>
                          <a:pt x="32" y="64"/>
                          <a:pt x="32" y="65"/>
                          <a:pt x="32" y="65"/>
                        </a:cubicBezTo>
                        <a:close/>
                        <a:moveTo>
                          <a:pt x="30" y="70"/>
                        </a:moveTo>
                        <a:cubicBezTo>
                          <a:pt x="30" y="70"/>
                          <a:pt x="30" y="70"/>
                          <a:pt x="30" y="69"/>
                        </a:cubicBezTo>
                        <a:cubicBezTo>
                          <a:pt x="30" y="69"/>
                          <a:pt x="30" y="70"/>
                          <a:pt x="30" y="69"/>
                        </a:cubicBezTo>
                        <a:cubicBezTo>
                          <a:pt x="30" y="70"/>
                          <a:pt x="29" y="70"/>
                          <a:pt x="29" y="70"/>
                        </a:cubicBezTo>
                        <a:cubicBezTo>
                          <a:pt x="30" y="70"/>
                          <a:pt x="30" y="69"/>
                          <a:pt x="30" y="70"/>
                        </a:cubicBezTo>
                        <a:close/>
                        <a:moveTo>
                          <a:pt x="31" y="68"/>
                        </a:moveTo>
                        <a:cubicBezTo>
                          <a:pt x="31" y="68"/>
                          <a:pt x="31" y="68"/>
                          <a:pt x="30" y="69"/>
                        </a:cubicBezTo>
                        <a:cubicBezTo>
                          <a:pt x="31" y="69"/>
                          <a:pt x="31" y="69"/>
                          <a:pt x="31" y="69"/>
                        </a:cubicBezTo>
                        <a:cubicBezTo>
                          <a:pt x="31" y="69"/>
                          <a:pt x="31" y="69"/>
                          <a:pt x="31" y="69"/>
                        </a:cubicBezTo>
                        <a:cubicBezTo>
                          <a:pt x="31" y="69"/>
                          <a:pt x="31" y="69"/>
                          <a:pt x="31" y="69"/>
                        </a:cubicBezTo>
                        <a:cubicBezTo>
                          <a:pt x="31" y="69"/>
                          <a:pt x="31" y="69"/>
                          <a:pt x="31" y="69"/>
                        </a:cubicBezTo>
                        <a:cubicBezTo>
                          <a:pt x="31" y="69"/>
                          <a:pt x="31" y="69"/>
                          <a:pt x="31" y="69"/>
                        </a:cubicBezTo>
                        <a:cubicBezTo>
                          <a:pt x="31" y="69"/>
                          <a:pt x="31" y="69"/>
                          <a:pt x="31" y="69"/>
                        </a:cubicBezTo>
                        <a:cubicBezTo>
                          <a:pt x="31" y="68"/>
                          <a:pt x="31" y="68"/>
                          <a:pt x="31" y="68"/>
                        </a:cubicBezTo>
                        <a:cubicBezTo>
                          <a:pt x="31" y="68"/>
                          <a:pt x="31" y="68"/>
                          <a:pt x="31" y="68"/>
                        </a:cubicBezTo>
                        <a:cubicBezTo>
                          <a:pt x="31" y="68"/>
                          <a:pt x="31" y="68"/>
                          <a:pt x="31" y="68"/>
                        </a:cubicBezTo>
                        <a:cubicBezTo>
                          <a:pt x="31" y="68"/>
                          <a:pt x="31" y="68"/>
                          <a:pt x="31" y="68"/>
                        </a:cubicBezTo>
                        <a:cubicBezTo>
                          <a:pt x="31" y="68"/>
                          <a:pt x="31" y="68"/>
                          <a:pt x="31" y="68"/>
                        </a:cubicBezTo>
                        <a:close/>
                        <a:moveTo>
                          <a:pt x="29" y="72"/>
                        </a:moveTo>
                        <a:cubicBezTo>
                          <a:pt x="29" y="72"/>
                          <a:pt x="29" y="72"/>
                          <a:pt x="29" y="72"/>
                        </a:cubicBezTo>
                        <a:cubicBezTo>
                          <a:pt x="29" y="72"/>
                          <a:pt x="29" y="72"/>
                          <a:pt x="29" y="72"/>
                        </a:cubicBezTo>
                        <a:cubicBezTo>
                          <a:pt x="29" y="72"/>
                          <a:pt x="29" y="72"/>
                          <a:pt x="29" y="72"/>
                        </a:cubicBezTo>
                        <a:close/>
                        <a:moveTo>
                          <a:pt x="30" y="72"/>
                        </a:moveTo>
                        <a:cubicBezTo>
                          <a:pt x="30" y="72"/>
                          <a:pt x="30" y="72"/>
                          <a:pt x="30" y="72"/>
                        </a:cubicBezTo>
                        <a:cubicBezTo>
                          <a:pt x="29" y="72"/>
                          <a:pt x="29" y="72"/>
                          <a:pt x="29" y="72"/>
                        </a:cubicBezTo>
                        <a:cubicBezTo>
                          <a:pt x="29" y="72"/>
                          <a:pt x="30" y="72"/>
                          <a:pt x="30" y="72"/>
                        </a:cubicBezTo>
                        <a:close/>
                        <a:moveTo>
                          <a:pt x="30" y="71"/>
                        </a:moveTo>
                        <a:cubicBezTo>
                          <a:pt x="30" y="71"/>
                          <a:pt x="30" y="71"/>
                          <a:pt x="30" y="71"/>
                        </a:cubicBezTo>
                        <a:cubicBezTo>
                          <a:pt x="30" y="71"/>
                          <a:pt x="30" y="71"/>
                          <a:pt x="30" y="71"/>
                        </a:cubicBezTo>
                        <a:cubicBezTo>
                          <a:pt x="30" y="71"/>
                          <a:pt x="30" y="71"/>
                          <a:pt x="30" y="71"/>
                        </a:cubicBezTo>
                        <a:close/>
                        <a:moveTo>
                          <a:pt x="29" y="71"/>
                        </a:moveTo>
                        <a:cubicBezTo>
                          <a:pt x="29" y="71"/>
                          <a:pt x="29" y="71"/>
                          <a:pt x="29" y="71"/>
                        </a:cubicBezTo>
                        <a:cubicBezTo>
                          <a:pt x="29" y="71"/>
                          <a:pt x="30" y="71"/>
                          <a:pt x="29" y="71"/>
                        </a:cubicBezTo>
                        <a:close/>
                        <a:moveTo>
                          <a:pt x="28" y="73"/>
                        </a:moveTo>
                        <a:cubicBezTo>
                          <a:pt x="28" y="73"/>
                          <a:pt x="28" y="73"/>
                          <a:pt x="28" y="73"/>
                        </a:cubicBezTo>
                        <a:cubicBezTo>
                          <a:pt x="28" y="73"/>
                          <a:pt x="28" y="73"/>
                          <a:pt x="28" y="73"/>
                        </a:cubicBezTo>
                        <a:cubicBezTo>
                          <a:pt x="28" y="73"/>
                          <a:pt x="28" y="73"/>
                          <a:pt x="28" y="73"/>
                        </a:cubicBezTo>
                        <a:close/>
                        <a:moveTo>
                          <a:pt x="29" y="72"/>
                        </a:moveTo>
                        <a:cubicBezTo>
                          <a:pt x="29" y="72"/>
                          <a:pt x="29" y="72"/>
                          <a:pt x="29" y="72"/>
                        </a:cubicBezTo>
                        <a:cubicBezTo>
                          <a:pt x="29" y="72"/>
                          <a:pt x="29" y="72"/>
                          <a:pt x="29" y="72"/>
                        </a:cubicBezTo>
                        <a:close/>
                        <a:moveTo>
                          <a:pt x="28" y="73"/>
                        </a:moveTo>
                        <a:cubicBezTo>
                          <a:pt x="29" y="73"/>
                          <a:pt x="29" y="73"/>
                          <a:pt x="29" y="72"/>
                        </a:cubicBezTo>
                        <a:cubicBezTo>
                          <a:pt x="28" y="73"/>
                          <a:pt x="28" y="73"/>
                          <a:pt x="28" y="73"/>
                        </a:cubicBezTo>
                        <a:close/>
                        <a:moveTo>
                          <a:pt x="29" y="71"/>
                        </a:moveTo>
                        <a:cubicBezTo>
                          <a:pt x="29" y="71"/>
                          <a:pt x="29" y="71"/>
                          <a:pt x="29" y="71"/>
                        </a:cubicBezTo>
                        <a:cubicBezTo>
                          <a:pt x="29" y="71"/>
                          <a:pt x="29" y="71"/>
                          <a:pt x="29" y="71"/>
                        </a:cubicBezTo>
                        <a:cubicBezTo>
                          <a:pt x="29" y="71"/>
                          <a:pt x="29" y="71"/>
                          <a:pt x="29" y="71"/>
                        </a:cubicBezTo>
                        <a:cubicBezTo>
                          <a:pt x="29" y="71"/>
                          <a:pt x="29" y="71"/>
                          <a:pt x="29" y="71"/>
                        </a:cubicBezTo>
                        <a:close/>
                        <a:moveTo>
                          <a:pt x="28" y="73"/>
                        </a:moveTo>
                        <a:cubicBezTo>
                          <a:pt x="28" y="73"/>
                          <a:pt x="28" y="73"/>
                          <a:pt x="28" y="73"/>
                        </a:cubicBezTo>
                        <a:cubicBezTo>
                          <a:pt x="28" y="73"/>
                          <a:pt x="28" y="73"/>
                          <a:pt x="28" y="74"/>
                        </a:cubicBezTo>
                        <a:cubicBezTo>
                          <a:pt x="28" y="74"/>
                          <a:pt x="28" y="74"/>
                          <a:pt x="28" y="73"/>
                        </a:cubicBezTo>
                        <a:close/>
                        <a:moveTo>
                          <a:pt x="28" y="75"/>
                        </a:moveTo>
                        <a:cubicBezTo>
                          <a:pt x="28" y="74"/>
                          <a:pt x="28" y="74"/>
                          <a:pt x="28" y="74"/>
                        </a:cubicBezTo>
                        <a:cubicBezTo>
                          <a:pt x="28" y="74"/>
                          <a:pt x="28" y="74"/>
                          <a:pt x="28" y="74"/>
                        </a:cubicBezTo>
                        <a:cubicBezTo>
                          <a:pt x="28" y="74"/>
                          <a:pt x="28" y="74"/>
                          <a:pt x="28" y="74"/>
                        </a:cubicBezTo>
                        <a:cubicBezTo>
                          <a:pt x="28" y="74"/>
                          <a:pt x="28" y="74"/>
                          <a:pt x="28" y="74"/>
                        </a:cubicBezTo>
                        <a:cubicBezTo>
                          <a:pt x="28" y="74"/>
                          <a:pt x="28" y="75"/>
                          <a:pt x="28" y="75"/>
                        </a:cubicBezTo>
                        <a:close/>
                        <a:moveTo>
                          <a:pt x="28" y="75"/>
                        </a:moveTo>
                        <a:cubicBezTo>
                          <a:pt x="27" y="75"/>
                          <a:pt x="27" y="75"/>
                          <a:pt x="27" y="76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lose/>
                        <a:moveTo>
                          <a:pt x="29" y="73"/>
                        </a:moveTo>
                        <a:cubicBezTo>
                          <a:pt x="29" y="73"/>
                          <a:pt x="29" y="73"/>
                          <a:pt x="29" y="72"/>
                        </a:cubicBezTo>
                        <a:cubicBezTo>
                          <a:pt x="29" y="73"/>
                          <a:pt x="29" y="73"/>
                          <a:pt x="29" y="73"/>
                        </a:cubicBezTo>
                        <a:cubicBezTo>
                          <a:pt x="29" y="73"/>
                          <a:pt x="29" y="73"/>
                          <a:pt x="28" y="73"/>
                        </a:cubicBezTo>
                        <a:cubicBezTo>
                          <a:pt x="28" y="73"/>
                          <a:pt x="28" y="73"/>
                          <a:pt x="28" y="73"/>
                        </a:cubicBezTo>
                        <a:cubicBezTo>
                          <a:pt x="29" y="73"/>
                          <a:pt x="29" y="73"/>
                          <a:pt x="29" y="73"/>
                        </a:cubicBezTo>
                        <a:close/>
                        <a:moveTo>
                          <a:pt x="29" y="74"/>
                        </a:moveTo>
                        <a:cubicBezTo>
                          <a:pt x="29" y="74"/>
                          <a:pt x="29" y="74"/>
                          <a:pt x="29" y="74"/>
                        </a:cubicBezTo>
                        <a:cubicBezTo>
                          <a:pt x="29" y="74"/>
                          <a:pt x="29" y="74"/>
                          <a:pt x="29" y="74"/>
                        </a:cubicBezTo>
                        <a:cubicBezTo>
                          <a:pt x="29" y="74"/>
                          <a:pt x="29" y="74"/>
                          <a:pt x="29" y="74"/>
                        </a:cubicBezTo>
                        <a:close/>
                        <a:moveTo>
                          <a:pt x="29" y="74"/>
                        </a:moveTo>
                        <a:cubicBezTo>
                          <a:pt x="29" y="74"/>
                          <a:pt x="29" y="74"/>
                          <a:pt x="29" y="74"/>
                        </a:cubicBezTo>
                        <a:cubicBezTo>
                          <a:pt x="29" y="74"/>
                          <a:pt x="29" y="74"/>
                          <a:pt x="29" y="74"/>
                        </a:cubicBezTo>
                        <a:close/>
                        <a:moveTo>
                          <a:pt x="29" y="74"/>
                        </a:moveTo>
                        <a:cubicBezTo>
                          <a:pt x="29" y="74"/>
                          <a:pt x="29" y="75"/>
                          <a:pt x="29" y="75"/>
                        </a:cubicBezTo>
                        <a:cubicBezTo>
                          <a:pt x="29" y="75"/>
                          <a:pt x="29" y="75"/>
                          <a:pt x="29" y="74"/>
                        </a:cubicBezTo>
                        <a:close/>
                        <a:moveTo>
                          <a:pt x="29" y="76"/>
                        </a:moveTo>
                        <a:cubicBezTo>
                          <a:pt x="28" y="76"/>
                          <a:pt x="28" y="76"/>
                          <a:pt x="28" y="76"/>
                        </a:cubicBezTo>
                        <a:cubicBezTo>
                          <a:pt x="28" y="76"/>
                          <a:pt x="28" y="77"/>
                          <a:pt x="28" y="77"/>
                        </a:cubicBezTo>
                        <a:cubicBezTo>
                          <a:pt x="28" y="76"/>
                          <a:pt x="29" y="76"/>
                          <a:pt x="29" y="76"/>
                        </a:cubicBezTo>
                        <a:close/>
                        <a:moveTo>
                          <a:pt x="28" y="76"/>
                        </a:moveTo>
                        <a:cubicBezTo>
                          <a:pt x="29" y="76"/>
                          <a:pt x="29" y="76"/>
                          <a:pt x="29" y="75"/>
                        </a:cubicBezTo>
                        <a:cubicBezTo>
                          <a:pt x="29" y="76"/>
                          <a:pt x="28" y="76"/>
                          <a:pt x="28" y="76"/>
                        </a:cubicBezTo>
                        <a:close/>
                        <a:moveTo>
                          <a:pt x="29" y="75"/>
                        </a:moveTo>
                        <a:cubicBezTo>
                          <a:pt x="29" y="75"/>
                          <a:pt x="29" y="75"/>
                          <a:pt x="29" y="75"/>
                        </a:cubicBezTo>
                        <a:cubicBezTo>
                          <a:pt x="29" y="75"/>
                          <a:pt x="29" y="75"/>
                          <a:pt x="29" y="76"/>
                        </a:cubicBezTo>
                        <a:cubicBezTo>
                          <a:pt x="29" y="76"/>
                          <a:pt x="29" y="76"/>
                          <a:pt x="29" y="76"/>
                        </a:cubicBezTo>
                        <a:cubicBezTo>
                          <a:pt x="29" y="76"/>
                          <a:pt x="29" y="76"/>
                          <a:pt x="29" y="75"/>
                        </a:cubicBezTo>
                        <a:cubicBezTo>
                          <a:pt x="29" y="76"/>
                          <a:pt x="29" y="76"/>
                          <a:pt x="29" y="76"/>
                        </a:cubicBezTo>
                        <a:cubicBezTo>
                          <a:pt x="29" y="75"/>
                          <a:pt x="29" y="75"/>
                          <a:pt x="29" y="75"/>
                        </a:cubicBezTo>
                        <a:close/>
                        <a:moveTo>
                          <a:pt x="30" y="73"/>
                        </a:moveTo>
                        <a:cubicBezTo>
                          <a:pt x="30" y="74"/>
                          <a:pt x="30" y="74"/>
                          <a:pt x="29" y="74"/>
                        </a:cubicBezTo>
                        <a:cubicBezTo>
                          <a:pt x="30" y="74"/>
                          <a:pt x="30" y="74"/>
                          <a:pt x="30" y="74"/>
                        </a:cubicBezTo>
                        <a:cubicBezTo>
                          <a:pt x="30" y="74"/>
                          <a:pt x="30" y="74"/>
                          <a:pt x="30" y="73"/>
                        </a:cubicBezTo>
                        <a:close/>
                        <a:moveTo>
                          <a:pt x="30" y="72"/>
                        </a:moveTo>
                        <a:cubicBezTo>
                          <a:pt x="30" y="72"/>
                          <a:pt x="30" y="72"/>
                          <a:pt x="30" y="72"/>
                        </a:cubicBezTo>
                        <a:cubicBezTo>
                          <a:pt x="30" y="72"/>
                          <a:pt x="30" y="72"/>
                          <a:pt x="30" y="72"/>
                        </a:cubicBezTo>
                        <a:cubicBezTo>
                          <a:pt x="30" y="72"/>
                          <a:pt x="29" y="72"/>
                          <a:pt x="29" y="73"/>
                        </a:cubicBezTo>
                        <a:cubicBezTo>
                          <a:pt x="29" y="73"/>
                          <a:pt x="29" y="72"/>
                          <a:pt x="29" y="73"/>
                        </a:cubicBezTo>
                        <a:cubicBezTo>
                          <a:pt x="29" y="73"/>
                          <a:pt x="29" y="73"/>
                          <a:pt x="29" y="73"/>
                        </a:cubicBezTo>
                        <a:cubicBezTo>
                          <a:pt x="29" y="73"/>
                          <a:pt x="29" y="73"/>
                          <a:pt x="29" y="73"/>
                        </a:cubicBezTo>
                        <a:cubicBezTo>
                          <a:pt x="29" y="73"/>
                          <a:pt x="29" y="73"/>
                          <a:pt x="29" y="73"/>
                        </a:cubicBezTo>
                        <a:cubicBezTo>
                          <a:pt x="29" y="73"/>
                          <a:pt x="29" y="73"/>
                          <a:pt x="29" y="73"/>
                        </a:cubicBezTo>
                        <a:cubicBezTo>
                          <a:pt x="29" y="74"/>
                          <a:pt x="29" y="74"/>
                          <a:pt x="29" y="74"/>
                        </a:cubicBezTo>
                        <a:cubicBezTo>
                          <a:pt x="29" y="73"/>
                          <a:pt x="29" y="73"/>
                          <a:pt x="29" y="73"/>
                        </a:cubicBezTo>
                        <a:cubicBezTo>
                          <a:pt x="29" y="73"/>
                          <a:pt x="30" y="73"/>
                          <a:pt x="30" y="73"/>
                        </a:cubicBezTo>
                        <a:cubicBezTo>
                          <a:pt x="30" y="73"/>
                          <a:pt x="30" y="72"/>
                          <a:pt x="30" y="72"/>
                        </a:cubicBezTo>
                        <a:cubicBezTo>
                          <a:pt x="30" y="72"/>
                          <a:pt x="30" y="72"/>
                          <a:pt x="30" y="72"/>
                        </a:cubicBezTo>
                        <a:cubicBezTo>
                          <a:pt x="30" y="72"/>
                          <a:pt x="30" y="72"/>
                          <a:pt x="30" y="72"/>
                        </a:cubicBezTo>
                        <a:cubicBezTo>
                          <a:pt x="30" y="72"/>
                          <a:pt x="30" y="72"/>
                          <a:pt x="30" y="72"/>
                        </a:cubicBezTo>
                        <a:close/>
                        <a:moveTo>
                          <a:pt x="30" y="71"/>
                        </a:moveTo>
                        <a:cubicBezTo>
                          <a:pt x="30" y="72"/>
                          <a:pt x="30" y="72"/>
                          <a:pt x="30" y="71"/>
                        </a:cubicBezTo>
                        <a:cubicBezTo>
                          <a:pt x="30" y="71"/>
                          <a:pt x="30" y="72"/>
                          <a:pt x="30" y="71"/>
                        </a:cubicBezTo>
                        <a:cubicBezTo>
                          <a:pt x="30" y="72"/>
                          <a:pt x="29" y="72"/>
                          <a:pt x="29" y="72"/>
                        </a:cubicBezTo>
                        <a:cubicBezTo>
                          <a:pt x="30" y="72"/>
                          <a:pt x="30" y="72"/>
                          <a:pt x="30" y="72"/>
                        </a:cubicBezTo>
                        <a:cubicBezTo>
                          <a:pt x="30" y="72"/>
                          <a:pt x="30" y="72"/>
                          <a:pt x="30" y="72"/>
                        </a:cubicBezTo>
                        <a:cubicBezTo>
                          <a:pt x="30" y="72"/>
                          <a:pt x="30" y="72"/>
                          <a:pt x="30" y="72"/>
                        </a:cubicBezTo>
                        <a:cubicBezTo>
                          <a:pt x="30" y="72"/>
                          <a:pt x="30" y="72"/>
                          <a:pt x="30" y="71"/>
                        </a:cubicBezTo>
                        <a:close/>
                        <a:moveTo>
                          <a:pt x="30" y="71"/>
                        </a:moveTo>
                        <a:cubicBezTo>
                          <a:pt x="30" y="71"/>
                          <a:pt x="30" y="71"/>
                          <a:pt x="30" y="71"/>
                        </a:cubicBezTo>
                        <a:cubicBezTo>
                          <a:pt x="30" y="71"/>
                          <a:pt x="30" y="71"/>
                          <a:pt x="30" y="71"/>
                        </a:cubicBezTo>
                        <a:close/>
                        <a:moveTo>
                          <a:pt x="31" y="71"/>
                        </a:moveTo>
                        <a:cubicBezTo>
                          <a:pt x="31" y="71"/>
                          <a:pt x="30" y="71"/>
                          <a:pt x="30" y="71"/>
                        </a:cubicBezTo>
                        <a:cubicBezTo>
                          <a:pt x="30" y="71"/>
                          <a:pt x="30" y="71"/>
                          <a:pt x="30" y="71"/>
                        </a:cubicBezTo>
                        <a:cubicBezTo>
                          <a:pt x="30" y="72"/>
                          <a:pt x="30" y="71"/>
                          <a:pt x="30" y="72"/>
                        </a:cubicBezTo>
                        <a:cubicBezTo>
                          <a:pt x="30" y="71"/>
                          <a:pt x="31" y="71"/>
                          <a:pt x="31" y="71"/>
                        </a:cubicBezTo>
                        <a:close/>
                        <a:moveTo>
                          <a:pt x="32" y="69"/>
                        </a:moveTo>
                        <a:cubicBezTo>
                          <a:pt x="31" y="69"/>
                          <a:pt x="31" y="69"/>
                          <a:pt x="31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lose/>
                        <a:moveTo>
                          <a:pt x="32" y="69"/>
                        </a:move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68"/>
                        </a:cubicBezTo>
                        <a:cubicBezTo>
                          <a:pt x="32" y="69"/>
                          <a:pt x="32" y="68"/>
                          <a:pt x="32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lose/>
                        <a:moveTo>
                          <a:pt x="32" y="68"/>
                        </a:moveTo>
                        <a:cubicBezTo>
                          <a:pt x="32" y="68"/>
                          <a:pt x="32" y="68"/>
                          <a:pt x="32" y="68"/>
                        </a:cubicBezTo>
                        <a:cubicBezTo>
                          <a:pt x="32" y="68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70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3" y="69"/>
                          <a:pt x="32" y="68"/>
                          <a:pt x="33" y="68"/>
                        </a:cubicBezTo>
                        <a:cubicBezTo>
                          <a:pt x="33" y="68"/>
                          <a:pt x="33" y="69"/>
                          <a:pt x="33" y="69"/>
                        </a:cubicBezTo>
                        <a:cubicBezTo>
                          <a:pt x="33" y="69"/>
                          <a:pt x="33" y="69"/>
                          <a:pt x="33" y="69"/>
                        </a:cubicBezTo>
                        <a:cubicBezTo>
                          <a:pt x="33" y="69"/>
                          <a:pt x="33" y="68"/>
                          <a:pt x="32" y="68"/>
                        </a:cubicBezTo>
                        <a:close/>
                        <a:moveTo>
                          <a:pt x="32" y="68"/>
                        </a:moveTo>
                        <a:cubicBezTo>
                          <a:pt x="32" y="68"/>
                          <a:pt x="32" y="68"/>
                          <a:pt x="32" y="68"/>
                        </a:cubicBezTo>
                        <a:cubicBezTo>
                          <a:pt x="32" y="68"/>
                          <a:pt x="32" y="68"/>
                          <a:pt x="32" y="68"/>
                        </a:cubicBezTo>
                        <a:close/>
                        <a:moveTo>
                          <a:pt x="32" y="68"/>
                        </a:moveTo>
                        <a:cubicBezTo>
                          <a:pt x="32" y="68"/>
                          <a:pt x="33" y="68"/>
                          <a:pt x="32" y="68"/>
                        </a:cubicBezTo>
                        <a:cubicBezTo>
                          <a:pt x="32" y="68"/>
                          <a:pt x="32" y="68"/>
                          <a:pt x="32" y="68"/>
                        </a:cubicBezTo>
                        <a:cubicBezTo>
                          <a:pt x="32" y="68"/>
                          <a:pt x="32" y="68"/>
                          <a:pt x="32" y="68"/>
                        </a:cubicBezTo>
                        <a:cubicBezTo>
                          <a:pt x="32" y="68"/>
                          <a:pt x="32" y="68"/>
                          <a:pt x="32" y="68"/>
                        </a:cubicBezTo>
                        <a:close/>
                        <a:moveTo>
                          <a:pt x="32" y="68"/>
                        </a:moveTo>
                        <a:cubicBezTo>
                          <a:pt x="32" y="68"/>
                          <a:pt x="32" y="67"/>
                          <a:pt x="32" y="67"/>
                        </a:cubicBezTo>
                        <a:cubicBezTo>
                          <a:pt x="32" y="68"/>
                          <a:pt x="32" y="68"/>
                          <a:pt x="31" y="68"/>
                        </a:cubicBezTo>
                        <a:cubicBezTo>
                          <a:pt x="32" y="68"/>
                          <a:pt x="32" y="67"/>
                          <a:pt x="32" y="67"/>
                        </a:cubicBezTo>
                        <a:cubicBezTo>
                          <a:pt x="32" y="67"/>
                          <a:pt x="32" y="67"/>
                          <a:pt x="32" y="67"/>
                        </a:cubicBezTo>
                        <a:cubicBezTo>
                          <a:pt x="32" y="67"/>
                          <a:pt x="32" y="67"/>
                          <a:pt x="32" y="67"/>
                        </a:cubicBezTo>
                        <a:cubicBezTo>
                          <a:pt x="32" y="66"/>
                          <a:pt x="32" y="67"/>
                          <a:pt x="32" y="66"/>
                        </a:cubicBezTo>
                        <a:cubicBezTo>
                          <a:pt x="32" y="67"/>
                          <a:pt x="32" y="67"/>
                          <a:pt x="32" y="67"/>
                        </a:cubicBezTo>
                        <a:cubicBezTo>
                          <a:pt x="32" y="67"/>
                          <a:pt x="32" y="67"/>
                          <a:pt x="32" y="67"/>
                        </a:cubicBezTo>
                        <a:cubicBezTo>
                          <a:pt x="31" y="67"/>
                          <a:pt x="32" y="67"/>
                          <a:pt x="32" y="67"/>
                        </a:cubicBez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7"/>
                          <a:pt x="31" y="68"/>
                          <a:pt x="31" y="68"/>
                        </a:cubicBezTo>
                        <a:cubicBezTo>
                          <a:pt x="31" y="68"/>
                          <a:pt x="31" y="67"/>
                          <a:pt x="32" y="67"/>
                        </a:cubicBezTo>
                        <a:cubicBezTo>
                          <a:pt x="31" y="68"/>
                          <a:pt x="31" y="68"/>
                          <a:pt x="31" y="68"/>
                        </a:cubicBezTo>
                        <a:cubicBezTo>
                          <a:pt x="31" y="68"/>
                          <a:pt x="32" y="68"/>
                          <a:pt x="32" y="68"/>
                        </a:cubicBezTo>
                        <a:cubicBezTo>
                          <a:pt x="32" y="68"/>
                          <a:pt x="32" y="68"/>
                          <a:pt x="32" y="68"/>
                        </a:cubicBezTo>
                        <a:cubicBezTo>
                          <a:pt x="32" y="68"/>
                          <a:pt x="31" y="68"/>
                          <a:pt x="31" y="68"/>
                        </a:cubicBezTo>
                        <a:cubicBezTo>
                          <a:pt x="32" y="68"/>
                          <a:pt x="31" y="69"/>
                          <a:pt x="31" y="68"/>
                        </a:cubicBezTo>
                        <a:cubicBezTo>
                          <a:pt x="32" y="68"/>
                          <a:pt x="32" y="68"/>
                          <a:pt x="32" y="68"/>
                        </a:cubicBezTo>
                        <a:cubicBezTo>
                          <a:pt x="31" y="69"/>
                          <a:pt x="32" y="69"/>
                          <a:pt x="31" y="69"/>
                        </a:cubicBezTo>
                        <a:cubicBezTo>
                          <a:pt x="31" y="68"/>
                          <a:pt x="32" y="68"/>
                          <a:pt x="31" y="68"/>
                        </a:cubicBezTo>
                        <a:cubicBezTo>
                          <a:pt x="31" y="68"/>
                          <a:pt x="31" y="69"/>
                          <a:pt x="31" y="69"/>
                        </a:cubicBezTo>
                        <a:cubicBezTo>
                          <a:pt x="31" y="69"/>
                          <a:pt x="31" y="69"/>
                          <a:pt x="31" y="69"/>
                        </a:cubicBezTo>
                        <a:cubicBezTo>
                          <a:pt x="31" y="69"/>
                          <a:pt x="31" y="69"/>
                          <a:pt x="31" y="70"/>
                        </a:cubicBezTo>
                        <a:cubicBezTo>
                          <a:pt x="31" y="69"/>
                          <a:pt x="31" y="69"/>
                          <a:pt x="32" y="69"/>
                        </a:cubicBezTo>
                        <a:cubicBezTo>
                          <a:pt x="32" y="68"/>
                          <a:pt x="32" y="68"/>
                          <a:pt x="32" y="68"/>
                        </a:cubicBezTo>
                        <a:cubicBezTo>
                          <a:pt x="32" y="68"/>
                          <a:pt x="32" y="67"/>
                          <a:pt x="32" y="67"/>
                        </a:cubicBezTo>
                        <a:cubicBezTo>
                          <a:pt x="32" y="67"/>
                          <a:pt x="32" y="67"/>
                          <a:pt x="32" y="67"/>
                        </a:cubicBezTo>
                        <a:cubicBezTo>
                          <a:pt x="32" y="67"/>
                          <a:pt x="32" y="67"/>
                          <a:pt x="32" y="67"/>
                        </a:cubicBezTo>
                        <a:cubicBezTo>
                          <a:pt x="32" y="67"/>
                          <a:pt x="32" y="67"/>
                          <a:pt x="32" y="67"/>
                        </a:cubicBezTo>
                        <a:cubicBezTo>
                          <a:pt x="32" y="67"/>
                          <a:pt x="32" y="67"/>
                          <a:pt x="33" y="67"/>
                        </a:cubicBezTo>
                        <a:cubicBezTo>
                          <a:pt x="33" y="67"/>
                          <a:pt x="33" y="66"/>
                          <a:pt x="33" y="67"/>
                        </a:cubicBezTo>
                        <a:cubicBezTo>
                          <a:pt x="32" y="67"/>
                          <a:pt x="32" y="67"/>
                          <a:pt x="32" y="68"/>
                        </a:cubicBezTo>
                        <a:close/>
                        <a:moveTo>
                          <a:pt x="33" y="64"/>
                        </a:move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lose/>
                        <a:moveTo>
                          <a:pt x="32" y="65"/>
                        </a:moveTo>
                        <a:cubicBezTo>
                          <a:pt x="32" y="65"/>
                          <a:pt x="32" y="66"/>
                          <a:pt x="32" y="66"/>
                        </a:cubicBezTo>
                        <a:cubicBezTo>
                          <a:pt x="32" y="66"/>
                          <a:pt x="32" y="66"/>
                          <a:pt x="32" y="66"/>
                        </a:cubicBezTo>
                        <a:cubicBezTo>
                          <a:pt x="32" y="66"/>
                          <a:pt x="32" y="66"/>
                          <a:pt x="32" y="66"/>
                        </a:cubicBezTo>
                        <a:cubicBezTo>
                          <a:pt x="32" y="66"/>
                          <a:pt x="32" y="66"/>
                          <a:pt x="32" y="66"/>
                        </a:cubicBezTo>
                        <a:cubicBezTo>
                          <a:pt x="32" y="66"/>
                          <a:pt x="32" y="66"/>
                          <a:pt x="32" y="66"/>
                        </a:cubicBezTo>
                        <a:cubicBezTo>
                          <a:pt x="32" y="66"/>
                          <a:pt x="32" y="65"/>
                          <a:pt x="32" y="65"/>
                        </a:cubicBezTo>
                        <a:cubicBezTo>
                          <a:pt x="32" y="65"/>
                          <a:pt x="32" y="65"/>
                          <a:pt x="32" y="65"/>
                        </a:cubicBezTo>
                        <a:cubicBezTo>
                          <a:pt x="32" y="65"/>
                          <a:pt x="33" y="65"/>
                          <a:pt x="32" y="65"/>
                        </a:cubicBezTo>
                        <a:close/>
                        <a:moveTo>
                          <a:pt x="32" y="66"/>
                        </a:moveTo>
                        <a:cubicBezTo>
                          <a:pt x="32" y="66"/>
                          <a:pt x="33" y="66"/>
                          <a:pt x="33" y="65"/>
                        </a:cubicBezTo>
                        <a:cubicBezTo>
                          <a:pt x="33" y="66"/>
                          <a:pt x="33" y="65"/>
                          <a:pt x="33" y="65"/>
                        </a:cubicBezTo>
                        <a:cubicBezTo>
                          <a:pt x="33" y="66"/>
                          <a:pt x="32" y="66"/>
                          <a:pt x="32" y="66"/>
                        </a:cubicBezTo>
                        <a:close/>
                        <a:moveTo>
                          <a:pt x="33" y="65"/>
                        </a:moveTo>
                        <a:cubicBezTo>
                          <a:pt x="33" y="64"/>
                          <a:pt x="34" y="64"/>
                          <a:pt x="34" y="64"/>
                        </a:cubicBezTo>
                        <a:cubicBezTo>
                          <a:pt x="34" y="64"/>
                          <a:pt x="33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3" y="64"/>
                          <a:pt x="33" y="65"/>
                          <a:pt x="33" y="65"/>
                        </a:cubicBezTo>
                        <a:cubicBezTo>
                          <a:pt x="33" y="65"/>
                          <a:pt x="33" y="65"/>
                          <a:pt x="33" y="65"/>
                        </a:cubicBezTo>
                        <a:cubicBezTo>
                          <a:pt x="33" y="65"/>
                          <a:pt x="33" y="65"/>
                          <a:pt x="33" y="65"/>
                        </a:cubicBezTo>
                        <a:cubicBezTo>
                          <a:pt x="33" y="65"/>
                          <a:pt x="33" y="65"/>
                          <a:pt x="33" y="65"/>
                        </a:cubicBezTo>
                        <a:cubicBezTo>
                          <a:pt x="33" y="65"/>
                          <a:pt x="33" y="65"/>
                          <a:pt x="33" y="65"/>
                        </a:cubicBezTo>
                        <a:close/>
                        <a:moveTo>
                          <a:pt x="34" y="64"/>
                        </a:moveTo>
                        <a:cubicBezTo>
                          <a:pt x="34" y="64"/>
                          <a:pt x="34" y="63"/>
                          <a:pt x="34" y="63"/>
                        </a:cubicBezTo>
                        <a:cubicBezTo>
                          <a:pt x="34" y="63"/>
                          <a:pt x="34" y="63"/>
                          <a:pt x="34" y="64"/>
                        </a:cubicBezTo>
                        <a:close/>
                        <a:moveTo>
                          <a:pt x="35" y="61"/>
                        </a:moveTo>
                        <a:cubicBezTo>
                          <a:pt x="35" y="61"/>
                          <a:pt x="35" y="61"/>
                          <a:pt x="35" y="60"/>
                        </a:cubicBezTo>
                        <a:cubicBezTo>
                          <a:pt x="35" y="60"/>
                          <a:pt x="35" y="60"/>
                          <a:pt x="35" y="60"/>
                        </a:cubicBezTo>
                        <a:cubicBezTo>
                          <a:pt x="35" y="60"/>
                          <a:pt x="35" y="60"/>
                          <a:pt x="35" y="60"/>
                        </a:cubicBezTo>
                        <a:cubicBezTo>
                          <a:pt x="35" y="61"/>
                          <a:pt x="35" y="60"/>
                          <a:pt x="35" y="61"/>
                        </a:cubicBezTo>
                        <a:cubicBezTo>
                          <a:pt x="35" y="61"/>
                          <a:pt x="35" y="61"/>
                          <a:pt x="35" y="61"/>
                        </a:cubicBezTo>
                        <a:close/>
                        <a:moveTo>
                          <a:pt x="35" y="60"/>
                        </a:moveTo>
                        <a:cubicBezTo>
                          <a:pt x="35" y="60"/>
                          <a:pt x="35" y="60"/>
                          <a:pt x="36" y="60"/>
                        </a:cubicBezTo>
                        <a:cubicBezTo>
                          <a:pt x="36" y="60"/>
                          <a:pt x="36" y="60"/>
                          <a:pt x="36" y="60"/>
                        </a:cubicBezTo>
                        <a:cubicBezTo>
                          <a:pt x="36" y="60"/>
                          <a:pt x="36" y="60"/>
                          <a:pt x="35" y="60"/>
                        </a:cubicBezTo>
                        <a:cubicBezTo>
                          <a:pt x="35" y="60"/>
                          <a:pt x="35" y="60"/>
                          <a:pt x="35" y="60"/>
                        </a:cubicBezTo>
                        <a:close/>
                        <a:moveTo>
                          <a:pt x="36" y="58"/>
                        </a:moveTo>
                        <a:cubicBezTo>
                          <a:pt x="36" y="58"/>
                          <a:pt x="36" y="58"/>
                          <a:pt x="36" y="58"/>
                        </a:cubicBezTo>
                        <a:cubicBezTo>
                          <a:pt x="36" y="58"/>
                          <a:pt x="36" y="58"/>
                          <a:pt x="36" y="58"/>
                        </a:cubicBezTo>
                        <a:cubicBezTo>
                          <a:pt x="36" y="58"/>
                          <a:pt x="36" y="58"/>
                          <a:pt x="36" y="58"/>
                        </a:cubicBezTo>
                        <a:cubicBezTo>
                          <a:pt x="36" y="59"/>
                          <a:pt x="36" y="58"/>
                          <a:pt x="36" y="58"/>
                        </a:cubicBezTo>
                        <a:close/>
                        <a:moveTo>
                          <a:pt x="35" y="60"/>
                        </a:moveTo>
                        <a:cubicBezTo>
                          <a:pt x="35" y="60"/>
                          <a:pt x="35" y="60"/>
                          <a:pt x="35" y="60"/>
                        </a:cubicBezTo>
                        <a:cubicBezTo>
                          <a:pt x="35" y="60"/>
                          <a:pt x="35" y="60"/>
                          <a:pt x="35" y="60"/>
                        </a:cubicBezTo>
                        <a:close/>
                        <a:moveTo>
                          <a:pt x="36" y="58"/>
                        </a:moveTo>
                        <a:cubicBezTo>
                          <a:pt x="36" y="58"/>
                          <a:pt x="36" y="58"/>
                          <a:pt x="36" y="58"/>
                        </a:cubicBezTo>
                        <a:cubicBezTo>
                          <a:pt x="36" y="58"/>
                          <a:pt x="36" y="58"/>
                          <a:pt x="36" y="58"/>
                        </a:cubicBezTo>
                        <a:cubicBezTo>
                          <a:pt x="36" y="58"/>
                          <a:pt x="36" y="58"/>
                          <a:pt x="36" y="58"/>
                        </a:cubicBezTo>
                        <a:cubicBezTo>
                          <a:pt x="36" y="58"/>
                          <a:pt x="36" y="58"/>
                          <a:pt x="36" y="58"/>
                        </a:cubicBezTo>
                        <a:close/>
                        <a:moveTo>
                          <a:pt x="36" y="58"/>
                        </a:moveTo>
                        <a:cubicBezTo>
                          <a:pt x="36" y="58"/>
                          <a:pt x="36" y="58"/>
                          <a:pt x="36" y="58"/>
                        </a:cubicBezTo>
                        <a:cubicBezTo>
                          <a:pt x="37" y="57"/>
                          <a:pt x="37" y="57"/>
                          <a:pt x="37" y="57"/>
                        </a:cubicBezTo>
                        <a:cubicBezTo>
                          <a:pt x="36" y="57"/>
                          <a:pt x="37" y="57"/>
                          <a:pt x="36" y="57"/>
                        </a:cubicBezTo>
                        <a:cubicBezTo>
                          <a:pt x="36" y="57"/>
                          <a:pt x="37" y="57"/>
                          <a:pt x="36" y="57"/>
                        </a:cubicBezTo>
                        <a:cubicBezTo>
                          <a:pt x="36" y="57"/>
                          <a:pt x="36" y="57"/>
                          <a:pt x="36" y="57"/>
                        </a:cubicBezTo>
                        <a:cubicBezTo>
                          <a:pt x="36" y="57"/>
                          <a:pt x="36" y="57"/>
                          <a:pt x="36" y="58"/>
                        </a:cubicBezTo>
                        <a:close/>
                        <a:moveTo>
                          <a:pt x="36" y="59"/>
                        </a:moveTo>
                        <a:cubicBezTo>
                          <a:pt x="36" y="59"/>
                          <a:pt x="36" y="58"/>
                          <a:pt x="36" y="58"/>
                        </a:cubicBezTo>
                        <a:cubicBezTo>
                          <a:pt x="35" y="59"/>
                          <a:pt x="36" y="59"/>
                          <a:pt x="36" y="59"/>
                        </a:cubicBezTo>
                        <a:close/>
                        <a:moveTo>
                          <a:pt x="35" y="61"/>
                        </a:moveTo>
                        <a:cubicBezTo>
                          <a:pt x="35" y="61"/>
                          <a:pt x="35" y="61"/>
                          <a:pt x="35" y="61"/>
                        </a:cubicBezTo>
                        <a:cubicBezTo>
                          <a:pt x="34" y="61"/>
                          <a:pt x="34" y="61"/>
                          <a:pt x="35" y="61"/>
                        </a:cubicBezTo>
                        <a:close/>
                        <a:moveTo>
                          <a:pt x="33" y="63"/>
                        </a:moveTo>
                        <a:cubicBezTo>
                          <a:pt x="33" y="63"/>
                          <a:pt x="33" y="63"/>
                          <a:pt x="33" y="63"/>
                        </a:cubicBezTo>
                        <a:cubicBezTo>
                          <a:pt x="33" y="64"/>
                          <a:pt x="33" y="63"/>
                          <a:pt x="33" y="63"/>
                        </a:cubicBezTo>
                        <a:cubicBezTo>
                          <a:pt x="33" y="63"/>
                          <a:pt x="33" y="64"/>
                          <a:pt x="33" y="63"/>
                        </a:cubicBezTo>
                        <a:cubicBezTo>
                          <a:pt x="33" y="63"/>
                          <a:pt x="33" y="63"/>
                          <a:pt x="33" y="63"/>
                        </a:cubicBezTo>
                        <a:cubicBezTo>
                          <a:pt x="33" y="63"/>
                          <a:pt x="34" y="63"/>
                          <a:pt x="34" y="63"/>
                        </a:cubicBezTo>
                        <a:cubicBezTo>
                          <a:pt x="34" y="63"/>
                          <a:pt x="33" y="63"/>
                          <a:pt x="33" y="63"/>
                        </a:cubicBezTo>
                        <a:cubicBezTo>
                          <a:pt x="34" y="63"/>
                          <a:pt x="34" y="62"/>
                          <a:pt x="34" y="62"/>
                        </a:cubicBezTo>
                        <a:cubicBezTo>
                          <a:pt x="34" y="62"/>
                          <a:pt x="34" y="62"/>
                          <a:pt x="34" y="62"/>
                        </a:cubicBezTo>
                        <a:cubicBezTo>
                          <a:pt x="34" y="62"/>
                          <a:pt x="34" y="62"/>
                          <a:pt x="34" y="63"/>
                        </a:cubicBezTo>
                        <a:cubicBezTo>
                          <a:pt x="34" y="62"/>
                          <a:pt x="34" y="62"/>
                          <a:pt x="34" y="62"/>
                        </a:cubicBezTo>
                        <a:cubicBezTo>
                          <a:pt x="34" y="62"/>
                          <a:pt x="34" y="62"/>
                          <a:pt x="34" y="62"/>
                        </a:cubicBezTo>
                        <a:cubicBezTo>
                          <a:pt x="34" y="62"/>
                          <a:pt x="34" y="62"/>
                          <a:pt x="34" y="63"/>
                        </a:cubicBezTo>
                        <a:cubicBezTo>
                          <a:pt x="34" y="63"/>
                          <a:pt x="34" y="63"/>
                          <a:pt x="34" y="63"/>
                        </a:cubicBezTo>
                        <a:cubicBezTo>
                          <a:pt x="35" y="62"/>
                          <a:pt x="34" y="62"/>
                          <a:pt x="34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4" y="62"/>
                          <a:pt x="34" y="62"/>
                          <a:pt x="34" y="62"/>
                        </a:cubicBezTo>
                        <a:cubicBezTo>
                          <a:pt x="34" y="62"/>
                          <a:pt x="35" y="62"/>
                          <a:pt x="35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4" y="61"/>
                          <a:pt x="34" y="62"/>
                          <a:pt x="34" y="62"/>
                        </a:cubicBezTo>
                        <a:cubicBezTo>
                          <a:pt x="34" y="62"/>
                          <a:pt x="34" y="62"/>
                          <a:pt x="34" y="62"/>
                        </a:cubicBezTo>
                        <a:cubicBezTo>
                          <a:pt x="34" y="62"/>
                          <a:pt x="34" y="62"/>
                          <a:pt x="34" y="62"/>
                        </a:cubicBezTo>
                        <a:cubicBezTo>
                          <a:pt x="34" y="62"/>
                          <a:pt x="34" y="61"/>
                          <a:pt x="34" y="61"/>
                        </a:cubicBezTo>
                        <a:cubicBezTo>
                          <a:pt x="34" y="61"/>
                          <a:pt x="34" y="61"/>
                          <a:pt x="34" y="61"/>
                        </a:cubicBezTo>
                        <a:cubicBezTo>
                          <a:pt x="34" y="61"/>
                          <a:pt x="34" y="61"/>
                          <a:pt x="34" y="61"/>
                        </a:cubicBezTo>
                        <a:cubicBezTo>
                          <a:pt x="34" y="62"/>
                          <a:pt x="34" y="62"/>
                          <a:pt x="33" y="62"/>
                        </a:cubicBezTo>
                        <a:cubicBezTo>
                          <a:pt x="34" y="62"/>
                          <a:pt x="33" y="63"/>
                          <a:pt x="33" y="63"/>
                        </a:cubicBezTo>
                        <a:close/>
                        <a:moveTo>
                          <a:pt x="32" y="64"/>
                        </a:moveTo>
                        <a:cubicBezTo>
                          <a:pt x="33" y="64"/>
                          <a:pt x="32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3" y="64"/>
                          <a:pt x="33" y="64"/>
                          <a:pt x="33" y="64"/>
                        </a:cubicBezTo>
                        <a:cubicBezTo>
                          <a:pt x="32" y="64"/>
                          <a:pt x="33" y="64"/>
                          <a:pt x="32" y="64"/>
                        </a:cubicBezTo>
                        <a:close/>
                        <a:moveTo>
                          <a:pt x="32" y="65"/>
                        </a:moveTo>
                        <a:cubicBezTo>
                          <a:pt x="32" y="65"/>
                          <a:pt x="32" y="65"/>
                          <a:pt x="32" y="65"/>
                        </a:cubicBezTo>
                        <a:cubicBezTo>
                          <a:pt x="32" y="65"/>
                          <a:pt x="32" y="64"/>
                          <a:pt x="32" y="64"/>
                        </a:cubicBezTo>
                        <a:cubicBezTo>
                          <a:pt x="32" y="65"/>
                          <a:pt x="32" y="65"/>
                          <a:pt x="32" y="65"/>
                        </a:cubicBezTo>
                        <a:close/>
                        <a:moveTo>
                          <a:pt x="31" y="66"/>
                        </a:moveTo>
                        <a:cubicBezTo>
                          <a:pt x="31" y="67"/>
                          <a:pt x="31" y="67"/>
                          <a:pt x="31" y="67"/>
                        </a:cubicBezTo>
                        <a:cubicBezTo>
                          <a:pt x="31" y="67"/>
                          <a:pt x="31" y="67"/>
                          <a:pt x="31" y="66"/>
                        </a:cubicBezTo>
                        <a:close/>
                        <a:moveTo>
                          <a:pt x="31" y="66"/>
                        </a:moveTo>
                        <a:cubicBezTo>
                          <a:pt x="31" y="66"/>
                          <a:pt x="31" y="66"/>
                          <a:pt x="31" y="66"/>
                        </a:cubicBezTo>
                        <a:cubicBezTo>
                          <a:pt x="31" y="66"/>
                          <a:pt x="31" y="66"/>
                          <a:pt x="31" y="66"/>
                        </a:cubicBezTo>
                        <a:cubicBezTo>
                          <a:pt x="31" y="66"/>
                          <a:pt x="31" y="66"/>
                          <a:pt x="31" y="66"/>
                        </a:cubicBezTo>
                        <a:cubicBezTo>
                          <a:pt x="31" y="66"/>
                          <a:pt x="31" y="66"/>
                          <a:pt x="30" y="66"/>
                        </a:cubicBezTo>
                        <a:cubicBezTo>
                          <a:pt x="30" y="66"/>
                          <a:pt x="30" y="67"/>
                          <a:pt x="31" y="67"/>
                        </a:cubicBezTo>
                        <a:cubicBezTo>
                          <a:pt x="31" y="67"/>
                          <a:pt x="31" y="66"/>
                          <a:pt x="31" y="66"/>
                        </a:cubicBezTo>
                        <a:cubicBezTo>
                          <a:pt x="31" y="66"/>
                          <a:pt x="31" y="66"/>
                          <a:pt x="31" y="66"/>
                        </a:cubicBezTo>
                        <a:cubicBezTo>
                          <a:pt x="31" y="66"/>
                          <a:pt x="31" y="66"/>
                          <a:pt x="31" y="66"/>
                        </a:cubicBezTo>
                        <a:close/>
                        <a:moveTo>
                          <a:pt x="32" y="63"/>
                        </a:moveTo>
                        <a:cubicBezTo>
                          <a:pt x="32" y="63"/>
                          <a:pt x="32" y="64"/>
                          <a:pt x="32" y="64"/>
                        </a:cubicBezTo>
                        <a:cubicBezTo>
                          <a:pt x="32" y="64"/>
                          <a:pt x="32" y="64"/>
                          <a:pt x="32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ubicBezTo>
                          <a:pt x="32" y="63"/>
                          <a:pt x="32" y="63"/>
                          <a:pt x="32" y="63"/>
                        </a:cubicBezTo>
                        <a:close/>
                        <a:moveTo>
                          <a:pt x="31" y="65"/>
                        </a:moveTo>
                        <a:cubicBezTo>
                          <a:pt x="31" y="66"/>
                          <a:pt x="31" y="66"/>
                          <a:pt x="31" y="66"/>
                        </a:cubicBezTo>
                        <a:cubicBezTo>
                          <a:pt x="31" y="65"/>
                          <a:pt x="31" y="65"/>
                          <a:pt x="31" y="65"/>
                        </a:cubicBezTo>
                        <a:cubicBezTo>
                          <a:pt x="31" y="65"/>
                          <a:pt x="31" y="65"/>
                          <a:pt x="31" y="65"/>
                        </a:cubicBezTo>
                        <a:cubicBezTo>
                          <a:pt x="31" y="66"/>
                          <a:pt x="31" y="65"/>
                          <a:pt x="31" y="65"/>
                        </a:cubicBezTo>
                        <a:close/>
                        <a:moveTo>
                          <a:pt x="31" y="65"/>
                        </a:moveTo>
                        <a:cubicBezTo>
                          <a:pt x="31" y="65"/>
                          <a:pt x="31" y="65"/>
                          <a:pt x="31" y="64"/>
                        </a:cubicBezTo>
                        <a:cubicBezTo>
                          <a:pt x="31" y="64"/>
                          <a:pt x="31" y="65"/>
                          <a:pt x="31" y="65"/>
                        </a:cubicBezTo>
                        <a:close/>
                        <a:moveTo>
                          <a:pt x="31" y="65"/>
                        </a:moveTo>
                        <a:cubicBezTo>
                          <a:pt x="31" y="65"/>
                          <a:pt x="31" y="65"/>
                          <a:pt x="31" y="65"/>
                        </a:cubicBezTo>
                        <a:cubicBezTo>
                          <a:pt x="31" y="65"/>
                          <a:pt x="31" y="65"/>
                          <a:pt x="31" y="65"/>
                        </a:cubicBezTo>
                        <a:cubicBezTo>
                          <a:pt x="31" y="65"/>
                          <a:pt x="31" y="65"/>
                          <a:pt x="31" y="65"/>
                        </a:cubicBezTo>
                        <a:close/>
                        <a:moveTo>
                          <a:pt x="30" y="68"/>
                        </a:moveTo>
                        <a:cubicBezTo>
                          <a:pt x="30" y="68"/>
                          <a:pt x="30" y="68"/>
                          <a:pt x="29" y="68"/>
                        </a:cubicBezTo>
                        <a:cubicBezTo>
                          <a:pt x="30" y="68"/>
                          <a:pt x="30" y="68"/>
                          <a:pt x="30" y="68"/>
                        </a:cubicBezTo>
                        <a:close/>
                        <a:moveTo>
                          <a:pt x="29" y="69"/>
                        </a:moveTo>
                        <a:cubicBezTo>
                          <a:pt x="29" y="69"/>
                          <a:pt x="29" y="69"/>
                          <a:pt x="29" y="69"/>
                        </a:cubicBezTo>
                        <a:cubicBezTo>
                          <a:pt x="29" y="69"/>
                          <a:pt x="29" y="69"/>
                          <a:pt x="29" y="69"/>
                        </a:cubicBezTo>
                        <a:cubicBezTo>
                          <a:pt x="29" y="69"/>
                          <a:pt x="29" y="69"/>
                          <a:pt x="29" y="69"/>
                        </a:cubicBezTo>
                        <a:cubicBezTo>
                          <a:pt x="29" y="69"/>
                          <a:pt x="29" y="69"/>
                          <a:pt x="29" y="69"/>
                        </a:cubicBezTo>
                        <a:cubicBezTo>
                          <a:pt x="29" y="69"/>
                          <a:pt x="29" y="69"/>
                          <a:pt x="29" y="69"/>
                        </a:cubicBezTo>
                        <a:cubicBezTo>
                          <a:pt x="28" y="69"/>
                          <a:pt x="29" y="69"/>
                          <a:pt x="29" y="69"/>
                        </a:cubicBezTo>
                        <a:close/>
                        <a:moveTo>
                          <a:pt x="28" y="69"/>
                        </a:moveTo>
                        <a:cubicBezTo>
                          <a:pt x="28" y="70"/>
                          <a:pt x="28" y="70"/>
                          <a:pt x="28" y="70"/>
                        </a:cubicBezTo>
                        <a:cubicBezTo>
                          <a:pt x="28" y="70"/>
                          <a:pt x="29" y="69"/>
                          <a:pt x="28" y="69"/>
                        </a:cubicBezTo>
                        <a:cubicBezTo>
                          <a:pt x="28" y="70"/>
                          <a:pt x="28" y="70"/>
                          <a:pt x="28" y="69"/>
                        </a:cubicBezTo>
                        <a:cubicBezTo>
                          <a:pt x="28" y="70"/>
                          <a:pt x="28" y="70"/>
                          <a:pt x="28" y="69"/>
                        </a:cubicBezTo>
                        <a:close/>
                        <a:moveTo>
                          <a:pt x="28" y="70"/>
                        </a:moveTo>
                        <a:cubicBezTo>
                          <a:pt x="28" y="70"/>
                          <a:pt x="28" y="70"/>
                          <a:pt x="28" y="70"/>
                        </a:cubicBezTo>
                        <a:cubicBezTo>
                          <a:pt x="28" y="70"/>
                          <a:pt x="28" y="70"/>
                          <a:pt x="28" y="70"/>
                        </a:cubicBezTo>
                        <a:cubicBezTo>
                          <a:pt x="28" y="70"/>
                          <a:pt x="28" y="70"/>
                          <a:pt x="28" y="70"/>
                        </a:cubicBezTo>
                        <a:close/>
                        <a:moveTo>
                          <a:pt x="28" y="69"/>
                        </a:moveTo>
                        <a:cubicBezTo>
                          <a:pt x="28" y="69"/>
                          <a:pt x="29" y="69"/>
                          <a:pt x="29" y="68"/>
                        </a:cubicBezTo>
                        <a:cubicBezTo>
                          <a:pt x="28" y="69"/>
                          <a:pt x="28" y="69"/>
                          <a:pt x="28" y="69"/>
                        </a:cubicBezTo>
                        <a:close/>
                        <a:moveTo>
                          <a:pt x="27" y="72"/>
                        </a:moveTo>
                        <a:cubicBezTo>
                          <a:pt x="27" y="72"/>
                          <a:pt x="27" y="72"/>
                          <a:pt x="27" y="72"/>
                        </a:cubicBezTo>
                        <a:cubicBezTo>
                          <a:pt x="27" y="72"/>
                          <a:pt x="27" y="72"/>
                          <a:pt x="27" y="72"/>
                        </a:cubicBezTo>
                        <a:cubicBezTo>
                          <a:pt x="27" y="73"/>
                          <a:pt x="27" y="73"/>
                          <a:pt x="27" y="73"/>
                        </a:cubicBezTo>
                        <a:cubicBezTo>
                          <a:pt x="27" y="73"/>
                          <a:pt x="27" y="73"/>
                          <a:pt x="27" y="73"/>
                        </a:cubicBezTo>
                        <a:cubicBezTo>
                          <a:pt x="27" y="73"/>
                          <a:pt x="27" y="72"/>
                          <a:pt x="27" y="72"/>
                        </a:cubicBezTo>
                        <a:cubicBezTo>
                          <a:pt x="27" y="72"/>
                          <a:pt x="27" y="72"/>
                          <a:pt x="27" y="72"/>
                        </a:cubicBezTo>
                        <a:cubicBezTo>
                          <a:pt x="27" y="72"/>
                          <a:pt x="27" y="72"/>
                          <a:pt x="27" y="72"/>
                        </a:cubicBezTo>
                        <a:cubicBezTo>
                          <a:pt x="27" y="72"/>
                          <a:pt x="27" y="72"/>
                          <a:pt x="27" y="72"/>
                        </a:cubicBezTo>
                        <a:cubicBezTo>
                          <a:pt x="27" y="72"/>
                          <a:pt x="27" y="72"/>
                          <a:pt x="28" y="71"/>
                        </a:cubicBezTo>
                        <a:cubicBezTo>
                          <a:pt x="28" y="71"/>
                          <a:pt x="27" y="72"/>
                          <a:pt x="27" y="71"/>
                        </a:cubicBezTo>
                        <a:cubicBezTo>
                          <a:pt x="27" y="72"/>
                          <a:pt x="27" y="71"/>
                          <a:pt x="27" y="72"/>
                        </a:cubicBezTo>
                        <a:cubicBezTo>
                          <a:pt x="27" y="72"/>
                          <a:pt x="27" y="72"/>
                          <a:pt x="27" y="72"/>
                        </a:cubicBezTo>
                        <a:cubicBezTo>
                          <a:pt x="27" y="72"/>
                          <a:pt x="27" y="72"/>
                          <a:pt x="27" y="72"/>
                        </a:cubicBezTo>
                        <a:cubicBezTo>
                          <a:pt x="27" y="72"/>
                          <a:pt x="27" y="72"/>
                          <a:pt x="27" y="72"/>
                        </a:cubicBezTo>
                        <a:cubicBezTo>
                          <a:pt x="27" y="72"/>
                          <a:pt x="27" y="72"/>
                          <a:pt x="27" y="72"/>
                        </a:cubicBezTo>
                        <a:close/>
                        <a:moveTo>
                          <a:pt x="25" y="74"/>
                        </a:moveTo>
                        <a:cubicBezTo>
                          <a:pt x="25" y="74"/>
                          <a:pt x="25" y="74"/>
                          <a:pt x="25" y="74"/>
                        </a:cubicBezTo>
                        <a:cubicBezTo>
                          <a:pt x="25" y="74"/>
                          <a:pt x="25" y="75"/>
                          <a:pt x="25" y="75"/>
                        </a:cubicBezTo>
                        <a:cubicBezTo>
                          <a:pt x="25" y="75"/>
                          <a:pt x="25" y="75"/>
                          <a:pt x="25" y="75"/>
                        </a:cubicBezTo>
                        <a:cubicBezTo>
                          <a:pt x="25" y="75"/>
                          <a:pt x="25" y="74"/>
                          <a:pt x="25" y="74"/>
                        </a:cubicBezTo>
                        <a:close/>
                        <a:moveTo>
                          <a:pt x="31" y="63"/>
                        </a:moveTo>
                        <a:cubicBezTo>
                          <a:pt x="31" y="63"/>
                          <a:pt x="31" y="63"/>
                          <a:pt x="31" y="63"/>
                        </a:cubicBezTo>
                        <a:cubicBezTo>
                          <a:pt x="31" y="63"/>
                          <a:pt x="31" y="63"/>
                          <a:pt x="31" y="63"/>
                        </a:cubicBezTo>
                        <a:close/>
                        <a:moveTo>
                          <a:pt x="35" y="50"/>
                        </a:moveTo>
                        <a:cubicBezTo>
                          <a:pt x="35" y="50"/>
                          <a:pt x="35" y="51"/>
                          <a:pt x="35" y="51"/>
                        </a:cubicBezTo>
                        <a:cubicBezTo>
                          <a:pt x="35" y="51"/>
                          <a:pt x="35" y="50"/>
                          <a:pt x="35" y="51"/>
                        </a:cubicBezTo>
                        <a:cubicBezTo>
                          <a:pt x="35" y="50"/>
                          <a:pt x="35" y="50"/>
                          <a:pt x="35" y="50"/>
                        </a:cubicBezTo>
                        <a:cubicBezTo>
                          <a:pt x="35" y="50"/>
                          <a:pt x="35" y="50"/>
                          <a:pt x="35" y="50"/>
                        </a:cubicBezTo>
                        <a:close/>
                        <a:moveTo>
                          <a:pt x="31" y="49"/>
                        </a:moveTo>
                        <a:cubicBezTo>
                          <a:pt x="31" y="49"/>
                          <a:pt x="31" y="49"/>
                          <a:pt x="31" y="49"/>
                        </a:cubicBezTo>
                        <a:cubicBezTo>
                          <a:pt x="31" y="49"/>
                          <a:pt x="31" y="49"/>
                          <a:pt x="31" y="49"/>
                        </a:cubicBezTo>
                        <a:cubicBezTo>
                          <a:pt x="31" y="49"/>
                          <a:pt x="31" y="49"/>
                          <a:pt x="31" y="49"/>
                        </a:cubicBezTo>
                        <a:cubicBezTo>
                          <a:pt x="31" y="49"/>
                          <a:pt x="31" y="49"/>
                          <a:pt x="31" y="49"/>
                        </a:cubicBezTo>
                        <a:close/>
                        <a:moveTo>
                          <a:pt x="36" y="52"/>
                        </a:moveTo>
                        <a:cubicBezTo>
                          <a:pt x="36" y="52"/>
                          <a:pt x="36" y="52"/>
                          <a:pt x="36" y="52"/>
                        </a:cubicBezTo>
                        <a:cubicBezTo>
                          <a:pt x="36" y="51"/>
                          <a:pt x="36" y="51"/>
                          <a:pt x="36" y="51"/>
                        </a:cubicBezTo>
                        <a:cubicBezTo>
                          <a:pt x="36" y="51"/>
                          <a:pt x="36" y="51"/>
                          <a:pt x="36" y="51"/>
                        </a:cubicBezTo>
                        <a:cubicBezTo>
                          <a:pt x="37" y="51"/>
                          <a:pt x="36" y="51"/>
                          <a:pt x="36" y="51"/>
                        </a:cubicBezTo>
                        <a:cubicBezTo>
                          <a:pt x="36" y="51"/>
                          <a:pt x="36" y="51"/>
                          <a:pt x="36" y="51"/>
                        </a:cubicBezTo>
                        <a:cubicBezTo>
                          <a:pt x="37" y="51"/>
                          <a:pt x="37" y="51"/>
                          <a:pt x="37" y="51"/>
                        </a:cubicBezTo>
                        <a:cubicBezTo>
                          <a:pt x="37" y="51"/>
                          <a:pt x="37" y="51"/>
                          <a:pt x="36" y="52"/>
                        </a:cubicBezTo>
                        <a:close/>
                        <a:moveTo>
                          <a:pt x="35" y="52"/>
                        </a:moveTo>
                        <a:cubicBezTo>
                          <a:pt x="35" y="51"/>
                          <a:pt x="35" y="51"/>
                          <a:pt x="36" y="51"/>
                        </a:cubicBezTo>
                        <a:cubicBezTo>
                          <a:pt x="36" y="51"/>
                          <a:pt x="36" y="51"/>
                          <a:pt x="36" y="51"/>
                        </a:cubicBezTo>
                        <a:cubicBezTo>
                          <a:pt x="36" y="51"/>
                          <a:pt x="36" y="51"/>
                          <a:pt x="36" y="51"/>
                        </a:cubicBezTo>
                        <a:cubicBezTo>
                          <a:pt x="36" y="51"/>
                          <a:pt x="36" y="52"/>
                          <a:pt x="36" y="51"/>
                        </a:cubicBezTo>
                        <a:cubicBezTo>
                          <a:pt x="36" y="51"/>
                          <a:pt x="36" y="51"/>
                          <a:pt x="36" y="51"/>
                        </a:cubicBezTo>
                        <a:cubicBezTo>
                          <a:pt x="36" y="51"/>
                          <a:pt x="36" y="51"/>
                          <a:pt x="36" y="51"/>
                        </a:cubicBezTo>
                        <a:cubicBezTo>
                          <a:pt x="36" y="51"/>
                          <a:pt x="36" y="51"/>
                          <a:pt x="36" y="51"/>
                        </a:cubicBezTo>
                        <a:cubicBezTo>
                          <a:pt x="36" y="51"/>
                          <a:pt x="36" y="52"/>
                          <a:pt x="36" y="52"/>
                        </a:cubicBezTo>
                        <a:cubicBezTo>
                          <a:pt x="36" y="52"/>
                          <a:pt x="36" y="51"/>
                          <a:pt x="35" y="51"/>
                        </a:cubicBezTo>
                        <a:cubicBezTo>
                          <a:pt x="35" y="52"/>
                          <a:pt x="35" y="52"/>
                          <a:pt x="36" y="52"/>
                        </a:cubicBezTo>
                        <a:cubicBezTo>
                          <a:pt x="35" y="52"/>
                          <a:pt x="35" y="52"/>
                          <a:pt x="35" y="52"/>
                        </a:cubicBezTo>
                        <a:cubicBezTo>
                          <a:pt x="35" y="52"/>
                          <a:pt x="35" y="52"/>
                          <a:pt x="35" y="52"/>
                        </a:cubicBezTo>
                        <a:cubicBezTo>
                          <a:pt x="35" y="52"/>
                          <a:pt x="35" y="52"/>
                          <a:pt x="35" y="52"/>
                        </a:cubicBezTo>
                        <a:close/>
                        <a:moveTo>
                          <a:pt x="38" y="52"/>
                        </a:moveTo>
                        <a:cubicBezTo>
                          <a:pt x="38" y="52"/>
                          <a:pt x="37" y="52"/>
                          <a:pt x="37" y="52"/>
                        </a:cubicBezTo>
                        <a:cubicBezTo>
                          <a:pt x="37" y="52"/>
                          <a:pt x="37" y="52"/>
                          <a:pt x="37" y="52"/>
                        </a:cubicBezTo>
                        <a:cubicBezTo>
                          <a:pt x="37" y="52"/>
                          <a:pt x="37" y="52"/>
                          <a:pt x="38" y="52"/>
                        </a:cubicBezTo>
                        <a:close/>
                        <a:moveTo>
                          <a:pt x="31" y="49"/>
                        </a:moveTo>
                        <a:cubicBezTo>
                          <a:pt x="31" y="49"/>
                          <a:pt x="31" y="49"/>
                          <a:pt x="31" y="49"/>
                        </a:cubicBezTo>
                        <a:cubicBezTo>
                          <a:pt x="31" y="49"/>
                          <a:pt x="31" y="49"/>
                          <a:pt x="31" y="49"/>
                        </a:cubicBezTo>
                        <a:cubicBezTo>
                          <a:pt x="31" y="49"/>
                          <a:pt x="31" y="49"/>
                          <a:pt x="31" y="49"/>
                        </a:cubicBezTo>
                        <a:cubicBezTo>
                          <a:pt x="31" y="49"/>
                          <a:pt x="31" y="49"/>
                          <a:pt x="31" y="49"/>
                        </a:cubicBezTo>
                        <a:close/>
                        <a:moveTo>
                          <a:pt x="36" y="55"/>
                        </a:moveTo>
                        <a:cubicBezTo>
                          <a:pt x="36" y="55"/>
                          <a:pt x="36" y="55"/>
                          <a:pt x="36" y="55"/>
                        </a:cubicBezTo>
                        <a:cubicBezTo>
                          <a:pt x="36" y="55"/>
                          <a:pt x="36" y="55"/>
                          <a:pt x="36" y="55"/>
                        </a:cubicBezTo>
                        <a:cubicBezTo>
                          <a:pt x="36" y="55"/>
                          <a:pt x="36" y="55"/>
                          <a:pt x="36" y="55"/>
                        </a:cubicBezTo>
                        <a:cubicBezTo>
                          <a:pt x="35" y="55"/>
                          <a:pt x="35" y="55"/>
                          <a:pt x="35" y="56"/>
                        </a:cubicBezTo>
                        <a:cubicBezTo>
                          <a:pt x="35" y="56"/>
                          <a:pt x="35" y="56"/>
                          <a:pt x="35" y="56"/>
                        </a:cubicBezTo>
                        <a:cubicBezTo>
                          <a:pt x="35" y="56"/>
                          <a:pt x="35" y="56"/>
                          <a:pt x="35" y="55"/>
                        </a:cubicBezTo>
                        <a:cubicBezTo>
                          <a:pt x="35" y="55"/>
                          <a:pt x="35" y="55"/>
                          <a:pt x="35" y="55"/>
                        </a:cubicBezTo>
                        <a:cubicBezTo>
                          <a:pt x="35" y="55"/>
                          <a:pt x="35" y="55"/>
                          <a:pt x="35" y="55"/>
                        </a:cubicBezTo>
                        <a:cubicBezTo>
                          <a:pt x="36" y="55"/>
                          <a:pt x="36" y="55"/>
                          <a:pt x="36" y="54"/>
                        </a:cubicBezTo>
                        <a:cubicBezTo>
                          <a:pt x="36" y="55"/>
                          <a:pt x="36" y="55"/>
                          <a:pt x="36" y="55"/>
                        </a:cubicBezTo>
                        <a:cubicBezTo>
                          <a:pt x="36" y="54"/>
                          <a:pt x="36" y="54"/>
                          <a:pt x="36" y="54"/>
                        </a:cubicBezTo>
                        <a:cubicBezTo>
                          <a:pt x="36" y="54"/>
                          <a:pt x="36" y="54"/>
                          <a:pt x="36" y="54"/>
                        </a:cubicBezTo>
                        <a:cubicBezTo>
                          <a:pt x="36" y="54"/>
                          <a:pt x="36" y="55"/>
                          <a:pt x="36" y="55"/>
                        </a:cubicBezTo>
                        <a:cubicBezTo>
                          <a:pt x="36" y="54"/>
                          <a:pt x="36" y="54"/>
                          <a:pt x="36" y="54"/>
                        </a:cubicBezTo>
                        <a:cubicBezTo>
                          <a:pt x="36" y="54"/>
                          <a:pt x="36" y="54"/>
                          <a:pt x="37" y="54"/>
                        </a:cubicBezTo>
                        <a:cubicBezTo>
                          <a:pt x="37" y="53"/>
                          <a:pt x="37" y="53"/>
                          <a:pt x="37" y="53"/>
                        </a:cubicBezTo>
                        <a:cubicBezTo>
                          <a:pt x="37" y="53"/>
                          <a:pt x="37" y="53"/>
                          <a:pt x="37" y="53"/>
                        </a:cubicBezTo>
                        <a:cubicBezTo>
                          <a:pt x="37" y="52"/>
                          <a:pt x="37" y="52"/>
                          <a:pt x="37" y="52"/>
                        </a:cubicBezTo>
                        <a:cubicBezTo>
                          <a:pt x="37" y="52"/>
                          <a:pt x="37" y="52"/>
                          <a:pt x="37" y="52"/>
                        </a:cubicBezTo>
                        <a:cubicBezTo>
                          <a:pt x="37" y="52"/>
                          <a:pt x="37" y="52"/>
                          <a:pt x="37" y="52"/>
                        </a:cubicBezTo>
                        <a:cubicBezTo>
                          <a:pt x="37" y="53"/>
                          <a:pt x="37" y="53"/>
                          <a:pt x="37" y="53"/>
                        </a:cubicBezTo>
                        <a:cubicBezTo>
                          <a:pt x="37" y="53"/>
                          <a:pt x="37" y="52"/>
                          <a:pt x="37" y="52"/>
                        </a:cubicBezTo>
                        <a:cubicBezTo>
                          <a:pt x="37" y="53"/>
                          <a:pt x="37" y="53"/>
                          <a:pt x="37" y="53"/>
                        </a:cubicBezTo>
                        <a:cubicBezTo>
                          <a:pt x="37" y="53"/>
                          <a:pt x="37" y="53"/>
                          <a:pt x="38" y="52"/>
                        </a:cubicBezTo>
                        <a:cubicBezTo>
                          <a:pt x="38" y="53"/>
                          <a:pt x="37" y="53"/>
                          <a:pt x="37" y="53"/>
                        </a:cubicBezTo>
                        <a:cubicBezTo>
                          <a:pt x="37" y="53"/>
                          <a:pt x="37" y="53"/>
                          <a:pt x="37" y="54"/>
                        </a:cubicBezTo>
                        <a:cubicBezTo>
                          <a:pt x="37" y="54"/>
                          <a:pt x="37" y="54"/>
                          <a:pt x="37" y="54"/>
                        </a:cubicBezTo>
                        <a:cubicBezTo>
                          <a:pt x="37" y="54"/>
                          <a:pt x="37" y="54"/>
                          <a:pt x="37" y="54"/>
                        </a:cubicBezTo>
                        <a:cubicBezTo>
                          <a:pt x="37" y="54"/>
                          <a:pt x="37" y="54"/>
                          <a:pt x="36" y="55"/>
                        </a:cubicBezTo>
                        <a:cubicBezTo>
                          <a:pt x="36" y="55"/>
                          <a:pt x="37" y="55"/>
                          <a:pt x="37" y="55"/>
                        </a:cubicBezTo>
                        <a:cubicBezTo>
                          <a:pt x="37" y="55"/>
                          <a:pt x="37" y="55"/>
                          <a:pt x="37" y="55"/>
                        </a:cubicBezTo>
                        <a:cubicBezTo>
                          <a:pt x="37" y="55"/>
                          <a:pt x="36" y="55"/>
                          <a:pt x="36" y="55"/>
                        </a:cubicBezTo>
                        <a:cubicBezTo>
                          <a:pt x="36" y="55"/>
                          <a:pt x="36" y="55"/>
                          <a:pt x="36" y="55"/>
                        </a:cubicBezTo>
                        <a:cubicBezTo>
                          <a:pt x="36" y="55"/>
                          <a:pt x="36" y="55"/>
                          <a:pt x="36" y="55"/>
                        </a:cubicBezTo>
                        <a:cubicBezTo>
                          <a:pt x="36" y="55"/>
                          <a:pt x="36" y="55"/>
                          <a:pt x="36" y="55"/>
                        </a:cubicBezTo>
                        <a:cubicBezTo>
                          <a:pt x="36" y="55"/>
                          <a:pt x="36" y="56"/>
                          <a:pt x="36" y="56"/>
                        </a:cubicBezTo>
                        <a:cubicBezTo>
                          <a:pt x="36" y="56"/>
                          <a:pt x="36" y="55"/>
                          <a:pt x="36" y="56"/>
                        </a:cubicBezTo>
                        <a:cubicBezTo>
                          <a:pt x="36" y="55"/>
                          <a:pt x="36" y="55"/>
                          <a:pt x="36" y="55"/>
                        </a:cubicBezTo>
                        <a:close/>
                        <a:moveTo>
                          <a:pt x="37" y="54"/>
                        </a:moveTo>
                        <a:cubicBezTo>
                          <a:pt x="37" y="54"/>
                          <a:pt x="36" y="54"/>
                          <a:pt x="36" y="54"/>
                        </a:cubicBezTo>
                        <a:cubicBezTo>
                          <a:pt x="36" y="54"/>
                          <a:pt x="36" y="54"/>
                          <a:pt x="36" y="54"/>
                        </a:cubicBezTo>
                        <a:cubicBezTo>
                          <a:pt x="36" y="54"/>
                          <a:pt x="36" y="54"/>
                          <a:pt x="37" y="54"/>
                        </a:cubicBezTo>
                        <a:cubicBezTo>
                          <a:pt x="36" y="54"/>
                          <a:pt x="37" y="54"/>
                          <a:pt x="37" y="54"/>
                        </a:cubicBezTo>
                        <a:close/>
                        <a:moveTo>
                          <a:pt x="33" y="51"/>
                        </a:moveTo>
                        <a:cubicBezTo>
                          <a:pt x="33" y="51"/>
                          <a:pt x="33" y="51"/>
                          <a:pt x="34" y="51"/>
                        </a:cubicBezTo>
                        <a:cubicBezTo>
                          <a:pt x="34" y="51"/>
                          <a:pt x="34" y="51"/>
                          <a:pt x="33" y="51"/>
                        </a:cubicBezTo>
                        <a:cubicBezTo>
                          <a:pt x="33" y="51"/>
                          <a:pt x="33" y="51"/>
                          <a:pt x="33" y="51"/>
                        </a:cubicBezTo>
                        <a:cubicBezTo>
                          <a:pt x="33" y="51"/>
                          <a:pt x="33" y="51"/>
                          <a:pt x="33" y="52"/>
                        </a:cubicBezTo>
                        <a:cubicBezTo>
                          <a:pt x="33" y="52"/>
                          <a:pt x="33" y="52"/>
                          <a:pt x="33" y="52"/>
                        </a:cubicBezTo>
                        <a:cubicBezTo>
                          <a:pt x="33" y="51"/>
                          <a:pt x="33" y="51"/>
                          <a:pt x="33" y="51"/>
                        </a:cubicBezTo>
                        <a:close/>
                        <a:moveTo>
                          <a:pt x="31" y="50"/>
                        </a:moveTo>
                        <a:cubicBezTo>
                          <a:pt x="31" y="50"/>
                          <a:pt x="31" y="50"/>
                          <a:pt x="31" y="50"/>
                        </a:cubicBezTo>
                        <a:cubicBezTo>
                          <a:pt x="31" y="50"/>
                          <a:pt x="31" y="50"/>
                          <a:pt x="31" y="50"/>
                        </a:cubicBezTo>
                        <a:cubicBezTo>
                          <a:pt x="31" y="50"/>
                          <a:pt x="31" y="50"/>
                          <a:pt x="31" y="50"/>
                        </a:cubicBezTo>
                        <a:cubicBezTo>
                          <a:pt x="31" y="50"/>
                          <a:pt x="31" y="50"/>
                          <a:pt x="31" y="50"/>
                        </a:cubicBezTo>
                        <a:cubicBezTo>
                          <a:pt x="31" y="51"/>
                          <a:pt x="31" y="51"/>
                          <a:pt x="31" y="51"/>
                        </a:cubicBezTo>
                        <a:cubicBezTo>
                          <a:pt x="31" y="51"/>
                          <a:pt x="31" y="51"/>
                          <a:pt x="31" y="51"/>
                        </a:cubicBezTo>
                        <a:cubicBezTo>
                          <a:pt x="31" y="51"/>
                          <a:pt x="31" y="51"/>
                          <a:pt x="31" y="51"/>
                        </a:cubicBezTo>
                        <a:cubicBezTo>
                          <a:pt x="31" y="51"/>
                          <a:pt x="31" y="50"/>
                          <a:pt x="31" y="50"/>
                        </a:cubicBezTo>
                        <a:close/>
                        <a:moveTo>
                          <a:pt x="32" y="50"/>
                        </a:moveTo>
                        <a:cubicBezTo>
                          <a:pt x="32" y="50"/>
                          <a:pt x="32" y="50"/>
                          <a:pt x="32" y="51"/>
                        </a:cubicBezTo>
                        <a:cubicBezTo>
                          <a:pt x="32" y="51"/>
                          <a:pt x="32" y="51"/>
                          <a:pt x="32" y="51"/>
                        </a:cubicBezTo>
                        <a:cubicBezTo>
                          <a:pt x="32" y="51"/>
                          <a:pt x="32" y="51"/>
                          <a:pt x="32" y="51"/>
                        </a:cubicBezTo>
                        <a:cubicBezTo>
                          <a:pt x="32" y="51"/>
                          <a:pt x="32" y="51"/>
                          <a:pt x="32" y="51"/>
                        </a:cubicBezTo>
                        <a:cubicBezTo>
                          <a:pt x="32" y="51"/>
                          <a:pt x="32" y="51"/>
                          <a:pt x="32" y="51"/>
                        </a:cubicBezTo>
                        <a:cubicBezTo>
                          <a:pt x="32" y="51"/>
                          <a:pt x="33" y="51"/>
                          <a:pt x="33" y="52"/>
                        </a:cubicBezTo>
                        <a:cubicBezTo>
                          <a:pt x="32" y="52"/>
                          <a:pt x="33" y="51"/>
                          <a:pt x="32" y="51"/>
                        </a:cubicBezTo>
                        <a:cubicBezTo>
                          <a:pt x="32" y="52"/>
                          <a:pt x="32" y="52"/>
                          <a:pt x="32" y="52"/>
                        </a:cubicBezTo>
                        <a:cubicBezTo>
                          <a:pt x="32" y="52"/>
                          <a:pt x="32" y="52"/>
                          <a:pt x="32" y="51"/>
                        </a:cubicBezTo>
                        <a:cubicBezTo>
                          <a:pt x="32" y="52"/>
                          <a:pt x="32" y="52"/>
                          <a:pt x="32" y="52"/>
                        </a:cubicBezTo>
                        <a:cubicBezTo>
                          <a:pt x="32" y="52"/>
                          <a:pt x="32" y="52"/>
                          <a:pt x="32" y="52"/>
                        </a:cubicBezTo>
                        <a:cubicBezTo>
                          <a:pt x="32" y="52"/>
                          <a:pt x="32" y="52"/>
                          <a:pt x="32" y="52"/>
                        </a:cubicBezTo>
                        <a:cubicBezTo>
                          <a:pt x="31" y="52"/>
                          <a:pt x="32" y="52"/>
                          <a:pt x="32" y="52"/>
                        </a:cubicBezTo>
                        <a:cubicBezTo>
                          <a:pt x="32" y="52"/>
                          <a:pt x="32" y="52"/>
                          <a:pt x="32" y="51"/>
                        </a:cubicBezTo>
                        <a:cubicBezTo>
                          <a:pt x="32" y="51"/>
                          <a:pt x="32" y="51"/>
                          <a:pt x="32" y="51"/>
                        </a:cubicBezTo>
                        <a:cubicBezTo>
                          <a:pt x="32" y="51"/>
                          <a:pt x="32" y="51"/>
                          <a:pt x="32" y="51"/>
                        </a:cubicBezTo>
                        <a:cubicBezTo>
                          <a:pt x="32" y="51"/>
                          <a:pt x="32" y="51"/>
                          <a:pt x="32" y="52"/>
                        </a:cubicBezTo>
                        <a:cubicBezTo>
                          <a:pt x="32" y="52"/>
                          <a:pt x="32" y="52"/>
                          <a:pt x="32" y="52"/>
                        </a:cubicBezTo>
                        <a:cubicBezTo>
                          <a:pt x="31" y="52"/>
                          <a:pt x="31" y="52"/>
                          <a:pt x="31" y="53"/>
                        </a:cubicBezTo>
                        <a:cubicBezTo>
                          <a:pt x="31" y="53"/>
                          <a:pt x="31" y="53"/>
                          <a:pt x="31" y="53"/>
                        </a:cubicBezTo>
                        <a:cubicBezTo>
                          <a:pt x="31" y="53"/>
                          <a:pt x="31" y="52"/>
                          <a:pt x="32" y="51"/>
                        </a:cubicBezTo>
                        <a:cubicBezTo>
                          <a:pt x="31" y="51"/>
                          <a:pt x="32" y="51"/>
                          <a:pt x="32" y="50"/>
                        </a:cubicBezTo>
                        <a:cubicBezTo>
                          <a:pt x="32" y="50"/>
                          <a:pt x="32" y="51"/>
                          <a:pt x="32" y="51"/>
                        </a:cubicBezTo>
                        <a:cubicBezTo>
                          <a:pt x="32" y="50"/>
                          <a:pt x="32" y="50"/>
                          <a:pt x="31" y="50"/>
                        </a:cubicBezTo>
                        <a:cubicBezTo>
                          <a:pt x="31" y="50"/>
                          <a:pt x="32" y="50"/>
                          <a:pt x="32" y="50"/>
                        </a:cubicBezTo>
                        <a:cubicBezTo>
                          <a:pt x="32" y="50"/>
                          <a:pt x="32" y="50"/>
                          <a:pt x="32" y="50"/>
                        </a:cubicBezTo>
                        <a:close/>
                        <a:moveTo>
                          <a:pt x="33" y="52"/>
                        </a:moveTo>
                        <a:cubicBezTo>
                          <a:pt x="33" y="52"/>
                          <a:pt x="33" y="52"/>
                          <a:pt x="33" y="52"/>
                        </a:cubicBezTo>
                        <a:cubicBezTo>
                          <a:pt x="33" y="52"/>
                          <a:pt x="33" y="52"/>
                          <a:pt x="33" y="52"/>
                        </a:cubicBezTo>
                        <a:cubicBezTo>
                          <a:pt x="33" y="52"/>
                          <a:pt x="33" y="52"/>
                          <a:pt x="33" y="52"/>
                        </a:cubicBezTo>
                        <a:cubicBezTo>
                          <a:pt x="33" y="52"/>
                          <a:pt x="33" y="52"/>
                          <a:pt x="33" y="52"/>
                        </a:cubicBezTo>
                        <a:cubicBezTo>
                          <a:pt x="33" y="52"/>
                          <a:pt x="33" y="52"/>
                          <a:pt x="33" y="52"/>
                        </a:cubicBezTo>
                        <a:cubicBezTo>
                          <a:pt x="33" y="52"/>
                          <a:pt x="33" y="52"/>
                          <a:pt x="33" y="52"/>
                        </a:cubicBezTo>
                        <a:close/>
                        <a:moveTo>
                          <a:pt x="33" y="52"/>
                        </a:moveTo>
                        <a:cubicBezTo>
                          <a:pt x="34" y="53"/>
                          <a:pt x="33" y="53"/>
                          <a:pt x="33" y="53"/>
                        </a:cubicBezTo>
                        <a:cubicBezTo>
                          <a:pt x="33" y="53"/>
                          <a:pt x="33" y="53"/>
                          <a:pt x="34" y="53"/>
                        </a:cubicBezTo>
                        <a:cubicBezTo>
                          <a:pt x="34" y="53"/>
                          <a:pt x="33" y="53"/>
                          <a:pt x="34" y="52"/>
                        </a:cubicBezTo>
                        <a:cubicBezTo>
                          <a:pt x="34" y="53"/>
                          <a:pt x="34" y="53"/>
                          <a:pt x="34" y="53"/>
                        </a:cubicBezTo>
                        <a:cubicBezTo>
                          <a:pt x="34" y="52"/>
                          <a:pt x="34" y="52"/>
                          <a:pt x="34" y="52"/>
                        </a:cubicBezTo>
                        <a:cubicBezTo>
                          <a:pt x="34" y="52"/>
                          <a:pt x="34" y="53"/>
                          <a:pt x="34" y="53"/>
                        </a:cubicBezTo>
                        <a:cubicBezTo>
                          <a:pt x="34" y="53"/>
                          <a:pt x="34" y="53"/>
                          <a:pt x="34" y="53"/>
                        </a:cubicBezTo>
                        <a:cubicBezTo>
                          <a:pt x="34" y="53"/>
                          <a:pt x="34" y="53"/>
                          <a:pt x="34" y="53"/>
                        </a:cubicBezTo>
                        <a:cubicBezTo>
                          <a:pt x="34" y="53"/>
                          <a:pt x="34" y="53"/>
                          <a:pt x="34" y="53"/>
                        </a:cubicBezTo>
                        <a:cubicBezTo>
                          <a:pt x="33" y="53"/>
                          <a:pt x="33" y="53"/>
                          <a:pt x="33" y="53"/>
                        </a:cubicBezTo>
                        <a:cubicBezTo>
                          <a:pt x="33" y="53"/>
                          <a:pt x="33" y="53"/>
                          <a:pt x="33" y="52"/>
                        </a:cubicBezTo>
                        <a:close/>
                        <a:moveTo>
                          <a:pt x="32" y="53"/>
                        </a:moveTo>
                        <a:cubicBezTo>
                          <a:pt x="33" y="53"/>
                          <a:pt x="33" y="53"/>
                          <a:pt x="33" y="53"/>
                        </a:cubicBezTo>
                        <a:cubicBezTo>
                          <a:pt x="33" y="53"/>
                          <a:pt x="33" y="53"/>
                          <a:pt x="33" y="53"/>
                        </a:cubicBezTo>
                        <a:cubicBezTo>
                          <a:pt x="33" y="53"/>
                          <a:pt x="32" y="53"/>
                          <a:pt x="33" y="53"/>
                        </a:cubicBezTo>
                        <a:cubicBezTo>
                          <a:pt x="32" y="53"/>
                          <a:pt x="32" y="53"/>
                          <a:pt x="32" y="53"/>
                        </a:cubicBezTo>
                        <a:close/>
                        <a:moveTo>
                          <a:pt x="37" y="56"/>
                        </a:moveTo>
                        <a:cubicBezTo>
                          <a:pt x="37" y="56"/>
                          <a:pt x="37" y="56"/>
                          <a:pt x="37" y="56"/>
                        </a:cubicBezTo>
                        <a:cubicBezTo>
                          <a:pt x="37" y="56"/>
                          <a:pt x="37" y="56"/>
                          <a:pt x="37" y="56"/>
                        </a:cubicBezTo>
                        <a:cubicBezTo>
                          <a:pt x="37" y="56"/>
                          <a:pt x="37" y="56"/>
                          <a:pt x="37" y="56"/>
                        </a:cubicBezTo>
                        <a:cubicBezTo>
                          <a:pt x="37" y="56"/>
                          <a:pt x="37" y="55"/>
                          <a:pt x="38" y="55"/>
                        </a:cubicBezTo>
                        <a:cubicBezTo>
                          <a:pt x="38" y="55"/>
                          <a:pt x="38" y="55"/>
                          <a:pt x="38" y="55"/>
                        </a:cubicBezTo>
                        <a:cubicBezTo>
                          <a:pt x="37" y="55"/>
                          <a:pt x="38" y="56"/>
                          <a:pt x="37" y="56"/>
                        </a:cubicBezTo>
                        <a:cubicBezTo>
                          <a:pt x="37" y="56"/>
                          <a:pt x="38" y="56"/>
                          <a:pt x="38" y="56"/>
                        </a:cubicBezTo>
                        <a:cubicBezTo>
                          <a:pt x="38" y="56"/>
                          <a:pt x="37" y="56"/>
                          <a:pt x="37" y="56"/>
                        </a:cubicBezTo>
                        <a:close/>
                        <a:moveTo>
                          <a:pt x="33" y="54"/>
                        </a:moveTo>
                        <a:cubicBezTo>
                          <a:pt x="33" y="54"/>
                          <a:pt x="33" y="54"/>
                          <a:pt x="33" y="54"/>
                        </a:cubicBezTo>
                        <a:cubicBezTo>
                          <a:pt x="33" y="55"/>
                          <a:pt x="33" y="55"/>
                          <a:pt x="33" y="55"/>
                        </a:cubicBezTo>
                        <a:cubicBezTo>
                          <a:pt x="33" y="55"/>
                          <a:pt x="34" y="55"/>
                          <a:pt x="34" y="55"/>
                        </a:cubicBezTo>
                        <a:cubicBezTo>
                          <a:pt x="34" y="55"/>
                          <a:pt x="33" y="55"/>
                          <a:pt x="33" y="55"/>
                        </a:cubicBezTo>
                        <a:cubicBezTo>
                          <a:pt x="33" y="55"/>
                          <a:pt x="33" y="55"/>
                          <a:pt x="33" y="55"/>
                        </a:cubicBezTo>
                        <a:cubicBezTo>
                          <a:pt x="33" y="55"/>
                          <a:pt x="33" y="55"/>
                          <a:pt x="33" y="54"/>
                        </a:cubicBezTo>
                        <a:cubicBezTo>
                          <a:pt x="33" y="54"/>
                          <a:pt x="33" y="55"/>
                          <a:pt x="33" y="55"/>
                        </a:cubicBezTo>
                        <a:cubicBezTo>
                          <a:pt x="33" y="55"/>
                          <a:pt x="33" y="55"/>
                          <a:pt x="33" y="55"/>
                        </a:cubicBezTo>
                        <a:cubicBezTo>
                          <a:pt x="33" y="55"/>
                          <a:pt x="33" y="55"/>
                          <a:pt x="33" y="55"/>
                        </a:cubicBezTo>
                        <a:cubicBezTo>
                          <a:pt x="33" y="55"/>
                          <a:pt x="33" y="55"/>
                          <a:pt x="33" y="55"/>
                        </a:cubicBezTo>
                        <a:cubicBezTo>
                          <a:pt x="33" y="55"/>
                          <a:pt x="33" y="54"/>
                          <a:pt x="33" y="54"/>
                        </a:cubicBezTo>
                        <a:cubicBezTo>
                          <a:pt x="33" y="54"/>
                          <a:pt x="33" y="54"/>
                          <a:pt x="33" y="54"/>
                        </a:cubicBezTo>
                        <a:cubicBezTo>
                          <a:pt x="33" y="54"/>
                          <a:pt x="33" y="54"/>
                          <a:pt x="33" y="54"/>
                        </a:cubicBezTo>
                        <a:cubicBezTo>
                          <a:pt x="33" y="54"/>
                          <a:pt x="33" y="54"/>
                          <a:pt x="33" y="53"/>
                        </a:cubicBezTo>
                        <a:cubicBezTo>
                          <a:pt x="33" y="53"/>
                          <a:pt x="33" y="53"/>
                          <a:pt x="33" y="54"/>
                        </a:cubicBezTo>
                        <a:cubicBezTo>
                          <a:pt x="33" y="54"/>
                          <a:pt x="33" y="53"/>
                          <a:pt x="33" y="53"/>
                        </a:cubicBezTo>
                        <a:cubicBezTo>
                          <a:pt x="33" y="53"/>
                          <a:pt x="33" y="53"/>
                          <a:pt x="33" y="53"/>
                        </a:cubicBezTo>
                        <a:cubicBezTo>
                          <a:pt x="33" y="53"/>
                          <a:pt x="33" y="53"/>
                          <a:pt x="33" y="53"/>
                        </a:cubicBezTo>
                        <a:cubicBezTo>
                          <a:pt x="34" y="53"/>
                          <a:pt x="34" y="53"/>
                          <a:pt x="34" y="53"/>
                        </a:cubicBezTo>
                        <a:cubicBezTo>
                          <a:pt x="33" y="54"/>
                          <a:pt x="33" y="54"/>
                          <a:pt x="33" y="54"/>
                        </a:cubicBezTo>
                        <a:close/>
                        <a:moveTo>
                          <a:pt x="32" y="54"/>
                        </a:moveTo>
                        <a:cubicBezTo>
                          <a:pt x="32" y="54"/>
                          <a:pt x="32" y="54"/>
                          <a:pt x="32" y="54"/>
                        </a:cubicBezTo>
                        <a:cubicBezTo>
                          <a:pt x="32" y="54"/>
                          <a:pt x="32" y="54"/>
                          <a:pt x="32" y="53"/>
                        </a:cubicBezTo>
                        <a:cubicBezTo>
                          <a:pt x="32" y="53"/>
                          <a:pt x="32" y="53"/>
                          <a:pt x="33" y="54"/>
                        </a:cubicBezTo>
                        <a:cubicBezTo>
                          <a:pt x="32" y="54"/>
                          <a:pt x="32" y="54"/>
                          <a:pt x="32" y="54"/>
                        </a:cubicBezTo>
                        <a:cubicBezTo>
                          <a:pt x="32" y="54"/>
                          <a:pt x="32" y="54"/>
                          <a:pt x="32" y="54"/>
                        </a:cubicBezTo>
                        <a:close/>
                        <a:moveTo>
                          <a:pt x="29" y="55"/>
                        </a:moveTo>
                        <a:cubicBezTo>
                          <a:pt x="29" y="55"/>
                          <a:pt x="29" y="55"/>
                          <a:pt x="29" y="55"/>
                        </a:cubicBezTo>
                        <a:cubicBezTo>
                          <a:pt x="29" y="55"/>
                          <a:pt x="29" y="55"/>
                          <a:pt x="29" y="55"/>
                        </a:cubicBezTo>
                        <a:close/>
                        <a:moveTo>
                          <a:pt x="29" y="55"/>
                        </a:moveTo>
                        <a:cubicBezTo>
                          <a:pt x="29" y="55"/>
                          <a:pt x="29" y="55"/>
                          <a:pt x="29" y="55"/>
                        </a:cubicBezTo>
                        <a:cubicBezTo>
                          <a:pt x="29" y="55"/>
                          <a:pt x="29" y="55"/>
                          <a:pt x="29" y="55"/>
                        </a:cubicBezTo>
                        <a:close/>
                        <a:moveTo>
                          <a:pt x="29" y="55"/>
                        </a:moveTo>
                        <a:cubicBezTo>
                          <a:pt x="29" y="55"/>
                          <a:pt x="29" y="54"/>
                          <a:pt x="29" y="54"/>
                        </a:cubicBezTo>
                        <a:cubicBezTo>
                          <a:pt x="29" y="54"/>
                          <a:pt x="29" y="54"/>
                          <a:pt x="29" y="54"/>
                        </a:cubicBezTo>
                        <a:cubicBezTo>
                          <a:pt x="29" y="54"/>
                          <a:pt x="29" y="54"/>
                          <a:pt x="29" y="53"/>
                        </a:cubicBezTo>
                        <a:cubicBezTo>
                          <a:pt x="29" y="53"/>
                          <a:pt x="29" y="53"/>
                          <a:pt x="29" y="53"/>
                        </a:cubicBezTo>
                        <a:cubicBezTo>
                          <a:pt x="29" y="53"/>
                          <a:pt x="29" y="53"/>
                          <a:pt x="29" y="54"/>
                        </a:cubicBezTo>
                        <a:cubicBezTo>
                          <a:pt x="30" y="54"/>
                          <a:pt x="29" y="53"/>
                          <a:pt x="30" y="53"/>
                        </a:cubicBezTo>
                        <a:cubicBezTo>
                          <a:pt x="30" y="53"/>
                          <a:pt x="30" y="53"/>
                          <a:pt x="30" y="53"/>
                        </a:cubicBezTo>
                        <a:cubicBezTo>
                          <a:pt x="30" y="53"/>
                          <a:pt x="30" y="54"/>
                          <a:pt x="30" y="54"/>
                        </a:cubicBezTo>
                        <a:cubicBezTo>
                          <a:pt x="30" y="54"/>
                          <a:pt x="30" y="54"/>
                          <a:pt x="30" y="54"/>
                        </a:cubicBezTo>
                        <a:cubicBezTo>
                          <a:pt x="30" y="54"/>
                          <a:pt x="29" y="54"/>
                          <a:pt x="30" y="54"/>
                        </a:cubicBezTo>
                        <a:cubicBezTo>
                          <a:pt x="29" y="54"/>
                          <a:pt x="29" y="55"/>
                          <a:pt x="29" y="55"/>
                        </a:cubicBezTo>
                        <a:cubicBezTo>
                          <a:pt x="29" y="55"/>
                          <a:pt x="29" y="55"/>
                          <a:pt x="29" y="55"/>
                        </a:cubicBezTo>
                        <a:close/>
                        <a:moveTo>
                          <a:pt x="29" y="54"/>
                        </a:moveTo>
                        <a:cubicBezTo>
                          <a:pt x="29" y="54"/>
                          <a:pt x="29" y="54"/>
                          <a:pt x="29" y="54"/>
                        </a:cubicBezTo>
                        <a:cubicBezTo>
                          <a:pt x="29" y="54"/>
                          <a:pt x="29" y="54"/>
                          <a:pt x="29" y="54"/>
                        </a:cubicBezTo>
                        <a:close/>
                        <a:moveTo>
                          <a:pt x="33" y="55"/>
                        </a:move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3" y="55"/>
                        </a:cubicBezTo>
                        <a:close/>
                        <a:moveTo>
                          <a:pt x="31" y="55"/>
                        </a:moveTo>
                        <a:cubicBezTo>
                          <a:pt x="31" y="55"/>
                          <a:pt x="31" y="55"/>
                          <a:pt x="31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5"/>
                        </a:cubicBezTo>
                        <a:cubicBezTo>
                          <a:pt x="32" y="55"/>
                          <a:pt x="32" y="55"/>
                          <a:pt x="32" y="56"/>
                        </a:cubicBezTo>
                        <a:cubicBezTo>
                          <a:pt x="32" y="56"/>
                          <a:pt x="32" y="55"/>
                          <a:pt x="32" y="55"/>
                        </a:cubicBezTo>
                        <a:cubicBezTo>
                          <a:pt x="32" y="56"/>
                          <a:pt x="32" y="56"/>
                          <a:pt x="32" y="56"/>
                        </a:cubicBezTo>
                        <a:cubicBezTo>
                          <a:pt x="32" y="56"/>
                          <a:pt x="32" y="56"/>
                          <a:pt x="32" y="56"/>
                        </a:cubicBezTo>
                        <a:cubicBezTo>
                          <a:pt x="32" y="56"/>
                          <a:pt x="32" y="56"/>
                          <a:pt x="32" y="56"/>
                        </a:cubicBezTo>
                        <a:cubicBezTo>
                          <a:pt x="32" y="56"/>
                          <a:pt x="32" y="56"/>
                          <a:pt x="32" y="56"/>
                        </a:cubicBezTo>
                        <a:cubicBezTo>
                          <a:pt x="32" y="56"/>
                          <a:pt x="32" y="56"/>
                          <a:pt x="32" y="56"/>
                        </a:cubicBezTo>
                        <a:cubicBezTo>
                          <a:pt x="32" y="56"/>
                          <a:pt x="32" y="57"/>
                          <a:pt x="32" y="56"/>
                        </a:cubicBezTo>
                        <a:cubicBezTo>
                          <a:pt x="31" y="57"/>
                          <a:pt x="31" y="57"/>
                          <a:pt x="31" y="57"/>
                        </a:cubicBezTo>
                        <a:cubicBezTo>
                          <a:pt x="31" y="57"/>
                          <a:pt x="31" y="57"/>
                          <a:pt x="31" y="57"/>
                        </a:cubicBezTo>
                        <a:cubicBezTo>
                          <a:pt x="31" y="57"/>
                          <a:pt x="31" y="57"/>
                          <a:pt x="31" y="57"/>
                        </a:cubicBezTo>
                        <a:cubicBezTo>
                          <a:pt x="31" y="58"/>
                          <a:pt x="31" y="58"/>
                          <a:pt x="31" y="58"/>
                        </a:cubicBezTo>
                        <a:cubicBezTo>
                          <a:pt x="31" y="58"/>
                          <a:pt x="31" y="57"/>
                          <a:pt x="31" y="57"/>
                        </a:cubicBezTo>
                        <a:cubicBezTo>
                          <a:pt x="31" y="57"/>
                          <a:pt x="31" y="57"/>
                          <a:pt x="31" y="57"/>
                        </a:cubicBezTo>
                        <a:cubicBezTo>
                          <a:pt x="31" y="57"/>
                          <a:pt x="31" y="57"/>
                          <a:pt x="31" y="57"/>
                        </a:cubicBezTo>
                        <a:cubicBezTo>
                          <a:pt x="31" y="56"/>
                          <a:pt x="31" y="57"/>
                          <a:pt x="31" y="57"/>
                        </a:cubicBezTo>
                        <a:cubicBezTo>
                          <a:pt x="31" y="56"/>
                          <a:pt x="32" y="56"/>
                          <a:pt x="32" y="55"/>
                        </a:cubicBezTo>
                        <a:cubicBezTo>
                          <a:pt x="32" y="55"/>
                          <a:pt x="31" y="55"/>
                          <a:pt x="31" y="55"/>
                        </a:cubicBezTo>
                        <a:close/>
                        <a:moveTo>
                          <a:pt x="29" y="55"/>
                        </a:moveTo>
                        <a:cubicBezTo>
                          <a:pt x="29" y="55"/>
                          <a:pt x="29" y="55"/>
                          <a:pt x="29" y="55"/>
                        </a:cubicBezTo>
                        <a:cubicBezTo>
                          <a:pt x="29" y="55"/>
                          <a:pt x="30" y="55"/>
                          <a:pt x="30" y="55"/>
                        </a:cubicBezTo>
                        <a:cubicBezTo>
                          <a:pt x="30" y="54"/>
                          <a:pt x="30" y="54"/>
                          <a:pt x="30" y="54"/>
                        </a:cubicBezTo>
                        <a:cubicBezTo>
                          <a:pt x="30" y="54"/>
                          <a:pt x="30" y="54"/>
                          <a:pt x="30" y="54"/>
                        </a:cubicBezTo>
                        <a:cubicBezTo>
                          <a:pt x="30" y="54"/>
                          <a:pt x="30" y="54"/>
                          <a:pt x="30" y="54"/>
                        </a:cubicBezTo>
                        <a:cubicBezTo>
                          <a:pt x="30" y="54"/>
                          <a:pt x="30" y="54"/>
                          <a:pt x="30" y="54"/>
                        </a:cubicBezTo>
                        <a:cubicBezTo>
                          <a:pt x="30" y="53"/>
                          <a:pt x="30" y="53"/>
                          <a:pt x="30" y="53"/>
                        </a:cubicBezTo>
                        <a:cubicBezTo>
                          <a:pt x="30" y="53"/>
                          <a:pt x="30" y="53"/>
                          <a:pt x="30" y="54"/>
                        </a:cubicBezTo>
                        <a:cubicBezTo>
                          <a:pt x="30" y="53"/>
                          <a:pt x="30" y="53"/>
                          <a:pt x="31" y="53"/>
                        </a:cubicBezTo>
                        <a:cubicBezTo>
                          <a:pt x="31" y="53"/>
                          <a:pt x="31" y="54"/>
                          <a:pt x="30" y="54"/>
                        </a:cubicBezTo>
                        <a:cubicBezTo>
                          <a:pt x="30" y="54"/>
                          <a:pt x="31" y="54"/>
                          <a:pt x="30" y="54"/>
                        </a:cubicBezTo>
                        <a:cubicBezTo>
                          <a:pt x="30" y="54"/>
                          <a:pt x="30" y="54"/>
                          <a:pt x="30" y="54"/>
                        </a:cubicBezTo>
                        <a:cubicBezTo>
                          <a:pt x="30" y="54"/>
                          <a:pt x="30" y="54"/>
                          <a:pt x="30" y="55"/>
                        </a:cubicBezTo>
                        <a:cubicBezTo>
                          <a:pt x="30" y="55"/>
                          <a:pt x="30" y="55"/>
                          <a:pt x="30" y="55"/>
                        </a:cubicBezTo>
                        <a:cubicBezTo>
                          <a:pt x="30" y="55"/>
                          <a:pt x="30" y="55"/>
                          <a:pt x="30" y="55"/>
                        </a:cubicBezTo>
                        <a:lnTo>
                          <a:pt x="29" y="55"/>
                        </a:lnTo>
                        <a:close/>
                        <a:moveTo>
                          <a:pt x="30" y="55"/>
                        </a:moveTo>
                        <a:cubicBezTo>
                          <a:pt x="30" y="55"/>
                          <a:pt x="30" y="55"/>
                          <a:pt x="30" y="54"/>
                        </a:cubicBezTo>
                        <a:cubicBezTo>
                          <a:pt x="30" y="55"/>
                          <a:pt x="30" y="55"/>
                          <a:pt x="30" y="55"/>
                        </a:cubicBezTo>
                        <a:close/>
                        <a:moveTo>
                          <a:pt x="34" y="57"/>
                        </a:moveTo>
                        <a:cubicBezTo>
                          <a:pt x="34" y="57"/>
                          <a:pt x="35" y="57"/>
                          <a:pt x="35" y="56"/>
                        </a:cubicBezTo>
                        <a:cubicBezTo>
                          <a:pt x="35" y="57"/>
                          <a:pt x="35" y="56"/>
                          <a:pt x="35" y="56"/>
                        </a:cubicBezTo>
                        <a:cubicBezTo>
                          <a:pt x="35" y="57"/>
                          <a:pt x="34" y="57"/>
                          <a:pt x="35" y="57"/>
                        </a:cubicBezTo>
                        <a:cubicBezTo>
                          <a:pt x="35" y="57"/>
                          <a:pt x="34" y="57"/>
                          <a:pt x="34" y="57"/>
                        </a:cubicBezTo>
                        <a:close/>
                        <a:moveTo>
                          <a:pt x="32" y="57"/>
                        </a:moveTo>
                        <a:cubicBezTo>
                          <a:pt x="32" y="57"/>
                          <a:pt x="32" y="57"/>
                          <a:pt x="32" y="57"/>
                        </a:cubicBezTo>
                        <a:cubicBezTo>
                          <a:pt x="32" y="56"/>
                          <a:pt x="33" y="56"/>
                          <a:pt x="33" y="56"/>
                        </a:cubicBezTo>
                        <a:cubicBezTo>
                          <a:pt x="33" y="56"/>
                          <a:pt x="33" y="56"/>
                          <a:pt x="33" y="56"/>
                        </a:cubicBezTo>
                        <a:cubicBezTo>
                          <a:pt x="33" y="56"/>
                          <a:pt x="33" y="56"/>
                          <a:pt x="33" y="56"/>
                        </a:cubicBezTo>
                        <a:cubicBezTo>
                          <a:pt x="33" y="56"/>
                          <a:pt x="33" y="56"/>
                          <a:pt x="33" y="56"/>
                        </a:cubicBezTo>
                        <a:cubicBezTo>
                          <a:pt x="33" y="56"/>
                          <a:pt x="33" y="56"/>
                          <a:pt x="33" y="57"/>
                        </a:cubicBezTo>
                        <a:cubicBezTo>
                          <a:pt x="33" y="56"/>
                          <a:pt x="33" y="57"/>
                          <a:pt x="32" y="57"/>
                        </a:cubicBezTo>
                        <a:cubicBezTo>
                          <a:pt x="32" y="57"/>
                          <a:pt x="32" y="57"/>
                          <a:pt x="32" y="57"/>
                        </a:cubicBezTo>
                        <a:close/>
                        <a:moveTo>
                          <a:pt x="34" y="57"/>
                        </a:moveTo>
                        <a:cubicBezTo>
                          <a:pt x="34" y="57"/>
                          <a:pt x="34" y="57"/>
                          <a:pt x="34" y="57"/>
                        </a:cubicBezTo>
                        <a:cubicBezTo>
                          <a:pt x="34" y="57"/>
                          <a:pt x="34" y="56"/>
                          <a:pt x="35" y="56"/>
                        </a:cubicBezTo>
                        <a:cubicBezTo>
                          <a:pt x="34" y="57"/>
                          <a:pt x="34" y="57"/>
                          <a:pt x="34" y="57"/>
                        </a:cubicBezTo>
                        <a:cubicBezTo>
                          <a:pt x="34" y="57"/>
                          <a:pt x="34" y="57"/>
                          <a:pt x="34" y="57"/>
                        </a:cubicBezTo>
                        <a:cubicBezTo>
                          <a:pt x="34" y="57"/>
                          <a:pt x="34" y="57"/>
                          <a:pt x="34" y="57"/>
                        </a:cubicBezTo>
                        <a:cubicBezTo>
                          <a:pt x="34" y="57"/>
                          <a:pt x="34" y="57"/>
                          <a:pt x="34" y="57"/>
                        </a:cubicBezTo>
                        <a:close/>
                        <a:moveTo>
                          <a:pt x="36" y="57"/>
                        </a:moveTo>
                        <a:cubicBezTo>
                          <a:pt x="36" y="57"/>
                          <a:pt x="36" y="57"/>
                          <a:pt x="36" y="57"/>
                        </a:cubicBezTo>
                        <a:cubicBezTo>
                          <a:pt x="36" y="57"/>
                          <a:pt x="36" y="57"/>
                          <a:pt x="36" y="57"/>
                        </a:cubicBezTo>
                        <a:cubicBezTo>
                          <a:pt x="36" y="57"/>
                          <a:pt x="36" y="57"/>
                          <a:pt x="36" y="57"/>
                        </a:cubicBezTo>
                        <a:close/>
                        <a:moveTo>
                          <a:pt x="30" y="55"/>
                        </a:moveTo>
                        <a:cubicBezTo>
                          <a:pt x="30" y="55"/>
                          <a:pt x="30" y="55"/>
                          <a:pt x="30" y="55"/>
                        </a:cubicBezTo>
                        <a:cubicBezTo>
                          <a:pt x="31" y="55"/>
                          <a:pt x="31" y="55"/>
                          <a:pt x="31" y="55"/>
                        </a:cubicBezTo>
                        <a:cubicBezTo>
                          <a:pt x="31" y="55"/>
                          <a:pt x="30" y="55"/>
                          <a:pt x="30" y="55"/>
                        </a:cubicBezTo>
                        <a:close/>
                        <a:moveTo>
                          <a:pt x="33" y="59"/>
                        </a:moveTo>
                        <a:cubicBezTo>
                          <a:pt x="33" y="59"/>
                          <a:pt x="33" y="59"/>
                          <a:pt x="33" y="59"/>
                        </a:cubicBezTo>
                        <a:cubicBezTo>
                          <a:pt x="33" y="59"/>
                          <a:pt x="33" y="59"/>
                          <a:pt x="33" y="59"/>
                        </a:cubicBezTo>
                        <a:cubicBezTo>
                          <a:pt x="33" y="58"/>
                          <a:pt x="33" y="58"/>
                          <a:pt x="33" y="58"/>
                        </a:cubicBezTo>
                        <a:cubicBezTo>
                          <a:pt x="33" y="58"/>
                          <a:pt x="34" y="58"/>
                          <a:pt x="34" y="58"/>
                        </a:cubicBezTo>
                        <a:cubicBezTo>
                          <a:pt x="34" y="58"/>
                          <a:pt x="34" y="58"/>
                          <a:pt x="34" y="58"/>
                        </a:cubicBezTo>
                        <a:cubicBezTo>
                          <a:pt x="34" y="58"/>
                          <a:pt x="34" y="58"/>
                          <a:pt x="34" y="57"/>
                        </a:cubicBezTo>
                        <a:cubicBezTo>
                          <a:pt x="34" y="57"/>
                          <a:pt x="34" y="57"/>
                          <a:pt x="34" y="57"/>
                        </a:cubicBezTo>
                        <a:cubicBezTo>
                          <a:pt x="34" y="57"/>
                          <a:pt x="34" y="57"/>
                          <a:pt x="34" y="58"/>
                        </a:cubicBezTo>
                        <a:cubicBezTo>
                          <a:pt x="34" y="57"/>
                          <a:pt x="34" y="57"/>
                          <a:pt x="34" y="57"/>
                        </a:cubicBezTo>
                        <a:cubicBezTo>
                          <a:pt x="34" y="57"/>
                          <a:pt x="33" y="58"/>
                          <a:pt x="34" y="59"/>
                        </a:cubicBezTo>
                        <a:cubicBezTo>
                          <a:pt x="33" y="59"/>
                          <a:pt x="33" y="59"/>
                          <a:pt x="33" y="59"/>
                        </a:cubicBezTo>
                        <a:cubicBezTo>
                          <a:pt x="33" y="59"/>
                          <a:pt x="33" y="59"/>
                          <a:pt x="33" y="59"/>
                        </a:cubicBezTo>
                        <a:close/>
                        <a:moveTo>
                          <a:pt x="30" y="56"/>
                        </a:moveTo>
                        <a:cubicBezTo>
                          <a:pt x="30" y="56"/>
                          <a:pt x="30" y="55"/>
                          <a:pt x="30" y="55"/>
                        </a:cubicBezTo>
                        <a:cubicBezTo>
                          <a:pt x="30" y="55"/>
                          <a:pt x="30" y="56"/>
                          <a:pt x="29" y="56"/>
                        </a:cubicBezTo>
                        <a:cubicBezTo>
                          <a:pt x="30" y="56"/>
                          <a:pt x="30" y="56"/>
                          <a:pt x="30" y="56"/>
                        </a:cubicBezTo>
                        <a:cubicBezTo>
                          <a:pt x="29" y="56"/>
                          <a:pt x="29" y="56"/>
                          <a:pt x="29" y="57"/>
                        </a:cubicBezTo>
                        <a:cubicBezTo>
                          <a:pt x="29" y="57"/>
                          <a:pt x="29" y="57"/>
                          <a:pt x="29" y="57"/>
                        </a:cubicBezTo>
                        <a:cubicBezTo>
                          <a:pt x="29" y="57"/>
                          <a:pt x="29" y="57"/>
                          <a:pt x="29" y="57"/>
                        </a:cubicBezTo>
                        <a:cubicBezTo>
                          <a:pt x="29" y="57"/>
                          <a:pt x="29" y="57"/>
                          <a:pt x="29" y="57"/>
                        </a:cubicBezTo>
                        <a:cubicBezTo>
                          <a:pt x="29" y="57"/>
                          <a:pt x="28" y="58"/>
                          <a:pt x="28" y="58"/>
                        </a:cubicBezTo>
                        <a:cubicBezTo>
                          <a:pt x="28" y="58"/>
                          <a:pt x="29" y="57"/>
                          <a:pt x="29" y="57"/>
                        </a:cubicBezTo>
                        <a:cubicBezTo>
                          <a:pt x="29" y="57"/>
                          <a:pt x="29" y="56"/>
                          <a:pt x="29" y="56"/>
                        </a:cubicBezTo>
                        <a:cubicBezTo>
                          <a:pt x="29" y="56"/>
                          <a:pt x="29" y="56"/>
                          <a:pt x="29" y="56"/>
                        </a:cubicBezTo>
                        <a:cubicBezTo>
                          <a:pt x="29" y="55"/>
                          <a:pt x="30" y="55"/>
                          <a:pt x="30" y="55"/>
                        </a:cubicBezTo>
                        <a:cubicBezTo>
                          <a:pt x="30" y="55"/>
                          <a:pt x="30" y="55"/>
                          <a:pt x="30" y="55"/>
                        </a:cubicBezTo>
                        <a:cubicBezTo>
                          <a:pt x="30" y="55"/>
                          <a:pt x="30" y="55"/>
                          <a:pt x="30" y="55"/>
                        </a:cubicBezTo>
                        <a:cubicBezTo>
                          <a:pt x="30" y="55"/>
                          <a:pt x="30" y="56"/>
                          <a:pt x="30" y="56"/>
                        </a:cubicBezTo>
                        <a:close/>
                        <a:moveTo>
                          <a:pt x="33" y="58"/>
                        </a:moveTo>
                        <a:cubicBezTo>
                          <a:pt x="33" y="58"/>
                          <a:pt x="33" y="58"/>
                          <a:pt x="33" y="58"/>
                        </a:cubicBezTo>
                        <a:cubicBezTo>
                          <a:pt x="33" y="58"/>
                          <a:pt x="33" y="59"/>
                          <a:pt x="32" y="59"/>
                        </a:cubicBezTo>
                        <a:cubicBezTo>
                          <a:pt x="33" y="58"/>
                          <a:pt x="33" y="57"/>
                          <a:pt x="33" y="57"/>
                        </a:cubicBezTo>
                        <a:cubicBezTo>
                          <a:pt x="33" y="58"/>
                          <a:pt x="33" y="58"/>
                          <a:pt x="33" y="58"/>
                        </a:cubicBezTo>
                        <a:close/>
                        <a:moveTo>
                          <a:pt x="29" y="56"/>
                        </a:moveTo>
                        <a:cubicBezTo>
                          <a:pt x="29" y="56"/>
                          <a:pt x="29" y="56"/>
                          <a:pt x="29" y="56"/>
                        </a:cubicBezTo>
                        <a:cubicBezTo>
                          <a:pt x="29" y="56"/>
                          <a:pt x="29" y="56"/>
                          <a:pt x="29" y="56"/>
                        </a:cubicBezTo>
                        <a:close/>
                        <a:moveTo>
                          <a:pt x="34" y="59"/>
                        </a:moveTo>
                        <a:cubicBezTo>
                          <a:pt x="35" y="60"/>
                          <a:pt x="34" y="60"/>
                          <a:pt x="35" y="60"/>
                        </a:cubicBezTo>
                        <a:cubicBezTo>
                          <a:pt x="34" y="60"/>
                          <a:pt x="34" y="60"/>
                          <a:pt x="34" y="59"/>
                        </a:cubicBezTo>
                        <a:close/>
                        <a:moveTo>
                          <a:pt x="31" y="58"/>
                        </a:moveTo>
                        <a:cubicBezTo>
                          <a:pt x="31" y="58"/>
                          <a:pt x="30" y="58"/>
                          <a:pt x="30" y="59"/>
                        </a:cubicBezTo>
                        <a:cubicBezTo>
                          <a:pt x="31" y="59"/>
                          <a:pt x="30" y="59"/>
                          <a:pt x="30" y="59"/>
                        </a:cubicBezTo>
                        <a:cubicBezTo>
                          <a:pt x="30" y="59"/>
                          <a:pt x="30" y="58"/>
                          <a:pt x="30" y="58"/>
                        </a:cubicBezTo>
                        <a:cubicBezTo>
                          <a:pt x="30" y="58"/>
                          <a:pt x="30" y="58"/>
                          <a:pt x="30" y="58"/>
                        </a:cubicBezTo>
                        <a:cubicBezTo>
                          <a:pt x="30" y="58"/>
                          <a:pt x="31" y="58"/>
                          <a:pt x="31" y="58"/>
                        </a:cubicBezTo>
                        <a:cubicBezTo>
                          <a:pt x="31" y="58"/>
                          <a:pt x="31" y="58"/>
                          <a:pt x="31" y="58"/>
                        </a:cubicBezTo>
                        <a:cubicBezTo>
                          <a:pt x="31" y="58"/>
                          <a:pt x="31" y="58"/>
                          <a:pt x="31" y="58"/>
                        </a:cubicBezTo>
                        <a:cubicBezTo>
                          <a:pt x="31" y="58"/>
                          <a:pt x="31" y="58"/>
                          <a:pt x="31" y="58"/>
                        </a:cubicBezTo>
                        <a:cubicBezTo>
                          <a:pt x="31" y="58"/>
                          <a:pt x="31" y="58"/>
                          <a:pt x="31" y="58"/>
                        </a:cubicBezTo>
                        <a:close/>
                        <a:moveTo>
                          <a:pt x="36" y="61"/>
                        </a:moveTo>
                        <a:cubicBezTo>
                          <a:pt x="36" y="61"/>
                          <a:pt x="36" y="61"/>
                          <a:pt x="36" y="61"/>
                        </a:cubicBezTo>
                        <a:cubicBezTo>
                          <a:pt x="36" y="61"/>
                          <a:pt x="36" y="61"/>
                          <a:pt x="36" y="61"/>
                        </a:cubicBezTo>
                        <a:cubicBezTo>
                          <a:pt x="36" y="61"/>
                          <a:pt x="36" y="61"/>
                          <a:pt x="36" y="61"/>
                        </a:cubicBezTo>
                        <a:close/>
                        <a:moveTo>
                          <a:pt x="27" y="57"/>
                        </a:moveTo>
                        <a:cubicBezTo>
                          <a:pt x="27" y="57"/>
                          <a:pt x="27" y="57"/>
                          <a:pt x="27" y="57"/>
                        </a:cubicBezTo>
                        <a:cubicBezTo>
                          <a:pt x="27" y="57"/>
                          <a:pt x="27" y="57"/>
                          <a:pt x="27" y="58"/>
                        </a:cubicBezTo>
                        <a:cubicBezTo>
                          <a:pt x="27" y="58"/>
                          <a:pt x="27" y="57"/>
                          <a:pt x="27" y="57"/>
                        </a:cubicBezTo>
                        <a:close/>
                        <a:moveTo>
                          <a:pt x="30" y="59"/>
                        </a:moveTo>
                        <a:cubicBezTo>
                          <a:pt x="30" y="59"/>
                          <a:pt x="30" y="59"/>
                          <a:pt x="30" y="59"/>
                        </a:cubicBezTo>
                        <a:cubicBezTo>
                          <a:pt x="30" y="59"/>
                          <a:pt x="30" y="58"/>
                          <a:pt x="30" y="59"/>
                        </a:cubicBezTo>
                        <a:close/>
                        <a:moveTo>
                          <a:pt x="36" y="63"/>
                        </a:moveTo>
                        <a:cubicBezTo>
                          <a:pt x="36" y="63"/>
                          <a:pt x="35" y="63"/>
                          <a:pt x="35" y="64"/>
                        </a:cubicBezTo>
                        <a:cubicBezTo>
                          <a:pt x="35" y="63"/>
                          <a:pt x="35" y="63"/>
                          <a:pt x="36" y="63"/>
                        </a:cubicBezTo>
                        <a:cubicBezTo>
                          <a:pt x="36" y="63"/>
                          <a:pt x="36" y="63"/>
                          <a:pt x="36" y="63"/>
                        </a:cubicBezTo>
                        <a:cubicBezTo>
                          <a:pt x="36" y="63"/>
                          <a:pt x="36" y="63"/>
                          <a:pt x="36" y="63"/>
                        </a:cubicBezTo>
                        <a:close/>
                        <a:moveTo>
                          <a:pt x="35" y="63"/>
                        </a:moveTo>
                        <a:cubicBezTo>
                          <a:pt x="35" y="63"/>
                          <a:pt x="35" y="63"/>
                          <a:pt x="35" y="63"/>
                        </a:cubicBezTo>
                        <a:cubicBezTo>
                          <a:pt x="35" y="63"/>
                          <a:pt x="35" y="63"/>
                          <a:pt x="35" y="63"/>
                        </a:cubicBezTo>
                        <a:cubicBezTo>
                          <a:pt x="35" y="63"/>
                          <a:pt x="35" y="64"/>
                          <a:pt x="34" y="64"/>
                        </a:cubicBezTo>
                        <a:cubicBezTo>
                          <a:pt x="35" y="64"/>
                          <a:pt x="35" y="64"/>
                          <a:pt x="35" y="63"/>
                        </a:cubicBezTo>
                        <a:cubicBezTo>
                          <a:pt x="35" y="63"/>
                          <a:pt x="35" y="63"/>
                          <a:pt x="35" y="63"/>
                        </a:cubicBezTo>
                        <a:cubicBezTo>
                          <a:pt x="35" y="63"/>
                          <a:pt x="35" y="63"/>
                          <a:pt x="35" y="63"/>
                        </a:cubicBezTo>
                        <a:cubicBezTo>
                          <a:pt x="35" y="63"/>
                          <a:pt x="35" y="63"/>
                          <a:pt x="35" y="63"/>
                        </a:cubicBezTo>
                        <a:cubicBezTo>
                          <a:pt x="36" y="63"/>
                          <a:pt x="35" y="63"/>
                          <a:pt x="35" y="63"/>
                        </a:cubicBezTo>
                        <a:close/>
                        <a:moveTo>
                          <a:pt x="27" y="60"/>
                        </a:moveTo>
                        <a:cubicBezTo>
                          <a:pt x="27" y="60"/>
                          <a:pt x="27" y="60"/>
                          <a:pt x="27" y="60"/>
                        </a:cubicBezTo>
                        <a:cubicBezTo>
                          <a:pt x="27" y="60"/>
                          <a:pt x="27" y="60"/>
                          <a:pt x="28" y="60"/>
                        </a:cubicBezTo>
                        <a:cubicBezTo>
                          <a:pt x="28" y="60"/>
                          <a:pt x="28" y="60"/>
                          <a:pt x="27" y="60"/>
                        </a:cubicBezTo>
                        <a:cubicBezTo>
                          <a:pt x="27" y="60"/>
                          <a:pt x="28" y="60"/>
                          <a:pt x="28" y="60"/>
                        </a:cubicBezTo>
                        <a:cubicBezTo>
                          <a:pt x="28" y="60"/>
                          <a:pt x="28" y="60"/>
                          <a:pt x="27" y="60"/>
                        </a:cubicBezTo>
                        <a:close/>
                        <a:moveTo>
                          <a:pt x="26" y="59"/>
                        </a:moveTo>
                        <a:cubicBezTo>
                          <a:pt x="26" y="59"/>
                          <a:pt x="26" y="59"/>
                          <a:pt x="26" y="59"/>
                        </a:cubicBezTo>
                        <a:cubicBezTo>
                          <a:pt x="26" y="59"/>
                          <a:pt x="26" y="59"/>
                          <a:pt x="26" y="59"/>
                        </a:cubicBezTo>
                        <a:cubicBezTo>
                          <a:pt x="26" y="59"/>
                          <a:pt x="26" y="59"/>
                          <a:pt x="26" y="59"/>
                        </a:cubicBezTo>
                        <a:cubicBezTo>
                          <a:pt x="26" y="59"/>
                          <a:pt x="26" y="59"/>
                          <a:pt x="26" y="59"/>
                        </a:cubicBezTo>
                        <a:cubicBezTo>
                          <a:pt x="26" y="59"/>
                          <a:pt x="26" y="59"/>
                          <a:pt x="26" y="59"/>
                        </a:cubicBezTo>
                        <a:close/>
                        <a:moveTo>
                          <a:pt x="25" y="61"/>
                        </a:moveTo>
                        <a:cubicBezTo>
                          <a:pt x="25" y="61"/>
                          <a:pt x="25" y="61"/>
                          <a:pt x="25" y="61"/>
                        </a:cubicBezTo>
                        <a:cubicBezTo>
                          <a:pt x="25" y="61"/>
                          <a:pt x="25" y="61"/>
                          <a:pt x="25" y="62"/>
                        </a:cubicBezTo>
                        <a:cubicBezTo>
                          <a:pt x="25" y="61"/>
                          <a:pt x="26" y="60"/>
                          <a:pt x="26" y="60"/>
                        </a:cubicBezTo>
                        <a:cubicBezTo>
                          <a:pt x="26" y="60"/>
                          <a:pt x="26" y="60"/>
                          <a:pt x="26" y="60"/>
                        </a:cubicBezTo>
                        <a:cubicBezTo>
                          <a:pt x="26" y="60"/>
                          <a:pt x="26" y="60"/>
                          <a:pt x="26" y="60"/>
                        </a:cubicBezTo>
                        <a:cubicBezTo>
                          <a:pt x="26" y="60"/>
                          <a:pt x="26" y="60"/>
                          <a:pt x="26" y="60"/>
                        </a:cubicBezTo>
                        <a:cubicBezTo>
                          <a:pt x="26" y="60"/>
                          <a:pt x="26" y="60"/>
                          <a:pt x="26" y="60"/>
                        </a:cubicBezTo>
                        <a:cubicBezTo>
                          <a:pt x="26" y="61"/>
                          <a:pt x="26" y="61"/>
                          <a:pt x="25" y="61"/>
                        </a:cubicBezTo>
                        <a:cubicBezTo>
                          <a:pt x="25" y="61"/>
                          <a:pt x="25" y="61"/>
                          <a:pt x="26" y="61"/>
                        </a:cubicBezTo>
                        <a:cubicBezTo>
                          <a:pt x="26" y="61"/>
                          <a:pt x="25" y="61"/>
                          <a:pt x="25" y="61"/>
                        </a:cubicBezTo>
                        <a:close/>
                        <a:moveTo>
                          <a:pt x="27" y="60"/>
                        </a:moveTo>
                        <a:cubicBezTo>
                          <a:pt x="27" y="60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7" y="60"/>
                        </a:cubicBezTo>
                        <a:cubicBezTo>
                          <a:pt x="27" y="60"/>
                          <a:pt x="27" y="61"/>
                          <a:pt x="27" y="60"/>
                        </a:cubicBezTo>
                        <a:close/>
                        <a:moveTo>
                          <a:pt x="26" y="63"/>
                        </a:moveTo>
                        <a:cubicBezTo>
                          <a:pt x="27" y="62"/>
                          <a:pt x="27" y="62"/>
                          <a:pt x="28" y="61"/>
                        </a:cubicBezTo>
                        <a:cubicBezTo>
                          <a:pt x="28" y="61"/>
                          <a:pt x="27" y="61"/>
                          <a:pt x="27" y="62"/>
                        </a:cubicBezTo>
                        <a:cubicBezTo>
                          <a:pt x="27" y="62"/>
                          <a:pt x="27" y="62"/>
                          <a:pt x="28" y="62"/>
                        </a:cubicBezTo>
                        <a:cubicBezTo>
                          <a:pt x="28" y="61"/>
                          <a:pt x="28" y="61"/>
                          <a:pt x="28" y="61"/>
                        </a:cubicBezTo>
                        <a:cubicBezTo>
                          <a:pt x="28" y="61"/>
                          <a:pt x="28" y="61"/>
                          <a:pt x="28" y="61"/>
                        </a:cubicBezTo>
                        <a:cubicBezTo>
                          <a:pt x="28" y="61"/>
                          <a:pt x="28" y="62"/>
                          <a:pt x="28" y="62"/>
                        </a:cubicBezTo>
                        <a:cubicBezTo>
                          <a:pt x="28" y="62"/>
                          <a:pt x="28" y="61"/>
                          <a:pt x="28" y="62"/>
                        </a:cubicBezTo>
                        <a:cubicBezTo>
                          <a:pt x="28" y="62"/>
                          <a:pt x="28" y="61"/>
                          <a:pt x="28" y="61"/>
                        </a:cubicBezTo>
                        <a:cubicBezTo>
                          <a:pt x="28" y="61"/>
                          <a:pt x="28" y="61"/>
                          <a:pt x="29" y="61"/>
                        </a:cubicBezTo>
                        <a:cubicBezTo>
                          <a:pt x="29" y="61"/>
                          <a:pt x="28" y="62"/>
                          <a:pt x="28" y="62"/>
                        </a:cubicBezTo>
                        <a:cubicBezTo>
                          <a:pt x="29" y="61"/>
                          <a:pt x="28" y="61"/>
                          <a:pt x="28" y="62"/>
                        </a:cubicBezTo>
                        <a:cubicBezTo>
                          <a:pt x="28" y="62"/>
                          <a:pt x="28" y="62"/>
                          <a:pt x="29" y="62"/>
                        </a:cubicBezTo>
                        <a:cubicBezTo>
                          <a:pt x="29" y="62"/>
                          <a:pt x="28" y="62"/>
                          <a:pt x="28" y="62"/>
                        </a:cubicBezTo>
                        <a:cubicBezTo>
                          <a:pt x="28" y="62"/>
                          <a:pt x="28" y="62"/>
                          <a:pt x="28" y="62"/>
                        </a:cubicBezTo>
                        <a:cubicBezTo>
                          <a:pt x="28" y="62"/>
                          <a:pt x="28" y="62"/>
                          <a:pt x="28" y="63"/>
                        </a:cubicBezTo>
                        <a:cubicBezTo>
                          <a:pt x="28" y="63"/>
                          <a:pt x="28" y="63"/>
                          <a:pt x="28" y="62"/>
                        </a:cubicBezTo>
                        <a:cubicBezTo>
                          <a:pt x="28" y="62"/>
                          <a:pt x="28" y="63"/>
                          <a:pt x="28" y="63"/>
                        </a:cubicBezTo>
                        <a:cubicBezTo>
                          <a:pt x="28" y="63"/>
                          <a:pt x="28" y="63"/>
                          <a:pt x="28" y="63"/>
                        </a:cubicBezTo>
                        <a:cubicBezTo>
                          <a:pt x="28" y="63"/>
                          <a:pt x="28" y="63"/>
                          <a:pt x="28" y="63"/>
                        </a:cubicBezTo>
                        <a:cubicBezTo>
                          <a:pt x="28" y="63"/>
                          <a:pt x="28" y="63"/>
                          <a:pt x="28" y="63"/>
                        </a:cubicBezTo>
                        <a:cubicBezTo>
                          <a:pt x="28" y="62"/>
                          <a:pt x="28" y="62"/>
                          <a:pt x="28" y="62"/>
                        </a:cubicBezTo>
                        <a:cubicBezTo>
                          <a:pt x="27" y="62"/>
                          <a:pt x="28" y="63"/>
                          <a:pt x="27" y="63"/>
                        </a:cubicBezTo>
                        <a:cubicBezTo>
                          <a:pt x="28" y="63"/>
                          <a:pt x="28" y="63"/>
                          <a:pt x="28" y="63"/>
                        </a:cubicBezTo>
                        <a:cubicBezTo>
                          <a:pt x="28" y="63"/>
                          <a:pt x="28" y="64"/>
                          <a:pt x="27" y="64"/>
                        </a:cubicBezTo>
                        <a:cubicBezTo>
                          <a:pt x="27" y="64"/>
                          <a:pt x="27" y="64"/>
                          <a:pt x="27" y="64"/>
                        </a:cubicBezTo>
                        <a:cubicBezTo>
                          <a:pt x="27" y="64"/>
                          <a:pt x="27" y="64"/>
                          <a:pt x="27" y="65"/>
                        </a:cubicBezTo>
                        <a:cubicBezTo>
                          <a:pt x="26" y="65"/>
                          <a:pt x="27" y="64"/>
                          <a:pt x="27" y="64"/>
                        </a:cubicBezTo>
                        <a:cubicBezTo>
                          <a:pt x="27" y="64"/>
                          <a:pt x="27" y="64"/>
                          <a:pt x="27" y="64"/>
                        </a:cubicBezTo>
                        <a:cubicBezTo>
                          <a:pt x="27" y="64"/>
                          <a:pt x="27" y="64"/>
                          <a:pt x="27" y="64"/>
                        </a:cubicBezTo>
                        <a:cubicBezTo>
                          <a:pt x="27" y="63"/>
                          <a:pt x="27" y="63"/>
                          <a:pt x="27" y="63"/>
                        </a:cubicBezTo>
                        <a:cubicBezTo>
                          <a:pt x="27" y="63"/>
                          <a:pt x="27" y="63"/>
                          <a:pt x="27" y="62"/>
                        </a:cubicBezTo>
                        <a:cubicBezTo>
                          <a:pt x="27" y="62"/>
                          <a:pt x="27" y="62"/>
                          <a:pt x="27" y="62"/>
                        </a:cubicBezTo>
                        <a:cubicBezTo>
                          <a:pt x="27" y="63"/>
                          <a:pt x="27" y="63"/>
                          <a:pt x="27" y="63"/>
                        </a:cubicBezTo>
                        <a:cubicBezTo>
                          <a:pt x="27" y="63"/>
                          <a:pt x="27" y="63"/>
                          <a:pt x="27" y="63"/>
                        </a:cubicBezTo>
                        <a:cubicBezTo>
                          <a:pt x="27" y="63"/>
                          <a:pt x="27" y="63"/>
                          <a:pt x="27" y="63"/>
                        </a:cubicBezTo>
                        <a:cubicBezTo>
                          <a:pt x="27" y="63"/>
                          <a:pt x="26" y="63"/>
                          <a:pt x="26" y="63"/>
                        </a:cubicBezTo>
                        <a:close/>
                        <a:moveTo>
                          <a:pt x="27" y="61"/>
                        </a:move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6" y="61"/>
                          <a:pt x="27" y="61"/>
                          <a:pt x="26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lose/>
                        <a:moveTo>
                          <a:pt x="28" y="63"/>
                        </a:moveTo>
                        <a:cubicBezTo>
                          <a:pt x="28" y="63"/>
                          <a:pt x="28" y="63"/>
                          <a:pt x="28" y="63"/>
                        </a:cubicBezTo>
                        <a:cubicBezTo>
                          <a:pt x="28" y="63"/>
                          <a:pt x="28" y="63"/>
                          <a:pt x="28" y="63"/>
                        </a:cubicBezTo>
                        <a:cubicBezTo>
                          <a:pt x="28" y="63"/>
                          <a:pt x="28" y="64"/>
                          <a:pt x="28" y="64"/>
                        </a:cubicBezTo>
                        <a:cubicBezTo>
                          <a:pt x="27" y="64"/>
                          <a:pt x="28" y="63"/>
                          <a:pt x="28" y="63"/>
                        </a:cubicBezTo>
                        <a:close/>
                        <a:moveTo>
                          <a:pt x="30" y="67"/>
                        </a:moveTo>
                        <a:cubicBezTo>
                          <a:pt x="30" y="67"/>
                          <a:pt x="30" y="68"/>
                          <a:pt x="30" y="68"/>
                        </a:cubicBezTo>
                        <a:cubicBezTo>
                          <a:pt x="29" y="68"/>
                          <a:pt x="29" y="68"/>
                          <a:pt x="29" y="68"/>
                        </a:cubicBezTo>
                        <a:cubicBezTo>
                          <a:pt x="29" y="68"/>
                          <a:pt x="30" y="68"/>
                          <a:pt x="30" y="67"/>
                        </a:cubicBezTo>
                        <a:close/>
                        <a:moveTo>
                          <a:pt x="24" y="66"/>
                        </a:move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7"/>
                          <a:pt x="23" y="67"/>
                        </a:cubicBezTo>
                        <a:cubicBezTo>
                          <a:pt x="23" y="67"/>
                          <a:pt x="23" y="67"/>
                          <a:pt x="23" y="67"/>
                        </a:cubicBezTo>
                        <a:cubicBezTo>
                          <a:pt x="23" y="66"/>
                          <a:pt x="24" y="66"/>
                          <a:pt x="24" y="66"/>
                        </a:cubicBez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6"/>
                          <a:pt x="24" y="65"/>
                        </a:cubicBezTo>
                        <a:cubicBezTo>
                          <a:pt x="24" y="65"/>
                          <a:pt x="24" y="66"/>
                          <a:pt x="25" y="65"/>
                        </a:cubicBezTo>
                        <a:cubicBezTo>
                          <a:pt x="25" y="66"/>
                          <a:pt x="24" y="66"/>
                          <a:pt x="24" y="66"/>
                        </a:cubicBezTo>
                        <a:close/>
                        <a:moveTo>
                          <a:pt x="24" y="66"/>
                        </a:move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6"/>
                          <a:pt x="24" y="66"/>
                        </a:cubicBezTo>
                        <a:cubicBezTo>
                          <a:pt x="24" y="66"/>
                          <a:pt x="24" y="66"/>
                          <a:pt x="24" y="66"/>
                        </a:cubicBezTo>
                        <a:close/>
                        <a:moveTo>
                          <a:pt x="32" y="71"/>
                        </a:moveTo>
                        <a:cubicBezTo>
                          <a:pt x="32" y="71"/>
                          <a:pt x="32" y="71"/>
                          <a:pt x="32" y="71"/>
                        </a:cubicBezTo>
                        <a:cubicBezTo>
                          <a:pt x="32" y="71"/>
                          <a:pt x="32" y="71"/>
                          <a:pt x="32" y="71"/>
                        </a:cubicBezTo>
                        <a:close/>
                        <a:moveTo>
                          <a:pt x="26" y="70"/>
                        </a:moveTo>
                        <a:cubicBezTo>
                          <a:pt x="26" y="70"/>
                          <a:pt x="27" y="70"/>
                          <a:pt x="27" y="70"/>
                        </a:cubicBezTo>
                        <a:cubicBezTo>
                          <a:pt x="27" y="70"/>
                          <a:pt x="26" y="70"/>
                          <a:pt x="27" y="70"/>
                        </a:cubicBezTo>
                        <a:cubicBezTo>
                          <a:pt x="27" y="70"/>
                          <a:pt x="27" y="69"/>
                          <a:pt x="27" y="69"/>
                        </a:cubicBezTo>
                        <a:cubicBezTo>
                          <a:pt x="27" y="69"/>
                          <a:pt x="27" y="69"/>
                          <a:pt x="27" y="69"/>
                        </a:cubicBezTo>
                        <a:cubicBezTo>
                          <a:pt x="27" y="69"/>
                          <a:pt x="27" y="70"/>
                          <a:pt x="27" y="70"/>
                        </a:cubicBezTo>
                        <a:cubicBezTo>
                          <a:pt x="27" y="70"/>
                          <a:pt x="27" y="70"/>
                          <a:pt x="26" y="70"/>
                        </a:cubicBezTo>
                        <a:cubicBezTo>
                          <a:pt x="26" y="70"/>
                          <a:pt x="27" y="70"/>
                          <a:pt x="26" y="70"/>
                        </a:cubicBezTo>
                        <a:cubicBezTo>
                          <a:pt x="26" y="70"/>
                          <a:pt x="26" y="70"/>
                          <a:pt x="26" y="70"/>
                        </a:cubicBezTo>
                        <a:cubicBezTo>
                          <a:pt x="26" y="70"/>
                          <a:pt x="26" y="70"/>
                          <a:pt x="26" y="70"/>
                        </a:cubicBezTo>
                        <a:cubicBezTo>
                          <a:pt x="26" y="70"/>
                          <a:pt x="26" y="71"/>
                          <a:pt x="26" y="71"/>
                        </a:cubicBezTo>
                        <a:cubicBezTo>
                          <a:pt x="26" y="71"/>
                          <a:pt x="26" y="71"/>
                          <a:pt x="26" y="70"/>
                        </a:cubicBezTo>
                        <a:cubicBezTo>
                          <a:pt x="26" y="70"/>
                          <a:pt x="26" y="70"/>
                          <a:pt x="26" y="70"/>
                        </a:cubicBezTo>
                        <a:close/>
                        <a:moveTo>
                          <a:pt x="27" y="68"/>
                        </a:moveTo>
                        <a:cubicBezTo>
                          <a:pt x="28" y="69"/>
                          <a:pt x="27" y="69"/>
                          <a:pt x="27" y="69"/>
                        </a:cubicBezTo>
                        <a:cubicBezTo>
                          <a:pt x="27" y="69"/>
                          <a:pt x="28" y="69"/>
                          <a:pt x="28" y="69"/>
                        </a:cubicBezTo>
                        <a:cubicBezTo>
                          <a:pt x="28" y="69"/>
                          <a:pt x="28" y="69"/>
                          <a:pt x="27" y="69"/>
                        </a:cubicBezTo>
                        <a:cubicBezTo>
                          <a:pt x="27" y="69"/>
                          <a:pt x="27" y="69"/>
                          <a:pt x="27" y="69"/>
                        </a:cubicBezTo>
                        <a:cubicBezTo>
                          <a:pt x="27" y="69"/>
                          <a:pt x="27" y="69"/>
                          <a:pt x="27" y="69"/>
                        </a:cubicBezTo>
                        <a:cubicBezTo>
                          <a:pt x="27" y="69"/>
                          <a:pt x="27" y="69"/>
                          <a:pt x="27" y="68"/>
                        </a:cubicBezTo>
                        <a:close/>
                        <a:moveTo>
                          <a:pt x="31" y="71"/>
                        </a:moveTo>
                        <a:cubicBezTo>
                          <a:pt x="31" y="71"/>
                          <a:pt x="31" y="72"/>
                          <a:pt x="31" y="71"/>
                        </a:cubicBezTo>
                        <a:cubicBezTo>
                          <a:pt x="31" y="71"/>
                          <a:pt x="31" y="71"/>
                          <a:pt x="31" y="71"/>
                        </a:cubicBezTo>
                        <a:cubicBezTo>
                          <a:pt x="31" y="71"/>
                          <a:pt x="31" y="71"/>
                          <a:pt x="31" y="71"/>
                        </a:cubicBezTo>
                        <a:cubicBezTo>
                          <a:pt x="32" y="71"/>
                          <a:pt x="31" y="72"/>
                          <a:pt x="31" y="71"/>
                        </a:cubicBezTo>
                        <a:cubicBezTo>
                          <a:pt x="31" y="72"/>
                          <a:pt x="31" y="72"/>
                          <a:pt x="31" y="72"/>
                        </a:cubicBezTo>
                        <a:cubicBezTo>
                          <a:pt x="31" y="72"/>
                          <a:pt x="31" y="72"/>
                          <a:pt x="31" y="72"/>
                        </a:cubicBezTo>
                        <a:cubicBezTo>
                          <a:pt x="31" y="72"/>
                          <a:pt x="31" y="72"/>
                          <a:pt x="31" y="71"/>
                        </a:cubicBezTo>
                        <a:close/>
                        <a:moveTo>
                          <a:pt x="23" y="68"/>
                        </a:moveTo>
                        <a:cubicBezTo>
                          <a:pt x="23" y="68"/>
                          <a:pt x="23" y="68"/>
                          <a:pt x="23" y="69"/>
                        </a:cubicBezTo>
                        <a:cubicBezTo>
                          <a:pt x="23" y="69"/>
                          <a:pt x="23" y="68"/>
                          <a:pt x="23" y="68"/>
                        </a:cubicBezTo>
                        <a:cubicBezTo>
                          <a:pt x="23" y="68"/>
                          <a:pt x="23" y="68"/>
                          <a:pt x="23" y="68"/>
                        </a:cubicBezTo>
                        <a:cubicBezTo>
                          <a:pt x="23" y="68"/>
                          <a:pt x="23" y="68"/>
                          <a:pt x="22" y="69"/>
                        </a:cubicBezTo>
                        <a:cubicBezTo>
                          <a:pt x="22" y="69"/>
                          <a:pt x="22" y="68"/>
                          <a:pt x="22" y="69"/>
                        </a:cubicBezTo>
                        <a:cubicBezTo>
                          <a:pt x="22" y="68"/>
                          <a:pt x="22" y="68"/>
                          <a:pt x="22" y="68"/>
                        </a:cubicBezTo>
                        <a:cubicBezTo>
                          <a:pt x="22" y="68"/>
                          <a:pt x="23" y="68"/>
                          <a:pt x="23" y="68"/>
                        </a:cubicBezTo>
                        <a:cubicBezTo>
                          <a:pt x="23" y="68"/>
                          <a:pt x="23" y="68"/>
                          <a:pt x="23" y="68"/>
                        </a:cubicBezTo>
                        <a:cubicBezTo>
                          <a:pt x="23" y="68"/>
                          <a:pt x="23" y="68"/>
                          <a:pt x="23" y="67"/>
                        </a:cubicBezTo>
                        <a:cubicBezTo>
                          <a:pt x="23" y="68"/>
                          <a:pt x="23" y="68"/>
                          <a:pt x="23" y="68"/>
                        </a:cubicBezTo>
                        <a:cubicBezTo>
                          <a:pt x="23" y="68"/>
                          <a:pt x="23" y="68"/>
                          <a:pt x="23" y="68"/>
                        </a:cubicBezTo>
                        <a:close/>
                        <a:moveTo>
                          <a:pt x="32" y="72"/>
                        </a:moveTo>
                        <a:cubicBezTo>
                          <a:pt x="32" y="73"/>
                          <a:pt x="32" y="73"/>
                          <a:pt x="32" y="73"/>
                        </a:cubicBezTo>
                        <a:cubicBezTo>
                          <a:pt x="32" y="72"/>
                          <a:pt x="32" y="72"/>
                          <a:pt x="32" y="72"/>
                        </a:cubicBezTo>
                        <a:cubicBezTo>
                          <a:pt x="32" y="72"/>
                          <a:pt x="32" y="73"/>
                          <a:pt x="32" y="73"/>
                        </a:cubicBezTo>
                        <a:lnTo>
                          <a:pt x="32" y="72"/>
                        </a:lnTo>
                        <a:close/>
                        <a:moveTo>
                          <a:pt x="28" y="76"/>
                        </a:moveTo>
                        <a:cubicBezTo>
                          <a:pt x="28" y="76"/>
                          <a:pt x="28" y="76"/>
                          <a:pt x="28" y="76"/>
                        </a:cubicBezTo>
                        <a:cubicBezTo>
                          <a:pt x="28" y="76"/>
                          <a:pt x="28" y="76"/>
                          <a:pt x="28" y="76"/>
                        </a:cubicBezTo>
                        <a:cubicBezTo>
                          <a:pt x="28" y="76"/>
                          <a:pt x="28" y="76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5"/>
                          <a:pt x="28" y="75"/>
                          <a:pt x="28" y="75"/>
                        </a:cubicBezTo>
                        <a:cubicBezTo>
                          <a:pt x="28" y="76"/>
                          <a:pt x="28" y="75"/>
                          <a:pt x="28" y="75"/>
                        </a:cubicBezTo>
                        <a:cubicBezTo>
                          <a:pt x="28" y="75"/>
                          <a:pt x="28" y="76"/>
                          <a:pt x="28" y="76"/>
                        </a:cubicBezTo>
                        <a:close/>
                        <a:moveTo>
                          <a:pt x="26" y="79"/>
                        </a:moveTo>
                        <a:cubicBezTo>
                          <a:pt x="26" y="78"/>
                          <a:pt x="26" y="78"/>
                          <a:pt x="26" y="78"/>
                        </a:cubicBezTo>
                        <a:cubicBezTo>
                          <a:pt x="26" y="78"/>
                          <a:pt x="26" y="78"/>
                          <a:pt x="26" y="78"/>
                        </a:cubicBezTo>
                        <a:cubicBezTo>
                          <a:pt x="26" y="78"/>
                          <a:pt x="26" y="78"/>
                          <a:pt x="26" y="78"/>
                        </a:cubicBezTo>
                        <a:cubicBezTo>
                          <a:pt x="26" y="78"/>
                          <a:pt x="26" y="78"/>
                          <a:pt x="26" y="78"/>
                        </a:cubicBezTo>
                        <a:cubicBezTo>
                          <a:pt x="26" y="78"/>
                          <a:pt x="26" y="79"/>
                          <a:pt x="26" y="79"/>
                        </a:cubicBezTo>
                        <a:cubicBezTo>
                          <a:pt x="26" y="79"/>
                          <a:pt x="26" y="79"/>
                          <a:pt x="26" y="79"/>
                        </a:cubicBezTo>
                        <a:close/>
                        <a:moveTo>
                          <a:pt x="28" y="77"/>
                        </a:moveTo>
                        <a:cubicBezTo>
                          <a:pt x="28" y="77"/>
                          <a:pt x="28" y="77"/>
                          <a:pt x="28" y="77"/>
                        </a:cubicBezTo>
                        <a:cubicBezTo>
                          <a:pt x="28" y="77"/>
                          <a:pt x="28" y="77"/>
                          <a:pt x="28" y="77"/>
                        </a:cubicBezTo>
                        <a:cubicBezTo>
                          <a:pt x="28" y="77"/>
                          <a:pt x="28" y="77"/>
                          <a:pt x="28" y="76"/>
                        </a:cubicBezTo>
                        <a:cubicBezTo>
                          <a:pt x="28" y="77"/>
                          <a:pt x="28" y="77"/>
                          <a:pt x="28" y="77"/>
                        </a:cubicBezTo>
                        <a:close/>
                        <a:moveTo>
                          <a:pt x="25" y="78"/>
                        </a:moveTo>
                        <a:cubicBezTo>
                          <a:pt x="25" y="78"/>
                          <a:pt x="25" y="77"/>
                          <a:pt x="25" y="77"/>
                        </a:cubicBezTo>
                        <a:cubicBezTo>
                          <a:pt x="25" y="77"/>
                          <a:pt x="25" y="77"/>
                          <a:pt x="25" y="77"/>
                        </a:cubicBezTo>
                        <a:cubicBezTo>
                          <a:pt x="25" y="78"/>
                          <a:pt x="25" y="77"/>
                          <a:pt x="25" y="77"/>
                        </a:cubicBezTo>
                        <a:cubicBezTo>
                          <a:pt x="25" y="77"/>
                          <a:pt x="25" y="78"/>
                          <a:pt x="25" y="78"/>
                        </a:cubicBezTo>
                        <a:close/>
                        <a:moveTo>
                          <a:pt x="25" y="79"/>
                        </a:moveTo>
                        <a:cubicBezTo>
                          <a:pt x="25" y="79"/>
                          <a:pt x="25" y="79"/>
                          <a:pt x="25" y="79"/>
                        </a:cubicBezTo>
                        <a:cubicBezTo>
                          <a:pt x="25" y="79"/>
                          <a:pt x="25" y="79"/>
                          <a:pt x="25" y="79"/>
                        </a:cubicBezTo>
                        <a:cubicBezTo>
                          <a:pt x="24" y="79"/>
                          <a:pt x="25" y="79"/>
                          <a:pt x="25" y="79"/>
                        </a:cubicBezTo>
                        <a:cubicBezTo>
                          <a:pt x="24" y="79"/>
                          <a:pt x="24" y="79"/>
                          <a:pt x="24" y="79"/>
                        </a:cubicBezTo>
                        <a:cubicBezTo>
                          <a:pt x="24" y="79"/>
                          <a:pt x="25" y="79"/>
                          <a:pt x="24" y="79"/>
                        </a:cubicBezTo>
                        <a:cubicBezTo>
                          <a:pt x="24" y="79"/>
                          <a:pt x="24" y="80"/>
                          <a:pt x="24" y="80"/>
                        </a:cubicBezTo>
                        <a:cubicBezTo>
                          <a:pt x="24" y="80"/>
                          <a:pt x="24" y="79"/>
                          <a:pt x="24" y="79"/>
                        </a:cubicBezTo>
                        <a:cubicBezTo>
                          <a:pt x="24" y="79"/>
                          <a:pt x="24" y="79"/>
                          <a:pt x="24" y="79"/>
                        </a:cubicBezTo>
                        <a:cubicBezTo>
                          <a:pt x="24" y="79"/>
                          <a:pt x="24" y="79"/>
                          <a:pt x="24" y="79"/>
                        </a:cubicBezTo>
                        <a:cubicBezTo>
                          <a:pt x="25" y="78"/>
                          <a:pt x="24" y="79"/>
                          <a:pt x="24" y="79"/>
                        </a:cubicBezTo>
                        <a:cubicBezTo>
                          <a:pt x="25" y="79"/>
                          <a:pt x="25" y="78"/>
                          <a:pt x="25" y="78"/>
                        </a:cubicBezTo>
                        <a:cubicBezTo>
                          <a:pt x="25" y="79"/>
                          <a:pt x="24" y="79"/>
                          <a:pt x="24" y="79"/>
                        </a:cubicBezTo>
                        <a:cubicBezTo>
                          <a:pt x="25" y="79"/>
                          <a:pt x="25" y="79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4" y="78"/>
                          <a:pt x="25" y="78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5" y="77"/>
                          <a:pt x="25" y="78"/>
                          <a:pt x="25" y="77"/>
                        </a:cubicBezTo>
                        <a:cubicBezTo>
                          <a:pt x="25" y="77"/>
                          <a:pt x="25" y="77"/>
                          <a:pt x="26" y="77"/>
                        </a:cubicBezTo>
                        <a:cubicBezTo>
                          <a:pt x="26" y="77"/>
                          <a:pt x="25" y="77"/>
                          <a:pt x="25" y="77"/>
                        </a:cubicBezTo>
                        <a:cubicBezTo>
                          <a:pt x="25" y="77"/>
                          <a:pt x="26" y="77"/>
                          <a:pt x="26" y="77"/>
                        </a:cubicBezTo>
                        <a:cubicBezTo>
                          <a:pt x="26" y="77"/>
                          <a:pt x="26" y="77"/>
                          <a:pt x="26" y="77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6" y="76"/>
                          <a:pt x="26" y="77"/>
                          <a:pt x="26" y="77"/>
                        </a:cubicBezTo>
                        <a:cubicBezTo>
                          <a:pt x="26" y="77"/>
                          <a:pt x="26" y="77"/>
                          <a:pt x="26" y="77"/>
                        </a:cubicBezTo>
                        <a:cubicBezTo>
                          <a:pt x="26" y="77"/>
                          <a:pt x="26" y="77"/>
                          <a:pt x="26" y="77"/>
                        </a:cubicBezTo>
                        <a:cubicBezTo>
                          <a:pt x="26" y="77"/>
                          <a:pt x="26" y="77"/>
                          <a:pt x="26" y="77"/>
                        </a:cubicBezTo>
                        <a:cubicBezTo>
                          <a:pt x="26" y="77"/>
                          <a:pt x="26" y="77"/>
                          <a:pt x="26" y="78"/>
                        </a:cubicBezTo>
                        <a:cubicBezTo>
                          <a:pt x="26" y="78"/>
                          <a:pt x="26" y="78"/>
                          <a:pt x="26" y="77"/>
                        </a:cubicBezTo>
                        <a:cubicBezTo>
                          <a:pt x="26" y="77"/>
                          <a:pt x="26" y="78"/>
                          <a:pt x="26" y="78"/>
                        </a:cubicBezTo>
                        <a:cubicBezTo>
                          <a:pt x="26" y="78"/>
                          <a:pt x="26" y="78"/>
                          <a:pt x="26" y="78"/>
                        </a:cubicBezTo>
                        <a:cubicBezTo>
                          <a:pt x="26" y="78"/>
                          <a:pt x="26" y="78"/>
                          <a:pt x="26" y="78"/>
                        </a:cubicBezTo>
                        <a:cubicBezTo>
                          <a:pt x="26" y="78"/>
                          <a:pt x="26" y="78"/>
                          <a:pt x="26" y="78"/>
                        </a:cubicBezTo>
                        <a:cubicBezTo>
                          <a:pt x="25" y="78"/>
                          <a:pt x="26" y="78"/>
                          <a:pt x="25" y="78"/>
                        </a:cubicBezTo>
                        <a:cubicBezTo>
                          <a:pt x="25" y="78"/>
                          <a:pt x="25" y="78"/>
                          <a:pt x="25" y="78"/>
                        </a:cubicBezTo>
                        <a:cubicBezTo>
                          <a:pt x="25" y="78"/>
                          <a:pt x="25" y="79"/>
                          <a:pt x="25" y="79"/>
                        </a:cubicBezTo>
                        <a:cubicBezTo>
                          <a:pt x="25" y="79"/>
                          <a:pt x="25" y="79"/>
                          <a:pt x="25" y="79"/>
                        </a:cubicBezTo>
                        <a:close/>
                        <a:moveTo>
                          <a:pt x="26" y="78"/>
                        </a:moveTo>
                        <a:cubicBezTo>
                          <a:pt x="26" y="78"/>
                          <a:pt x="26" y="77"/>
                          <a:pt x="26" y="77"/>
                        </a:cubicBezTo>
                        <a:cubicBezTo>
                          <a:pt x="26" y="77"/>
                          <a:pt x="25" y="77"/>
                          <a:pt x="25" y="78"/>
                        </a:cubicBezTo>
                        <a:cubicBezTo>
                          <a:pt x="26" y="77"/>
                          <a:pt x="26" y="78"/>
                          <a:pt x="26" y="78"/>
                        </a:cubicBezTo>
                        <a:close/>
                        <a:moveTo>
                          <a:pt x="28" y="76"/>
                        </a:moveTo>
                        <a:cubicBezTo>
                          <a:pt x="28" y="77"/>
                          <a:pt x="27" y="77"/>
                          <a:pt x="27" y="77"/>
                        </a:cubicBezTo>
                        <a:cubicBezTo>
                          <a:pt x="27" y="77"/>
                          <a:pt x="27" y="76"/>
                          <a:pt x="28" y="76"/>
                        </a:cubicBezTo>
                        <a:close/>
                        <a:moveTo>
                          <a:pt x="25" y="76"/>
                        </a:moveTo>
                        <a:cubicBezTo>
                          <a:pt x="25" y="77"/>
                          <a:pt x="25" y="77"/>
                          <a:pt x="25" y="77"/>
                        </a:cubicBezTo>
                        <a:cubicBezTo>
                          <a:pt x="25" y="77"/>
                          <a:pt x="25" y="77"/>
                          <a:pt x="25" y="77"/>
                        </a:cubicBezTo>
                        <a:cubicBezTo>
                          <a:pt x="25" y="77"/>
                          <a:pt x="25" y="77"/>
                          <a:pt x="25" y="77"/>
                        </a:cubicBezTo>
                        <a:cubicBezTo>
                          <a:pt x="25" y="77"/>
                          <a:pt x="25" y="76"/>
                          <a:pt x="25" y="76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5" y="76"/>
                          <a:pt x="26" y="76"/>
                          <a:pt x="25" y="76"/>
                        </a:cubicBezTo>
                        <a:close/>
                        <a:moveTo>
                          <a:pt x="28" y="78"/>
                        </a:moveTo>
                        <a:cubicBezTo>
                          <a:pt x="28" y="78"/>
                          <a:pt x="28" y="78"/>
                          <a:pt x="28" y="78"/>
                        </a:cubicBezTo>
                        <a:cubicBezTo>
                          <a:pt x="28" y="78"/>
                          <a:pt x="28" y="78"/>
                          <a:pt x="28" y="78"/>
                        </a:cubicBezTo>
                        <a:cubicBezTo>
                          <a:pt x="28" y="78"/>
                          <a:pt x="28" y="78"/>
                          <a:pt x="28" y="78"/>
                        </a:cubicBezTo>
                        <a:cubicBezTo>
                          <a:pt x="28" y="78"/>
                          <a:pt x="28" y="78"/>
                          <a:pt x="28" y="78"/>
                        </a:cubicBezTo>
                        <a:cubicBezTo>
                          <a:pt x="28" y="78"/>
                          <a:pt x="28" y="78"/>
                          <a:pt x="28" y="78"/>
                        </a:cubicBezTo>
                        <a:cubicBezTo>
                          <a:pt x="28" y="78"/>
                          <a:pt x="28" y="78"/>
                          <a:pt x="28" y="78"/>
                        </a:cubicBezTo>
                        <a:cubicBezTo>
                          <a:pt x="28" y="78"/>
                          <a:pt x="28" y="78"/>
                          <a:pt x="28" y="78"/>
                        </a:cubicBezTo>
                        <a:close/>
                        <a:moveTo>
                          <a:pt x="22" y="76"/>
                        </a:moveTo>
                        <a:cubicBezTo>
                          <a:pt x="22" y="76"/>
                          <a:pt x="22" y="76"/>
                          <a:pt x="22" y="76"/>
                        </a:cubicBezTo>
                        <a:cubicBezTo>
                          <a:pt x="23" y="76"/>
                          <a:pt x="23" y="76"/>
                          <a:pt x="23" y="75"/>
                        </a:cubicBezTo>
                        <a:cubicBezTo>
                          <a:pt x="23" y="76"/>
                          <a:pt x="22" y="76"/>
                          <a:pt x="22" y="76"/>
                        </a:cubicBezTo>
                        <a:close/>
                        <a:moveTo>
                          <a:pt x="28" y="78"/>
                        </a:moveTo>
                        <a:cubicBezTo>
                          <a:pt x="28" y="78"/>
                          <a:pt x="28" y="78"/>
                          <a:pt x="28" y="78"/>
                        </a:cubicBezTo>
                        <a:cubicBezTo>
                          <a:pt x="28" y="78"/>
                          <a:pt x="28" y="79"/>
                          <a:pt x="28" y="79"/>
                        </a:cubicBezTo>
                        <a:cubicBezTo>
                          <a:pt x="28" y="79"/>
                          <a:pt x="28" y="78"/>
                          <a:pt x="28" y="78"/>
                        </a:cubicBezTo>
                        <a:cubicBezTo>
                          <a:pt x="28" y="78"/>
                          <a:pt x="28" y="78"/>
                          <a:pt x="28" y="78"/>
                        </a:cubicBezTo>
                        <a:cubicBezTo>
                          <a:pt x="28" y="78"/>
                          <a:pt x="28" y="78"/>
                          <a:pt x="28" y="78"/>
                        </a:cubicBezTo>
                        <a:close/>
                        <a:moveTo>
                          <a:pt x="27" y="79"/>
                        </a:moveTo>
                        <a:cubicBezTo>
                          <a:pt x="27" y="79"/>
                          <a:pt x="27" y="79"/>
                          <a:pt x="27" y="79"/>
                        </a:cubicBezTo>
                        <a:cubicBezTo>
                          <a:pt x="27" y="79"/>
                          <a:pt x="27" y="79"/>
                          <a:pt x="27" y="79"/>
                        </a:cubicBezTo>
                        <a:cubicBezTo>
                          <a:pt x="27" y="79"/>
                          <a:pt x="27" y="79"/>
                          <a:pt x="27" y="78"/>
                        </a:cubicBezTo>
                        <a:cubicBezTo>
                          <a:pt x="27" y="78"/>
                          <a:pt x="27" y="78"/>
                          <a:pt x="27" y="78"/>
                        </a:cubicBezTo>
                        <a:cubicBezTo>
                          <a:pt x="27" y="78"/>
                          <a:pt x="27" y="79"/>
                          <a:pt x="27" y="79"/>
                        </a:cubicBezTo>
                        <a:cubicBezTo>
                          <a:pt x="27" y="79"/>
                          <a:pt x="27" y="79"/>
                          <a:pt x="27" y="78"/>
                        </a:cubicBezTo>
                        <a:cubicBezTo>
                          <a:pt x="27" y="79"/>
                          <a:pt x="27" y="79"/>
                          <a:pt x="27" y="79"/>
                        </a:cubicBezTo>
                        <a:close/>
                        <a:moveTo>
                          <a:pt x="26" y="80"/>
                        </a:moveTo>
                        <a:cubicBezTo>
                          <a:pt x="26" y="80"/>
                          <a:pt x="26" y="81"/>
                          <a:pt x="26" y="81"/>
                        </a:cubicBezTo>
                        <a:cubicBezTo>
                          <a:pt x="26" y="80"/>
                          <a:pt x="26" y="80"/>
                          <a:pt x="26" y="80"/>
                        </a:cubicBezTo>
                        <a:cubicBezTo>
                          <a:pt x="27" y="80"/>
                          <a:pt x="27" y="79"/>
                          <a:pt x="27" y="79"/>
                        </a:cubicBezTo>
                        <a:cubicBezTo>
                          <a:pt x="27" y="80"/>
                          <a:pt x="27" y="80"/>
                          <a:pt x="27" y="80"/>
                        </a:cubicBezTo>
                        <a:cubicBezTo>
                          <a:pt x="27" y="80"/>
                          <a:pt x="27" y="80"/>
                          <a:pt x="27" y="80"/>
                        </a:cubicBezTo>
                        <a:cubicBezTo>
                          <a:pt x="26" y="80"/>
                          <a:pt x="26" y="81"/>
                          <a:pt x="26" y="81"/>
                        </a:cubicBezTo>
                        <a:cubicBezTo>
                          <a:pt x="26" y="81"/>
                          <a:pt x="26" y="81"/>
                          <a:pt x="26" y="81"/>
                        </a:cubicBezTo>
                        <a:cubicBezTo>
                          <a:pt x="26" y="81"/>
                          <a:pt x="26" y="81"/>
                          <a:pt x="26" y="81"/>
                        </a:cubicBezTo>
                        <a:cubicBezTo>
                          <a:pt x="27" y="81"/>
                          <a:pt x="26" y="81"/>
                          <a:pt x="26" y="81"/>
                        </a:cubicBezTo>
                        <a:cubicBezTo>
                          <a:pt x="26" y="81"/>
                          <a:pt x="26" y="82"/>
                          <a:pt x="26" y="82"/>
                        </a:cubicBezTo>
                        <a:cubicBezTo>
                          <a:pt x="26" y="82"/>
                          <a:pt x="26" y="82"/>
                          <a:pt x="26" y="82"/>
                        </a:cubicBezTo>
                        <a:cubicBezTo>
                          <a:pt x="26" y="82"/>
                          <a:pt x="26" y="81"/>
                          <a:pt x="26" y="81"/>
                        </a:cubicBezTo>
                        <a:cubicBezTo>
                          <a:pt x="26" y="81"/>
                          <a:pt x="26" y="81"/>
                          <a:pt x="26" y="81"/>
                        </a:cubicBezTo>
                        <a:cubicBezTo>
                          <a:pt x="26" y="81"/>
                          <a:pt x="26" y="81"/>
                          <a:pt x="26" y="81"/>
                        </a:cubicBezTo>
                        <a:cubicBezTo>
                          <a:pt x="26" y="81"/>
                          <a:pt x="26" y="81"/>
                          <a:pt x="26" y="81"/>
                        </a:cubicBezTo>
                        <a:cubicBezTo>
                          <a:pt x="26" y="81"/>
                          <a:pt x="26" y="81"/>
                          <a:pt x="26" y="81"/>
                        </a:cubicBezTo>
                        <a:cubicBezTo>
                          <a:pt x="26" y="81"/>
                          <a:pt x="26" y="81"/>
                          <a:pt x="26" y="81"/>
                        </a:cubicBezTo>
                        <a:cubicBezTo>
                          <a:pt x="26" y="81"/>
                          <a:pt x="26" y="81"/>
                          <a:pt x="25" y="82"/>
                        </a:cubicBezTo>
                        <a:cubicBezTo>
                          <a:pt x="25" y="81"/>
                          <a:pt x="26" y="81"/>
                          <a:pt x="26" y="80"/>
                        </a:cubicBezTo>
                        <a:close/>
                        <a:moveTo>
                          <a:pt x="25" y="80"/>
                        </a:move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0"/>
                        </a:cubicBezTo>
                        <a:close/>
                        <a:moveTo>
                          <a:pt x="25" y="79"/>
                        </a:moveTo>
                        <a:cubicBezTo>
                          <a:pt x="25" y="79"/>
                          <a:pt x="25" y="80"/>
                          <a:pt x="25" y="80"/>
                        </a:cubicBezTo>
                        <a:cubicBezTo>
                          <a:pt x="25" y="80"/>
                          <a:pt x="25" y="80"/>
                          <a:pt x="25" y="80"/>
                        </a:cubicBezTo>
                        <a:cubicBezTo>
                          <a:pt x="25" y="80"/>
                          <a:pt x="25" y="79"/>
                          <a:pt x="25" y="79"/>
                        </a:cubicBezTo>
                        <a:close/>
                        <a:moveTo>
                          <a:pt x="25" y="80"/>
                        </a:moveTo>
                        <a:cubicBezTo>
                          <a:pt x="25" y="80"/>
                          <a:pt x="25" y="80"/>
                          <a:pt x="25" y="80"/>
                        </a:cubicBezTo>
                        <a:cubicBezTo>
                          <a:pt x="25" y="80"/>
                          <a:pt x="25" y="80"/>
                          <a:pt x="25" y="80"/>
                        </a:cubicBezTo>
                        <a:cubicBezTo>
                          <a:pt x="25" y="80"/>
                          <a:pt x="25" y="80"/>
                          <a:pt x="25" y="80"/>
                        </a:cubicBezTo>
                        <a:close/>
                        <a:moveTo>
                          <a:pt x="25" y="80"/>
                        </a:moveTo>
                        <a:cubicBezTo>
                          <a:pt x="25" y="80"/>
                          <a:pt x="25" y="80"/>
                          <a:pt x="25" y="80"/>
                        </a:cubicBezTo>
                        <a:cubicBezTo>
                          <a:pt x="25" y="80"/>
                          <a:pt x="25" y="80"/>
                          <a:pt x="25" y="80"/>
                        </a:cubicBezTo>
                        <a:cubicBezTo>
                          <a:pt x="25" y="80"/>
                          <a:pt x="25" y="80"/>
                          <a:pt x="25" y="79"/>
                        </a:cubicBezTo>
                        <a:cubicBezTo>
                          <a:pt x="25" y="79"/>
                          <a:pt x="25" y="80"/>
                          <a:pt x="25" y="80"/>
                        </a:cubicBezTo>
                        <a:close/>
                        <a:moveTo>
                          <a:pt x="26" y="80"/>
                        </a:moveTo>
                        <a:cubicBezTo>
                          <a:pt x="26" y="80"/>
                          <a:pt x="26" y="80"/>
                          <a:pt x="26" y="80"/>
                        </a:cubicBezTo>
                        <a:cubicBezTo>
                          <a:pt x="26" y="80"/>
                          <a:pt x="26" y="80"/>
                          <a:pt x="26" y="80"/>
                        </a:cubicBezTo>
                        <a:close/>
                        <a:moveTo>
                          <a:pt x="24" y="81"/>
                        </a:moveTo>
                        <a:cubicBezTo>
                          <a:pt x="24" y="81"/>
                          <a:pt x="24" y="81"/>
                          <a:pt x="24" y="81"/>
                        </a:cubicBezTo>
                        <a:cubicBezTo>
                          <a:pt x="24" y="81"/>
                          <a:pt x="24" y="81"/>
                          <a:pt x="24" y="81"/>
                        </a:cubicBezTo>
                        <a:cubicBezTo>
                          <a:pt x="24" y="81"/>
                          <a:pt x="24" y="81"/>
                          <a:pt x="24" y="81"/>
                        </a:cubicBezTo>
                        <a:cubicBezTo>
                          <a:pt x="24" y="80"/>
                          <a:pt x="24" y="81"/>
                          <a:pt x="24" y="81"/>
                        </a:cubicBezTo>
                        <a:close/>
                        <a:moveTo>
                          <a:pt x="25" y="83"/>
                        </a:moveTo>
                        <a:cubicBezTo>
                          <a:pt x="25" y="83"/>
                          <a:pt x="25" y="83"/>
                          <a:pt x="25" y="83"/>
                        </a:cubicBezTo>
                        <a:cubicBezTo>
                          <a:pt x="25" y="83"/>
                          <a:pt x="25" y="83"/>
                          <a:pt x="25" y="83"/>
                        </a:cubicBezTo>
                        <a:cubicBezTo>
                          <a:pt x="25" y="83"/>
                          <a:pt x="25" y="83"/>
                          <a:pt x="25" y="83"/>
                        </a:cubicBezTo>
                        <a:cubicBezTo>
                          <a:pt x="25" y="83"/>
                          <a:pt x="25" y="83"/>
                          <a:pt x="25" y="83"/>
                        </a:cubicBezTo>
                        <a:close/>
                        <a:moveTo>
                          <a:pt x="26" y="83"/>
                        </a:moveTo>
                        <a:cubicBezTo>
                          <a:pt x="26" y="83"/>
                          <a:pt x="26" y="83"/>
                          <a:pt x="26" y="83"/>
                        </a:cubicBezTo>
                        <a:cubicBezTo>
                          <a:pt x="26" y="84"/>
                          <a:pt x="26" y="83"/>
                          <a:pt x="26" y="83"/>
                        </a:cubicBezTo>
                        <a:close/>
                        <a:moveTo>
                          <a:pt x="22" y="84"/>
                        </a:moveTo>
                        <a:cubicBezTo>
                          <a:pt x="22" y="84"/>
                          <a:pt x="22" y="84"/>
                          <a:pt x="22" y="84"/>
                        </a:cubicBezTo>
                        <a:cubicBezTo>
                          <a:pt x="22" y="84"/>
                          <a:pt x="22" y="84"/>
                          <a:pt x="22" y="84"/>
                        </a:cubicBezTo>
                        <a:cubicBezTo>
                          <a:pt x="22" y="84"/>
                          <a:pt x="22" y="84"/>
                          <a:pt x="22" y="84"/>
                        </a:cubicBezTo>
                        <a:cubicBezTo>
                          <a:pt x="22" y="84"/>
                          <a:pt x="22" y="84"/>
                          <a:pt x="22" y="84"/>
                        </a:cubicBezTo>
                        <a:close/>
                        <a:moveTo>
                          <a:pt x="22" y="85"/>
                        </a:moveTo>
                        <a:cubicBezTo>
                          <a:pt x="22" y="85"/>
                          <a:pt x="21" y="85"/>
                          <a:pt x="22" y="85"/>
                        </a:cubicBezTo>
                        <a:cubicBezTo>
                          <a:pt x="21" y="85"/>
                          <a:pt x="21" y="85"/>
                          <a:pt x="21" y="85"/>
                        </a:cubicBezTo>
                        <a:cubicBezTo>
                          <a:pt x="21" y="85"/>
                          <a:pt x="21" y="85"/>
                          <a:pt x="21" y="85"/>
                        </a:cubicBezTo>
                        <a:cubicBezTo>
                          <a:pt x="21" y="85"/>
                          <a:pt x="21" y="85"/>
                          <a:pt x="21" y="84"/>
                        </a:cubicBezTo>
                        <a:cubicBezTo>
                          <a:pt x="21" y="84"/>
                          <a:pt x="21" y="85"/>
                          <a:pt x="21" y="84"/>
                        </a:cubicBezTo>
                        <a:cubicBezTo>
                          <a:pt x="21" y="84"/>
                          <a:pt x="21" y="84"/>
                          <a:pt x="21" y="84"/>
                        </a:cubicBezTo>
                        <a:cubicBezTo>
                          <a:pt x="21" y="84"/>
                          <a:pt x="21" y="84"/>
                          <a:pt x="21" y="85"/>
                        </a:cubicBezTo>
                        <a:cubicBezTo>
                          <a:pt x="22" y="85"/>
                          <a:pt x="22" y="84"/>
                          <a:pt x="22" y="85"/>
                        </a:cubicBezTo>
                        <a:cubicBezTo>
                          <a:pt x="22" y="85"/>
                          <a:pt x="22" y="85"/>
                          <a:pt x="22" y="85"/>
                        </a:cubicBezTo>
                        <a:cubicBezTo>
                          <a:pt x="22" y="85"/>
                          <a:pt x="22" y="85"/>
                          <a:pt x="22" y="85"/>
                        </a:cubicBezTo>
                        <a:close/>
                        <a:moveTo>
                          <a:pt x="22" y="88"/>
                        </a:moveTo>
                        <a:cubicBezTo>
                          <a:pt x="22" y="89"/>
                          <a:pt x="22" y="89"/>
                          <a:pt x="21" y="89"/>
                        </a:cubicBezTo>
                        <a:cubicBezTo>
                          <a:pt x="21" y="89"/>
                          <a:pt x="21" y="90"/>
                          <a:pt x="21" y="89"/>
                        </a:cubicBezTo>
                        <a:cubicBezTo>
                          <a:pt x="21" y="89"/>
                          <a:pt x="21" y="89"/>
                          <a:pt x="21" y="89"/>
                        </a:cubicBezTo>
                        <a:cubicBezTo>
                          <a:pt x="21" y="89"/>
                          <a:pt x="21" y="89"/>
                          <a:pt x="22" y="89"/>
                        </a:cubicBezTo>
                        <a:cubicBezTo>
                          <a:pt x="22" y="88"/>
                          <a:pt x="21" y="88"/>
                          <a:pt x="22" y="88"/>
                        </a:cubicBezTo>
                        <a:cubicBezTo>
                          <a:pt x="22" y="88"/>
                          <a:pt x="22" y="88"/>
                          <a:pt x="22" y="88"/>
                        </a:cubicBezTo>
                        <a:cubicBezTo>
                          <a:pt x="22" y="88"/>
                          <a:pt x="22" y="88"/>
                          <a:pt x="22" y="88"/>
                        </a:cubicBezTo>
                        <a:close/>
                        <a:moveTo>
                          <a:pt x="21" y="89"/>
                        </a:moveTo>
                        <a:cubicBezTo>
                          <a:pt x="21" y="89"/>
                          <a:pt x="21" y="89"/>
                          <a:pt x="21" y="89"/>
                        </a:cubicBezTo>
                        <a:cubicBezTo>
                          <a:pt x="21" y="89"/>
                          <a:pt x="22" y="89"/>
                          <a:pt x="21" y="89"/>
                        </a:cubicBezTo>
                        <a:close/>
                        <a:moveTo>
                          <a:pt x="22" y="89"/>
                        </a:moveTo>
                        <a:cubicBezTo>
                          <a:pt x="22" y="89"/>
                          <a:pt x="22" y="89"/>
                          <a:pt x="23" y="89"/>
                        </a:cubicBezTo>
                        <a:cubicBezTo>
                          <a:pt x="23" y="89"/>
                          <a:pt x="22" y="89"/>
                          <a:pt x="22" y="89"/>
                        </a:cubicBezTo>
                        <a:cubicBezTo>
                          <a:pt x="22" y="89"/>
                          <a:pt x="23" y="89"/>
                          <a:pt x="22" y="89"/>
                        </a:cubicBezTo>
                        <a:cubicBezTo>
                          <a:pt x="22" y="89"/>
                          <a:pt x="22" y="89"/>
                          <a:pt x="22" y="89"/>
                        </a:cubicBezTo>
                        <a:cubicBezTo>
                          <a:pt x="22" y="89"/>
                          <a:pt x="22" y="89"/>
                          <a:pt x="22" y="89"/>
                        </a:cubicBezTo>
                        <a:close/>
                        <a:moveTo>
                          <a:pt x="22" y="90"/>
                        </a:moveTo>
                        <a:cubicBezTo>
                          <a:pt x="22" y="90"/>
                          <a:pt x="22" y="90"/>
                          <a:pt x="22" y="90"/>
                        </a:cubicBezTo>
                        <a:cubicBezTo>
                          <a:pt x="22" y="90"/>
                          <a:pt x="22" y="90"/>
                          <a:pt x="22" y="90"/>
                        </a:cubicBezTo>
                        <a:cubicBezTo>
                          <a:pt x="22" y="90"/>
                          <a:pt x="22" y="90"/>
                          <a:pt x="22" y="90"/>
                        </a:cubicBezTo>
                        <a:cubicBezTo>
                          <a:pt x="21" y="90"/>
                          <a:pt x="22" y="90"/>
                          <a:pt x="22" y="90"/>
                        </a:cubicBezTo>
                        <a:close/>
                        <a:moveTo>
                          <a:pt x="20" y="93"/>
                        </a:moveTo>
                        <a:cubicBezTo>
                          <a:pt x="20" y="93"/>
                          <a:pt x="20" y="93"/>
                          <a:pt x="20" y="93"/>
                        </a:cubicBezTo>
                        <a:cubicBezTo>
                          <a:pt x="19" y="93"/>
                          <a:pt x="20" y="93"/>
                          <a:pt x="20" y="93"/>
                        </a:cubicBezTo>
                        <a:cubicBezTo>
                          <a:pt x="19" y="94"/>
                          <a:pt x="19" y="94"/>
                          <a:pt x="19" y="95"/>
                        </a:cubicBezTo>
                        <a:cubicBezTo>
                          <a:pt x="19" y="95"/>
                          <a:pt x="19" y="95"/>
                          <a:pt x="19" y="95"/>
                        </a:cubicBezTo>
                        <a:cubicBezTo>
                          <a:pt x="18" y="95"/>
                          <a:pt x="19" y="95"/>
                          <a:pt x="18" y="96"/>
                        </a:cubicBezTo>
                        <a:cubicBezTo>
                          <a:pt x="18" y="95"/>
                          <a:pt x="18" y="95"/>
                          <a:pt x="19" y="95"/>
                        </a:cubicBezTo>
                        <a:cubicBezTo>
                          <a:pt x="18" y="95"/>
                          <a:pt x="18" y="96"/>
                          <a:pt x="18" y="96"/>
                        </a:cubicBezTo>
                        <a:cubicBezTo>
                          <a:pt x="18" y="96"/>
                          <a:pt x="18" y="96"/>
                          <a:pt x="18" y="96"/>
                        </a:cubicBezTo>
                        <a:cubicBezTo>
                          <a:pt x="18" y="96"/>
                          <a:pt x="18" y="96"/>
                          <a:pt x="18" y="96"/>
                        </a:cubicBezTo>
                        <a:cubicBezTo>
                          <a:pt x="18" y="96"/>
                          <a:pt x="18" y="96"/>
                          <a:pt x="18" y="96"/>
                        </a:cubicBezTo>
                        <a:cubicBezTo>
                          <a:pt x="18" y="96"/>
                          <a:pt x="18" y="96"/>
                          <a:pt x="18" y="96"/>
                        </a:cubicBezTo>
                        <a:cubicBezTo>
                          <a:pt x="18" y="96"/>
                          <a:pt x="18" y="96"/>
                          <a:pt x="18" y="96"/>
                        </a:cubicBezTo>
                        <a:cubicBezTo>
                          <a:pt x="18" y="95"/>
                          <a:pt x="19" y="95"/>
                          <a:pt x="19" y="94"/>
                        </a:cubicBezTo>
                        <a:cubicBezTo>
                          <a:pt x="19" y="94"/>
                          <a:pt x="19" y="95"/>
                          <a:pt x="19" y="95"/>
                        </a:cubicBezTo>
                        <a:cubicBezTo>
                          <a:pt x="19" y="95"/>
                          <a:pt x="19" y="94"/>
                          <a:pt x="19" y="94"/>
                        </a:cubicBezTo>
                        <a:cubicBezTo>
                          <a:pt x="19" y="94"/>
                          <a:pt x="19" y="94"/>
                          <a:pt x="19" y="94"/>
                        </a:cubicBezTo>
                        <a:cubicBezTo>
                          <a:pt x="19" y="94"/>
                          <a:pt x="19" y="94"/>
                          <a:pt x="19" y="94"/>
                        </a:cubicBezTo>
                        <a:cubicBezTo>
                          <a:pt x="19" y="93"/>
                          <a:pt x="19" y="93"/>
                          <a:pt x="20" y="92"/>
                        </a:cubicBezTo>
                        <a:cubicBezTo>
                          <a:pt x="20" y="92"/>
                          <a:pt x="20" y="92"/>
                          <a:pt x="20" y="92"/>
                        </a:cubicBezTo>
                        <a:cubicBezTo>
                          <a:pt x="20" y="91"/>
                          <a:pt x="20" y="91"/>
                          <a:pt x="20" y="91"/>
                        </a:cubicBezTo>
                        <a:cubicBezTo>
                          <a:pt x="21" y="91"/>
                          <a:pt x="21" y="90"/>
                          <a:pt x="22" y="90"/>
                        </a:cubicBezTo>
                        <a:cubicBezTo>
                          <a:pt x="21" y="90"/>
                          <a:pt x="20" y="92"/>
                          <a:pt x="20" y="93"/>
                        </a:cubicBezTo>
                        <a:cubicBezTo>
                          <a:pt x="20" y="93"/>
                          <a:pt x="20" y="93"/>
                          <a:pt x="20" y="93"/>
                        </a:cubicBezTo>
                        <a:close/>
                        <a:moveTo>
                          <a:pt x="21" y="90"/>
                        </a:moveTo>
                        <a:cubicBezTo>
                          <a:pt x="21" y="90"/>
                          <a:pt x="21" y="90"/>
                          <a:pt x="21" y="90"/>
                        </a:cubicBezTo>
                        <a:cubicBezTo>
                          <a:pt x="21" y="90"/>
                          <a:pt x="21" y="90"/>
                          <a:pt x="21" y="90"/>
                        </a:cubicBezTo>
                        <a:cubicBezTo>
                          <a:pt x="21" y="90"/>
                          <a:pt x="21" y="90"/>
                          <a:pt x="21" y="90"/>
                        </a:cubicBezTo>
                        <a:cubicBezTo>
                          <a:pt x="21" y="89"/>
                          <a:pt x="21" y="90"/>
                          <a:pt x="21" y="90"/>
                        </a:cubicBezTo>
                        <a:close/>
                        <a:moveTo>
                          <a:pt x="18" y="98"/>
                        </a:moveTo>
                        <a:cubicBezTo>
                          <a:pt x="18" y="97"/>
                          <a:pt x="19" y="96"/>
                          <a:pt x="19" y="95"/>
                        </a:cubicBezTo>
                        <a:cubicBezTo>
                          <a:pt x="19" y="96"/>
                          <a:pt x="19" y="97"/>
                          <a:pt x="18" y="98"/>
                        </a:cubicBezTo>
                        <a:close/>
                        <a:moveTo>
                          <a:pt x="16" y="100"/>
                        </a:moveTo>
                        <a:cubicBezTo>
                          <a:pt x="15" y="100"/>
                          <a:pt x="16" y="100"/>
                          <a:pt x="15" y="100"/>
                        </a:cubicBezTo>
                        <a:cubicBezTo>
                          <a:pt x="16" y="100"/>
                          <a:pt x="16" y="100"/>
                          <a:pt x="16" y="100"/>
                        </a:cubicBezTo>
                        <a:cubicBezTo>
                          <a:pt x="16" y="100"/>
                          <a:pt x="16" y="100"/>
                          <a:pt x="16" y="100"/>
                        </a:cubicBezTo>
                        <a:cubicBezTo>
                          <a:pt x="16" y="100"/>
                          <a:pt x="16" y="100"/>
                          <a:pt x="16" y="100"/>
                        </a:cubicBezTo>
                        <a:cubicBezTo>
                          <a:pt x="16" y="100"/>
                          <a:pt x="16" y="100"/>
                          <a:pt x="16" y="100"/>
                        </a:cubicBezTo>
                        <a:cubicBezTo>
                          <a:pt x="16" y="100"/>
                          <a:pt x="16" y="100"/>
                          <a:pt x="16" y="100"/>
                        </a:cubicBezTo>
                        <a:cubicBezTo>
                          <a:pt x="16" y="100"/>
                          <a:pt x="16" y="100"/>
                          <a:pt x="16" y="100"/>
                        </a:cubicBezTo>
                        <a:close/>
                        <a:moveTo>
                          <a:pt x="15" y="105"/>
                        </a:moveTo>
                        <a:cubicBezTo>
                          <a:pt x="15" y="105"/>
                          <a:pt x="14" y="105"/>
                          <a:pt x="14" y="105"/>
                        </a:cubicBezTo>
                        <a:cubicBezTo>
                          <a:pt x="14" y="105"/>
                          <a:pt x="14" y="105"/>
                          <a:pt x="14" y="105"/>
                        </a:cubicBezTo>
                        <a:cubicBezTo>
                          <a:pt x="14" y="105"/>
                          <a:pt x="14" y="105"/>
                          <a:pt x="15" y="105"/>
                        </a:cubicBezTo>
                        <a:cubicBezTo>
                          <a:pt x="15" y="104"/>
                          <a:pt x="15" y="104"/>
                          <a:pt x="15" y="104"/>
                        </a:cubicBezTo>
                        <a:cubicBezTo>
                          <a:pt x="15" y="104"/>
                          <a:pt x="15" y="105"/>
                          <a:pt x="15" y="104"/>
                        </a:cubicBezTo>
                        <a:cubicBezTo>
                          <a:pt x="15" y="104"/>
                          <a:pt x="15" y="104"/>
                          <a:pt x="15" y="104"/>
                        </a:cubicBezTo>
                        <a:cubicBezTo>
                          <a:pt x="15" y="104"/>
                          <a:pt x="15" y="104"/>
                          <a:pt x="15" y="104"/>
                        </a:cubicBezTo>
                        <a:cubicBezTo>
                          <a:pt x="15" y="104"/>
                          <a:pt x="15" y="104"/>
                          <a:pt x="15" y="104"/>
                        </a:cubicBezTo>
                        <a:cubicBezTo>
                          <a:pt x="15" y="105"/>
                          <a:pt x="15" y="104"/>
                          <a:pt x="15" y="105"/>
                        </a:cubicBezTo>
                        <a:close/>
                        <a:moveTo>
                          <a:pt x="11" y="112"/>
                        </a:moveTo>
                        <a:cubicBezTo>
                          <a:pt x="12" y="111"/>
                          <a:pt x="12" y="111"/>
                          <a:pt x="12" y="111"/>
                        </a:cubicBezTo>
                        <a:cubicBezTo>
                          <a:pt x="12" y="111"/>
                          <a:pt x="12" y="111"/>
                          <a:pt x="12" y="111"/>
                        </a:cubicBezTo>
                        <a:cubicBezTo>
                          <a:pt x="12" y="110"/>
                          <a:pt x="12" y="110"/>
                          <a:pt x="12" y="110"/>
                        </a:cubicBezTo>
                        <a:cubicBezTo>
                          <a:pt x="12" y="110"/>
                          <a:pt x="12" y="110"/>
                          <a:pt x="12" y="110"/>
                        </a:cubicBezTo>
                        <a:cubicBezTo>
                          <a:pt x="12" y="110"/>
                          <a:pt x="12" y="110"/>
                          <a:pt x="12" y="110"/>
                        </a:cubicBezTo>
                        <a:cubicBezTo>
                          <a:pt x="12" y="110"/>
                          <a:pt x="12" y="110"/>
                          <a:pt x="12" y="110"/>
                        </a:cubicBezTo>
                        <a:cubicBezTo>
                          <a:pt x="12" y="110"/>
                          <a:pt x="12" y="109"/>
                          <a:pt x="13" y="108"/>
                        </a:cubicBezTo>
                        <a:cubicBezTo>
                          <a:pt x="13" y="108"/>
                          <a:pt x="13" y="109"/>
                          <a:pt x="13" y="109"/>
                        </a:cubicBezTo>
                        <a:cubicBezTo>
                          <a:pt x="12" y="109"/>
                          <a:pt x="13" y="109"/>
                          <a:pt x="12" y="109"/>
                        </a:cubicBezTo>
                        <a:cubicBezTo>
                          <a:pt x="13" y="109"/>
                          <a:pt x="13" y="108"/>
                          <a:pt x="13" y="108"/>
                        </a:cubicBezTo>
                        <a:cubicBezTo>
                          <a:pt x="13" y="108"/>
                          <a:pt x="13" y="108"/>
                          <a:pt x="13" y="108"/>
                        </a:cubicBezTo>
                        <a:cubicBezTo>
                          <a:pt x="13" y="108"/>
                          <a:pt x="13" y="108"/>
                          <a:pt x="14" y="108"/>
                        </a:cubicBezTo>
                        <a:cubicBezTo>
                          <a:pt x="14" y="108"/>
                          <a:pt x="13" y="108"/>
                          <a:pt x="13" y="108"/>
                        </a:cubicBezTo>
                        <a:cubicBezTo>
                          <a:pt x="13" y="108"/>
                          <a:pt x="13" y="108"/>
                          <a:pt x="13" y="108"/>
                        </a:cubicBezTo>
                        <a:cubicBezTo>
                          <a:pt x="13" y="108"/>
                          <a:pt x="13" y="109"/>
                          <a:pt x="13" y="109"/>
                        </a:cubicBezTo>
                        <a:cubicBezTo>
                          <a:pt x="13" y="109"/>
                          <a:pt x="13" y="109"/>
                          <a:pt x="13" y="109"/>
                        </a:cubicBezTo>
                        <a:cubicBezTo>
                          <a:pt x="13" y="109"/>
                          <a:pt x="13" y="109"/>
                          <a:pt x="13" y="109"/>
                        </a:cubicBezTo>
                        <a:cubicBezTo>
                          <a:pt x="13" y="109"/>
                          <a:pt x="13" y="109"/>
                          <a:pt x="13" y="109"/>
                        </a:cubicBezTo>
                        <a:cubicBezTo>
                          <a:pt x="13" y="109"/>
                          <a:pt x="13" y="109"/>
                          <a:pt x="13" y="109"/>
                        </a:cubicBezTo>
                        <a:cubicBezTo>
                          <a:pt x="13" y="109"/>
                          <a:pt x="13" y="109"/>
                          <a:pt x="13" y="109"/>
                        </a:cubicBezTo>
                        <a:cubicBezTo>
                          <a:pt x="12" y="109"/>
                          <a:pt x="13" y="109"/>
                          <a:pt x="13" y="110"/>
                        </a:cubicBezTo>
                        <a:cubicBezTo>
                          <a:pt x="13" y="109"/>
                          <a:pt x="12" y="110"/>
                          <a:pt x="12" y="110"/>
                        </a:cubicBezTo>
                        <a:cubicBezTo>
                          <a:pt x="12" y="110"/>
                          <a:pt x="13" y="110"/>
                          <a:pt x="13" y="110"/>
                        </a:cubicBezTo>
                        <a:cubicBezTo>
                          <a:pt x="13" y="110"/>
                          <a:pt x="12" y="110"/>
                          <a:pt x="12" y="110"/>
                        </a:cubicBezTo>
                        <a:cubicBezTo>
                          <a:pt x="12" y="110"/>
                          <a:pt x="12" y="110"/>
                          <a:pt x="13" y="110"/>
                        </a:cubicBezTo>
                        <a:cubicBezTo>
                          <a:pt x="12" y="111"/>
                          <a:pt x="12" y="111"/>
                          <a:pt x="12" y="111"/>
                        </a:cubicBezTo>
                        <a:cubicBezTo>
                          <a:pt x="12" y="111"/>
                          <a:pt x="12" y="111"/>
                          <a:pt x="12" y="111"/>
                        </a:cubicBezTo>
                        <a:cubicBezTo>
                          <a:pt x="12" y="111"/>
                          <a:pt x="12" y="111"/>
                          <a:pt x="12" y="111"/>
                        </a:cubicBezTo>
                        <a:cubicBezTo>
                          <a:pt x="12" y="111"/>
                          <a:pt x="12" y="111"/>
                          <a:pt x="12" y="111"/>
                        </a:cubicBezTo>
                        <a:cubicBezTo>
                          <a:pt x="12" y="111"/>
                          <a:pt x="12" y="111"/>
                          <a:pt x="12" y="111"/>
                        </a:cubicBezTo>
                        <a:cubicBezTo>
                          <a:pt x="12" y="112"/>
                          <a:pt x="12" y="111"/>
                          <a:pt x="12" y="111"/>
                        </a:cubicBezTo>
                        <a:cubicBezTo>
                          <a:pt x="12" y="112"/>
                          <a:pt x="12" y="112"/>
                          <a:pt x="12" y="113"/>
                        </a:cubicBezTo>
                        <a:cubicBezTo>
                          <a:pt x="11" y="113"/>
                          <a:pt x="12" y="112"/>
                          <a:pt x="12" y="112"/>
                        </a:cubicBezTo>
                        <a:cubicBezTo>
                          <a:pt x="12" y="112"/>
                          <a:pt x="12" y="112"/>
                          <a:pt x="12" y="112"/>
                        </a:cubicBezTo>
                        <a:cubicBezTo>
                          <a:pt x="12" y="112"/>
                          <a:pt x="12" y="112"/>
                          <a:pt x="12" y="112"/>
                        </a:cubicBezTo>
                        <a:cubicBezTo>
                          <a:pt x="11" y="112"/>
                          <a:pt x="12" y="112"/>
                          <a:pt x="11" y="112"/>
                        </a:cubicBezTo>
                        <a:cubicBezTo>
                          <a:pt x="11" y="112"/>
                          <a:pt x="12" y="112"/>
                          <a:pt x="12" y="112"/>
                        </a:cubicBezTo>
                        <a:cubicBezTo>
                          <a:pt x="12" y="112"/>
                          <a:pt x="12" y="112"/>
                          <a:pt x="11" y="112"/>
                        </a:cubicBezTo>
                        <a:close/>
                        <a:moveTo>
                          <a:pt x="12" y="108"/>
                        </a:moveTo>
                        <a:cubicBezTo>
                          <a:pt x="13" y="108"/>
                          <a:pt x="12" y="108"/>
                          <a:pt x="12" y="108"/>
                        </a:cubicBezTo>
                        <a:cubicBezTo>
                          <a:pt x="12" y="108"/>
                          <a:pt x="12" y="108"/>
                          <a:pt x="12" y="108"/>
                        </a:cubicBezTo>
                        <a:close/>
                        <a:moveTo>
                          <a:pt x="12" y="109"/>
                        </a:moveTo>
                        <a:cubicBezTo>
                          <a:pt x="12" y="109"/>
                          <a:pt x="12" y="109"/>
                          <a:pt x="12" y="109"/>
                        </a:cubicBezTo>
                        <a:cubicBezTo>
                          <a:pt x="12" y="109"/>
                          <a:pt x="12" y="108"/>
                          <a:pt x="12" y="109"/>
                        </a:cubicBezTo>
                        <a:close/>
                        <a:moveTo>
                          <a:pt x="12" y="109"/>
                        </a:moveTo>
                        <a:cubicBezTo>
                          <a:pt x="11" y="109"/>
                          <a:pt x="12" y="109"/>
                          <a:pt x="11" y="109"/>
                        </a:cubicBezTo>
                        <a:cubicBezTo>
                          <a:pt x="11" y="109"/>
                          <a:pt x="11" y="108"/>
                          <a:pt x="12" y="109"/>
                        </a:cubicBezTo>
                        <a:close/>
                        <a:moveTo>
                          <a:pt x="11" y="115"/>
                        </a:moveTo>
                        <a:cubicBezTo>
                          <a:pt x="11" y="114"/>
                          <a:pt x="11" y="114"/>
                          <a:pt x="11" y="114"/>
                        </a:cubicBezTo>
                        <a:cubicBezTo>
                          <a:pt x="11" y="114"/>
                          <a:pt x="11" y="114"/>
                          <a:pt x="11" y="115"/>
                        </a:cubicBezTo>
                        <a:close/>
                        <a:moveTo>
                          <a:pt x="8" y="115"/>
                        </a:moveTo>
                        <a:cubicBezTo>
                          <a:pt x="8" y="115"/>
                          <a:pt x="8" y="115"/>
                          <a:pt x="8" y="115"/>
                        </a:cubicBezTo>
                        <a:cubicBezTo>
                          <a:pt x="8" y="115"/>
                          <a:pt x="8" y="115"/>
                          <a:pt x="8" y="114"/>
                        </a:cubicBezTo>
                        <a:cubicBezTo>
                          <a:pt x="9" y="114"/>
                          <a:pt x="9" y="114"/>
                          <a:pt x="9" y="114"/>
                        </a:cubicBezTo>
                        <a:cubicBezTo>
                          <a:pt x="8" y="114"/>
                          <a:pt x="8" y="115"/>
                          <a:pt x="8" y="115"/>
                        </a:cubicBezTo>
                        <a:close/>
                        <a:moveTo>
                          <a:pt x="8" y="115"/>
                        </a:moveTo>
                        <a:cubicBezTo>
                          <a:pt x="8" y="115"/>
                          <a:pt x="8" y="115"/>
                          <a:pt x="8" y="115"/>
                        </a:cubicBezTo>
                        <a:cubicBezTo>
                          <a:pt x="8" y="115"/>
                          <a:pt x="8" y="115"/>
                          <a:pt x="8" y="115"/>
                        </a:cubicBezTo>
                        <a:cubicBezTo>
                          <a:pt x="8" y="115"/>
                          <a:pt x="8" y="115"/>
                          <a:pt x="8" y="115"/>
                        </a:cubicBezTo>
                        <a:cubicBezTo>
                          <a:pt x="8" y="115"/>
                          <a:pt x="8" y="115"/>
                          <a:pt x="8" y="115"/>
                        </a:cubicBezTo>
                        <a:close/>
                        <a:moveTo>
                          <a:pt x="3" y="119"/>
                        </a:moveTo>
                        <a:cubicBezTo>
                          <a:pt x="3" y="119"/>
                          <a:pt x="3" y="119"/>
                          <a:pt x="4" y="119"/>
                        </a:cubicBezTo>
                        <a:cubicBezTo>
                          <a:pt x="3" y="119"/>
                          <a:pt x="3" y="119"/>
                          <a:pt x="3" y="119"/>
                        </a:cubicBezTo>
                        <a:cubicBezTo>
                          <a:pt x="3" y="119"/>
                          <a:pt x="3" y="119"/>
                          <a:pt x="3" y="119"/>
                        </a:cubicBezTo>
                        <a:close/>
                        <a:moveTo>
                          <a:pt x="6" y="122"/>
                        </a:moveTo>
                        <a:cubicBezTo>
                          <a:pt x="6" y="122"/>
                          <a:pt x="5" y="122"/>
                          <a:pt x="5" y="122"/>
                        </a:cubicBezTo>
                        <a:cubicBezTo>
                          <a:pt x="5" y="122"/>
                          <a:pt x="6" y="122"/>
                          <a:pt x="6" y="122"/>
                        </a:cubicBezTo>
                        <a:close/>
                        <a:moveTo>
                          <a:pt x="49" y="9"/>
                        </a:moveTo>
                        <a:cubicBezTo>
                          <a:pt x="49" y="8"/>
                          <a:pt x="49" y="8"/>
                          <a:pt x="49" y="8"/>
                        </a:cubicBezTo>
                        <a:cubicBezTo>
                          <a:pt x="49" y="8"/>
                          <a:pt x="49" y="8"/>
                          <a:pt x="49" y="9"/>
                        </a:cubicBezTo>
                        <a:cubicBezTo>
                          <a:pt x="49" y="8"/>
                          <a:pt x="49" y="9"/>
                          <a:pt x="49" y="9"/>
                        </a:cubicBezTo>
                        <a:close/>
                        <a:moveTo>
                          <a:pt x="44" y="25"/>
                        </a:moveTo>
                        <a:cubicBezTo>
                          <a:pt x="44" y="25"/>
                          <a:pt x="44" y="25"/>
                          <a:pt x="44" y="25"/>
                        </a:cubicBezTo>
                        <a:cubicBezTo>
                          <a:pt x="44" y="26"/>
                          <a:pt x="44" y="26"/>
                          <a:pt x="44" y="26"/>
                        </a:cubicBezTo>
                        <a:cubicBezTo>
                          <a:pt x="43" y="26"/>
                          <a:pt x="44" y="25"/>
                          <a:pt x="44" y="25"/>
                        </a:cubicBezTo>
                        <a:close/>
                        <a:moveTo>
                          <a:pt x="45" y="26"/>
                        </a:moveTo>
                        <a:cubicBezTo>
                          <a:pt x="45" y="26"/>
                          <a:pt x="45" y="26"/>
                          <a:pt x="45" y="26"/>
                        </a:cubicBezTo>
                        <a:cubicBezTo>
                          <a:pt x="45" y="26"/>
                          <a:pt x="45" y="26"/>
                          <a:pt x="45" y="26"/>
                        </a:cubicBezTo>
                        <a:cubicBezTo>
                          <a:pt x="45" y="26"/>
                          <a:pt x="45" y="26"/>
                          <a:pt x="45" y="26"/>
                        </a:cubicBezTo>
                        <a:close/>
                        <a:moveTo>
                          <a:pt x="45" y="27"/>
                        </a:moveTo>
                        <a:cubicBezTo>
                          <a:pt x="44" y="27"/>
                          <a:pt x="44" y="27"/>
                          <a:pt x="44" y="28"/>
                        </a:cubicBezTo>
                        <a:cubicBezTo>
                          <a:pt x="44" y="28"/>
                          <a:pt x="44" y="28"/>
                          <a:pt x="44" y="28"/>
                        </a:cubicBezTo>
                        <a:cubicBezTo>
                          <a:pt x="44" y="28"/>
                          <a:pt x="44" y="27"/>
                          <a:pt x="44" y="27"/>
                        </a:cubicBezTo>
                        <a:cubicBezTo>
                          <a:pt x="44" y="27"/>
                          <a:pt x="44" y="27"/>
                          <a:pt x="44" y="27"/>
                        </a:cubicBezTo>
                        <a:cubicBezTo>
                          <a:pt x="45" y="27"/>
                          <a:pt x="44" y="27"/>
                          <a:pt x="45" y="27"/>
                        </a:cubicBezTo>
                        <a:close/>
                        <a:moveTo>
                          <a:pt x="47" y="29"/>
                        </a:moveTo>
                        <a:cubicBezTo>
                          <a:pt x="47" y="29"/>
                          <a:pt x="47" y="29"/>
                          <a:pt x="47" y="29"/>
                        </a:cubicBezTo>
                        <a:cubicBezTo>
                          <a:pt x="47" y="29"/>
                          <a:pt x="47" y="29"/>
                          <a:pt x="47" y="29"/>
                        </a:cubicBezTo>
                        <a:cubicBezTo>
                          <a:pt x="47" y="29"/>
                          <a:pt x="47" y="29"/>
                          <a:pt x="47" y="29"/>
                        </a:cubicBezTo>
                        <a:cubicBezTo>
                          <a:pt x="47" y="29"/>
                          <a:pt x="47" y="30"/>
                          <a:pt x="47" y="30"/>
                        </a:cubicBezTo>
                        <a:cubicBezTo>
                          <a:pt x="47" y="30"/>
                          <a:pt x="47" y="29"/>
                          <a:pt x="47" y="29"/>
                        </a:cubicBezTo>
                        <a:cubicBezTo>
                          <a:pt x="47" y="29"/>
                          <a:pt x="47" y="29"/>
                          <a:pt x="47" y="29"/>
                        </a:cubicBezTo>
                        <a:cubicBezTo>
                          <a:pt x="47" y="29"/>
                          <a:pt x="47" y="29"/>
                          <a:pt x="47" y="29"/>
                        </a:cubicBezTo>
                        <a:close/>
                        <a:moveTo>
                          <a:pt x="48" y="36"/>
                        </a:moveTo>
                        <a:cubicBezTo>
                          <a:pt x="48" y="36"/>
                          <a:pt x="48" y="36"/>
                          <a:pt x="48" y="36"/>
                        </a:cubicBezTo>
                        <a:cubicBezTo>
                          <a:pt x="48" y="36"/>
                          <a:pt x="48" y="36"/>
                          <a:pt x="48" y="36"/>
                        </a:cubicBezTo>
                        <a:cubicBezTo>
                          <a:pt x="47" y="36"/>
                          <a:pt x="48" y="36"/>
                          <a:pt x="48" y="35"/>
                        </a:cubicBezTo>
                        <a:cubicBezTo>
                          <a:pt x="48" y="35"/>
                          <a:pt x="48" y="35"/>
                          <a:pt x="48" y="35"/>
                        </a:cubicBezTo>
                        <a:cubicBezTo>
                          <a:pt x="48" y="35"/>
                          <a:pt x="48" y="36"/>
                          <a:pt x="48" y="36"/>
                        </a:cubicBezTo>
                        <a:close/>
                        <a:moveTo>
                          <a:pt x="41" y="35"/>
                        </a:moveTo>
                        <a:cubicBezTo>
                          <a:pt x="41" y="35"/>
                          <a:pt x="41" y="35"/>
                          <a:pt x="41" y="35"/>
                        </a:cubicBezTo>
                        <a:cubicBezTo>
                          <a:pt x="41" y="35"/>
                          <a:pt x="41" y="35"/>
                          <a:pt x="41" y="34"/>
                        </a:cubicBezTo>
                        <a:cubicBezTo>
                          <a:pt x="41" y="34"/>
                          <a:pt x="41" y="35"/>
                          <a:pt x="41" y="35"/>
                        </a:cubicBezTo>
                        <a:close/>
                        <a:moveTo>
                          <a:pt x="44" y="44"/>
                        </a:moveTo>
                        <a:cubicBezTo>
                          <a:pt x="44" y="44"/>
                          <a:pt x="44" y="44"/>
                          <a:pt x="44" y="44"/>
                        </a:cubicBezTo>
                        <a:cubicBezTo>
                          <a:pt x="44" y="44"/>
                          <a:pt x="44" y="44"/>
                          <a:pt x="44" y="44"/>
                        </a:cubicBezTo>
                        <a:cubicBezTo>
                          <a:pt x="44" y="44"/>
                          <a:pt x="44" y="44"/>
                          <a:pt x="44" y="44"/>
                        </a:cubicBezTo>
                        <a:cubicBezTo>
                          <a:pt x="44" y="44"/>
                          <a:pt x="44" y="44"/>
                          <a:pt x="44" y="44"/>
                        </a:cubicBezTo>
                        <a:close/>
                        <a:moveTo>
                          <a:pt x="43" y="48"/>
                        </a:moveTo>
                        <a:cubicBezTo>
                          <a:pt x="43" y="48"/>
                          <a:pt x="43" y="48"/>
                          <a:pt x="43" y="48"/>
                        </a:cubicBezTo>
                        <a:cubicBezTo>
                          <a:pt x="43" y="48"/>
                          <a:pt x="43" y="49"/>
                          <a:pt x="43" y="49"/>
                        </a:cubicBezTo>
                        <a:cubicBezTo>
                          <a:pt x="43" y="49"/>
                          <a:pt x="43" y="49"/>
                          <a:pt x="42" y="49"/>
                        </a:cubicBezTo>
                        <a:cubicBezTo>
                          <a:pt x="42" y="49"/>
                          <a:pt x="43" y="48"/>
                          <a:pt x="43" y="48"/>
                        </a:cubicBezTo>
                        <a:close/>
                        <a:moveTo>
                          <a:pt x="37" y="46"/>
                        </a:moveTo>
                        <a:cubicBezTo>
                          <a:pt x="37" y="46"/>
                          <a:pt x="38" y="46"/>
                          <a:pt x="38" y="46"/>
                        </a:cubicBezTo>
                        <a:cubicBezTo>
                          <a:pt x="38" y="47"/>
                          <a:pt x="38" y="47"/>
                          <a:pt x="37" y="47"/>
                        </a:cubicBezTo>
                        <a:cubicBezTo>
                          <a:pt x="37" y="47"/>
                          <a:pt x="37" y="47"/>
                          <a:pt x="37" y="47"/>
                        </a:cubicBezTo>
                        <a:cubicBezTo>
                          <a:pt x="37" y="47"/>
                          <a:pt x="37" y="47"/>
                          <a:pt x="37" y="46"/>
                        </a:cubicBezTo>
                        <a:close/>
                        <a:moveTo>
                          <a:pt x="37" y="51"/>
                        </a:moveTo>
                        <a:cubicBezTo>
                          <a:pt x="37" y="51"/>
                          <a:pt x="37" y="51"/>
                          <a:pt x="37" y="50"/>
                        </a:cubicBezTo>
                        <a:cubicBezTo>
                          <a:pt x="37" y="51"/>
                          <a:pt x="37" y="51"/>
                          <a:pt x="37" y="50"/>
                        </a:cubicBezTo>
                        <a:cubicBezTo>
                          <a:pt x="37" y="51"/>
                          <a:pt x="37" y="51"/>
                          <a:pt x="37" y="51"/>
                        </a:cubicBezTo>
                        <a:close/>
                        <a:moveTo>
                          <a:pt x="31" y="51"/>
                        </a:moveTo>
                        <a:cubicBezTo>
                          <a:pt x="31" y="51"/>
                          <a:pt x="31" y="51"/>
                          <a:pt x="31" y="51"/>
                        </a:cubicBezTo>
                        <a:cubicBezTo>
                          <a:pt x="31" y="51"/>
                          <a:pt x="31" y="51"/>
                          <a:pt x="31" y="51"/>
                        </a:cubicBezTo>
                        <a:cubicBezTo>
                          <a:pt x="32" y="51"/>
                          <a:pt x="31" y="51"/>
                          <a:pt x="32" y="51"/>
                        </a:cubicBezTo>
                        <a:cubicBezTo>
                          <a:pt x="32" y="51"/>
                          <a:pt x="31" y="51"/>
                          <a:pt x="31" y="51"/>
                        </a:cubicBezTo>
                        <a:close/>
                        <a:moveTo>
                          <a:pt x="34" y="56"/>
                        </a:moveTo>
                        <a:cubicBezTo>
                          <a:pt x="34" y="55"/>
                          <a:pt x="35" y="55"/>
                          <a:pt x="35" y="54"/>
                        </a:cubicBezTo>
                        <a:cubicBezTo>
                          <a:pt x="35" y="54"/>
                          <a:pt x="35" y="54"/>
                          <a:pt x="35" y="54"/>
                        </a:cubicBez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35" y="54"/>
                          <a:pt x="35" y="54"/>
                          <a:pt x="35" y="54"/>
                        </a:cubicBezTo>
                        <a:cubicBezTo>
                          <a:pt x="35" y="54"/>
                          <a:pt x="35" y="54"/>
                          <a:pt x="35" y="54"/>
                        </a:cubicBezTo>
                        <a:cubicBezTo>
                          <a:pt x="35" y="54"/>
                          <a:pt x="35" y="54"/>
                          <a:pt x="34" y="54"/>
                        </a:cubicBezTo>
                        <a:cubicBezTo>
                          <a:pt x="34" y="54"/>
                          <a:pt x="35" y="53"/>
                          <a:pt x="35" y="53"/>
                        </a:cubicBezTo>
                        <a:cubicBezTo>
                          <a:pt x="35" y="53"/>
                          <a:pt x="35" y="53"/>
                          <a:pt x="35" y="53"/>
                        </a:cubicBezTo>
                        <a:cubicBezTo>
                          <a:pt x="35" y="54"/>
                          <a:pt x="35" y="54"/>
                          <a:pt x="35" y="54"/>
                        </a:cubicBezTo>
                        <a:cubicBezTo>
                          <a:pt x="35" y="54"/>
                          <a:pt x="35" y="54"/>
                          <a:pt x="35" y="54"/>
                        </a:cubicBezTo>
                        <a:cubicBezTo>
                          <a:pt x="35" y="54"/>
                          <a:pt x="35" y="54"/>
                          <a:pt x="35" y="54"/>
                        </a:cubicBezTo>
                        <a:cubicBezTo>
                          <a:pt x="35" y="54"/>
                          <a:pt x="35" y="54"/>
                          <a:pt x="35" y="54"/>
                        </a:cubicBezTo>
                        <a:cubicBezTo>
                          <a:pt x="35" y="55"/>
                          <a:pt x="35" y="55"/>
                          <a:pt x="35" y="55"/>
                        </a:cubicBezTo>
                        <a:cubicBezTo>
                          <a:pt x="35" y="55"/>
                          <a:pt x="35" y="55"/>
                          <a:pt x="35" y="55"/>
                        </a:cubicBezTo>
                        <a:cubicBezTo>
                          <a:pt x="35" y="55"/>
                          <a:pt x="35" y="55"/>
                          <a:pt x="35" y="55"/>
                        </a:cubicBezTo>
                        <a:cubicBezTo>
                          <a:pt x="35" y="55"/>
                          <a:pt x="34" y="56"/>
                          <a:pt x="34" y="56"/>
                        </a:cubicBezTo>
                        <a:close/>
                        <a:moveTo>
                          <a:pt x="34" y="56"/>
                        </a:moveTo>
                        <a:cubicBezTo>
                          <a:pt x="34" y="56"/>
                          <a:pt x="34" y="56"/>
                          <a:pt x="33" y="56"/>
                        </a:cubicBezTo>
                        <a:cubicBezTo>
                          <a:pt x="34" y="56"/>
                          <a:pt x="33" y="56"/>
                          <a:pt x="33" y="56"/>
                        </a:cubicBezTo>
                        <a:cubicBezTo>
                          <a:pt x="33" y="56"/>
                          <a:pt x="33" y="56"/>
                          <a:pt x="33" y="56"/>
                        </a:cubicBezTo>
                        <a:cubicBezTo>
                          <a:pt x="33" y="56"/>
                          <a:pt x="33" y="56"/>
                          <a:pt x="33" y="56"/>
                        </a:cubicBezTo>
                        <a:cubicBezTo>
                          <a:pt x="34" y="56"/>
                          <a:pt x="34" y="56"/>
                          <a:pt x="34" y="56"/>
                        </a:cubicBezTo>
                        <a:cubicBezTo>
                          <a:pt x="34" y="56"/>
                          <a:pt x="34" y="56"/>
                          <a:pt x="34" y="56"/>
                        </a:cubicBezTo>
                        <a:cubicBezTo>
                          <a:pt x="34" y="56"/>
                          <a:pt x="34" y="56"/>
                          <a:pt x="34" y="56"/>
                        </a:cubicBezTo>
                        <a:close/>
                        <a:moveTo>
                          <a:pt x="31" y="58"/>
                        </a:moveTo>
                        <a:cubicBezTo>
                          <a:pt x="31" y="58"/>
                          <a:pt x="31" y="58"/>
                          <a:pt x="31" y="57"/>
                        </a:cubicBezTo>
                        <a:cubicBezTo>
                          <a:pt x="31" y="57"/>
                          <a:pt x="31" y="57"/>
                          <a:pt x="32" y="58"/>
                        </a:cubicBezTo>
                        <a:cubicBezTo>
                          <a:pt x="32" y="57"/>
                          <a:pt x="32" y="57"/>
                          <a:pt x="32" y="57"/>
                        </a:cubicBezTo>
                        <a:cubicBezTo>
                          <a:pt x="32" y="57"/>
                          <a:pt x="31" y="57"/>
                          <a:pt x="31" y="57"/>
                        </a:cubicBezTo>
                        <a:cubicBezTo>
                          <a:pt x="32" y="57"/>
                          <a:pt x="32" y="57"/>
                          <a:pt x="32" y="57"/>
                        </a:cubicBezTo>
                        <a:cubicBezTo>
                          <a:pt x="32" y="57"/>
                          <a:pt x="32" y="57"/>
                          <a:pt x="32" y="57"/>
                        </a:cubicBezTo>
                        <a:cubicBezTo>
                          <a:pt x="32" y="57"/>
                          <a:pt x="32" y="57"/>
                          <a:pt x="32" y="57"/>
                        </a:cubicBezTo>
                        <a:cubicBezTo>
                          <a:pt x="32" y="56"/>
                          <a:pt x="32" y="57"/>
                          <a:pt x="32" y="57"/>
                        </a:cubicBezTo>
                        <a:cubicBezTo>
                          <a:pt x="32" y="57"/>
                          <a:pt x="32" y="57"/>
                          <a:pt x="32" y="57"/>
                        </a:cubicBezTo>
                        <a:cubicBezTo>
                          <a:pt x="32" y="57"/>
                          <a:pt x="32" y="58"/>
                          <a:pt x="32" y="58"/>
                        </a:cubicBezTo>
                        <a:cubicBezTo>
                          <a:pt x="31" y="58"/>
                          <a:pt x="31" y="58"/>
                          <a:pt x="31" y="58"/>
                        </a:cubicBezTo>
                        <a:close/>
                        <a:moveTo>
                          <a:pt x="28" y="57"/>
                        </a:moveTo>
                        <a:cubicBezTo>
                          <a:pt x="28" y="57"/>
                          <a:pt x="28" y="57"/>
                          <a:pt x="29" y="56"/>
                        </a:cubicBezTo>
                        <a:cubicBezTo>
                          <a:pt x="29" y="56"/>
                          <a:pt x="29" y="56"/>
                          <a:pt x="29" y="56"/>
                        </a:cubicBezTo>
                        <a:cubicBezTo>
                          <a:pt x="29" y="57"/>
                          <a:pt x="29" y="57"/>
                          <a:pt x="29" y="57"/>
                        </a:cubicBezTo>
                        <a:cubicBezTo>
                          <a:pt x="28" y="57"/>
                          <a:pt x="28" y="57"/>
                          <a:pt x="28" y="57"/>
                        </a:cubicBezTo>
                        <a:cubicBezTo>
                          <a:pt x="28" y="57"/>
                          <a:pt x="28" y="57"/>
                          <a:pt x="28" y="58"/>
                        </a:cubicBezTo>
                        <a:cubicBezTo>
                          <a:pt x="28" y="58"/>
                          <a:pt x="28" y="57"/>
                          <a:pt x="28" y="57"/>
                        </a:cubicBezTo>
                        <a:close/>
                        <a:moveTo>
                          <a:pt x="32" y="60"/>
                        </a:moveTo>
                        <a:cubicBezTo>
                          <a:pt x="32" y="60"/>
                          <a:pt x="32" y="60"/>
                          <a:pt x="32" y="60"/>
                        </a:cubicBezTo>
                        <a:cubicBezTo>
                          <a:pt x="32" y="61"/>
                          <a:pt x="32" y="60"/>
                          <a:pt x="32" y="60"/>
                        </a:cubicBezTo>
                        <a:cubicBezTo>
                          <a:pt x="32" y="60"/>
                          <a:pt x="32" y="60"/>
                          <a:pt x="32" y="60"/>
                        </a:cubicBezTo>
                        <a:cubicBezTo>
                          <a:pt x="32" y="60"/>
                          <a:pt x="33" y="60"/>
                          <a:pt x="32" y="60"/>
                        </a:cubicBezTo>
                        <a:close/>
                        <a:moveTo>
                          <a:pt x="25" y="76"/>
                        </a:moveTo>
                        <a:cubicBezTo>
                          <a:pt x="26" y="75"/>
                          <a:pt x="26" y="75"/>
                          <a:pt x="26" y="75"/>
                        </a:cubicBezTo>
                        <a:cubicBezTo>
                          <a:pt x="26" y="75"/>
                          <a:pt x="26" y="75"/>
                          <a:pt x="26" y="75"/>
                        </a:cubicBezTo>
                        <a:cubicBezTo>
                          <a:pt x="26" y="75"/>
                          <a:pt x="26" y="75"/>
                          <a:pt x="26" y="75"/>
                        </a:cubicBezTo>
                        <a:cubicBezTo>
                          <a:pt x="26" y="75"/>
                          <a:pt x="26" y="75"/>
                          <a:pt x="26" y="75"/>
                        </a:cubicBezTo>
                        <a:cubicBezTo>
                          <a:pt x="26" y="75"/>
                          <a:pt x="26" y="75"/>
                          <a:pt x="26" y="75"/>
                        </a:cubicBezTo>
                        <a:cubicBezTo>
                          <a:pt x="26" y="75"/>
                          <a:pt x="26" y="76"/>
                          <a:pt x="26" y="76"/>
                        </a:cubicBezTo>
                        <a:cubicBezTo>
                          <a:pt x="26" y="76"/>
                          <a:pt x="26" y="75"/>
                          <a:pt x="26" y="75"/>
                        </a:cubicBezTo>
                        <a:cubicBezTo>
                          <a:pt x="26" y="75"/>
                          <a:pt x="26" y="76"/>
                          <a:pt x="26" y="75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6" y="76"/>
                          <a:pt x="26" y="76"/>
                          <a:pt x="26" y="76"/>
                        </a:cubicBezTo>
                        <a:cubicBezTo>
                          <a:pt x="26" y="76"/>
                          <a:pt x="26" y="76"/>
                          <a:pt x="25" y="76"/>
                        </a:cubicBezTo>
                        <a:close/>
                        <a:moveTo>
                          <a:pt x="24" y="81"/>
                        </a:moveTo>
                        <a:cubicBezTo>
                          <a:pt x="25" y="81"/>
                          <a:pt x="25" y="81"/>
                          <a:pt x="24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1"/>
                          <a:pt x="25" y="81"/>
                          <a:pt x="25" y="81"/>
                        </a:cubicBezTo>
                        <a:cubicBezTo>
                          <a:pt x="25" y="82"/>
                          <a:pt x="24" y="82"/>
                          <a:pt x="24" y="82"/>
                        </a:cubicBezTo>
                        <a:cubicBezTo>
                          <a:pt x="24" y="82"/>
                          <a:pt x="24" y="82"/>
                          <a:pt x="25" y="81"/>
                        </a:cubicBezTo>
                        <a:cubicBezTo>
                          <a:pt x="25" y="81"/>
                          <a:pt x="25" y="81"/>
                          <a:pt x="24" y="81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84000">
                        <a:schemeClr val="accent2">
                          <a:lumMod val="40000"/>
                          <a:lumOff val="60000"/>
                        </a:schemeClr>
                      </a:gs>
                      <a:gs pos="0">
                        <a:schemeClr val="accent2"/>
                      </a:gs>
                      <a:gs pos="55000">
                        <a:schemeClr val="accent2"/>
                      </a:gs>
                    </a:gsLst>
                    <a:lin ang="135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/>
                  </a:p>
                </p:txBody>
              </p:sp>
              <p:sp>
                <p:nvSpPr>
                  <p:cNvPr id="241" name="任意多边形: 形状 240">
                    <a:extLst>
                      <a:ext uri="{FF2B5EF4-FFF2-40B4-BE49-F238E27FC236}">
                        <a16:creationId xmlns:a16="http://schemas.microsoft.com/office/drawing/2014/main" id="{26D53860-F728-4A32-AC98-8E0A78D6E78F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9241576" y="2183979"/>
                    <a:ext cx="266657" cy="70926"/>
                  </a:xfrm>
                  <a:custGeom>
                    <a:avLst/>
                    <a:gdLst>
                      <a:gd name="T0" fmla="*/ 190 w 251"/>
                      <a:gd name="T1" fmla="*/ 13 h 67"/>
                      <a:gd name="T2" fmla="*/ 184 w 251"/>
                      <a:gd name="T3" fmla="*/ 18 h 67"/>
                      <a:gd name="T4" fmla="*/ 176 w 251"/>
                      <a:gd name="T5" fmla="*/ 18 h 67"/>
                      <a:gd name="T6" fmla="*/ 171 w 251"/>
                      <a:gd name="T7" fmla="*/ 19 h 67"/>
                      <a:gd name="T8" fmla="*/ 161 w 251"/>
                      <a:gd name="T9" fmla="*/ 21 h 67"/>
                      <a:gd name="T10" fmla="*/ 156 w 251"/>
                      <a:gd name="T11" fmla="*/ 31 h 67"/>
                      <a:gd name="T12" fmla="*/ 145 w 251"/>
                      <a:gd name="T13" fmla="*/ 33 h 67"/>
                      <a:gd name="T14" fmla="*/ 138 w 251"/>
                      <a:gd name="T15" fmla="*/ 26 h 67"/>
                      <a:gd name="T16" fmla="*/ 134 w 251"/>
                      <a:gd name="T17" fmla="*/ 32 h 67"/>
                      <a:gd name="T18" fmla="*/ 123 w 251"/>
                      <a:gd name="T19" fmla="*/ 30 h 67"/>
                      <a:gd name="T20" fmla="*/ 110 w 251"/>
                      <a:gd name="T21" fmla="*/ 33 h 67"/>
                      <a:gd name="T22" fmla="*/ 102 w 251"/>
                      <a:gd name="T23" fmla="*/ 36 h 67"/>
                      <a:gd name="T24" fmla="*/ 92 w 251"/>
                      <a:gd name="T25" fmla="*/ 45 h 67"/>
                      <a:gd name="T26" fmla="*/ 86 w 251"/>
                      <a:gd name="T27" fmla="*/ 42 h 67"/>
                      <a:gd name="T28" fmla="*/ 71 w 251"/>
                      <a:gd name="T29" fmla="*/ 48 h 67"/>
                      <a:gd name="T30" fmla="*/ 25 w 251"/>
                      <a:gd name="T31" fmla="*/ 61 h 67"/>
                      <a:gd name="T32" fmla="*/ 6 w 251"/>
                      <a:gd name="T33" fmla="*/ 66 h 67"/>
                      <a:gd name="T34" fmla="*/ 190 w 251"/>
                      <a:gd name="T35" fmla="*/ 23 h 67"/>
                      <a:gd name="T36" fmla="*/ 178 w 251"/>
                      <a:gd name="T37" fmla="*/ 24 h 67"/>
                      <a:gd name="T38" fmla="*/ 186 w 251"/>
                      <a:gd name="T39" fmla="*/ 21 h 67"/>
                      <a:gd name="T40" fmla="*/ 179 w 251"/>
                      <a:gd name="T41" fmla="*/ 22 h 67"/>
                      <a:gd name="T42" fmla="*/ 198 w 251"/>
                      <a:gd name="T43" fmla="*/ 15 h 67"/>
                      <a:gd name="T44" fmla="*/ 196 w 251"/>
                      <a:gd name="T45" fmla="*/ 12 h 67"/>
                      <a:gd name="T46" fmla="*/ 213 w 251"/>
                      <a:gd name="T47" fmla="*/ 4 h 67"/>
                      <a:gd name="T48" fmla="*/ 207 w 251"/>
                      <a:gd name="T49" fmla="*/ 7 h 67"/>
                      <a:gd name="T50" fmla="*/ 191 w 251"/>
                      <a:gd name="T51" fmla="*/ 15 h 67"/>
                      <a:gd name="T52" fmla="*/ 178 w 251"/>
                      <a:gd name="T53" fmla="*/ 22 h 67"/>
                      <a:gd name="T54" fmla="*/ 199 w 251"/>
                      <a:gd name="T55" fmla="*/ 19 h 67"/>
                      <a:gd name="T56" fmla="*/ 200 w 251"/>
                      <a:gd name="T57" fmla="*/ 20 h 67"/>
                      <a:gd name="T58" fmla="*/ 187 w 251"/>
                      <a:gd name="T59" fmla="*/ 15 h 67"/>
                      <a:gd name="T60" fmla="*/ 180 w 251"/>
                      <a:gd name="T61" fmla="*/ 18 h 67"/>
                      <a:gd name="T62" fmla="*/ 164 w 251"/>
                      <a:gd name="T63" fmla="*/ 29 h 67"/>
                      <a:gd name="T64" fmla="*/ 153 w 251"/>
                      <a:gd name="T65" fmla="*/ 31 h 67"/>
                      <a:gd name="T66" fmla="*/ 149 w 251"/>
                      <a:gd name="T67" fmla="*/ 31 h 67"/>
                      <a:gd name="T68" fmla="*/ 156 w 251"/>
                      <a:gd name="T69" fmla="*/ 28 h 67"/>
                      <a:gd name="T70" fmla="*/ 152 w 251"/>
                      <a:gd name="T71" fmla="*/ 30 h 67"/>
                      <a:gd name="T72" fmla="*/ 147 w 251"/>
                      <a:gd name="T73" fmla="*/ 23 h 67"/>
                      <a:gd name="T74" fmla="*/ 95 w 251"/>
                      <a:gd name="T75" fmla="*/ 40 h 67"/>
                      <a:gd name="T76" fmla="*/ 107 w 251"/>
                      <a:gd name="T77" fmla="*/ 38 h 67"/>
                      <a:gd name="T78" fmla="*/ 108 w 251"/>
                      <a:gd name="T79" fmla="*/ 36 h 67"/>
                      <a:gd name="T80" fmla="*/ 120 w 251"/>
                      <a:gd name="T81" fmla="*/ 35 h 67"/>
                      <a:gd name="T82" fmla="*/ 137 w 251"/>
                      <a:gd name="T83" fmla="*/ 33 h 67"/>
                      <a:gd name="T84" fmla="*/ 142 w 251"/>
                      <a:gd name="T85" fmla="*/ 35 h 67"/>
                      <a:gd name="T86" fmla="*/ 119 w 251"/>
                      <a:gd name="T87" fmla="*/ 39 h 67"/>
                      <a:gd name="T88" fmla="*/ 98 w 251"/>
                      <a:gd name="T89" fmla="*/ 44 h 67"/>
                      <a:gd name="T90" fmla="*/ 101 w 251"/>
                      <a:gd name="T91" fmla="*/ 40 h 67"/>
                      <a:gd name="T92" fmla="*/ 138 w 251"/>
                      <a:gd name="T93" fmla="*/ 34 h 67"/>
                      <a:gd name="T94" fmla="*/ 119 w 251"/>
                      <a:gd name="T95" fmla="*/ 36 h 67"/>
                      <a:gd name="T96" fmla="*/ 113 w 251"/>
                      <a:gd name="T97" fmla="*/ 38 h 67"/>
                      <a:gd name="T98" fmla="*/ 98 w 251"/>
                      <a:gd name="T99" fmla="*/ 44 h 67"/>
                      <a:gd name="T100" fmla="*/ 114 w 251"/>
                      <a:gd name="T101" fmla="*/ 38 h 67"/>
                      <a:gd name="T102" fmla="*/ 128 w 251"/>
                      <a:gd name="T103" fmla="*/ 35 h 67"/>
                      <a:gd name="T104" fmla="*/ 102 w 251"/>
                      <a:gd name="T105" fmla="*/ 40 h 67"/>
                      <a:gd name="T106" fmla="*/ 140 w 251"/>
                      <a:gd name="T107" fmla="*/ 31 h 67"/>
                      <a:gd name="T108" fmla="*/ 137 w 251"/>
                      <a:gd name="T109" fmla="*/ 29 h 67"/>
                      <a:gd name="T110" fmla="*/ 134 w 251"/>
                      <a:gd name="T111" fmla="*/ 27 h 67"/>
                      <a:gd name="T112" fmla="*/ 126 w 251"/>
                      <a:gd name="T113" fmla="*/ 27 h 67"/>
                      <a:gd name="T114" fmla="*/ 120 w 251"/>
                      <a:gd name="T115" fmla="*/ 30 h 67"/>
                      <a:gd name="T116" fmla="*/ 96 w 251"/>
                      <a:gd name="T117" fmla="*/ 44 h 67"/>
                      <a:gd name="T118" fmla="*/ 93 w 251"/>
                      <a:gd name="T119" fmla="*/ 45 h 67"/>
                      <a:gd name="T120" fmla="*/ 71 w 251"/>
                      <a:gd name="T121" fmla="*/ 51 h 67"/>
                      <a:gd name="T122" fmla="*/ 25 w 251"/>
                      <a:gd name="T123" fmla="*/ 62 h 67"/>
                      <a:gd name="T124" fmla="*/ 140 w 251"/>
                      <a:gd name="T125" fmla="*/ 25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251" h="67">
                        <a:moveTo>
                          <a:pt x="249" y="8"/>
                        </a:moveTo>
                        <a:cubicBezTo>
                          <a:pt x="249" y="8"/>
                          <a:pt x="249" y="8"/>
                          <a:pt x="249" y="8"/>
                        </a:cubicBezTo>
                        <a:cubicBezTo>
                          <a:pt x="248" y="8"/>
                          <a:pt x="249" y="8"/>
                          <a:pt x="248" y="9"/>
                        </a:cubicBezTo>
                        <a:cubicBezTo>
                          <a:pt x="248" y="8"/>
                          <a:pt x="248" y="8"/>
                          <a:pt x="249" y="8"/>
                        </a:cubicBezTo>
                        <a:close/>
                        <a:moveTo>
                          <a:pt x="227" y="1"/>
                        </a:moveTo>
                        <a:cubicBezTo>
                          <a:pt x="227" y="1"/>
                          <a:pt x="227" y="1"/>
                          <a:pt x="228" y="1"/>
                        </a:cubicBezTo>
                        <a:cubicBezTo>
                          <a:pt x="227" y="1"/>
                          <a:pt x="228" y="1"/>
                          <a:pt x="228" y="2"/>
                        </a:cubicBezTo>
                        <a:cubicBezTo>
                          <a:pt x="227" y="2"/>
                          <a:pt x="227" y="1"/>
                          <a:pt x="227" y="1"/>
                        </a:cubicBezTo>
                        <a:close/>
                        <a:moveTo>
                          <a:pt x="223" y="2"/>
                        </a:moveTo>
                        <a:cubicBezTo>
                          <a:pt x="223" y="2"/>
                          <a:pt x="223" y="2"/>
                          <a:pt x="223" y="2"/>
                        </a:cubicBezTo>
                        <a:cubicBezTo>
                          <a:pt x="223" y="2"/>
                          <a:pt x="223" y="2"/>
                          <a:pt x="223" y="2"/>
                        </a:cubicBezTo>
                        <a:cubicBezTo>
                          <a:pt x="223" y="2"/>
                          <a:pt x="223" y="2"/>
                          <a:pt x="223" y="2"/>
                        </a:cubicBezTo>
                        <a:close/>
                        <a:moveTo>
                          <a:pt x="221" y="2"/>
                        </a:moveTo>
                        <a:cubicBezTo>
                          <a:pt x="222" y="2"/>
                          <a:pt x="221" y="3"/>
                          <a:pt x="222" y="2"/>
                        </a:cubicBezTo>
                        <a:cubicBezTo>
                          <a:pt x="222" y="2"/>
                          <a:pt x="221" y="2"/>
                          <a:pt x="221" y="3"/>
                        </a:cubicBezTo>
                        <a:cubicBezTo>
                          <a:pt x="221" y="3"/>
                          <a:pt x="221" y="2"/>
                          <a:pt x="221" y="2"/>
                        </a:cubicBezTo>
                        <a:close/>
                        <a:moveTo>
                          <a:pt x="217" y="3"/>
                        </a:moveTo>
                        <a:cubicBezTo>
                          <a:pt x="217" y="3"/>
                          <a:pt x="217" y="3"/>
                          <a:pt x="217" y="3"/>
                        </a:cubicBezTo>
                        <a:cubicBezTo>
                          <a:pt x="216" y="3"/>
                          <a:pt x="216" y="4"/>
                          <a:pt x="216" y="3"/>
                        </a:cubicBezTo>
                        <a:cubicBezTo>
                          <a:pt x="216" y="3"/>
                          <a:pt x="216" y="3"/>
                          <a:pt x="217" y="3"/>
                        </a:cubicBezTo>
                        <a:close/>
                        <a:moveTo>
                          <a:pt x="210" y="5"/>
                        </a:moveTo>
                        <a:cubicBezTo>
                          <a:pt x="210" y="5"/>
                          <a:pt x="210" y="5"/>
                          <a:pt x="209" y="5"/>
                        </a:cubicBezTo>
                        <a:cubicBezTo>
                          <a:pt x="209" y="5"/>
                          <a:pt x="210" y="5"/>
                          <a:pt x="210" y="4"/>
                        </a:cubicBezTo>
                        <a:cubicBezTo>
                          <a:pt x="210" y="5"/>
                          <a:pt x="210" y="4"/>
                          <a:pt x="210" y="5"/>
                        </a:cubicBezTo>
                        <a:close/>
                        <a:moveTo>
                          <a:pt x="209" y="4"/>
                        </a:moveTo>
                        <a:cubicBezTo>
                          <a:pt x="209" y="4"/>
                          <a:pt x="209" y="4"/>
                          <a:pt x="209" y="4"/>
                        </a:cubicBezTo>
                        <a:cubicBezTo>
                          <a:pt x="210" y="5"/>
                          <a:pt x="209" y="5"/>
                          <a:pt x="209" y="4"/>
                        </a:cubicBezTo>
                        <a:close/>
                        <a:moveTo>
                          <a:pt x="207" y="6"/>
                        </a:moveTo>
                        <a:cubicBezTo>
                          <a:pt x="207" y="6"/>
                          <a:pt x="208" y="6"/>
                          <a:pt x="208" y="6"/>
                        </a:cubicBezTo>
                        <a:cubicBezTo>
                          <a:pt x="208" y="6"/>
                          <a:pt x="208" y="6"/>
                          <a:pt x="207" y="6"/>
                        </a:cubicBezTo>
                        <a:close/>
                        <a:moveTo>
                          <a:pt x="203" y="9"/>
                        </a:moveTo>
                        <a:cubicBezTo>
                          <a:pt x="203" y="9"/>
                          <a:pt x="203" y="9"/>
                          <a:pt x="204" y="8"/>
                        </a:cubicBezTo>
                        <a:cubicBezTo>
                          <a:pt x="204" y="8"/>
                          <a:pt x="204" y="8"/>
                          <a:pt x="204" y="8"/>
                        </a:cubicBezTo>
                        <a:cubicBezTo>
                          <a:pt x="204" y="8"/>
                          <a:pt x="204" y="8"/>
                          <a:pt x="205" y="8"/>
                        </a:cubicBezTo>
                        <a:cubicBezTo>
                          <a:pt x="204" y="9"/>
                          <a:pt x="204" y="9"/>
                          <a:pt x="204" y="9"/>
                        </a:cubicBezTo>
                        <a:cubicBezTo>
                          <a:pt x="203" y="9"/>
                          <a:pt x="203" y="9"/>
                          <a:pt x="203" y="9"/>
                        </a:cubicBezTo>
                        <a:close/>
                        <a:moveTo>
                          <a:pt x="202" y="8"/>
                        </a:moveTo>
                        <a:cubicBezTo>
                          <a:pt x="202" y="8"/>
                          <a:pt x="202" y="8"/>
                          <a:pt x="202" y="8"/>
                        </a:cubicBezTo>
                        <a:cubicBezTo>
                          <a:pt x="202" y="8"/>
                          <a:pt x="202" y="8"/>
                          <a:pt x="202" y="8"/>
                        </a:cubicBezTo>
                        <a:cubicBezTo>
                          <a:pt x="203" y="8"/>
                          <a:pt x="202" y="8"/>
                          <a:pt x="202" y="8"/>
                        </a:cubicBezTo>
                        <a:close/>
                        <a:moveTo>
                          <a:pt x="200" y="9"/>
                        </a:moveTo>
                        <a:cubicBezTo>
                          <a:pt x="200" y="9"/>
                          <a:pt x="199" y="9"/>
                          <a:pt x="199" y="9"/>
                        </a:cubicBezTo>
                        <a:cubicBezTo>
                          <a:pt x="199" y="9"/>
                          <a:pt x="200" y="9"/>
                          <a:pt x="200" y="9"/>
                        </a:cubicBezTo>
                        <a:cubicBezTo>
                          <a:pt x="200" y="9"/>
                          <a:pt x="200" y="9"/>
                          <a:pt x="200" y="9"/>
                        </a:cubicBezTo>
                        <a:close/>
                        <a:moveTo>
                          <a:pt x="198" y="10"/>
                        </a:moveTo>
                        <a:cubicBezTo>
                          <a:pt x="197" y="10"/>
                          <a:pt x="197" y="10"/>
                          <a:pt x="197" y="9"/>
                        </a:cubicBezTo>
                        <a:cubicBezTo>
                          <a:pt x="198" y="9"/>
                          <a:pt x="198" y="9"/>
                          <a:pt x="198" y="9"/>
                        </a:cubicBezTo>
                        <a:cubicBezTo>
                          <a:pt x="198" y="9"/>
                          <a:pt x="197" y="9"/>
                          <a:pt x="198" y="10"/>
                        </a:cubicBezTo>
                        <a:close/>
                        <a:moveTo>
                          <a:pt x="196" y="9"/>
                        </a:moveTo>
                        <a:cubicBezTo>
                          <a:pt x="196" y="9"/>
                          <a:pt x="197" y="9"/>
                          <a:pt x="198" y="8"/>
                        </a:cubicBezTo>
                        <a:cubicBezTo>
                          <a:pt x="198" y="9"/>
                          <a:pt x="197" y="9"/>
                          <a:pt x="196" y="9"/>
                        </a:cubicBezTo>
                        <a:close/>
                        <a:moveTo>
                          <a:pt x="195" y="9"/>
                        </a:moveTo>
                        <a:cubicBezTo>
                          <a:pt x="195" y="9"/>
                          <a:pt x="196" y="9"/>
                          <a:pt x="196" y="9"/>
                        </a:cubicBezTo>
                        <a:cubicBezTo>
                          <a:pt x="196" y="9"/>
                          <a:pt x="195" y="9"/>
                          <a:pt x="195" y="9"/>
                        </a:cubicBezTo>
                        <a:close/>
                        <a:moveTo>
                          <a:pt x="196" y="15"/>
                        </a:moveTo>
                        <a:cubicBezTo>
                          <a:pt x="196" y="15"/>
                          <a:pt x="196" y="15"/>
                          <a:pt x="196" y="15"/>
                        </a:cubicBezTo>
                        <a:cubicBezTo>
                          <a:pt x="196" y="15"/>
                          <a:pt x="196" y="15"/>
                          <a:pt x="196" y="15"/>
                        </a:cubicBezTo>
                        <a:close/>
                        <a:moveTo>
                          <a:pt x="194" y="12"/>
                        </a:moveTo>
                        <a:cubicBezTo>
                          <a:pt x="195" y="12"/>
                          <a:pt x="194" y="12"/>
                          <a:pt x="195" y="12"/>
                        </a:cubicBezTo>
                        <a:cubicBezTo>
                          <a:pt x="195" y="12"/>
                          <a:pt x="194" y="12"/>
                          <a:pt x="194" y="12"/>
                        </a:cubicBezTo>
                        <a:cubicBezTo>
                          <a:pt x="194" y="12"/>
                          <a:pt x="194" y="12"/>
                          <a:pt x="194" y="12"/>
                        </a:cubicBezTo>
                        <a:close/>
                        <a:moveTo>
                          <a:pt x="195" y="14"/>
                        </a:moveTo>
                        <a:cubicBezTo>
                          <a:pt x="196" y="15"/>
                          <a:pt x="195" y="15"/>
                          <a:pt x="196" y="15"/>
                        </a:cubicBezTo>
                        <a:cubicBezTo>
                          <a:pt x="196" y="15"/>
                          <a:pt x="195" y="15"/>
                          <a:pt x="195" y="15"/>
                        </a:cubicBezTo>
                        <a:cubicBezTo>
                          <a:pt x="195" y="15"/>
                          <a:pt x="195" y="15"/>
                          <a:pt x="195" y="14"/>
                        </a:cubicBezTo>
                        <a:close/>
                        <a:moveTo>
                          <a:pt x="196" y="20"/>
                        </a:moveTo>
                        <a:cubicBezTo>
                          <a:pt x="197" y="20"/>
                          <a:pt x="197" y="20"/>
                          <a:pt x="197" y="20"/>
                        </a:cubicBezTo>
                        <a:cubicBezTo>
                          <a:pt x="196" y="20"/>
                          <a:pt x="196" y="20"/>
                          <a:pt x="196" y="20"/>
                        </a:cubicBezTo>
                        <a:close/>
                        <a:moveTo>
                          <a:pt x="193" y="16"/>
                        </a:moveTo>
                        <a:cubicBezTo>
                          <a:pt x="193" y="16"/>
                          <a:pt x="193" y="16"/>
                          <a:pt x="193" y="16"/>
                        </a:cubicBezTo>
                        <a:cubicBezTo>
                          <a:pt x="193" y="16"/>
                          <a:pt x="193" y="16"/>
                          <a:pt x="194" y="16"/>
                        </a:cubicBezTo>
                        <a:cubicBezTo>
                          <a:pt x="193" y="16"/>
                          <a:pt x="193" y="16"/>
                          <a:pt x="193" y="16"/>
                        </a:cubicBezTo>
                        <a:close/>
                        <a:moveTo>
                          <a:pt x="192" y="13"/>
                        </a:moveTo>
                        <a:cubicBezTo>
                          <a:pt x="192" y="13"/>
                          <a:pt x="192" y="13"/>
                          <a:pt x="192" y="13"/>
                        </a:cubicBezTo>
                        <a:cubicBezTo>
                          <a:pt x="192" y="13"/>
                          <a:pt x="193" y="13"/>
                          <a:pt x="192" y="13"/>
                        </a:cubicBezTo>
                        <a:cubicBezTo>
                          <a:pt x="192" y="13"/>
                          <a:pt x="191" y="13"/>
                          <a:pt x="191" y="14"/>
                        </a:cubicBezTo>
                        <a:cubicBezTo>
                          <a:pt x="191" y="13"/>
                          <a:pt x="191" y="13"/>
                          <a:pt x="191" y="13"/>
                        </a:cubicBezTo>
                        <a:cubicBezTo>
                          <a:pt x="191" y="13"/>
                          <a:pt x="190" y="13"/>
                          <a:pt x="190" y="13"/>
                        </a:cubicBezTo>
                        <a:cubicBezTo>
                          <a:pt x="191" y="13"/>
                          <a:pt x="191" y="13"/>
                          <a:pt x="192" y="13"/>
                        </a:cubicBezTo>
                        <a:close/>
                        <a:moveTo>
                          <a:pt x="193" y="17"/>
                        </a:moveTo>
                        <a:cubicBezTo>
                          <a:pt x="193" y="17"/>
                          <a:pt x="193" y="17"/>
                          <a:pt x="192" y="17"/>
                        </a:cubicBezTo>
                        <a:cubicBezTo>
                          <a:pt x="192" y="17"/>
                          <a:pt x="193" y="17"/>
                          <a:pt x="193" y="17"/>
                        </a:cubicBezTo>
                        <a:cubicBezTo>
                          <a:pt x="193" y="17"/>
                          <a:pt x="193" y="17"/>
                          <a:pt x="193" y="17"/>
                        </a:cubicBezTo>
                        <a:close/>
                        <a:moveTo>
                          <a:pt x="191" y="12"/>
                        </a:moveTo>
                        <a:cubicBezTo>
                          <a:pt x="191" y="12"/>
                          <a:pt x="191" y="12"/>
                          <a:pt x="191" y="12"/>
                        </a:cubicBezTo>
                        <a:cubicBezTo>
                          <a:pt x="191" y="13"/>
                          <a:pt x="191" y="12"/>
                          <a:pt x="191" y="12"/>
                        </a:cubicBezTo>
                        <a:cubicBezTo>
                          <a:pt x="191" y="12"/>
                          <a:pt x="191" y="12"/>
                          <a:pt x="191" y="12"/>
                        </a:cubicBezTo>
                        <a:close/>
                        <a:moveTo>
                          <a:pt x="192" y="16"/>
                        </a:moveTo>
                        <a:cubicBezTo>
                          <a:pt x="192" y="16"/>
                          <a:pt x="192" y="16"/>
                          <a:pt x="192" y="16"/>
                        </a:cubicBezTo>
                        <a:cubicBezTo>
                          <a:pt x="192" y="16"/>
                          <a:pt x="192" y="16"/>
                          <a:pt x="192" y="16"/>
                        </a:cubicBezTo>
                        <a:cubicBezTo>
                          <a:pt x="192" y="16"/>
                          <a:pt x="192" y="16"/>
                          <a:pt x="192" y="16"/>
                        </a:cubicBezTo>
                        <a:close/>
                        <a:moveTo>
                          <a:pt x="190" y="13"/>
                        </a:moveTo>
                        <a:cubicBezTo>
                          <a:pt x="190" y="13"/>
                          <a:pt x="191" y="13"/>
                          <a:pt x="191" y="13"/>
                        </a:cubicBezTo>
                        <a:cubicBezTo>
                          <a:pt x="191" y="13"/>
                          <a:pt x="190" y="13"/>
                          <a:pt x="190" y="13"/>
                        </a:cubicBezTo>
                        <a:close/>
                        <a:moveTo>
                          <a:pt x="193" y="22"/>
                        </a:moveTo>
                        <a:cubicBezTo>
                          <a:pt x="193" y="23"/>
                          <a:pt x="193" y="23"/>
                          <a:pt x="193" y="23"/>
                        </a:cubicBezTo>
                        <a:cubicBezTo>
                          <a:pt x="193" y="23"/>
                          <a:pt x="193" y="23"/>
                          <a:pt x="192" y="23"/>
                        </a:cubicBezTo>
                        <a:cubicBezTo>
                          <a:pt x="192" y="23"/>
                          <a:pt x="192" y="23"/>
                          <a:pt x="192" y="23"/>
                        </a:cubicBezTo>
                        <a:cubicBezTo>
                          <a:pt x="192" y="23"/>
                          <a:pt x="192" y="23"/>
                          <a:pt x="192" y="23"/>
                        </a:cubicBezTo>
                        <a:cubicBezTo>
                          <a:pt x="192" y="22"/>
                          <a:pt x="192" y="23"/>
                          <a:pt x="193" y="22"/>
                        </a:cubicBezTo>
                        <a:close/>
                        <a:moveTo>
                          <a:pt x="190" y="17"/>
                        </a:moveTo>
                        <a:cubicBezTo>
                          <a:pt x="190" y="17"/>
                          <a:pt x="189" y="17"/>
                          <a:pt x="189" y="17"/>
                        </a:cubicBezTo>
                        <a:cubicBezTo>
                          <a:pt x="189" y="17"/>
                          <a:pt x="190" y="17"/>
                          <a:pt x="190" y="17"/>
                        </a:cubicBezTo>
                        <a:close/>
                        <a:moveTo>
                          <a:pt x="189" y="13"/>
                        </a:moveTo>
                        <a:cubicBezTo>
                          <a:pt x="189" y="13"/>
                          <a:pt x="189" y="13"/>
                          <a:pt x="190" y="13"/>
                        </a:cubicBezTo>
                        <a:cubicBezTo>
                          <a:pt x="190" y="13"/>
                          <a:pt x="190" y="13"/>
                          <a:pt x="190" y="13"/>
                        </a:cubicBezTo>
                        <a:lnTo>
                          <a:pt x="189" y="13"/>
                        </a:lnTo>
                        <a:close/>
                        <a:moveTo>
                          <a:pt x="189" y="11"/>
                        </a:moveTo>
                        <a:cubicBezTo>
                          <a:pt x="189" y="11"/>
                          <a:pt x="189" y="11"/>
                          <a:pt x="189" y="11"/>
                        </a:cubicBezTo>
                        <a:cubicBezTo>
                          <a:pt x="188" y="11"/>
                          <a:pt x="188" y="11"/>
                          <a:pt x="188" y="11"/>
                        </a:cubicBezTo>
                        <a:cubicBezTo>
                          <a:pt x="188" y="11"/>
                          <a:pt x="189" y="10"/>
                          <a:pt x="189" y="11"/>
                        </a:cubicBezTo>
                        <a:close/>
                        <a:moveTo>
                          <a:pt x="191" y="23"/>
                        </a:moveTo>
                        <a:cubicBezTo>
                          <a:pt x="191" y="23"/>
                          <a:pt x="191" y="23"/>
                          <a:pt x="191" y="23"/>
                        </a:cubicBezTo>
                        <a:cubicBezTo>
                          <a:pt x="191" y="23"/>
                          <a:pt x="191" y="22"/>
                          <a:pt x="192" y="23"/>
                        </a:cubicBezTo>
                        <a:cubicBezTo>
                          <a:pt x="191" y="23"/>
                          <a:pt x="191" y="22"/>
                          <a:pt x="191" y="23"/>
                        </a:cubicBezTo>
                        <a:close/>
                        <a:moveTo>
                          <a:pt x="190" y="18"/>
                        </a:moveTo>
                        <a:cubicBezTo>
                          <a:pt x="190" y="18"/>
                          <a:pt x="190" y="18"/>
                          <a:pt x="190" y="18"/>
                        </a:cubicBezTo>
                        <a:cubicBezTo>
                          <a:pt x="190" y="18"/>
                          <a:pt x="190" y="18"/>
                          <a:pt x="190" y="18"/>
                        </a:cubicBezTo>
                        <a:cubicBezTo>
                          <a:pt x="190" y="18"/>
                          <a:pt x="190" y="18"/>
                          <a:pt x="190" y="18"/>
                        </a:cubicBezTo>
                        <a:cubicBezTo>
                          <a:pt x="190" y="18"/>
                          <a:pt x="190" y="18"/>
                          <a:pt x="190" y="18"/>
                        </a:cubicBezTo>
                        <a:close/>
                        <a:moveTo>
                          <a:pt x="189" y="15"/>
                        </a:moveTo>
                        <a:cubicBezTo>
                          <a:pt x="189" y="15"/>
                          <a:pt x="189" y="15"/>
                          <a:pt x="189" y="15"/>
                        </a:cubicBezTo>
                        <a:cubicBezTo>
                          <a:pt x="189" y="14"/>
                          <a:pt x="189" y="14"/>
                          <a:pt x="189" y="14"/>
                        </a:cubicBezTo>
                        <a:cubicBezTo>
                          <a:pt x="189" y="15"/>
                          <a:pt x="189" y="15"/>
                          <a:pt x="189" y="15"/>
                        </a:cubicBezTo>
                        <a:close/>
                        <a:moveTo>
                          <a:pt x="189" y="17"/>
                        </a:moveTo>
                        <a:cubicBezTo>
                          <a:pt x="188" y="18"/>
                          <a:pt x="189" y="17"/>
                          <a:pt x="189" y="17"/>
                        </a:cubicBezTo>
                        <a:cubicBezTo>
                          <a:pt x="189" y="17"/>
                          <a:pt x="188" y="17"/>
                          <a:pt x="188" y="18"/>
                        </a:cubicBezTo>
                        <a:cubicBezTo>
                          <a:pt x="188" y="18"/>
                          <a:pt x="188" y="18"/>
                          <a:pt x="188" y="18"/>
                        </a:cubicBezTo>
                        <a:cubicBezTo>
                          <a:pt x="188" y="17"/>
                          <a:pt x="188" y="18"/>
                          <a:pt x="188" y="17"/>
                        </a:cubicBezTo>
                        <a:cubicBezTo>
                          <a:pt x="188" y="18"/>
                          <a:pt x="188" y="17"/>
                          <a:pt x="189" y="17"/>
                        </a:cubicBezTo>
                        <a:close/>
                        <a:moveTo>
                          <a:pt x="188" y="13"/>
                        </a:moveTo>
                        <a:cubicBezTo>
                          <a:pt x="188" y="13"/>
                          <a:pt x="187" y="14"/>
                          <a:pt x="187" y="13"/>
                        </a:cubicBezTo>
                        <a:cubicBezTo>
                          <a:pt x="187" y="13"/>
                          <a:pt x="187" y="13"/>
                          <a:pt x="188" y="13"/>
                        </a:cubicBezTo>
                        <a:close/>
                        <a:moveTo>
                          <a:pt x="188" y="16"/>
                        </a:moveTo>
                        <a:cubicBezTo>
                          <a:pt x="187" y="15"/>
                          <a:pt x="188" y="15"/>
                          <a:pt x="188" y="15"/>
                        </a:cubicBezTo>
                        <a:cubicBezTo>
                          <a:pt x="188" y="15"/>
                          <a:pt x="188" y="15"/>
                          <a:pt x="188" y="16"/>
                        </a:cubicBezTo>
                        <a:cubicBezTo>
                          <a:pt x="188" y="15"/>
                          <a:pt x="188" y="15"/>
                          <a:pt x="188" y="15"/>
                        </a:cubicBezTo>
                        <a:cubicBezTo>
                          <a:pt x="188" y="16"/>
                          <a:pt x="188" y="16"/>
                          <a:pt x="188" y="16"/>
                        </a:cubicBezTo>
                        <a:close/>
                        <a:moveTo>
                          <a:pt x="187" y="15"/>
                        </a:moveTo>
                        <a:cubicBezTo>
                          <a:pt x="187" y="16"/>
                          <a:pt x="187" y="16"/>
                          <a:pt x="187" y="16"/>
                        </a:cubicBezTo>
                        <a:cubicBezTo>
                          <a:pt x="187" y="16"/>
                          <a:pt x="187" y="16"/>
                          <a:pt x="187" y="16"/>
                        </a:cubicBezTo>
                        <a:cubicBezTo>
                          <a:pt x="187" y="15"/>
                          <a:pt x="187" y="16"/>
                          <a:pt x="187" y="15"/>
                        </a:cubicBezTo>
                        <a:close/>
                        <a:moveTo>
                          <a:pt x="186" y="19"/>
                        </a:moveTo>
                        <a:cubicBezTo>
                          <a:pt x="187" y="18"/>
                          <a:pt x="186" y="18"/>
                          <a:pt x="187" y="18"/>
                        </a:cubicBezTo>
                        <a:cubicBezTo>
                          <a:pt x="187" y="19"/>
                          <a:pt x="187" y="18"/>
                          <a:pt x="188" y="18"/>
                        </a:cubicBezTo>
                        <a:cubicBezTo>
                          <a:pt x="187" y="19"/>
                          <a:pt x="187" y="18"/>
                          <a:pt x="186" y="19"/>
                        </a:cubicBezTo>
                        <a:close/>
                        <a:moveTo>
                          <a:pt x="184" y="12"/>
                        </a:moveTo>
                        <a:cubicBezTo>
                          <a:pt x="184" y="12"/>
                          <a:pt x="184" y="12"/>
                          <a:pt x="184" y="12"/>
                        </a:cubicBezTo>
                        <a:cubicBezTo>
                          <a:pt x="184" y="12"/>
                          <a:pt x="184" y="12"/>
                          <a:pt x="184" y="12"/>
                        </a:cubicBezTo>
                        <a:cubicBezTo>
                          <a:pt x="184" y="12"/>
                          <a:pt x="184" y="11"/>
                          <a:pt x="184" y="11"/>
                        </a:cubicBezTo>
                        <a:cubicBezTo>
                          <a:pt x="185" y="11"/>
                          <a:pt x="185" y="11"/>
                          <a:pt x="185" y="11"/>
                        </a:cubicBezTo>
                        <a:cubicBezTo>
                          <a:pt x="184" y="11"/>
                          <a:pt x="184" y="11"/>
                          <a:pt x="184" y="12"/>
                        </a:cubicBezTo>
                        <a:cubicBezTo>
                          <a:pt x="184" y="12"/>
                          <a:pt x="184" y="12"/>
                          <a:pt x="184" y="12"/>
                        </a:cubicBezTo>
                        <a:cubicBezTo>
                          <a:pt x="184" y="12"/>
                          <a:pt x="184" y="12"/>
                          <a:pt x="184" y="12"/>
                        </a:cubicBezTo>
                        <a:close/>
                        <a:moveTo>
                          <a:pt x="186" y="19"/>
                        </a:moveTo>
                        <a:cubicBezTo>
                          <a:pt x="186" y="19"/>
                          <a:pt x="186" y="19"/>
                          <a:pt x="186" y="19"/>
                        </a:cubicBezTo>
                        <a:cubicBezTo>
                          <a:pt x="186" y="19"/>
                          <a:pt x="186" y="19"/>
                          <a:pt x="186" y="19"/>
                        </a:cubicBezTo>
                        <a:cubicBezTo>
                          <a:pt x="186" y="19"/>
                          <a:pt x="186" y="19"/>
                          <a:pt x="185" y="19"/>
                        </a:cubicBezTo>
                        <a:cubicBezTo>
                          <a:pt x="185" y="19"/>
                          <a:pt x="186" y="19"/>
                          <a:pt x="186" y="19"/>
                        </a:cubicBezTo>
                        <a:close/>
                        <a:moveTo>
                          <a:pt x="186" y="22"/>
                        </a:moveTo>
                        <a:cubicBezTo>
                          <a:pt x="186" y="22"/>
                          <a:pt x="186" y="22"/>
                          <a:pt x="185" y="22"/>
                        </a:cubicBezTo>
                        <a:cubicBezTo>
                          <a:pt x="185" y="22"/>
                          <a:pt x="186" y="22"/>
                          <a:pt x="186" y="22"/>
                        </a:cubicBezTo>
                        <a:close/>
                        <a:moveTo>
                          <a:pt x="185" y="19"/>
                        </a:moveTo>
                        <a:cubicBezTo>
                          <a:pt x="185" y="19"/>
                          <a:pt x="184" y="19"/>
                          <a:pt x="184" y="19"/>
                        </a:cubicBezTo>
                        <a:cubicBezTo>
                          <a:pt x="184" y="19"/>
                          <a:pt x="184" y="19"/>
                          <a:pt x="184" y="19"/>
                        </a:cubicBezTo>
                        <a:cubicBezTo>
                          <a:pt x="184" y="19"/>
                          <a:pt x="185" y="19"/>
                          <a:pt x="185" y="19"/>
                        </a:cubicBezTo>
                        <a:cubicBezTo>
                          <a:pt x="185" y="19"/>
                          <a:pt x="185" y="19"/>
                          <a:pt x="185" y="19"/>
                        </a:cubicBezTo>
                        <a:close/>
                        <a:moveTo>
                          <a:pt x="183" y="17"/>
                        </a:moveTo>
                        <a:cubicBezTo>
                          <a:pt x="183" y="16"/>
                          <a:pt x="184" y="16"/>
                          <a:pt x="184" y="16"/>
                        </a:cubicBezTo>
                        <a:cubicBezTo>
                          <a:pt x="184" y="16"/>
                          <a:pt x="183" y="16"/>
                          <a:pt x="184" y="17"/>
                        </a:cubicBezTo>
                        <a:cubicBezTo>
                          <a:pt x="183" y="17"/>
                          <a:pt x="183" y="16"/>
                          <a:pt x="183" y="17"/>
                        </a:cubicBezTo>
                        <a:close/>
                        <a:moveTo>
                          <a:pt x="183" y="14"/>
                        </a:moveTo>
                        <a:cubicBezTo>
                          <a:pt x="184" y="14"/>
                          <a:pt x="183" y="14"/>
                          <a:pt x="183" y="14"/>
                        </a:cubicBezTo>
                        <a:cubicBezTo>
                          <a:pt x="183" y="14"/>
                          <a:pt x="183" y="14"/>
                          <a:pt x="183" y="14"/>
                        </a:cubicBezTo>
                        <a:close/>
                        <a:moveTo>
                          <a:pt x="183" y="19"/>
                        </a:moveTo>
                        <a:cubicBezTo>
                          <a:pt x="183" y="18"/>
                          <a:pt x="184" y="18"/>
                          <a:pt x="184" y="18"/>
                        </a:cubicBezTo>
                        <a:cubicBezTo>
                          <a:pt x="184" y="19"/>
                          <a:pt x="183" y="19"/>
                          <a:pt x="183" y="19"/>
                        </a:cubicBezTo>
                        <a:close/>
                        <a:moveTo>
                          <a:pt x="184" y="19"/>
                        </a:moveTo>
                        <a:cubicBezTo>
                          <a:pt x="184" y="19"/>
                          <a:pt x="184" y="19"/>
                          <a:pt x="185" y="19"/>
                        </a:cubicBezTo>
                        <a:cubicBezTo>
                          <a:pt x="185" y="19"/>
                          <a:pt x="184" y="20"/>
                          <a:pt x="184" y="20"/>
                        </a:cubicBezTo>
                        <a:cubicBezTo>
                          <a:pt x="184" y="19"/>
                          <a:pt x="184" y="19"/>
                          <a:pt x="184" y="19"/>
                        </a:cubicBezTo>
                        <a:close/>
                        <a:moveTo>
                          <a:pt x="184" y="18"/>
                        </a:moveTo>
                        <a:cubicBezTo>
                          <a:pt x="184" y="18"/>
                          <a:pt x="184" y="18"/>
                          <a:pt x="184" y="18"/>
                        </a:cubicBezTo>
                        <a:cubicBezTo>
                          <a:pt x="184" y="18"/>
                          <a:pt x="184" y="18"/>
                          <a:pt x="184" y="18"/>
                        </a:cubicBezTo>
                        <a:cubicBezTo>
                          <a:pt x="184" y="18"/>
                          <a:pt x="184" y="18"/>
                          <a:pt x="184" y="18"/>
                        </a:cubicBezTo>
                        <a:cubicBezTo>
                          <a:pt x="183" y="18"/>
                          <a:pt x="183" y="18"/>
                          <a:pt x="183" y="18"/>
                        </a:cubicBezTo>
                        <a:cubicBezTo>
                          <a:pt x="183" y="18"/>
                          <a:pt x="184" y="18"/>
                          <a:pt x="184" y="18"/>
                        </a:cubicBezTo>
                        <a:close/>
                        <a:moveTo>
                          <a:pt x="184" y="21"/>
                        </a:moveTo>
                        <a:cubicBezTo>
                          <a:pt x="184" y="21"/>
                          <a:pt x="184" y="21"/>
                          <a:pt x="184" y="21"/>
                        </a:cubicBezTo>
                        <a:cubicBezTo>
                          <a:pt x="185" y="21"/>
                          <a:pt x="184" y="21"/>
                          <a:pt x="184" y="21"/>
                        </a:cubicBezTo>
                        <a:close/>
                        <a:moveTo>
                          <a:pt x="183" y="17"/>
                        </a:moveTo>
                        <a:cubicBezTo>
                          <a:pt x="183" y="17"/>
                          <a:pt x="183" y="17"/>
                          <a:pt x="182" y="17"/>
                        </a:cubicBezTo>
                        <a:cubicBezTo>
                          <a:pt x="182" y="17"/>
                          <a:pt x="182" y="17"/>
                          <a:pt x="182" y="17"/>
                        </a:cubicBezTo>
                        <a:cubicBezTo>
                          <a:pt x="182" y="17"/>
                          <a:pt x="183" y="17"/>
                          <a:pt x="183" y="17"/>
                        </a:cubicBezTo>
                        <a:close/>
                        <a:moveTo>
                          <a:pt x="181" y="20"/>
                        </a:moveTo>
                        <a:cubicBezTo>
                          <a:pt x="181" y="20"/>
                          <a:pt x="183" y="19"/>
                          <a:pt x="183" y="19"/>
                        </a:cubicBezTo>
                        <a:cubicBezTo>
                          <a:pt x="183" y="20"/>
                          <a:pt x="182" y="20"/>
                          <a:pt x="183" y="20"/>
                        </a:cubicBezTo>
                        <a:cubicBezTo>
                          <a:pt x="183" y="20"/>
                          <a:pt x="182" y="20"/>
                          <a:pt x="181" y="20"/>
                        </a:cubicBezTo>
                        <a:close/>
                        <a:moveTo>
                          <a:pt x="182" y="14"/>
                        </a:moveTo>
                        <a:cubicBezTo>
                          <a:pt x="182" y="14"/>
                          <a:pt x="182" y="15"/>
                          <a:pt x="182" y="15"/>
                        </a:cubicBezTo>
                        <a:cubicBezTo>
                          <a:pt x="182" y="15"/>
                          <a:pt x="182" y="15"/>
                          <a:pt x="182" y="15"/>
                        </a:cubicBezTo>
                        <a:cubicBezTo>
                          <a:pt x="181" y="15"/>
                          <a:pt x="182" y="15"/>
                          <a:pt x="182" y="15"/>
                        </a:cubicBezTo>
                        <a:cubicBezTo>
                          <a:pt x="181" y="15"/>
                          <a:pt x="181" y="15"/>
                          <a:pt x="181" y="15"/>
                        </a:cubicBezTo>
                        <a:cubicBezTo>
                          <a:pt x="181" y="15"/>
                          <a:pt x="182" y="14"/>
                          <a:pt x="182" y="14"/>
                        </a:cubicBezTo>
                        <a:close/>
                        <a:moveTo>
                          <a:pt x="182" y="19"/>
                        </a:moveTo>
                        <a:cubicBezTo>
                          <a:pt x="182" y="19"/>
                          <a:pt x="182" y="19"/>
                          <a:pt x="182" y="19"/>
                        </a:cubicBezTo>
                        <a:cubicBezTo>
                          <a:pt x="182" y="19"/>
                          <a:pt x="182" y="19"/>
                          <a:pt x="181" y="19"/>
                        </a:cubicBezTo>
                        <a:cubicBezTo>
                          <a:pt x="181" y="19"/>
                          <a:pt x="181" y="19"/>
                          <a:pt x="181" y="19"/>
                        </a:cubicBezTo>
                        <a:cubicBezTo>
                          <a:pt x="182" y="19"/>
                          <a:pt x="182" y="18"/>
                          <a:pt x="182" y="18"/>
                        </a:cubicBezTo>
                        <a:cubicBezTo>
                          <a:pt x="182" y="18"/>
                          <a:pt x="182" y="19"/>
                          <a:pt x="182" y="19"/>
                        </a:cubicBezTo>
                        <a:close/>
                        <a:moveTo>
                          <a:pt x="181" y="19"/>
                        </a:moveTo>
                        <a:cubicBezTo>
                          <a:pt x="181" y="19"/>
                          <a:pt x="181" y="19"/>
                          <a:pt x="180" y="19"/>
                        </a:cubicBezTo>
                        <a:cubicBezTo>
                          <a:pt x="180" y="19"/>
                          <a:pt x="181" y="19"/>
                          <a:pt x="181" y="19"/>
                        </a:cubicBezTo>
                        <a:close/>
                        <a:moveTo>
                          <a:pt x="180" y="13"/>
                        </a:moveTo>
                        <a:cubicBezTo>
                          <a:pt x="180" y="13"/>
                          <a:pt x="180" y="13"/>
                          <a:pt x="180" y="14"/>
                        </a:cubicBezTo>
                        <a:cubicBezTo>
                          <a:pt x="179" y="14"/>
                          <a:pt x="179" y="14"/>
                          <a:pt x="179" y="13"/>
                        </a:cubicBezTo>
                        <a:cubicBezTo>
                          <a:pt x="179" y="13"/>
                          <a:pt x="180" y="13"/>
                          <a:pt x="180" y="13"/>
                        </a:cubicBezTo>
                        <a:close/>
                        <a:moveTo>
                          <a:pt x="180" y="17"/>
                        </a:moveTo>
                        <a:cubicBezTo>
                          <a:pt x="180" y="17"/>
                          <a:pt x="180" y="17"/>
                          <a:pt x="181" y="17"/>
                        </a:cubicBezTo>
                        <a:cubicBezTo>
                          <a:pt x="181" y="17"/>
                          <a:pt x="181" y="17"/>
                          <a:pt x="181" y="17"/>
                        </a:cubicBezTo>
                        <a:cubicBezTo>
                          <a:pt x="180" y="17"/>
                          <a:pt x="180" y="17"/>
                          <a:pt x="180" y="17"/>
                        </a:cubicBezTo>
                        <a:close/>
                        <a:moveTo>
                          <a:pt x="180" y="20"/>
                        </a:moveTo>
                        <a:cubicBezTo>
                          <a:pt x="180" y="20"/>
                          <a:pt x="181" y="20"/>
                          <a:pt x="181" y="20"/>
                        </a:cubicBezTo>
                        <a:cubicBezTo>
                          <a:pt x="181" y="20"/>
                          <a:pt x="181" y="20"/>
                          <a:pt x="180" y="20"/>
                        </a:cubicBezTo>
                        <a:close/>
                        <a:moveTo>
                          <a:pt x="180" y="15"/>
                        </a:moveTo>
                        <a:cubicBezTo>
                          <a:pt x="180" y="15"/>
                          <a:pt x="179" y="15"/>
                          <a:pt x="179" y="15"/>
                        </a:cubicBezTo>
                        <a:cubicBezTo>
                          <a:pt x="179" y="15"/>
                          <a:pt x="179" y="15"/>
                          <a:pt x="179" y="15"/>
                        </a:cubicBezTo>
                        <a:cubicBezTo>
                          <a:pt x="179" y="15"/>
                          <a:pt x="179" y="15"/>
                          <a:pt x="180" y="15"/>
                        </a:cubicBezTo>
                        <a:close/>
                        <a:moveTo>
                          <a:pt x="179" y="17"/>
                        </a:moveTo>
                        <a:cubicBezTo>
                          <a:pt x="180" y="17"/>
                          <a:pt x="180" y="17"/>
                          <a:pt x="180" y="17"/>
                        </a:cubicBezTo>
                        <a:cubicBezTo>
                          <a:pt x="180" y="17"/>
                          <a:pt x="179" y="17"/>
                          <a:pt x="179" y="17"/>
                        </a:cubicBezTo>
                        <a:close/>
                        <a:moveTo>
                          <a:pt x="180" y="19"/>
                        </a:moveTo>
                        <a:cubicBezTo>
                          <a:pt x="179" y="19"/>
                          <a:pt x="179" y="19"/>
                          <a:pt x="179" y="19"/>
                        </a:cubicBezTo>
                        <a:cubicBezTo>
                          <a:pt x="179" y="19"/>
                          <a:pt x="178" y="19"/>
                          <a:pt x="178" y="19"/>
                        </a:cubicBezTo>
                        <a:cubicBezTo>
                          <a:pt x="178" y="19"/>
                          <a:pt x="178" y="19"/>
                          <a:pt x="179" y="19"/>
                        </a:cubicBezTo>
                        <a:cubicBezTo>
                          <a:pt x="179" y="19"/>
                          <a:pt x="178" y="19"/>
                          <a:pt x="179" y="19"/>
                        </a:cubicBezTo>
                        <a:cubicBezTo>
                          <a:pt x="179" y="19"/>
                          <a:pt x="180" y="19"/>
                          <a:pt x="180" y="19"/>
                        </a:cubicBezTo>
                        <a:close/>
                        <a:moveTo>
                          <a:pt x="180" y="22"/>
                        </a:moveTo>
                        <a:cubicBezTo>
                          <a:pt x="180" y="22"/>
                          <a:pt x="180" y="22"/>
                          <a:pt x="180" y="22"/>
                        </a:cubicBezTo>
                        <a:cubicBezTo>
                          <a:pt x="180" y="22"/>
                          <a:pt x="180" y="22"/>
                          <a:pt x="180" y="23"/>
                        </a:cubicBezTo>
                        <a:cubicBezTo>
                          <a:pt x="180" y="23"/>
                          <a:pt x="180" y="22"/>
                          <a:pt x="180" y="22"/>
                        </a:cubicBezTo>
                        <a:close/>
                        <a:moveTo>
                          <a:pt x="178" y="16"/>
                        </a:moveTo>
                        <a:cubicBezTo>
                          <a:pt x="178" y="16"/>
                          <a:pt x="178" y="16"/>
                          <a:pt x="178" y="16"/>
                        </a:cubicBezTo>
                        <a:cubicBezTo>
                          <a:pt x="178" y="16"/>
                          <a:pt x="178" y="16"/>
                          <a:pt x="178" y="16"/>
                        </a:cubicBezTo>
                        <a:cubicBezTo>
                          <a:pt x="178" y="16"/>
                          <a:pt x="178" y="16"/>
                          <a:pt x="178" y="16"/>
                        </a:cubicBezTo>
                        <a:close/>
                        <a:moveTo>
                          <a:pt x="180" y="25"/>
                        </a:moveTo>
                        <a:cubicBezTo>
                          <a:pt x="180" y="25"/>
                          <a:pt x="180" y="25"/>
                          <a:pt x="179" y="25"/>
                        </a:cubicBezTo>
                        <a:cubicBezTo>
                          <a:pt x="179" y="25"/>
                          <a:pt x="179" y="25"/>
                          <a:pt x="180" y="25"/>
                        </a:cubicBezTo>
                        <a:cubicBezTo>
                          <a:pt x="180" y="25"/>
                          <a:pt x="179" y="25"/>
                          <a:pt x="179" y="25"/>
                        </a:cubicBezTo>
                        <a:cubicBezTo>
                          <a:pt x="179" y="25"/>
                          <a:pt x="179" y="25"/>
                          <a:pt x="179" y="25"/>
                        </a:cubicBezTo>
                        <a:cubicBezTo>
                          <a:pt x="180" y="24"/>
                          <a:pt x="180" y="25"/>
                          <a:pt x="180" y="25"/>
                        </a:cubicBezTo>
                        <a:close/>
                        <a:moveTo>
                          <a:pt x="178" y="18"/>
                        </a:moveTo>
                        <a:cubicBezTo>
                          <a:pt x="177" y="18"/>
                          <a:pt x="177" y="18"/>
                          <a:pt x="177" y="18"/>
                        </a:cubicBezTo>
                        <a:cubicBezTo>
                          <a:pt x="177" y="18"/>
                          <a:pt x="178" y="18"/>
                          <a:pt x="178" y="18"/>
                        </a:cubicBezTo>
                        <a:cubicBezTo>
                          <a:pt x="178" y="18"/>
                          <a:pt x="177" y="18"/>
                          <a:pt x="178" y="18"/>
                        </a:cubicBezTo>
                        <a:close/>
                        <a:moveTo>
                          <a:pt x="178" y="17"/>
                        </a:moveTo>
                        <a:cubicBezTo>
                          <a:pt x="178" y="17"/>
                          <a:pt x="178" y="17"/>
                          <a:pt x="178" y="17"/>
                        </a:cubicBezTo>
                        <a:cubicBezTo>
                          <a:pt x="178" y="17"/>
                          <a:pt x="177" y="18"/>
                          <a:pt x="177" y="18"/>
                        </a:cubicBezTo>
                        <a:cubicBezTo>
                          <a:pt x="177" y="18"/>
                          <a:pt x="177" y="18"/>
                          <a:pt x="177" y="18"/>
                        </a:cubicBezTo>
                        <a:cubicBezTo>
                          <a:pt x="177" y="17"/>
                          <a:pt x="177" y="17"/>
                          <a:pt x="178" y="17"/>
                        </a:cubicBezTo>
                        <a:close/>
                        <a:moveTo>
                          <a:pt x="177" y="17"/>
                        </a:moveTo>
                        <a:cubicBezTo>
                          <a:pt x="177" y="17"/>
                          <a:pt x="177" y="17"/>
                          <a:pt x="177" y="17"/>
                        </a:cubicBezTo>
                        <a:cubicBezTo>
                          <a:pt x="177" y="17"/>
                          <a:pt x="177" y="17"/>
                          <a:pt x="176" y="17"/>
                        </a:cubicBezTo>
                        <a:cubicBezTo>
                          <a:pt x="177" y="17"/>
                          <a:pt x="177" y="17"/>
                          <a:pt x="177" y="17"/>
                        </a:cubicBezTo>
                        <a:cubicBezTo>
                          <a:pt x="177" y="17"/>
                          <a:pt x="177" y="17"/>
                          <a:pt x="177" y="17"/>
                        </a:cubicBezTo>
                        <a:close/>
                        <a:moveTo>
                          <a:pt x="178" y="20"/>
                        </a:moveTo>
                        <a:cubicBezTo>
                          <a:pt x="177" y="20"/>
                          <a:pt x="177" y="20"/>
                          <a:pt x="176" y="20"/>
                        </a:cubicBezTo>
                        <a:cubicBezTo>
                          <a:pt x="176" y="20"/>
                          <a:pt x="176" y="20"/>
                          <a:pt x="176" y="20"/>
                        </a:cubicBezTo>
                        <a:cubicBezTo>
                          <a:pt x="176" y="20"/>
                          <a:pt x="176" y="20"/>
                          <a:pt x="176" y="20"/>
                        </a:cubicBezTo>
                        <a:cubicBezTo>
                          <a:pt x="176" y="20"/>
                          <a:pt x="177" y="19"/>
                          <a:pt x="177" y="19"/>
                        </a:cubicBezTo>
                        <a:cubicBezTo>
                          <a:pt x="177" y="19"/>
                          <a:pt x="178" y="19"/>
                          <a:pt x="178" y="19"/>
                        </a:cubicBezTo>
                        <a:cubicBezTo>
                          <a:pt x="178" y="20"/>
                          <a:pt x="178" y="20"/>
                          <a:pt x="178" y="20"/>
                        </a:cubicBezTo>
                        <a:close/>
                        <a:moveTo>
                          <a:pt x="178" y="26"/>
                        </a:moveTo>
                        <a:cubicBezTo>
                          <a:pt x="178" y="26"/>
                          <a:pt x="179" y="25"/>
                          <a:pt x="179" y="26"/>
                        </a:cubicBezTo>
                        <a:cubicBezTo>
                          <a:pt x="179" y="26"/>
                          <a:pt x="178" y="26"/>
                          <a:pt x="178" y="26"/>
                        </a:cubicBezTo>
                        <a:close/>
                        <a:moveTo>
                          <a:pt x="176" y="18"/>
                        </a:moveTo>
                        <a:cubicBezTo>
                          <a:pt x="176" y="18"/>
                          <a:pt x="176" y="18"/>
                          <a:pt x="176" y="18"/>
                        </a:cubicBezTo>
                        <a:cubicBezTo>
                          <a:pt x="175" y="18"/>
                          <a:pt x="176" y="18"/>
                          <a:pt x="176" y="18"/>
                        </a:cubicBezTo>
                        <a:cubicBezTo>
                          <a:pt x="176" y="18"/>
                          <a:pt x="176" y="18"/>
                          <a:pt x="176" y="18"/>
                        </a:cubicBezTo>
                        <a:close/>
                        <a:moveTo>
                          <a:pt x="175" y="19"/>
                        </a:moveTo>
                        <a:cubicBezTo>
                          <a:pt x="175" y="19"/>
                          <a:pt x="176" y="19"/>
                          <a:pt x="176" y="19"/>
                        </a:cubicBezTo>
                        <a:cubicBezTo>
                          <a:pt x="176" y="19"/>
                          <a:pt x="175" y="19"/>
                          <a:pt x="175" y="19"/>
                        </a:cubicBezTo>
                        <a:close/>
                        <a:moveTo>
                          <a:pt x="176" y="22"/>
                        </a:moveTo>
                        <a:cubicBezTo>
                          <a:pt x="176" y="22"/>
                          <a:pt x="176" y="21"/>
                          <a:pt x="176" y="21"/>
                        </a:cubicBezTo>
                        <a:cubicBezTo>
                          <a:pt x="177" y="22"/>
                          <a:pt x="176" y="22"/>
                          <a:pt x="175" y="22"/>
                        </a:cubicBezTo>
                        <a:cubicBezTo>
                          <a:pt x="175" y="22"/>
                          <a:pt x="175" y="22"/>
                          <a:pt x="175" y="22"/>
                        </a:cubicBezTo>
                        <a:cubicBezTo>
                          <a:pt x="175" y="22"/>
                          <a:pt x="176" y="21"/>
                          <a:pt x="176" y="22"/>
                        </a:cubicBezTo>
                        <a:close/>
                        <a:moveTo>
                          <a:pt x="177" y="25"/>
                        </a:moveTo>
                        <a:cubicBezTo>
                          <a:pt x="177" y="25"/>
                          <a:pt x="177" y="25"/>
                          <a:pt x="177" y="25"/>
                        </a:cubicBezTo>
                        <a:cubicBezTo>
                          <a:pt x="177" y="25"/>
                          <a:pt x="176" y="26"/>
                          <a:pt x="176" y="26"/>
                        </a:cubicBezTo>
                        <a:cubicBezTo>
                          <a:pt x="176" y="26"/>
                          <a:pt x="176" y="26"/>
                          <a:pt x="176" y="26"/>
                        </a:cubicBezTo>
                        <a:cubicBezTo>
                          <a:pt x="176" y="25"/>
                          <a:pt x="176" y="25"/>
                          <a:pt x="177" y="25"/>
                        </a:cubicBezTo>
                        <a:close/>
                        <a:moveTo>
                          <a:pt x="175" y="18"/>
                        </a:moveTo>
                        <a:cubicBezTo>
                          <a:pt x="175" y="18"/>
                          <a:pt x="174" y="18"/>
                          <a:pt x="173" y="18"/>
                        </a:cubicBezTo>
                        <a:cubicBezTo>
                          <a:pt x="173" y="18"/>
                          <a:pt x="174" y="18"/>
                          <a:pt x="175" y="18"/>
                        </a:cubicBezTo>
                        <a:close/>
                        <a:moveTo>
                          <a:pt x="173" y="14"/>
                        </a:moveTo>
                        <a:cubicBezTo>
                          <a:pt x="173" y="14"/>
                          <a:pt x="173" y="14"/>
                          <a:pt x="174" y="14"/>
                        </a:cubicBezTo>
                        <a:cubicBezTo>
                          <a:pt x="174" y="14"/>
                          <a:pt x="173" y="14"/>
                          <a:pt x="173" y="14"/>
                        </a:cubicBezTo>
                        <a:close/>
                        <a:moveTo>
                          <a:pt x="175" y="21"/>
                        </a:moveTo>
                        <a:cubicBezTo>
                          <a:pt x="175" y="21"/>
                          <a:pt x="175" y="21"/>
                          <a:pt x="175" y="21"/>
                        </a:cubicBezTo>
                        <a:cubicBezTo>
                          <a:pt x="176" y="21"/>
                          <a:pt x="175" y="22"/>
                          <a:pt x="175" y="21"/>
                        </a:cubicBezTo>
                        <a:close/>
                        <a:moveTo>
                          <a:pt x="176" y="26"/>
                        </a:moveTo>
                        <a:cubicBezTo>
                          <a:pt x="176" y="26"/>
                          <a:pt x="176" y="26"/>
                          <a:pt x="176" y="26"/>
                        </a:cubicBezTo>
                        <a:cubicBezTo>
                          <a:pt x="176" y="26"/>
                          <a:pt x="176" y="26"/>
                          <a:pt x="176" y="26"/>
                        </a:cubicBezTo>
                        <a:cubicBezTo>
                          <a:pt x="176" y="26"/>
                          <a:pt x="176" y="26"/>
                          <a:pt x="176" y="26"/>
                        </a:cubicBezTo>
                        <a:cubicBezTo>
                          <a:pt x="176" y="26"/>
                          <a:pt x="176" y="26"/>
                          <a:pt x="176" y="26"/>
                        </a:cubicBezTo>
                        <a:close/>
                        <a:moveTo>
                          <a:pt x="175" y="26"/>
                        </a:moveTo>
                        <a:cubicBezTo>
                          <a:pt x="175" y="26"/>
                          <a:pt x="175" y="26"/>
                          <a:pt x="176" y="26"/>
                        </a:cubicBezTo>
                        <a:cubicBezTo>
                          <a:pt x="175" y="26"/>
                          <a:pt x="175" y="26"/>
                          <a:pt x="176" y="26"/>
                        </a:cubicBezTo>
                        <a:cubicBezTo>
                          <a:pt x="175" y="26"/>
                          <a:pt x="175" y="26"/>
                          <a:pt x="175" y="26"/>
                        </a:cubicBezTo>
                        <a:cubicBezTo>
                          <a:pt x="175" y="26"/>
                          <a:pt x="175" y="26"/>
                          <a:pt x="175" y="26"/>
                        </a:cubicBezTo>
                        <a:cubicBezTo>
                          <a:pt x="175" y="26"/>
                          <a:pt x="174" y="26"/>
                          <a:pt x="174" y="26"/>
                        </a:cubicBezTo>
                        <a:cubicBezTo>
                          <a:pt x="174" y="26"/>
                          <a:pt x="175" y="26"/>
                          <a:pt x="175" y="26"/>
                        </a:cubicBezTo>
                        <a:close/>
                        <a:moveTo>
                          <a:pt x="172" y="19"/>
                        </a:moveTo>
                        <a:cubicBezTo>
                          <a:pt x="173" y="19"/>
                          <a:pt x="173" y="18"/>
                          <a:pt x="174" y="18"/>
                        </a:cubicBezTo>
                        <a:cubicBezTo>
                          <a:pt x="173" y="19"/>
                          <a:pt x="173" y="19"/>
                          <a:pt x="172" y="19"/>
                        </a:cubicBezTo>
                        <a:close/>
                        <a:moveTo>
                          <a:pt x="176" y="26"/>
                        </a:moveTo>
                        <a:cubicBezTo>
                          <a:pt x="175" y="26"/>
                          <a:pt x="175" y="26"/>
                          <a:pt x="175" y="26"/>
                        </a:cubicBezTo>
                        <a:cubicBezTo>
                          <a:pt x="175" y="26"/>
                          <a:pt x="175" y="26"/>
                          <a:pt x="176" y="26"/>
                        </a:cubicBezTo>
                        <a:close/>
                        <a:moveTo>
                          <a:pt x="172" y="19"/>
                        </a:moveTo>
                        <a:cubicBezTo>
                          <a:pt x="172" y="19"/>
                          <a:pt x="172" y="19"/>
                          <a:pt x="173" y="19"/>
                        </a:cubicBezTo>
                        <a:cubicBezTo>
                          <a:pt x="173" y="19"/>
                          <a:pt x="173" y="19"/>
                          <a:pt x="173" y="19"/>
                        </a:cubicBezTo>
                        <a:cubicBezTo>
                          <a:pt x="172" y="19"/>
                          <a:pt x="172" y="19"/>
                          <a:pt x="172" y="19"/>
                        </a:cubicBezTo>
                        <a:close/>
                        <a:moveTo>
                          <a:pt x="172" y="20"/>
                        </a:moveTo>
                        <a:cubicBezTo>
                          <a:pt x="172" y="20"/>
                          <a:pt x="172" y="20"/>
                          <a:pt x="172" y="21"/>
                        </a:cubicBezTo>
                        <a:cubicBezTo>
                          <a:pt x="172" y="21"/>
                          <a:pt x="172" y="20"/>
                          <a:pt x="173" y="20"/>
                        </a:cubicBezTo>
                        <a:cubicBezTo>
                          <a:pt x="172" y="21"/>
                          <a:pt x="173" y="20"/>
                          <a:pt x="173" y="20"/>
                        </a:cubicBezTo>
                        <a:cubicBezTo>
                          <a:pt x="172" y="21"/>
                          <a:pt x="171" y="21"/>
                          <a:pt x="171" y="21"/>
                        </a:cubicBezTo>
                        <a:cubicBezTo>
                          <a:pt x="171" y="21"/>
                          <a:pt x="171" y="21"/>
                          <a:pt x="171" y="21"/>
                        </a:cubicBezTo>
                        <a:cubicBezTo>
                          <a:pt x="171" y="21"/>
                          <a:pt x="171" y="21"/>
                          <a:pt x="172" y="21"/>
                        </a:cubicBezTo>
                        <a:cubicBezTo>
                          <a:pt x="172" y="21"/>
                          <a:pt x="171" y="21"/>
                          <a:pt x="171" y="21"/>
                        </a:cubicBezTo>
                        <a:cubicBezTo>
                          <a:pt x="172" y="20"/>
                          <a:pt x="172" y="20"/>
                          <a:pt x="172" y="20"/>
                        </a:cubicBezTo>
                        <a:close/>
                        <a:moveTo>
                          <a:pt x="174" y="26"/>
                        </a:moveTo>
                        <a:cubicBezTo>
                          <a:pt x="174" y="27"/>
                          <a:pt x="174" y="27"/>
                          <a:pt x="174" y="27"/>
                        </a:cubicBezTo>
                        <a:cubicBezTo>
                          <a:pt x="173" y="27"/>
                          <a:pt x="174" y="26"/>
                          <a:pt x="174" y="26"/>
                        </a:cubicBezTo>
                        <a:close/>
                        <a:moveTo>
                          <a:pt x="172" y="25"/>
                        </a:moveTo>
                        <a:cubicBezTo>
                          <a:pt x="172" y="25"/>
                          <a:pt x="172" y="25"/>
                          <a:pt x="172" y="25"/>
                        </a:cubicBezTo>
                        <a:cubicBezTo>
                          <a:pt x="172" y="25"/>
                          <a:pt x="172" y="25"/>
                          <a:pt x="172" y="25"/>
                        </a:cubicBezTo>
                        <a:cubicBezTo>
                          <a:pt x="172" y="26"/>
                          <a:pt x="172" y="25"/>
                          <a:pt x="172" y="25"/>
                        </a:cubicBezTo>
                        <a:cubicBezTo>
                          <a:pt x="172" y="26"/>
                          <a:pt x="172" y="25"/>
                          <a:pt x="172" y="26"/>
                        </a:cubicBezTo>
                        <a:cubicBezTo>
                          <a:pt x="172" y="26"/>
                          <a:pt x="172" y="26"/>
                          <a:pt x="172" y="26"/>
                        </a:cubicBezTo>
                        <a:cubicBezTo>
                          <a:pt x="171" y="26"/>
                          <a:pt x="172" y="25"/>
                          <a:pt x="172" y="25"/>
                        </a:cubicBezTo>
                        <a:cubicBezTo>
                          <a:pt x="172" y="25"/>
                          <a:pt x="172" y="25"/>
                          <a:pt x="172" y="25"/>
                        </a:cubicBezTo>
                        <a:cubicBezTo>
                          <a:pt x="172" y="25"/>
                          <a:pt x="173" y="24"/>
                          <a:pt x="174" y="25"/>
                        </a:cubicBezTo>
                        <a:cubicBezTo>
                          <a:pt x="173" y="25"/>
                          <a:pt x="173" y="25"/>
                          <a:pt x="173" y="25"/>
                        </a:cubicBezTo>
                        <a:cubicBezTo>
                          <a:pt x="172" y="25"/>
                          <a:pt x="172" y="25"/>
                          <a:pt x="172" y="25"/>
                        </a:cubicBezTo>
                        <a:cubicBezTo>
                          <a:pt x="172" y="25"/>
                          <a:pt x="172" y="25"/>
                          <a:pt x="172" y="25"/>
                        </a:cubicBezTo>
                        <a:cubicBezTo>
                          <a:pt x="172" y="25"/>
                          <a:pt x="173" y="25"/>
                          <a:pt x="173" y="25"/>
                        </a:cubicBezTo>
                        <a:cubicBezTo>
                          <a:pt x="172" y="25"/>
                          <a:pt x="172" y="25"/>
                          <a:pt x="172" y="25"/>
                        </a:cubicBezTo>
                        <a:close/>
                        <a:moveTo>
                          <a:pt x="173" y="26"/>
                        </a:moveTo>
                        <a:cubicBezTo>
                          <a:pt x="173" y="26"/>
                          <a:pt x="173" y="26"/>
                          <a:pt x="173" y="26"/>
                        </a:cubicBezTo>
                        <a:cubicBezTo>
                          <a:pt x="173" y="26"/>
                          <a:pt x="173" y="26"/>
                          <a:pt x="173" y="26"/>
                        </a:cubicBezTo>
                        <a:cubicBezTo>
                          <a:pt x="173" y="26"/>
                          <a:pt x="173" y="26"/>
                          <a:pt x="173" y="26"/>
                        </a:cubicBezTo>
                        <a:cubicBezTo>
                          <a:pt x="173" y="26"/>
                          <a:pt x="173" y="26"/>
                          <a:pt x="174" y="26"/>
                        </a:cubicBezTo>
                        <a:cubicBezTo>
                          <a:pt x="173" y="26"/>
                          <a:pt x="174" y="26"/>
                          <a:pt x="174" y="26"/>
                        </a:cubicBezTo>
                        <a:cubicBezTo>
                          <a:pt x="174" y="26"/>
                          <a:pt x="173" y="26"/>
                          <a:pt x="173" y="26"/>
                        </a:cubicBezTo>
                        <a:cubicBezTo>
                          <a:pt x="173" y="27"/>
                          <a:pt x="172" y="26"/>
                          <a:pt x="172" y="27"/>
                        </a:cubicBezTo>
                        <a:cubicBezTo>
                          <a:pt x="172" y="27"/>
                          <a:pt x="172" y="27"/>
                          <a:pt x="172" y="27"/>
                        </a:cubicBezTo>
                        <a:cubicBezTo>
                          <a:pt x="172" y="26"/>
                          <a:pt x="172" y="26"/>
                          <a:pt x="172" y="26"/>
                        </a:cubicBezTo>
                        <a:cubicBezTo>
                          <a:pt x="173" y="26"/>
                          <a:pt x="172" y="26"/>
                          <a:pt x="172" y="26"/>
                        </a:cubicBezTo>
                        <a:cubicBezTo>
                          <a:pt x="173" y="26"/>
                          <a:pt x="173" y="26"/>
                          <a:pt x="173" y="26"/>
                        </a:cubicBezTo>
                        <a:close/>
                        <a:moveTo>
                          <a:pt x="173" y="27"/>
                        </a:moveTo>
                        <a:cubicBezTo>
                          <a:pt x="173" y="27"/>
                          <a:pt x="173" y="27"/>
                          <a:pt x="172" y="27"/>
                        </a:cubicBezTo>
                        <a:cubicBezTo>
                          <a:pt x="172" y="27"/>
                          <a:pt x="173" y="27"/>
                          <a:pt x="173" y="27"/>
                        </a:cubicBezTo>
                        <a:cubicBezTo>
                          <a:pt x="173" y="27"/>
                          <a:pt x="173" y="27"/>
                          <a:pt x="173" y="27"/>
                        </a:cubicBezTo>
                        <a:close/>
                        <a:moveTo>
                          <a:pt x="171" y="19"/>
                        </a:moveTo>
                        <a:cubicBezTo>
                          <a:pt x="171" y="19"/>
                          <a:pt x="171" y="19"/>
                          <a:pt x="171" y="19"/>
                        </a:cubicBezTo>
                        <a:cubicBezTo>
                          <a:pt x="171" y="19"/>
                          <a:pt x="171" y="19"/>
                          <a:pt x="171" y="19"/>
                        </a:cubicBezTo>
                        <a:cubicBezTo>
                          <a:pt x="171" y="19"/>
                          <a:pt x="171" y="19"/>
                          <a:pt x="171" y="19"/>
                        </a:cubicBezTo>
                        <a:close/>
                        <a:moveTo>
                          <a:pt x="169" y="15"/>
                        </a:moveTo>
                        <a:cubicBezTo>
                          <a:pt x="169" y="15"/>
                          <a:pt x="170" y="15"/>
                          <a:pt x="170" y="15"/>
                        </a:cubicBezTo>
                        <a:cubicBezTo>
                          <a:pt x="170" y="15"/>
                          <a:pt x="170" y="15"/>
                          <a:pt x="170" y="15"/>
                        </a:cubicBezTo>
                        <a:cubicBezTo>
                          <a:pt x="170" y="15"/>
                          <a:pt x="170" y="15"/>
                          <a:pt x="169" y="15"/>
                        </a:cubicBezTo>
                        <a:close/>
                        <a:moveTo>
                          <a:pt x="169" y="20"/>
                        </a:moveTo>
                        <a:cubicBezTo>
                          <a:pt x="169" y="20"/>
                          <a:pt x="170" y="19"/>
                          <a:pt x="169" y="19"/>
                        </a:cubicBezTo>
                        <a:cubicBezTo>
                          <a:pt x="170" y="19"/>
                          <a:pt x="170" y="19"/>
                          <a:pt x="170" y="19"/>
                        </a:cubicBezTo>
                        <a:cubicBezTo>
                          <a:pt x="170" y="19"/>
                          <a:pt x="170" y="19"/>
                          <a:pt x="170" y="20"/>
                        </a:cubicBezTo>
                        <a:cubicBezTo>
                          <a:pt x="169" y="20"/>
                          <a:pt x="169" y="20"/>
                          <a:pt x="169" y="20"/>
                        </a:cubicBezTo>
                        <a:close/>
                        <a:moveTo>
                          <a:pt x="172" y="25"/>
                        </a:moveTo>
                        <a:cubicBezTo>
                          <a:pt x="171" y="25"/>
                          <a:pt x="171" y="25"/>
                          <a:pt x="172" y="25"/>
                        </a:cubicBezTo>
                        <a:cubicBezTo>
                          <a:pt x="171" y="25"/>
                          <a:pt x="170" y="26"/>
                          <a:pt x="169" y="26"/>
                        </a:cubicBezTo>
                        <a:cubicBezTo>
                          <a:pt x="169" y="26"/>
                          <a:pt x="170" y="26"/>
                          <a:pt x="171" y="25"/>
                        </a:cubicBezTo>
                        <a:cubicBezTo>
                          <a:pt x="171" y="25"/>
                          <a:pt x="171" y="25"/>
                          <a:pt x="171" y="25"/>
                        </a:cubicBezTo>
                        <a:cubicBezTo>
                          <a:pt x="171" y="25"/>
                          <a:pt x="171" y="25"/>
                          <a:pt x="172" y="25"/>
                        </a:cubicBezTo>
                        <a:close/>
                        <a:moveTo>
                          <a:pt x="171" y="26"/>
                        </a:moveTo>
                        <a:cubicBezTo>
                          <a:pt x="171" y="26"/>
                          <a:pt x="171" y="26"/>
                          <a:pt x="171" y="26"/>
                        </a:cubicBezTo>
                        <a:cubicBezTo>
                          <a:pt x="171" y="26"/>
                          <a:pt x="172" y="26"/>
                          <a:pt x="171" y="26"/>
                        </a:cubicBezTo>
                        <a:cubicBezTo>
                          <a:pt x="171" y="26"/>
                          <a:pt x="171" y="26"/>
                          <a:pt x="171" y="26"/>
                        </a:cubicBezTo>
                        <a:cubicBezTo>
                          <a:pt x="171" y="26"/>
                          <a:pt x="171" y="26"/>
                          <a:pt x="171" y="26"/>
                        </a:cubicBezTo>
                        <a:cubicBezTo>
                          <a:pt x="171" y="26"/>
                          <a:pt x="171" y="26"/>
                          <a:pt x="171" y="26"/>
                        </a:cubicBezTo>
                        <a:close/>
                        <a:moveTo>
                          <a:pt x="170" y="21"/>
                        </a:moveTo>
                        <a:cubicBezTo>
                          <a:pt x="170" y="21"/>
                          <a:pt x="170" y="21"/>
                          <a:pt x="170" y="21"/>
                        </a:cubicBezTo>
                        <a:cubicBezTo>
                          <a:pt x="170" y="21"/>
                          <a:pt x="170" y="21"/>
                          <a:pt x="170" y="21"/>
                        </a:cubicBezTo>
                        <a:close/>
                        <a:moveTo>
                          <a:pt x="169" y="19"/>
                        </a:moveTo>
                        <a:cubicBezTo>
                          <a:pt x="169" y="19"/>
                          <a:pt x="169" y="19"/>
                          <a:pt x="169" y="19"/>
                        </a:cubicBezTo>
                        <a:cubicBezTo>
                          <a:pt x="169" y="19"/>
                          <a:pt x="169" y="19"/>
                          <a:pt x="169" y="19"/>
                        </a:cubicBezTo>
                        <a:cubicBezTo>
                          <a:pt x="169" y="19"/>
                          <a:pt x="169" y="19"/>
                          <a:pt x="169" y="19"/>
                        </a:cubicBezTo>
                        <a:close/>
                        <a:moveTo>
                          <a:pt x="171" y="26"/>
                        </a:moveTo>
                        <a:cubicBezTo>
                          <a:pt x="170" y="26"/>
                          <a:pt x="170" y="26"/>
                          <a:pt x="170" y="26"/>
                        </a:cubicBezTo>
                        <a:cubicBezTo>
                          <a:pt x="170" y="26"/>
                          <a:pt x="170" y="26"/>
                          <a:pt x="171" y="26"/>
                        </a:cubicBezTo>
                        <a:close/>
                        <a:moveTo>
                          <a:pt x="167" y="20"/>
                        </a:moveTo>
                        <a:cubicBezTo>
                          <a:pt x="168" y="20"/>
                          <a:pt x="170" y="19"/>
                          <a:pt x="168" y="20"/>
                        </a:cubicBezTo>
                        <a:cubicBezTo>
                          <a:pt x="169" y="20"/>
                          <a:pt x="168" y="20"/>
                          <a:pt x="168" y="20"/>
                        </a:cubicBezTo>
                        <a:cubicBezTo>
                          <a:pt x="168" y="20"/>
                          <a:pt x="167" y="20"/>
                          <a:pt x="167" y="20"/>
                        </a:cubicBezTo>
                        <a:close/>
                        <a:moveTo>
                          <a:pt x="167" y="19"/>
                        </a:moveTo>
                        <a:cubicBezTo>
                          <a:pt x="167" y="19"/>
                          <a:pt x="167" y="19"/>
                          <a:pt x="168" y="19"/>
                        </a:cubicBezTo>
                        <a:cubicBezTo>
                          <a:pt x="168" y="19"/>
                          <a:pt x="168" y="19"/>
                          <a:pt x="168" y="19"/>
                        </a:cubicBezTo>
                        <a:cubicBezTo>
                          <a:pt x="168" y="19"/>
                          <a:pt x="168" y="19"/>
                          <a:pt x="167" y="19"/>
                        </a:cubicBezTo>
                        <a:close/>
                        <a:moveTo>
                          <a:pt x="169" y="24"/>
                        </a:moveTo>
                        <a:cubicBezTo>
                          <a:pt x="169" y="24"/>
                          <a:pt x="169" y="24"/>
                          <a:pt x="169" y="24"/>
                        </a:cubicBezTo>
                        <a:cubicBezTo>
                          <a:pt x="169" y="24"/>
                          <a:pt x="169" y="24"/>
                          <a:pt x="169" y="24"/>
                        </a:cubicBezTo>
                        <a:close/>
                        <a:moveTo>
                          <a:pt x="168" y="20"/>
                        </a:moveTo>
                        <a:cubicBezTo>
                          <a:pt x="168" y="20"/>
                          <a:pt x="168" y="20"/>
                          <a:pt x="168" y="21"/>
                        </a:cubicBezTo>
                        <a:cubicBezTo>
                          <a:pt x="168" y="21"/>
                          <a:pt x="168" y="20"/>
                          <a:pt x="168" y="20"/>
                        </a:cubicBezTo>
                        <a:cubicBezTo>
                          <a:pt x="168" y="20"/>
                          <a:pt x="168" y="20"/>
                          <a:pt x="168" y="20"/>
                        </a:cubicBezTo>
                        <a:close/>
                        <a:moveTo>
                          <a:pt x="166" y="20"/>
                        </a:moveTo>
                        <a:cubicBezTo>
                          <a:pt x="166" y="19"/>
                          <a:pt x="165" y="20"/>
                          <a:pt x="166" y="20"/>
                        </a:cubicBezTo>
                        <a:cubicBezTo>
                          <a:pt x="165" y="20"/>
                          <a:pt x="165" y="20"/>
                          <a:pt x="165" y="20"/>
                        </a:cubicBezTo>
                        <a:cubicBezTo>
                          <a:pt x="164" y="20"/>
                          <a:pt x="164" y="20"/>
                          <a:pt x="164" y="20"/>
                        </a:cubicBezTo>
                        <a:cubicBezTo>
                          <a:pt x="164" y="20"/>
                          <a:pt x="163" y="20"/>
                          <a:pt x="163" y="20"/>
                        </a:cubicBezTo>
                        <a:cubicBezTo>
                          <a:pt x="162" y="20"/>
                          <a:pt x="163" y="20"/>
                          <a:pt x="163" y="20"/>
                        </a:cubicBezTo>
                        <a:cubicBezTo>
                          <a:pt x="163" y="20"/>
                          <a:pt x="164" y="20"/>
                          <a:pt x="165" y="20"/>
                        </a:cubicBezTo>
                        <a:cubicBezTo>
                          <a:pt x="165" y="20"/>
                          <a:pt x="166" y="19"/>
                          <a:pt x="166" y="20"/>
                        </a:cubicBezTo>
                        <a:cubicBezTo>
                          <a:pt x="166" y="19"/>
                          <a:pt x="166" y="19"/>
                          <a:pt x="166" y="19"/>
                        </a:cubicBezTo>
                        <a:cubicBezTo>
                          <a:pt x="166" y="19"/>
                          <a:pt x="167" y="19"/>
                          <a:pt x="167" y="19"/>
                        </a:cubicBezTo>
                        <a:cubicBezTo>
                          <a:pt x="167" y="19"/>
                          <a:pt x="166" y="20"/>
                          <a:pt x="166" y="20"/>
                        </a:cubicBezTo>
                        <a:close/>
                        <a:moveTo>
                          <a:pt x="168" y="28"/>
                        </a:moveTo>
                        <a:cubicBezTo>
                          <a:pt x="168" y="28"/>
                          <a:pt x="168" y="27"/>
                          <a:pt x="168" y="27"/>
                        </a:cubicBezTo>
                        <a:cubicBezTo>
                          <a:pt x="168" y="27"/>
                          <a:pt x="168" y="28"/>
                          <a:pt x="168" y="28"/>
                        </a:cubicBezTo>
                        <a:close/>
                        <a:moveTo>
                          <a:pt x="167" y="22"/>
                        </a:moveTo>
                        <a:cubicBezTo>
                          <a:pt x="167" y="22"/>
                          <a:pt x="166" y="23"/>
                          <a:pt x="166" y="22"/>
                        </a:cubicBezTo>
                        <a:cubicBezTo>
                          <a:pt x="166" y="22"/>
                          <a:pt x="166" y="22"/>
                          <a:pt x="167" y="22"/>
                        </a:cubicBezTo>
                        <a:close/>
                        <a:moveTo>
                          <a:pt x="168" y="28"/>
                        </a:moveTo>
                        <a:cubicBezTo>
                          <a:pt x="168" y="28"/>
                          <a:pt x="168" y="28"/>
                          <a:pt x="167" y="28"/>
                        </a:cubicBezTo>
                        <a:cubicBezTo>
                          <a:pt x="167" y="28"/>
                          <a:pt x="168" y="28"/>
                          <a:pt x="168" y="28"/>
                        </a:cubicBezTo>
                        <a:cubicBezTo>
                          <a:pt x="168" y="28"/>
                          <a:pt x="168" y="28"/>
                          <a:pt x="168" y="28"/>
                        </a:cubicBezTo>
                        <a:close/>
                        <a:moveTo>
                          <a:pt x="166" y="25"/>
                        </a:moveTo>
                        <a:cubicBezTo>
                          <a:pt x="166" y="25"/>
                          <a:pt x="166" y="25"/>
                          <a:pt x="167" y="25"/>
                        </a:cubicBezTo>
                        <a:cubicBezTo>
                          <a:pt x="166" y="25"/>
                          <a:pt x="166" y="25"/>
                          <a:pt x="166" y="25"/>
                        </a:cubicBezTo>
                        <a:cubicBezTo>
                          <a:pt x="166" y="25"/>
                          <a:pt x="166" y="25"/>
                          <a:pt x="166" y="25"/>
                        </a:cubicBezTo>
                        <a:close/>
                        <a:moveTo>
                          <a:pt x="167" y="28"/>
                        </a:moveTo>
                        <a:cubicBezTo>
                          <a:pt x="167" y="28"/>
                          <a:pt x="167" y="29"/>
                          <a:pt x="167" y="29"/>
                        </a:cubicBezTo>
                        <a:cubicBezTo>
                          <a:pt x="167" y="29"/>
                          <a:pt x="167" y="28"/>
                          <a:pt x="167" y="28"/>
                        </a:cubicBezTo>
                        <a:close/>
                        <a:moveTo>
                          <a:pt x="165" y="24"/>
                        </a:moveTo>
                        <a:cubicBezTo>
                          <a:pt x="165" y="24"/>
                          <a:pt x="165" y="24"/>
                          <a:pt x="166" y="24"/>
                        </a:cubicBezTo>
                        <a:cubicBezTo>
                          <a:pt x="166" y="24"/>
                          <a:pt x="166" y="24"/>
                          <a:pt x="165" y="24"/>
                        </a:cubicBezTo>
                        <a:close/>
                        <a:moveTo>
                          <a:pt x="165" y="29"/>
                        </a:moveTo>
                        <a:cubicBezTo>
                          <a:pt x="165" y="29"/>
                          <a:pt x="165" y="29"/>
                          <a:pt x="165" y="29"/>
                        </a:cubicBezTo>
                        <a:cubicBezTo>
                          <a:pt x="166" y="28"/>
                          <a:pt x="166" y="29"/>
                          <a:pt x="166" y="29"/>
                        </a:cubicBezTo>
                        <a:cubicBezTo>
                          <a:pt x="166" y="29"/>
                          <a:pt x="165" y="29"/>
                          <a:pt x="165" y="29"/>
                        </a:cubicBezTo>
                        <a:close/>
                        <a:moveTo>
                          <a:pt x="163" y="17"/>
                        </a:moveTo>
                        <a:cubicBezTo>
                          <a:pt x="163" y="17"/>
                          <a:pt x="162" y="17"/>
                          <a:pt x="162" y="17"/>
                        </a:cubicBezTo>
                        <a:cubicBezTo>
                          <a:pt x="162" y="17"/>
                          <a:pt x="163" y="17"/>
                          <a:pt x="163" y="17"/>
                        </a:cubicBezTo>
                        <a:close/>
                        <a:moveTo>
                          <a:pt x="162" y="21"/>
                        </a:moveTo>
                        <a:cubicBezTo>
                          <a:pt x="163" y="21"/>
                          <a:pt x="163" y="21"/>
                          <a:pt x="163" y="21"/>
                        </a:cubicBezTo>
                        <a:cubicBezTo>
                          <a:pt x="163" y="21"/>
                          <a:pt x="162" y="21"/>
                          <a:pt x="162" y="21"/>
                        </a:cubicBezTo>
                        <a:close/>
                        <a:moveTo>
                          <a:pt x="162" y="20"/>
                        </a:moveTo>
                        <a:cubicBezTo>
                          <a:pt x="162" y="20"/>
                          <a:pt x="162" y="20"/>
                          <a:pt x="162" y="20"/>
                        </a:cubicBezTo>
                        <a:cubicBezTo>
                          <a:pt x="162" y="20"/>
                          <a:pt x="161" y="20"/>
                          <a:pt x="161" y="20"/>
                        </a:cubicBezTo>
                        <a:cubicBezTo>
                          <a:pt x="161" y="21"/>
                          <a:pt x="160" y="21"/>
                          <a:pt x="161" y="21"/>
                        </a:cubicBezTo>
                        <a:cubicBezTo>
                          <a:pt x="161" y="21"/>
                          <a:pt x="160" y="21"/>
                          <a:pt x="160" y="21"/>
                        </a:cubicBezTo>
                        <a:cubicBezTo>
                          <a:pt x="160" y="21"/>
                          <a:pt x="160" y="21"/>
                          <a:pt x="159" y="21"/>
                        </a:cubicBezTo>
                        <a:cubicBezTo>
                          <a:pt x="160" y="21"/>
                          <a:pt x="161" y="20"/>
                          <a:pt x="162" y="20"/>
                        </a:cubicBezTo>
                        <a:close/>
                        <a:moveTo>
                          <a:pt x="163" y="26"/>
                        </a:moveTo>
                        <a:cubicBezTo>
                          <a:pt x="163" y="26"/>
                          <a:pt x="163" y="26"/>
                          <a:pt x="163" y="26"/>
                        </a:cubicBezTo>
                        <a:cubicBezTo>
                          <a:pt x="162" y="26"/>
                          <a:pt x="162" y="26"/>
                          <a:pt x="162" y="26"/>
                        </a:cubicBezTo>
                        <a:cubicBezTo>
                          <a:pt x="162" y="26"/>
                          <a:pt x="163" y="25"/>
                          <a:pt x="163" y="26"/>
                        </a:cubicBezTo>
                        <a:close/>
                        <a:moveTo>
                          <a:pt x="161" y="24"/>
                        </a:moveTo>
                        <a:cubicBezTo>
                          <a:pt x="161" y="24"/>
                          <a:pt x="162" y="24"/>
                          <a:pt x="161" y="24"/>
                        </a:cubicBezTo>
                        <a:cubicBezTo>
                          <a:pt x="161" y="24"/>
                          <a:pt x="162" y="24"/>
                          <a:pt x="162" y="24"/>
                        </a:cubicBezTo>
                        <a:cubicBezTo>
                          <a:pt x="162" y="24"/>
                          <a:pt x="161" y="24"/>
                          <a:pt x="161" y="24"/>
                        </a:cubicBezTo>
                        <a:cubicBezTo>
                          <a:pt x="161" y="24"/>
                          <a:pt x="161" y="24"/>
                          <a:pt x="161" y="24"/>
                        </a:cubicBezTo>
                        <a:close/>
                        <a:moveTo>
                          <a:pt x="160" y="21"/>
                        </a:moveTo>
                        <a:cubicBezTo>
                          <a:pt x="160" y="21"/>
                          <a:pt x="161" y="21"/>
                          <a:pt x="161" y="21"/>
                        </a:cubicBezTo>
                        <a:cubicBezTo>
                          <a:pt x="161" y="21"/>
                          <a:pt x="160" y="21"/>
                          <a:pt x="160" y="21"/>
                        </a:cubicBezTo>
                        <a:close/>
                        <a:moveTo>
                          <a:pt x="161" y="26"/>
                        </a:moveTo>
                        <a:cubicBezTo>
                          <a:pt x="161" y="26"/>
                          <a:pt x="161" y="26"/>
                          <a:pt x="162" y="26"/>
                        </a:cubicBezTo>
                        <a:cubicBezTo>
                          <a:pt x="162" y="26"/>
                          <a:pt x="161" y="26"/>
                          <a:pt x="161" y="26"/>
                        </a:cubicBezTo>
                        <a:close/>
                        <a:moveTo>
                          <a:pt x="160" y="20"/>
                        </a:moveTo>
                        <a:cubicBezTo>
                          <a:pt x="160" y="21"/>
                          <a:pt x="159" y="21"/>
                          <a:pt x="159" y="21"/>
                        </a:cubicBezTo>
                        <a:cubicBezTo>
                          <a:pt x="159" y="20"/>
                          <a:pt x="159" y="21"/>
                          <a:pt x="160" y="20"/>
                        </a:cubicBezTo>
                        <a:close/>
                        <a:moveTo>
                          <a:pt x="161" y="25"/>
                        </a:moveTo>
                        <a:cubicBezTo>
                          <a:pt x="161" y="25"/>
                          <a:pt x="160" y="25"/>
                          <a:pt x="160" y="25"/>
                        </a:cubicBezTo>
                        <a:cubicBezTo>
                          <a:pt x="160" y="25"/>
                          <a:pt x="160" y="25"/>
                          <a:pt x="160" y="25"/>
                        </a:cubicBezTo>
                        <a:cubicBezTo>
                          <a:pt x="160" y="25"/>
                          <a:pt x="160" y="25"/>
                          <a:pt x="161" y="25"/>
                        </a:cubicBezTo>
                        <a:close/>
                        <a:moveTo>
                          <a:pt x="160" y="23"/>
                        </a:moveTo>
                        <a:cubicBezTo>
                          <a:pt x="160" y="23"/>
                          <a:pt x="159" y="23"/>
                          <a:pt x="159" y="23"/>
                        </a:cubicBezTo>
                        <a:cubicBezTo>
                          <a:pt x="159" y="23"/>
                          <a:pt x="159" y="23"/>
                          <a:pt x="160" y="23"/>
                        </a:cubicBezTo>
                        <a:close/>
                        <a:moveTo>
                          <a:pt x="158" y="22"/>
                        </a:moveTo>
                        <a:cubicBezTo>
                          <a:pt x="158" y="22"/>
                          <a:pt x="159" y="22"/>
                          <a:pt x="159" y="22"/>
                        </a:cubicBezTo>
                        <a:cubicBezTo>
                          <a:pt x="159" y="22"/>
                          <a:pt x="159" y="22"/>
                          <a:pt x="158" y="22"/>
                        </a:cubicBezTo>
                        <a:close/>
                        <a:moveTo>
                          <a:pt x="157" y="20"/>
                        </a:moveTo>
                        <a:cubicBezTo>
                          <a:pt x="157" y="19"/>
                          <a:pt x="158" y="19"/>
                          <a:pt x="158" y="19"/>
                        </a:cubicBezTo>
                        <a:cubicBezTo>
                          <a:pt x="158" y="19"/>
                          <a:pt x="158" y="19"/>
                          <a:pt x="157" y="20"/>
                        </a:cubicBezTo>
                        <a:close/>
                        <a:moveTo>
                          <a:pt x="159" y="27"/>
                        </a:moveTo>
                        <a:cubicBezTo>
                          <a:pt x="159" y="27"/>
                          <a:pt x="160" y="27"/>
                          <a:pt x="160" y="27"/>
                        </a:cubicBezTo>
                        <a:cubicBezTo>
                          <a:pt x="160" y="27"/>
                          <a:pt x="160" y="27"/>
                          <a:pt x="159" y="27"/>
                        </a:cubicBezTo>
                        <a:close/>
                        <a:moveTo>
                          <a:pt x="160" y="30"/>
                        </a:moveTo>
                        <a:cubicBezTo>
                          <a:pt x="160" y="30"/>
                          <a:pt x="160" y="30"/>
                          <a:pt x="160" y="30"/>
                        </a:cubicBezTo>
                        <a:cubicBezTo>
                          <a:pt x="160" y="30"/>
                          <a:pt x="160" y="30"/>
                          <a:pt x="160" y="30"/>
                        </a:cubicBezTo>
                        <a:cubicBezTo>
                          <a:pt x="160" y="30"/>
                          <a:pt x="160" y="30"/>
                          <a:pt x="160" y="30"/>
                        </a:cubicBezTo>
                        <a:close/>
                        <a:moveTo>
                          <a:pt x="159" y="25"/>
                        </a:moveTo>
                        <a:cubicBezTo>
                          <a:pt x="158" y="25"/>
                          <a:pt x="158" y="26"/>
                          <a:pt x="157" y="26"/>
                        </a:cubicBezTo>
                        <a:cubicBezTo>
                          <a:pt x="157" y="26"/>
                          <a:pt x="157" y="26"/>
                          <a:pt x="157" y="26"/>
                        </a:cubicBezTo>
                        <a:cubicBezTo>
                          <a:pt x="157" y="26"/>
                          <a:pt x="157" y="26"/>
                          <a:pt x="157" y="26"/>
                        </a:cubicBezTo>
                        <a:cubicBezTo>
                          <a:pt x="157" y="26"/>
                          <a:pt x="157" y="26"/>
                          <a:pt x="157" y="26"/>
                        </a:cubicBezTo>
                        <a:cubicBezTo>
                          <a:pt x="157" y="26"/>
                          <a:pt x="157" y="26"/>
                          <a:pt x="157" y="26"/>
                        </a:cubicBezTo>
                        <a:cubicBezTo>
                          <a:pt x="157" y="26"/>
                          <a:pt x="156" y="26"/>
                          <a:pt x="156" y="26"/>
                        </a:cubicBezTo>
                        <a:cubicBezTo>
                          <a:pt x="156" y="25"/>
                          <a:pt x="157" y="26"/>
                          <a:pt x="157" y="25"/>
                        </a:cubicBezTo>
                        <a:cubicBezTo>
                          <a:pt x="157" y="25"/>
                          <a:pt x="158" y="25"/>
                          <a:pt x="157" y="25"/>
                        </a:cubicBezTo>
                        <a:cubicBezTo>
                          <a:pt x="158" y="25"/>
                          <a:pt x="158" y="25"/>
                          <a:pt x="158" y="25"/>
                        </a:cubicBezTo>
                        <a:cubicBezTo>
                          <a:pt x="158" y="25"/>
                          <a:pt x="158" y="25"/>
                          <a:pt x="159" y="25"/>
                        </a:cubicBezTo>
                        <a:close/>
                        <a:moveTo>
                          <a:pt x="159" y="27"/>
                        </a:moveTo>
                        <a:cubicBezTo>
                          <a:pt x="159" y="27"/>
                          <a:pt x="159" y="27"/>
                          <a:pt x="158" y="27"/>
                        </a:cubicBezTo>
                        <a:cubicBezTo>
                          <a:pt x="158" y="27"/>
                          <a:pt x="158" y="27"/>
                          <a:pt x="158" y="27"/>
                        </a:cubicBezTo>
                        <a:cubicBezTo>
                          <a:pt x="158" y="27"/>
                          <a:pt x="158" y="27"/>
                          <a:pt x="158" y="27"/>
                        </a:cubicBezTo>
                        <a:cubicBezTo>
                          <a:pt x="158" y="27"/>
                          <a:pt x="158" y="27"/>
                          <a:pt x="158" y="27"/>
                        </a:cubicBezTo>
                        <a:cubicBezTo>
                          <a:pt x="158" y="27"/>
                          <a:pt x="158" y="27"/>
                          <a:pt x="158" y="28"/>
                        </a:cubicBezTo>
                        <a:cubicBezTo>
                          <a:pt x="157" y="27"/>
                          <a:pt x="158" y="27"/>
                          <a:pt x="158" y="27"/>
                        </a:cubicBezTo>
                        <a:cubicBezTo>
                          <a:pt x="158" y="27"/>
                          <a:pt x="158" y="27"/>
                          <a:pt x="158" y="27"/>
                        </a:cubicBezTo>
                        <a:cubicBezTo>
                          <a:pt x="159" y="27"/>
                          <a:pt x="158" y="27"/>
                          <a:pt x="159" y="27"/>
                        </a:cubicBezTo>
                        <a:cubicBezTo>
                          <a:pt x="159" y="27"/>
                          <a:pt x="159" y="27"/>
                          <a:pt x="159" y="27"/>
                        </a:cubicBezTo>
                        <a:close/>
                        <a:moveTo>
                          <a:pt x="157" y="26"/>
                        </a:moveTo>
                        <a:cubicBezTo>
                          <a:pt x="157" y="26"/>
                          <a:pt x="158" y="26"/>
                          <a:pt x="158" y="26"/>
                        </a:cubicBezTo>
                        <a:cubicBezTo>
                          <a:pt x="158" y="26"/>
                          <a:pt x="157" y="26"/>
                          <a:pt x="157" y="26"/>
                        </a:cubicBezTo>
                        <a:cubicBezTo>
                          <a:pt x="157" y="26"/>
                          <a:pt x="157" y="26"/>
                          <a:pt x="157" y="26"/>
                        </a:cubicBezTo>
                        <a:cubicBezTo>
                          <a:pt x="157" y="26"/>
                          <a:pt x="157" y="26"/>
                          <a:pt x="157" y="26"/>
                        </a:cubicBezTo>
                        <a:close/>
                        <a:moveTo>
                          <a:pt x="158" y="28"/>
                        </a:moveTo>
                        <a:cubicBezTo>
                          <a:pt x="158" y="29"/>
                          <a:pt x="158" y="28"/>
                          <a:pt x="158" y="29"/>
                        </a:cubicBezTo>
                        <a:cubicBezTo>
                          <a:pt x="158" y="29"/>
                          <a:pt x="157" y="29"/>
                          <a:pt x="158" y="29"/>
                        </a:cubicBezTo>
                        <a:cubicBezTo>
                          <a:pt x="157" y="29"/>
                          <a:pt x="157" y="29"/>
                          <a:pt x="157" y="29"/>
                        </a:cubicBezTo>
                        <a:cubicBezTo>
                          <a:pt x="157" y="29"/>
                          <a:pt x="157" y="29"/>
                          <a:pt x="157" y="29"/>
                        </a:cubicBezTo>
                        <a:cubicBezTo>
                          <a:pt x="157" y="28"/>
                          <a:pt x="157" y="28"/>
                          <a:pt x="156" y="29"/>
                        </a:cubicBezTo>
                        <a:cubicBezTo>
                          <a:pt x="157" y="28"/>
                          <a:pt x="157" y="28"/>
                          <a:pt x="158" y="28"/>
                        </a:cubicBezTo>
                        <a:close/>
                        <a:moveTo>
                          <a:pt x="156" y="22"/>
                        </a:moveTo>
                        <a:cubicBezTo>
                          <a:pt x="156" y="22"/>
                          <a:pt x="156" y="22"/>
                          <a:pt x="155" y="22"/>
                        </a:cubicBezTo>
                        <a:cubicBezTo>
                          <a:pt x="155" y="22"/>
                          <a:pt x="156" y="22"/>
                          <a:pt x="156" y="22"/>
                        </a:cubicBezTo>
                        <a:close/>
                        <a:moveTo>
                          <a:pt x="156" y="25"/>
                        </a:moveTo>
                        <a:cubicBezTo>
                          <a:pt x="156" y="25"/>
                          <a:pt x="156" y="25"/>
                          <a:pt x="156" y="25"/>
                        </a:cubicBezTo>
                        <a:cubicBezTo>
                          <a:pt x="156" y="25"/>
                          <a:pt x="156" y="25"/>
                          <a:pt x="156" y="25"/>
                        </a:cubicBezTo>
                        <a:close/>
                        <a:moveTo>
                          <a:pt x="157" y="27"/>
                        </a:moveTo>
                        <a:cubicBezTo>
                          <a:pt x="157" y="27"/>
                          <a:pt x="156" y="27"/>
                          <a:pt x="156" y="27"/>
                        </a:cubicBezTo>
                        <a:cubicBezTo>
                          <a:pt x="156" y="26"/>
                          <a:pt x="156" y="27"/>
                          <a:pt x="157" y="27"/>
                        </a:cubicBezTo>
                        <a:close/>
                        <a:moveTo>
                          <a:pt x="156" y="25"/>
                        </a:moveTo>
                        <a:cubicBezTo>
                          <a:pt x="155" y="25"/>
                          <a:pt x="155" y="25"/>
                          <a:pt x="155" y="25"/>
                        </a:cubicBezTo>
                        <a:cubicBezTo>
                          <a:pt x="155" y="25"/>
                          <a:pt x="154" y="26"/>
                          <a:pt x="154" y="25"/>
                        </a:cubicBezTo>
                        <a:cubicBezTo>
                          <a:pt x="154" y="25"/>
                          <a:pt x="154" y="26"/>
                          <a:pt x="154" y="26"/>
                        </a:cubicBezTo>
                        <a:cubicBezTo>
                          <a:pt x="154" y="26"/>
                          <a:pt x="153" y="26"/>
                          <a:pt x="153" y="25"/>
                        </a:cubicBezTo>
                        <a:cubicBezTo>
                          <a:pt x="154" y="25"/>
                          <a:pt x="155" y="25"/>
                          <a:pt x="156" y="25"/>
                        </a:cubicBezTo>
                        <a:close/>
                        <a:moveTo>
                          <a:pt x="157" y="31"/>
                        </a:moveTo>
                        <a:cubicBezTo>
                          <a:pt x="157" y="31"/>
                          <a:pt x="156" y="31"/>
                          <a:pt x="156" y="31"/>
                        </a:cubicBezTo>
                        <a:cubicBezTo>
                          <a:pt x="156" y="31"/>
                          <a:pt x="156" y="31"/>
                          <a:pt x="156" y="31"/>
                        </a:cubicBezTo>
                        <a:cubicBezTo>
                          <a:pt x="156" y="31"/>
                          <a:pt x="157" y="30"/>
                          <a:pt x="157" y="31"/>
                        </a:cubicBezTo>
                        <a:close/>
                        <a:moveTo>
                          <a:pt x="156" y="29"/>
                        </a:moveTo>
                        <a:cubicBezTo>
                          <a:pt x="156" y="29"/>
                          <a:pt x="156" y="29"/>
                          <a:pt x="156" y="29"/>
                        </a:cubicBezTo>
                        <a:cubicBezTo>
                          <a:pt x="156" y="29"/>
                          <a:pt x="156" y="29"/>
                          <a:pt x="156" y="29"/>
                        </a:cubicBezTo>
                        <a:close/>
                        <a:moveTo>
                          <a:pt x="155" y="32"/>
                        </a:moveTo>
                        <a:cubicBezTo>
                          <a:pt x="154" y="32"/>
                          <a:pt x="153" y="32"/>
                          <a:pt x="152" y="32"/>
                        </a:cubicBezTo>
                        <a:cubicBezTo>
                          <a:pt x="153" y="32"/>
                          <a:pt x="155" y="31"/>
                          <a:pt x="156" y="31"/>
                        </a:cubicBezTo>
                        <a:cubicBezTo>
                          <a:pt x="156" y="31"/>
                          <a:pt x="155" y="32"/>
                          <a:pt x="155" y="32"/>
                        </a:cubicBezTo>
                        <a:close/>
                        <a:moveTo>
                          <a:pt x="152" y="23"/>
                        </a:moveTo>
                        <a:cubicBezTo>
                          <a:pt x="153" y="23"/>
                          <a:pt x="153" y="23"/>
                          <a:pt x="153" y="23"/>
                        </a:cubicBezTo>
                        <a:cubicBezTo>
                          <a:pt x="153" y="23"/>
                          <a:pt x="153" y="23"/>
                          <a:pt x="152" y="23"/>
                        </a:cubicBezTo>
                        <a:close/>
                        <a:moveTo>
                          <a:pt x="154" y="29"/>
                        </a:moveTo>
                        <a:cubicBezTo>
                          <a:pt x="154" y="29"/>
                          <a:pt x="154" y="29"/>
                          <a:pt x="154" y="29"/>
                        </a:cubicBezTo>
                        <a:cubicBezTo>
                          <a:pt x="154" y="28"/>
                          <a:pt x="154" y="29"/>
                          <a:pt x="155" y="28"/>
                        </a:cubicBezTo>
                        <a:cubicBezTo>
                          <a:pt x="154" y="29"/>
                          <a:pt x="154" y="29"/>
                          <a:pt x="154" y="29"/>
                        </a:cubicBezTo>
                        <a:close/>
                        <a:moveTo>
                          <a:pt x="152" y="25"/>
                        </a:moveTo>
                        <a:cubicBezTo>
                          <a:pt x="153" y="25"/>
                          <a:pt x="153" y="25"/>
                          <a:pt x="153" y="25"/>
                        </a:cubicBezTo>
                        <a:cubicBezTo>
                          <a:pt x="153" y="25"/>
                          <a:pt x="152" y="25"/>
                          <a:pt x="151" y="25"/>
                        </a:cubicBezTo>
                        <a:cubicBezTo>
                          <a:pt x="151" y="25"/>
                          <a:pt x="152" y="25"/>
                          <a:pt x="152" y="25"/>
                        </a:cubicBezTo>
                        <a:close/>
                        <a:moveTo>
                          <a:pt x="151" y="25"/>
                        </a:moveTo>
                        <a:cubicBezTo>
                          <a:pt x="151" y="25"/>
                          <a:pt x="151" y="25"/>
                          <a:pt x="151" y="25"/>
                        </a:cubicBezTo>
                        <a:cubicBezTo>
                          <a:pt x="151" y="25"/>
                          <a:pt x="151" y="25"/>
                          <a:pt x="151" y="25"/>
                        </a:cubicBezTo>
                        <a:cubicBezTo>
                          <a:pt x="151" y="25"/>
                          <a:pt x="151" y="25"/>
                          <a:pt x="151" y="25"/>
                        </a:cubicBezTo>
                        <a:cubicBezTo>
                          <a:pt x="151" y="25"/>
                          <a:pt x="151" y="25"/>
                          <a:pt x="151" y="25"/>
                        </a:cubicBezTo>
                        <a:close/>
                        <a:moveTo>
                          <a:pt x="149" y="33"/>
                        </a:moveTo>
                        <a:cubicBezTo>
                          <a:pt x="150" y="33"/>
                          <a:pt x="151" y="33"/>
                          <a:pt x="149" y="33"/>
                        </a:cubicBezTo>
                        <a:close/>
                        <a:moveTo>
                          <a:pt x="149" y="29"/>
                        </a:moveTo>
                        <a:cubicBezTo>
                          <a:pt x="149" y="29"/>
                          <a:pt x="149" y="29"/>
                          <a:pt x="148" y="29"/>
                        </a:cubicBezTo>
                        <a:cubicBezTo>
                          <a:pt x="148" y="29"/>
                          <a:pt x="148" y="29"/>
                          <a:pt x="148" y="29"/>
                        </a:cubicBezTo>
                        <a:cubicBezTo>
                          <a:pt x="148" y="29"/>
                          <a:pt x="149" y="29"/>
                          <a:pt x="149" y="29"/>
                        </a:cubicBezTo>
                        <a:close/>
                        <a:moveTo>
                          <a:pt x="148" y="27"/>
                        </a:moveTo>
                        <a:cubicBezTo>
                          <a:pt x="148" y="26"/>
                          <a:pt x="148" y="27"/>
                          <a:pt x="148" y="26"/>
                        </a:cubicBezTo>
                        <a:cubicBezTo>
                          <a:pt x="148" y="27"/>
                          <a:pt x="148" y="27"/>
                          <a:pt x="148" y="27"/>
                        </a:cubicBezTo>
                        <a:close/>
                        <a:moveTo>
                          <a:pt x="149" y="30"/>
                        </a:moveTo>
                        <a:cubicBezTo>
                          <a:pt x="149" y="30"/>
                          <a:pt x="148" y="31"/>
                          <a:pt x="148" y="30"/>
                        </a:cubicBezTo>
                        <a:cubicBezTo>
                          <a:pt x="148" y="30"/>
                          <a:pt x="149" y="30"/>
                          <a:pt x="149" y="30"/>
                        </a:cubicBezTo>
                        <a:close/>
                        <a:moveTo>
                          <a:pt x="147" y="25"/>
                        </a:moveTo>
                        <a:cubicBezTo>
                          <a:pt x="147" y="25"/>
                          <a:pt x="147" y="25"/>
                          <a:pt x="147" y="25"/>
                        </a:cubicBezTo>
                        <a:cubicBezTo>
                          <a:pt x="147" y="25"/>
                          <a:pt x="147" y="25"/>
                          <a:pt x="147" y="25"/>
                        </a:cubicBezTo>
                        <a:close/>
                        <a:moveTo>
                          <a:pt x="146" y="28"/>
                        </a:moveTo>
                        <a:cubicBezTo>
                          <a:pt x="146" y="28"/>
                          <a:pt x="146" y="28"/>
                          <a:pt x="146" y="28"/>
                        </a:cubicBezTo>
                        <a:cubicBezTo>
                          <a:pt x="146" y="27"/>
                          <a:pt x="146" y="27"/>
                          <a:pt x="146" y="27"/>
                        </a:cubicBezTo>
                        <a:cubicBezTo>
                          <a:pt x="147" y="27"/>
                          <a:pt x="147" y="27"/>
                          <a:pt x="148" y="27"/>
                        </a:cubicBezTo>
                        <a:cubicBezTo>
                          <a:pt x="147" y="27"/>
                          <a:pt x="146" y="27"/>
                          <a:pt x="146" y="28"/>
                        </a:cubicBezTo>
                        <a:close/>
                        <a:moveTo>
                          <a:pt x="146" y="26"/>
                        </a:moveTo>
                        <a:cubicBezTo>
                          <a:pt x="146" y="26"/>
                          <a:pt x="146" y="26"/>
                          <a:pt x="146" y="26"/>
                        </a:cubicBezTo>
                        <a:cubicBezTo>
                          <a:pt x="147" y="26"/>
                          <a:pt x="147" y="26"/>
                          <a:pt x="146" y="26"/>
                        </a:cubicBezTo>
                        <a:close/>
                        <a:moveTo>
                          <a:pt x="147" y="29"/>
                        </a:moveTo>
                        <a:cubicBezTo>
                          <a:pt x="147" y="29"/>
                          <a:pt x="147" y="29"/>
                          <a:pt x="147" y="29"/>
                        </a:cubicBezTo>
                        <a:cubicBezTo>
                          <a:pt x="147" y="29"/>
                          <a:pt x="147" y="29"/>
                          <a:pt x="147" y="29"/>
                        </a:cubicBezTo>
                        <a:cubicBezTo>
                          <a:pt x="147" y="29"/>
                          <a:pt x="147" y="29"/>
                          <a:pt x="147" y="29"/>
                        </a:cubicBezTo>
                        <a:cubicBezTo>
                          <a:pt x="147" y="29"/>
                          <a:pt x="147" y="29"/>
                          <a:pt x="147" y="29"/>
                        </a:cubicBezTo>
                        <a:close/>
                        <a:moveTo>
                          <a:pt x="146" y="30"/>
                        </a:moveTo>
                        <a:cubicBezTo>
                          <a:pt x="147" y="29"/>
                          <a:pt x="147" y="29"/>
                          <a:pt x="147" y="29"/>
                        </a:cubicBezTo>
                        <a:cubicBezTo>
                          <a:pt x="147" y="30"/>
                          <a:pt x="146" y="30"/>
                          <a:pt x="146" y="30"/>
                        </a:cubicBezTo>
                        <a:close/>
                        <a:moveTo>
                          <a:pt x="146" y="28"/>
                        </a:moveTo>
                        <a:cubicBezTo>
                          <a:pt x="146" y="28"/>
                          <a:pt x="146" y="28"/>
                          <a:pt x="146" y="28"/>
                        </a:cubicBezTo>
                        <a:cubicBezTo>
                          <a:pt x="147" y="28"/>
                          <a:pt x="146" y="28"/>
                          <a:pt x="146" y="28"/>
                        </a:cubicBezTo>
                        <a:close/>
                        <a:moveTo>
                          <a:pt x="146" y="34"/>
                        </a:moveTo>
                        <a:cubicBezTo>
                          <a:pt x="147" y="34"/>
                          <a:pt x="147" y="34"/>
                          <a:pt x="147" y="34"/>
                        </a:cubicBezTo>
                        <a:cubicBezTo>
                          <a:pt x="147" y="34"/>
                          <a:pt x="147" y="34"/>
                          <a:pt x="146" y="34"/>
                        </a:cubicBezTo>
                        <a:close/>
                        <a:moveTo>
                          <a:pt x="144" y="23"/>
                        </a:moveTo>
                        <a:cubicBezTo>
                          <a:pt x="144" y="23"/>
                          <a:pt x="144" y="23"/>
                          <a:pt x="144" y="23"/>
                        </a:cubicBezTo>
                        <a:cubicBezTo>
                          <a:pt x="144" y="23"/>
                          <a:pt x="144" y="23"/>
                          <a:pt x="144" y="23"/>
                        </a:cubicBezTo>
                        <a:cubicBezTo>
                          <a:pt x="144" y="23"/>
                          <a:pt x="144" y="23"/>
                          <a:pt x="144" y="23"/>
                        </a:cubicBezTo>
                        <a:close/>
                        <a:moveTo>
                          <a:pt x="146" y="29"/>
                        </a:moveTo>
                        <a:cubicBezTo>
                          <a:pt x="146" y="29"/>
                          <a:pt x="146" y="29"/>
                          <a:pt x="146" y="29"/>
                        </a:cubicBezTo>
                        <a:cubicBezTo>
                          <a:pt x="146" y="29"/>
                          <a:pt x="146" y="29"/>
                          <a:pt x="145" y="29"/>
                        </a:cubicBezTo>
                        <a:cubicBezTo>
                          <a:pt x="145" y="29"/>
                          <a:pt x="146" y="29"/>
                          <a:pt x="146" y="29"/>
                        </a:cubicBezTo>
                        <a:cubicBezTo>
                          <a:pt x="146" y="29"/>
                          <a:pt x="146" y="29"/>
                          <a:pt x="146" y="29"/>
                        </a:cubicBezTo>
                        <a:close/>
                        <a:moveTo>
                          <a:pt x="144" y="25"/>
                        </a:moveTo>
                        <a:cubicBezTo>
                          <a:pt x="144" y="25"/>
                          <a:pt x="144" y="25"/>
                          <a:pt x="144" y="25"/>
                        </a:cubicBezTo>
                        <a:cubicBezTo>
                          <a:pt x="144" y="25"/>
                          <a:pt x="144" y="25"/>
                          <a:pt x="145" y="25"/>
                        </a:cubicBezTo>
                        <a:cubicBezTo>
                          <a:pt x="145" y="25"/>
                          <a:pt x="145" y="25"/>
                          <a:pt x="144" y="25"/>
                        </a:cubicBezTo>
                        <a:close/>
                        <a:moveTo>
                          <a:pt x="145" y="27"/>
                        </a:moveTo>
                        <a:cubicBezTo>
                          <a:pt x="144" y="27"/>
                          <a:pt x="144" y="27"/>
                          <a:pt x="144" y="27"/>
                        </a:cubicBezTo>
                        <a:cubicBezTo>
                          <a:pt x="144" y="26"/>
                          <a:pt x="145" y="26"/>
                          <a:pt x="145" y="27"/>
                        </a:cubicBezTo>
                        <a:close/>
                        <a:moveTo>
                          <a:pt x="145" y="33"/>
                        </a:moveTo>
                        <a:cubicBezTo>
                          <a:pt x="145" y="33"/>
                          <a:pt x="145" y="33"/>
                          <a:pt x="145" y="33"/>
                        </a:cubicBezTo>
                        <a:cubicBezTo>
                          <a:pt x="145" y="33"/>
                          <a:pt x="145" y="32"/>
                          <a:pt x="145" y="33"/>
                        </a:cubicBezTo>
                        <a:close/>
                        <a:moveTo>
                          <a:pt x="144" y="29"/>
                        </a:moveTo>
                        <a:cubicBezTo>
                          <a:pt x="144" y="29"/>
                          <a:pt x="144" y="29"/>
                          <a:pt x="144" y="29"/>
                        </a:cubicBezTo>
                        <a:cubicBezTo>
                          <a:pt x="144" y="28"/>
                          <a:pt x="144" y="28"/>
                          <a:pt x="144" y="29"/>
                        </a:cubicBezTo>
                        <a:close/>
                        <a:moveTo>
                          <a:pt x="144" y="29"/>
                        </a:moveTo>
                        <a:cubicBezTo>
                          <a:pt x="144" y="29"/>
                          <a:pt x="144" y="29"/>
                          <a:pt x="144" y="29"/>
                        </a:cubicBezTo>
                        <a:cubicBezTo>
                          <a:pt x="144" y="29"/>
                          <a:pt x="144" y="29"/>
                          <a:pt x="144" y="29"/>
                        </a:cubicBezTo>
                        <a:close/>
                        <a:moveTo>
                          <a:pt x="142" y="25"/>
                        </a:moveTo>
                        <a:cubicBezTo>
                          <a:pt x="142" y="25"/>
                          <a:pt x="142" y="24"/>
                          <a:pt x="143" y="24"/>
                        </a:cubicBezTo>
                        <a:cubicBezTo>
                          <a:pt x="143" y="25"/>
                          <a:pt x="142" y="25"/>
                          <a:pt x="142" y="25"/>
                        </a:cubicBezTo>
                        <a:close/>
                        <a:moveTo>
                          <a:pt x="144" y="33"/>
                        </a:moveTo>
                        <a:cubicBezTo>
                          <a:pt x="144" y="33"/>
                          <a:pt x="144" y="33"/>
                          <a:pt x="143" y="33"/>
                        </a:cubicBezTo>
                        <a:cubicBezTo>
                          <a:pt x="144" y="33"/>
                          <a:pt x="144" y="33"/>
                          <a:pt x="145" y="33"/>
                        </a:cubicBezTo>
                        <a:cubicBezTo>
                          <a:pt x="144" y="33"/>
                          <a:pt x="144" y="33"/>
                          <a:pt x="145" y="33"/>
                        </a:cubicBezTo>
                        <a:cubicBezTo>
                          <a:pt x="145" y="33"/>
                          <a:pt x="144" y="33"/>
                          <a:pt x="144" y="33"/>
                        </a:cubicBezTo>
                        <a:cubicBezTo>
                          <a:pt x="144" y="33"/>
                          <a:pt x="144" y="33"/>
                          <a:pt x="144" y="33"/>
                        </a:cubicBezTo>
                        <a:cubicBezTo>
                          <a:pt x="144" y="33"/>
                          <a:pt x="144" y="33"/>
                          <a:pt x="144" y="33"/>
                        </a:cubicBezTo>
                        <a:close/>
                        <a:moveTo>
                          <a:pt x="143" y="26"/>
                        </a:moveTo>
                        <a:cubicBezTo>
                          <a:pt x="142" y="26"/>
                          <a:pt x="142" y="26"/>
                          <a:pt x="142" y="26"/>
                        </a:cubicBezTo>
                        <a:cubicBezTo>
                          <a:pt x="142" y="26"/>
                          <a:pt x="142" y="26"/>
                          <a:pt x="143" y="26"/>
                        </a:cubicBezTo>
                        <a:cubicBezTo>
                          <a:pt x="143" y="26"/>
                          <a:pt x="142" y="26"/>
                          <a:pt x="143" y="26"/>
                        </a:cubicBezTo>
                        <a:close/>
                        <a:moveTo>
                          <a:pt x="142" y="23"/>
                        </a:moveTo>
                        <a:cubicBezTo>
                          <a:pt x="141" y="23"/>
                          <a:pt x="141" y="23"/>
                          <a:pt x="141" y="23"/>
                        </a:cubicBezTo>
                        <a:cubicBezTo>
                          <a:pt x="141" y="23"/>
                          <a:pt x="141" y="22"/>
                          <a:pt x="142" y="22"/>
                        </a:cubicBezTo>
                        <a:cubicBezTo>
                          <a:pt x="142" y="22"/>
                          <a:pt x="142" y="22"/>
                          <a:pt x="142" y="23"/>
                        </a:cubicBezTo>
                        <a:close/>
                        <a:moveTo>
                          <a:pt x="140" y="24"/>
                        </a:moveTo>
                        <a:cubicBezTo>
                          <a:pt x="139" y="24"/>
                          <a:pt x="137" y="24"/>
                          <a:pt x="136" y="24"/>
                        </a:cubicBezTo>
                        <a:cubicBezTo>
                          <a:pt x="138" y="24"/>
                          <a:pt x="139" y="24"/>
                          <a:pt x="141" y="23"/>
                        </a:cubicBezTo>
                        <a:cubicBezTo>
                          <a:pt x="140" y="23"/>
                          <a:pt x="141" y="23"/>
                          <a:pt x="141" y="23"/>
                        </a:cubicBezTo>
                        <a:cubicBezTo>
                          <a:pt x="141" y="24"/>
                          <a:pt x="140" y="23"/>
                          <a:pt x="140" y="24"/>
                        </a:cubicBezTo>
                        <a:close/>
                        <a:moveTo>
                          <a:pt x="142" y="27"/>
                        </a:moveTo>
                        <a:cubicBezTo>
                          <a:pt x="142" y="27"/>
                          <a:pt x="141" y="27"/>
                          <a:pt x="141" y="27"/>
                        </a:cubicBezTo>
                        <a:cubicBezTo>
                          <a:pt x="141" y="27"/>
                          <a:pt x="142" y="27"/>
                          <a:pt x="142" y="27"/>
                        </a:cubicBezTo>
                        <a:close/>
                        <a:moveTo>
                          <a:pt x="142" y="27"/>
                        </a:moveTo>
                        <a:cubicBezTo>
                          <a:pt x="142" y="27"/>
                          <a:pt x="142" y="28"/>
                          <a:pt x="141" y="28"/>
                        </a:cubicBezTo>
                        <a:cubicBezTo>
                          <a:pt x="141" y="28"/>
                          <a:pt x="142" y="27"/>
                          <a:pt x="142" y="27"/>
                        </a:cubicBezTo>
                        <a:cubicBezTo>
                          <a:pt x="142" y="27"/>
                          <a:pt x="142" y="27"/>
                          <a:pt x="142" y="27"/>
                        </a:cubicBezTo>
                        <a:close/>
                        <a:moveTo>
                          <a:pt x="141" y="23"/>
                        </a:moveTo>
                        <a:cubicBezTo>
                          <a:pt x="141" y="23"/>
                          <a:pt x="141" y="23"/>
                          <a:pt x="140" y="23"/>
                        </a:cubicBezTo>
                        <a:cubicBezTo>
                          <a:pt x="140" y="23"/>
                          <a:pt x="141" y="23"/>
                          <a:pt x="141" y="23"/>
                        </a:cubicBezTo>
                        <a:close/>
                        <a:moveTo>
                          <a:pt x="141" y="26"/>
                        </a:moveTo>
                        <a:cubicBezTo>
                          <a:pt x="141" y="26"/>
                          <a:pt x="141" y="25"/>
                          <a:pt x="141" y="25"/>
                        </a:cubicBezTo>
                        <a:cubicBezTo>
                          <a:pt x="142" y="25"/>
                          <a:pt x="141" y="26"/>
                          <a:pt x="142" y="26"/>
                        </a:cubicBezTo>
                        <a:cubicBezTo>
                          <a:pt x="142" y="26"/>
                          <a:pt x="141" y="25"/>
                          <a:pt x="141" y="26"/>
                        </a:cubicBezTo>
                        <a:close/>
                        <a:moveTo>
                          <a:pt x="141" y="26"/>
                        </a:moveTo>
                        <a:cubicBezTo>
                          <a:pt x="141" y="26"/>
                          <a:pt x="142" y="26"/>
                          <a:pt x="141" y="26"/>
                        </a:cubicBezTo>
                        <a:cubicBezTo>
                          <a:pt x="141" y="26"/>
                          <a:pt x="141" y="26"/>
                          <a:pt x="141" y="26"/>
                        </a:cubicBezTo>
                        <a:cubicBezTo>
                          <a:pt x="141" y="26"/>
                          <a:pt x="141" y="26"/>
                          <a:pt x="142" y="26"/>
                        </a:cubicBezTo>
                        <a:cubicBezTo>
                          <a:pt x="142" y="26"/>
                          <a:pt x="142" y="26"/>
                          <a:pt x="142" y="26"/>
                        </a:cubicBezTo>
                        <a:lnTo>
                          <a:pt x="141" y="26"/>
                        </a:lnTo>
                        <a:close/>
                        <a:moveTo>
                          <a:pt x="139" y="24"/>
                        </a:moveTo>
                        <a:cubicBezTo>
                          <a:pt x="140" y="24"/>
                          <a:pt x="140" y="24"/>
                          <a:pt x="141" y="24"/>
                        </a:cubicBezTo>
                        <a:cubicBezTo>
                          <a:pt x="141" y="24"/>
                          <a:pt x="141" y="24"/>
                          <a:pt x="140" y="24"/>
                        </a:cubicBezTo>
                        <a:cubicBezTo>
                          <a:pt x="140" y="24"/>
                          <a:pt x="140" y="24"/>
                          <a:pt x="139" y="24"/>
                        </a:cubicBezTo>
                        <a:close/>
                        <a:moveTo>
                          <a:pt x="140" y="24"/>
                        </a:moveTo>
                        <a:cubicBezTo>
                          <a:pt x="140" y="24"/>
                          <a:pt x="140" y="24"/>
                          <a:pt x="140" y="24"/>
                        </a:cubicBezTo>
                        <a:cubicBezTo>
                          <a:pt x="140" y="24"/>
                          <a:pt x="141" y="24"/>
                          <a:pt x="141" y="24"/>
                        </a:cubicBezTo>
                        <a:cubicBezTo>
                          <a:pt x="141" y="24"/>
                          <a:pt x="140" y="24"/>
                          <a:pt x="140" y="24"/>
                        </a:cubicBezTo>
                        <a:close/>
                        <a:moveTo>
                          <a:pt x="141" y="29"/>
                        </a:moveTo>
                        <a:cubicBezTo>
                          <a:pt x="141" y="29"/>
                          <a:pt x="141" y="28"/>
                          <a:pt x="141" y="29"/>
                        </a:cubicBezTo>
                        <a:cubicBezTo>
                          <a:pt x="141" y="28"/>
                          <a:pt x="141" y="28"/>
                          <a:pt x="142" y="28"/>
                        </a:cubicBezTo>
                        <a:cubicBezTo>
                          <a:pt x="142" y="28"/>
                          <a:pt x="141" y="29"/>
                          <a:pt x="141" y="29"/>
                        </a:cubicBezTo>
                        <a:cubicBezTo>
                          <a:pt x="141" y="29"/>
                          <a:pt x="141" y="29"/>
                          <a:pt x="141" y="29"/>
                        </a:cubicBezTo>
                        <a:close/>
                        <a:moveTo>
                          <a:pt x="142" y="30"/>
                        </a:moveTo>
                        <a:cubicBezTo>
                          <a:pt x="142" y="30"/>
                          <a:pt x="142" y="30"/>
                          <a:pt x="141" y="30"/>
                        </a:cubicBezTo>
                        <a:cubicBezTo>
                          <a:pt x="141" y="30"/>
                          <a:pt x="142" y="30"/>
                          <a:pt x="142" y="30"/>
                        </a:cubicBezTo>
                        <a:close/>
                        <a:moveTo>
                          <a:pt x="141" y="30"/>
                        </a:moveTo>
                        <a:cubicBezTo>
                          <a:pt x="141" y="30"/>
                          <a:pt x="141" y="30"/>
                          <a:pt x="141" y="30"/>
                        </a:cubicBezTo>
                        <a:cubicBezTo>
                          <a:pt x="142" y="30"/>
                          <a:pt x="141" y="30"/>
                          <a:pt x="141" y="30"/>
                        </a:cubicBezTo>
                        <a:close/>
                        <a:moveTo>
                          <a:pt x="141" y="27"/>
                        </a:moveTo>
                        <a:cubicBezTo>
                          <a:pt x="140" y="27"/>
                          <a:pt x="140" y="27"/>
                          <a:pt x="140" y="27"/>
                        </a:cubicBezTo>
                        <a:cubicBezTo>
                          <a:pt x="140" y="27"/>
                          <a:pt x="140" y="27"/>
                          <a:pt x="140" y="27"/>
                        </a:cubicBezTo>
                        <a:cubicBezTo>
                          <a:pt x="140" y="27"/>
                          <a:pt x="140" y="27"/>
                          <a:pt x="140" y="27"/>
                        </a:cubicBezTo>
                        <a:cubicBezTo>
                          <a:pt x="141" y="27"/>
                          <a:pt x="140" y="27"/>
                          <a:pt x="141" y="27"/>
                        </a:cubicBezTo>
                        <a:close/>
                        <a:moveTo>
                          <a:pt x="140" y="28"/>
                        </a:moveTo>
                        <a:cubicBezTo>
                          <a:pt x="140" y="28"/>
                          <a:pt x="140" y="28"/>
                          <a:pt x="140" y="28"/>
                        </a:cubicBezTo>
                        <a:cubicBezTo>
                          <a:pt x="140" y="28"/>
                          <a:pt x="140" y="28"/>
                          <a:pt x="141" y="28"/>
                        </a:cubicBezTo>
                        <a:cubicBezTo>
                          <a:pt x="141" y="28"/>
                          <a:pt x="140" y="28"/>
                          <a:pt x="140" y="28"/>
                        </a:cubicBezTo>
                        <a:cubicBezTo>
                          <a:pt x="140" y="28"/>
                          <a:pt x="140" y="28"/>
                          <a:pt x="140" y="28"/>
                        </a:cubicBezTo>
                        <a:close/>
                        <a:moveTo>
                          <a:pt x="141" y="29"/>
                        </a:moveTo>
                        <a:cubicBezTo>
                          <a:pt x="141" y="30"/>
                          <a:pt x="140" y="30"/>
                          <a:pt x="140" y="30"/>
                        </a:cubicBezTo>
                        <a:cubicBezTo>
                          <a:pt x="140" y="29"/>
                          <a:pt x="140" y="30"/>
                          <a:pt x="141" y="29"/>
                        </a:cubicBezTo>
                        <a:close/>
                        <a:moveTo>
                          <a:pt x="141" y="30"/>
                        </a:moveTo>
                        <a:cubicBezTo>
                          <a:pt x="141" y="30"/>
                          <a:pt x="141" y="30"/>
                          <a:pt x="141" y="30"/>
                        </a:cubicBezTo>
                        <a:cubicBezTo>
                          <a:pt x="141" y="30"/>
                          <a:pt x="141" y="30"/>
                          <a:pt x="141" y="30"/>
                        </a:cubicBezTo>
                        <a:close/>
                        <a:moveTo>
                          <a:pt x="139" y="24"/>
                        </a:moveTo>
                        <a:cubicBezTo>
                          <a:pt x="139" y="24"/>
                          <a:pt x="139" y="24"/>
                          <a:pt x="139" y="24"/>
                        </a:cubicBezTo>
                        <a:cubicBezTo>
                          <a:pt x="139" y="24"/>
                          <a:pt x="139" y="25"/>
                          <a:pt x="139" y="24"/>
                        </a:cubicBezTo>
                        <a:close/>
                        <a:moveTo>
                          <a:pt x="139" y="25"/>
                        </a:moveTo>
                        <a:cubicBezTo>
                          <a:pt x="139" y="25"/>
                          <a:pt x="138" y="25"/>
                          <a:pt x="138" y="25"/>
                        </a:cubicBezTo>
                        <a:cubicBezTo>
                          <a:pt x="138" y="25"/>
                          <a:pt x="138" y="25"/>
                          <a:pt x="139" y="25"/>
                        </a:cubicBezTo>
                        <a:close/>
                        <a:moveTo>
                          <a:pt x="139" y="29"/>
                        </a:moveTo>
                        <a:cubicBezTo>
                          <a:pt x="139" y="29"/>
                          <a:pt x="139" y="29"/>
                          <a:pt x="138" y="29"/>
                        </a:cubicBezTo>
                        <a:cubicBezTo>
                          <a:pt x="138" y="29"/>
                          <a:pt x="139" y="29"/>
                          <a:pt x="139" y="29"/>
                        </a:cubicBezTo>
                        <a:cubicBezTo>
                          <a:pt x="139" y="29"/>
                          <a:pt x="138" y="29"/>
                          <a:pt x="138" y="29"/>
                        </a:cubicBezTo>
                        <a:cubicBezTo>
                          <a:pt x="138" y="29"/>
                          <a:pt x="138" y="29"/>
                          <a:pt x="138" y="29"/>
                        </a:cubicBezTo>
                        <a:cubicBezTo>
                          <a:pt x="139" y="29"/>
                          <a:pt x="139" y="28"/>
                          <a:pt x="139" y="28"/>
                        </a:cubicBezTo>
                        <a:cubicBezTo>
                          <a:pt x="139" y="29"/>
                          <a:pt x="139" y="29"/>
                          <a:pt x="139" y="29"/>
                        </a:cubicBezTo>
                        <a:close/>
                        <a:moveTo>
                          <a:pt x="138" y="26"/>
                        </a:moveTo>
                        <a:cubicBezTo>
                          <a:pt x="138" y="26"/>
                          <a:pt x="138" y="26"/>
                          <a:pt x="138" y="26"/>
                        </a:cubicBezTo>
                        <a:cubicBezTo>
                          <a:pt x="138" y="26"/>
                          <a:pt x="138" y="26"/>
                          <a:pt x="138" y="26"/>
                        </a:cubicBezTo>
                        <a:cubicBezTo>
                          <a:pt x="138" y="26"/>
                          <a:pt x="137" y="27"/>
                          <a:pt x="136" y="27"/>
                        </a:cubicBezTo>
                        <a:cubicBezTo>
                          <a:pt x="137" y="27"/>
                          <a:pt x="136" y="27"/>
                          <a:pt x="136" y="26"/>
                        </a:cubicBezTo>
                        <a:cubicBezTo>
                          <a:pt x="137" y="26"/>
                          <a:pt x="137" y="26"/>
                          <a:pt x="138" y="26"/>
                        </a:cubicBezTo>
                        <a:cubicBezTo>
                          <a:pt x="138" y="26"/>
                          <a:pt x="138" y="26"/>
                          <a:pt x="138" y="26"/>
                        </a:cubicBezTo>
                        <a:close/>
                        <a:moveTo>
                          <a:pt x="137" y="26"/>
                        </a:moveTo>
                        <a:cubicBezTo>
                          <a:pt x="137" y="26"/>
                          <a:pt x="137" y="26"/>
                          <a:pt x="137" y="27"/>
                        </a:cubicBezTo>
                        <a:cubicBezTo>
                          <a:pt x="137" y="27"/>
                          <a:pt x="137" y="27"/>
                          <a:pt x="137" y="26"/>
                        </a:cubicBezTo>
                        <a:close/>
                        <a:moveTo>
                          <a:pt x="138" y="29"/>
                        </a:moveTo>
                        <a:cubicBezTo>
                          <a:pt x="138" y="29"/>
                          <a:pt x="137" y="29"/>
                          <a:pt x="137" y="29"/>
                        </a:cubicBezTo>
                        <a:cubicBezTo>
                          <a:pt x="137" y="29"/>
                          <a:pt x="137" y="29"/>
                          <a:pt x="137" y="29"/>
                        </a:cubicBezTo>
                        <a:cubicBezTo>
                          <a:pt x="137" y="29"/>
                          <a:pt x="137" y="29"/>
                          <a:pt x="137" y="29"/>
                        </a:cubicBezTo>
                        <a:cubicBezTo>
                          <a:pt x="138" y="29"/>
                          <a:pt x="138" y="29"/>
                          <a:pt x="138" y="29"/>
                        </a:cubicBezTo>
                        <a:cubicBezTo>
                          <a:pt x="138" y="29"/>
                          <a:pt x="138" y="29"/>
                          <a:pt x="138" y="29"/>
                        </a:cubicBezTo>
                        <a:cubicBezTo>
                          <a:pt x="138" y="29"/>
                          <a:pt x="138" y="29"/>
                          <a:pt x="138" y="29"/>
                        </a:cubicBezTo>
                        <a:close/>
                        <a:moveTo>
                          <a:pt x="137" y="25"/>
                        </a:moveTo>
                        <a:cubicBezTo>
                          <a:pt x="137" y="25"/>
                          <a:pt x="137" y="25"/>
                          <a:pt x="137" y="25"/>
                        </a:cubicBezTo>
                        <a:cubicBezTo>
                          <a:pt x="137" y="25"/>
                          <a:pt x="137" y="25"/>
                          <a:pt x="137" y="25"/>
                        </a:cubicBezTo>
                        <a:close/>
                        <a:moveTo>
                          <a:pt x="138" y="31"/>
                        </a:moveTo>
                        <a:cubicBezTo>
                          <a:pt x="138" y="31"/>
                          <a:pt x="138" y="31"/>
                          <a:pt x="138" y="31"/>
                        </a:cubicBezTo>
                        <a:cubicBezTo>
                          <a:pt x="138" y="31"/>
                          <a:pt x="138" y="31"/>
                          <a:pt x="138" y="31"/>
                        </a:cubicBezTo>
                        <a:close/>
                        <a:moveTo>
                          <a:pt x="138" y="33"/>
                        </a:moveTo>
                        <a:cubicBezTo>
                          <a:pt x="138" y="33"/>
                          <a:pt x="138" y="33"/>
                          <a:pt x="139" y="33"/>
                        </a:cubicBezTo>
                        <a:cubicBezTo>
                          <a:pt x="138" y="33"/>
                          <a:pt x="138" y="33"/>
                          <a:pt x="137" y="33"/>
                        </a:cubicBezTo>
                        <a:cubicBezTo>
                          <a:pt x="137" y="33"/>
                          <a:pt x="137" y="33"/>
                          <a:pt x="137" y="33"/>
                        </a:cubicBezTo>
                        <a:cubicBezTo>
                          <a:pt x="137" y="33"/>
                          <a:pt x="137" y="33"/>
                          <a:pt x="137" y="33"/>
                        </a:cubicBezTo>
                        <a:cubicBezTo>
                          <a:pt x="137" y="33"/>
                          <a:pt x="137" y="33"/>
                          <a:pt x="137" y="33"/>
                        </a:cubicBezTo>
                        <a:cubicBezTo>
                          <a:pt x="138" y="32"/>
                          <a:pt x="138" y="32"/>
                          <a:pt x="139" y="32"/>
                        </a:cubicBezTo>
                        <a:cubicBezTo>
                          <a:pt x="138" y="32"/>
                          <a:pt x="139" y="33"/>
                          <a:pt x="139" y="32"/>
                        </a:cubicBezTo>
                        <a:cubicBezTo>
                          <a:pt x="139" y="32"/>
                          <a:pt x="139" y="32"/>
                          <a:pt x="139" y="32"/>
                        </a:cubicBezTo>
                        <a:cubicBezTo>
                          <a:pt x="140" y="32"/>
                          <a:pt x="140" y="32"/>
                          <a:pt x="141" y="32"/>
                        </a:cubicBezTo>
                        <a:cubicBezTo>
                          <a:pt x="140" y="32"/>
                          <a:pt x="142" y="32"/>
                          <a:pt x="142" y="32"/>
                        </a:cubicBezTo>
                        <a:cubicBezTo>
                          <a:pt x="142" y="32"/>
                          <a:pt x="142" y="32"/>
                          <a:pt x="142" y="32"/>
                        </a:cubicBezTo>
                        <a:cubicBezTo>
                          <a:pt x="141" y="32"/>
                          <a:pt x="140" y="32"/>
                          <a:pt x="139" y="33"/>
                        </a:cubicBezTo>
                        <a:cubicBezTo>
                          <a:pt x="139" y="33"/>
                          <a:pt x="139" y="33"/>
                          <a:pt x="139" y="33"/>
                        </a:cubicBezTo>
                        <a:cubicBezTo>
                          <a:pt x="139" y="33"/>
                          <a:pt x="138" y="33"/>
                          <a:pt x="138" y="33"/>
                        </a:cubicBezTo>
                        <a:cubicBezTo>
                          <a:pt x="138" y="33"/>
                          <a:pt x="138" y="33"/>
                          <a:pt x="138" y="33"/>
                        </a:cubicBezTo>
                        <a:close/>
                        <a:moveTo>
                          <a:pt x="135" y="25"/>
                        </a:moveTo>
                        <a:cubicBezTo>
                          <a:pt x="136" y="25"/>
                          <a:pt x="136" y="25"/>
                          <a:pt x="136" y="25"/>
                        </a:cubicBezTo>
                        <a:cubicBezTo>
                          <a:pt x="136" y="26"/>
                          <a:pt x="136" y="25"/>
                          <a:pt x="137" y="25"/>
                        </a:cubicBezTo>
                        <a:cubicBezTo>
                          <a:pt x="137" y="26"/>
                          <a:pt x="136" y="26"/>
                          <a:pt x="135" y="26"/>
                        </a:cubicBezTo>
                        <a:cubicBezTo>
                          <a:pt x="136" y="26"/>
                          <a:pt x="136" y="26"/>
                          <a:pt x="135" y="25"/>
                        </a:cubicBezTo>
                        <a:close/>
                        <a:moveTo>
                          <a:pt x="137" y="30"/>
                        </a:moveTo>
                        <a:cubicBezTo>
                          <a:pt x="138" y="30"/>
                          <a:pt x="138" y="30"/>
                          <a:pt x="138" y="30"/>
                        </a:cubicBezTo>
                        <a:cubicBezTo>
                          <a:pt x="137" y="30"/>
                          <a:pt x="137" y="30"/>
                          <a:pt x="137" y="30"/>
                        </a:cubicBezTo>
                        <a:close/>
                        <a:moveTo>
                          <a:pt x="135" y="24"/>
                        </a:moveTo>
                        <a:cubicBezTo>
                          <a:pt x="136" y="24"/>
                          <a:pt x="136" y="24"/>
                          <a:pt x="136" y="24"/>
                        </a:cubicBezTo>
                        <a:cubicBezTo>
                          <a:pt x="136" y="25"/>
                          <a:pt x="135" y="25"/>
                          <a:pt x="135" y="24"/>
                        </a:cubicBezTo>
                        <a:close/>
                        <a:moveTo>
                          <a:pt x="136" y="25"/>
                        </a:moveTo>
                        <a:cubicBezTo>
                          <a:pt x="136" y="25"/>
                          <a:pt x="135" y="25"/>
                          <a:pt x="134" y="25"/>
                        </a:cubicBezTo>
                        <a:cubicBezTo>
                          <a:pt x="135" y="25"/>
                          <a:pt x="135" y="25"/>
                          <a:pt x="136" y="25"/>
                        </a:cubicBezTo>
                        <a:cubicBezTo>
                          <a:pt x="136" y="25"/>
                          <a:pt x="136" y="25"/>
                          <a:pt x="136" y="25"/>
                        </a:cubicBezTo>
                        <a:close/>
                        <a:moveTo>
                          <a:pt x="137" y="30"/>
                        </a:moveTo>
                        <a:cubicBezTo>
                          <a:pt x="137" y="30"/>
                          <a:pt x="137" y="30"/>
                          <a:pt x="137" y="30"/>
                        </a:cubicBezTo>
                        <a:cubicBezTo>
                          <a:pt x="137" y="30"/>
                          <a:pt x="137" y="30"/>
                          <a:pt x="137" y="30"/>
                        </a:cubicBezTo>
                        <a:close/>
                        <a:moveTo>
                          <a:pt x="136" y="29"/>
                        </a:moveTo>
                        <a:cubicBezTo>
                          <a:pt x="135" y="29"/>
                          <a:pt x="136" y="28"/>
                          <a:pt x="136" y="28"/>
                        </a:cubicBezTo>
                        <a:cubicBezTo>
                          <a:pt x="136" y="28"/>
                          <a:pt x="135" y="29"/>
                          <a:pt x="135" y="28"/>
                        </a:cubicBezTo>
                        <a:cubicBezTo>
                          <a:pt x="135" y="28"/>
                          <a:pt x="136" y="28"/>
                          <a:pt x="136" y="28"/>
                        </a:cubicBezTo>
                        <a:cubicBezTo>
                          <a:pt x="136" y="28"/>
                          <a:pt x="136" y="28"/>
                          <a:pt x="136" y="29"/>
                        </a:cubicBezTo>
                        <a:cubicBezTo>
                          <a:pt x="136" y="29"/>
                          <a:pt x="136" y="28"/>
                          <a:pt x="136" y="29"/>
                        </a:cubicBezTo>
                        <a:close/>
                        <a:moveTo>
                          <a:pt x="136" y="32"/>
                        </a:moveTo>
                        <a:cubicBezTo>
                          <a:pt x="136" y="32"/>
                          <a:pt x="136" y="32"/>
                          <a:pt x="136" y="32"/>
                        </a:cubicBezTo>
                        <a:cubicBezTo>
                          <a:pt x="136" y="32"/>
                          <a:pt x="136" y="32"/>
                          <a:pt x="136" y="32"/>
                        </a:cubicBezTo>
                        <a:cubicBezTo>
                          <a:pt x="136" y="32"/>
                          <a:pt x="137" y="32"/>
                          <a:pt x="137" y="32"/>
                        </a:cubicBezTo>
                        <a:cubicBezTo>
                          <a:pt x="137" y="32"/>
                          <a:pt x="137" y="32"/>
                          <a:pt x="137" y="32"/>
                        </a:cubicBezTo>
                        <a:cubicBezTo>
                          <a:pt x="136" y="32"/>
                          <a:pt x="135" y="33"/>
                          <a:pt x="135" y="32"/>
                        </a:cubicBezTo>
                        <a:cubicBezTo>
                          <a:pt x="136" y="32"/>
                          <a:pt x="136" y="33"/>
                          <a:pt x="136" y="32"/>
                        </a:cubicBezTo>
                        <a:close/>
                        <a:moveTo>
                          <a:pt x="136" y="30"/>
                        </a:moveTo>
                        <a:cubicBezTo>
                          <a:pt x="136" y="30"/>
                          <a:pt x="136" y="30"/>
                          <a:pt x="136" y="30"/>
                        </a:cubicBezTo>
                        <a:cubicBezTo>
                          <a:pt x="136" y="30"/>
                          <a:pt x="136" y="30"/>
                          <a:pt x="136" y="30"/>
                        </a:cubicBezTo>
                        <a:cubicBezTo>
                          <a:pt x="136" y="30"/>
                          <a:pt x="136" y="30"/>
                          <a:pt x="136" y="30"/>
                        </a:cubicBezTo>
                        <a:cubicBezTo>
                          <a:pt x="136" y="30"/>
                          <a:pt x="136" y="30"/>
                          <a:pt x="136" y="30"/>
                        </a:cubicBezTo>
                        <a:close/>
                        <a:moveTo>
                          <a:pt x="134" y="27"/>
                        </a:moveTo>
                        <a:cubicBezTo>
                          <a:pt x="135" y="27"/>
                          <a:pt x="134" y="27"/>
                          <a:pt x="135" y="27"/>
                        </a:cubicBezTo>
                        <a:cubicBezTo>
                          <a:pt x="135" y="27"/>
                          <a:pt x="135" y="27"/>
                          <a:pt x="135" y="27"/>
                        </a:cubicBezTo>
                        <a:cubicBezTo>
                          <a:pt x="134" y="27"/>
                          <a:pt x="134" y="27"/>
                          <a:pt x="134" y="27"/>
                        </a:cubicBezTo>
                        <a:close/>
                        <a:moveTo>
                          <a:pt x="133" y="25"/>
                        </a:moveTo>
                        <a:cubicBezTo>
                          <a:pt x="134" y="25"/>
                          <a:pt x="134" y="25"/>
                          <a:pt x="134" y="25"/>
                        </a:cubicBezTo>
                        <a:cubicBezTo>
                          <a:pt x="134" y="25"/>
                          <a:pt x="133" y="25"/>
                          <a:pt x="133" y="25"/>
                        </a:cubicBezTo>
                        <a:close/>
                        <a:moveTo>
                          <a:pt x="134" y="27"/>
                        </a:moveTo>
                        <a:cubicBezTo>
                          <a:pt x="134" y="27"/>
                          <a:pt x="134" y="27"/>
                          <a:pt x="134" y="27"/>
                        </a:cubicBezTo>
                        <a:cubicBezTo>
                          <a:pt x="134" y="28"/>
                          <a:pt x="133" y="27"/>
                          <a:pt x="134" y="27"/>
                        </a:cubicBezTo>
                        <a:close/>
                        <a:moveTo>
                          <a:pt x="133" y="31"/>
                        </a:moveTo>
                        <a:cubicBezTo>
                          <a:pt x="133" y="31"/>
                          <a:pt x="134" y="30"/>
                          <a:pt x="134" y="30"/>
                        </a:cubicBezTo>
                        <a:cubicBezTo>
                          <a:pt x="134" y="31"/>
                          <a:pt x="134" y="31"/>
                          <a:pt x="134" y="31"/>
                        </a:cubicBezTo>
                        <a:cubicBezTo>
                          <a:pt x="134" y="31"/>
                          <a:pt x="134" y="31"/>
                          <a:pt x="134" y="31"/>
                        </a:cubicBezTo>
                        <a:cubicBezTo>
                          <a:pt x="134" y="31"/>
                          <a:pt x="134" y="31"/>
                          <a:pt x="134" y="31"/>
                        </a:cubicBezTo>
                        <a:cubicBezTo>
                          <a:pt x="134" y="31"/>
                          <a:pt x="133" y="31"/>
                          <a:pt x="133" y="31"/>
                        </a:cubicBezTo>
                        <a:close/>
                        <a:moveTo>
                          <a:pt x="133" y="31"/>
                        </a:moveTo>
                        <a:cubicBezTo>
                          <a:pt x="133" y="31"/>
                          <a:pt x="134" y="31"/>
                          <a:pt x="134" y="31"/>
                        </a:cubicBezTo>
                        <a:cubicBezTo>
                          <a:pt x="134" y="31"/>
                          <a:pt x="134" y="31"/>
                          <a:pt x="133" y="31"/>
                        </a:cubicBezTo>
                        <a:close/>
                        <a:moveTo>
                          <a:pt x="133" y="26"/>
                        </a:moveTo>
                        <a:cubicBezTo>
                          <a:pt x="133" y="26"/>
                          <a:pt x="133" y="26"/>
                          <a:pt x="133" y="26"/>
                        </a:cubicBezTo>
                        <a:cubicBezTo>
                          <a:pt x="132" y="26"/>
                          <a:pt x="132" y="26"/>
                          <a:pt x="132" y="26"/>
                        </a:cubicBezTo>
                        <a:cubicBezTo>
                          <a:pt x="133" y="26"/>
                          <a:pt x="133" y="26"/>
                          <a:pt x="133" y="26"/>
                        </a:cubicBezTo>
                        <a:close/>
                        <a:moveTo>
                          <a:pt x="134" y="32"/>
                        </a:moveTo>
                        <a:cubicBezTo>
                          <a:pt x="133" y="32"/>
                          <a:pt x="133" y="32"/>
                          <a:pt x="132" y="32"/>
                        </a:cubicBezTo>
                        <a:cubicBezTo>
                          <a:pt x="132" y="32"/>
                          <a:pt x="133" y="32"/>
                          <a:pt x="134" y="32"/>
                        </a:cubicBezTo>
                        <a:close/>
                        <a:moveTo>
                          <a:pt x="132" y="31"/>
                        </a:moveTo>
                        <a:cubicBezTo>
                          <a:pt x="133" y="31"/>
                          <a:pt x="133" y="31"/>
                          <a:pt x="133" y="31"/>
                        </a:cubicBezTo>
                        <a:cubicBezTo>
                          <a:pt x="132" y="31"/>
                          <a:pt x="131" y="31"/>
                          <a:pt x="131" y="31"/>
                        </a:cubicBezTo>
                        <a:cubicBezTo>
                          <a:pt x="131" y="31"/>
                          <a:pt x="132" y="31"/>
                          <a:pt x="132" y="31"/>
                        </a:cubicBezTo>
                        <a:close/>
                        <a:moveTo>
                          <a:pt x="131" y="28"/>
                        </a:moveTo>
                        <a:cubicBezTo>
                          <a:pt x="131" y="28"/>
                          <a:pt x="131" y="28"/>
                          <a:pt x="132" y="28"/>
                        </a:cubicBezTo>
                        <a:cubicBezTo>
                          <a:pt x="132" y="28"/>
                          <a:pt x="131" y="28"/>
                          <a:pt x="131" y="28"/>
                        </a:cubicBezTo>
                        <a:close/>
                        <a:moveTo>
                          <a:pt x="131" y="33"/>
                        </a:moveTo>
                        <a:cubicBezTo>
                          <a:pt x="131" y="33"/>
                          <a:pt x="132" y="33"/>
                          <a:pt x="133" y="33"/>
                        </a:cubicBezTo>
                        <a:cubicBezTo>
                          <a:pt x="133" y="33"/>
                          <a:pt x="132" y="33"/>
                          <a:pt x="131" y="33"/>
                        </a:cubicBezTo>
                        <a:close/>
                        <a:moveTo>
                          <a:pt x="132" y="33"/>
                        </a:moveTo>
                        <a:cubicBezTo>
                          <a:pt x="132" y="33"/>
                          <a:pt x="132" y="33"/>
                          <a:pt x="132" y="33"/>
                        </a:cubicBezTo>
                        <a:cubicBezTo>
                          <a:pt x="132" y="33"/>
                          <a:pt x="132" y="33"/>
                          <a:pt x="133" y="33"/>
                        </a:cubicBezTo>
                        <a:cubicBezTo>
                          <a:pt x="133" y="33"/>
                          <a:pt x="132" y="33"/>
                          <a:pt x="132" y="33"/>
                        </a:cubicBezTo>
                        <a:cubicBezTo>
                          <a:pt x="132" y="33"/>
                          <a:pt x="132" y="33"/>
                          <a:pt x="132" y="33"/>
                        </a:cubicBezTo>
                        <a:close/>
                        <a:moveTo>
                          <a:pt x="130" y="27"/>
                        </a:moveTo>
                        <a:cubicBezTo>
                          <a:pt x="130" y="27"/>
                          <a:pt x="131" y="27"/>
                          <a:pt x="131" y="27"/>
                        </a:cubicBezTo>
                        <a:cubicBezTo>
                          <a:pt x="131" y="27"/>
                          <a:pt x="130" y="27"/>
                          <a:pt x="130" y="27"/>
                        </a:cubicBezTo>
                        <a:cubicBezTo>
                          <a:pt x="130" y="27"/>
                          <a:pt x="130" y="27"/>
                          <a:pt x="130" y="27"/>
                        </a:cubicBezTo>
                        <a:cubicBezTo>
                          <a:pt x="130" y="27"/>
                          <a:pt x="131" y="27"/>
                          <a:pt x="130" y="27"/>
                        </a:cubicBezTo>
                        <a:close/>
                        <a:moveTo>
                          <a:pt x="130" y="31"/>
                        </a:moveTo>
                        <a:cubicBezTo>
                          <a:pt x="130" y="32"/>
                          <a:pt x="130" y="32"/>
                          <a:pt x="130" y="32"/>
                        </a:cubicBezTo>
                        <a:cubicBezTo>
                          <a:pt x="130" y="32"/>
                          <a:pt x="130" y="32"/>
                          <a:pt x="130" y="32"/>
                        </a:cubicBezTo>
                        <a:cubicBezTo>
                          <a:pt x="130" y="31"/>
                          <a:pt x="130" y="31"/>
                          <a:pt x="130" y="31"/>
                        </a:cubicBezTo>
                        <a:close/>
                        <a:moveTo>
                          <a:pt x="129" y="26"/>
                        </a:moveTo>
                        <a:cubicBezTo>
                          <a:pt x="129" y="27"/>
                          <a:pt x="128" y="27"/>
                          <a:pt x="128" y="27"/>
                        </a:cubicBezTo>
                        <a:cubicBezTo>
                          <a:pt x="128" y="27"/>
                          <a:pt x="128" y="27"/>
                          <a:pt x="129" y="26"/>
                        </a:cubicBezTo>
                        <a:close/>
                        <a:moveTo>
                          <a:pt x="128" y="29"/>
                        </a:moveTo>
                        <a:cubicBezTo>
                          <a:pt x="128" y="29"/>
                          <a:pt x="128" y="29"/>
                          <a:pt x="128" y="29"/>
                        </a:cubicBezTo>
                        <a:cubicBezTo>
                          <a:pt x="129" y="28"/>
                          <a:pt x="129" y="29"/>
                          <a:pt x="129" y="28"/>
                        </a:cubicBezTo>
                        <a:cubicBezTo>
                          <a:pt x="129" y="29"/>
                          <a:pt x="129" y="29"/>
                          <a:pt x="128" y="29"/>
                        </a:cubicBezTo>
                        <a:close/>
                        <a:moveTo>
                          <a:pt x="129" y="32"/>
                        </a:moveTo>
                        <a:cubicBezTo>
                          <a:pt x="129" y="32"/>
                          <a:pt x="128" y="32"/>
                          <a:pt x="128" y="32"/>
                        </a:cubicBezTo>
                        <a:cubicBezTo>
                          <a:pt x="129" y="32"/>
                          <a:pt x="129" y="32"/>
                          <a:pt x="129" y="32"/>
                        </a:cubicBezTo>
                        <a:close/>
                        <a:moveTo>
                          <a:pt x="129" y="29"/>
                        </a:moveTo>
                        <a:cubicBezTo>
                          <a:pt x="128" y="29"/>
                          <a:pt x="128" y="29"/>
                          <a:pt x="128" y="29"/>
                        </a:cubicBezTo>
                        <a:cubicBezTo>
                          <a:pt x="128" y="29"/>
                          <a:pt x="128" y="29"/>
                          <a:pt x="129" y="29"/>
                        </a:cubicBezTo>
                        <a:close/>
                        <a:moveTo>
                          <a:pt x="128" y="31"/>
                        </a:moveTo>
                        <a:cubicBezTo>
                          <a:pt x="128" y="31"/>
                          <a:pt x="128" y="31"/>
                          <a:pt x="128" y="31"/>
                        </a:cubicBezTo>
                        <a:cubicBezTo>
                          <a:pt x="128" y="31"/>
                          <a:pt x="128" y="31"/>
                          <a:pt x="128" y="31"/>
                        </a:cubicBezTo>
                        <a:close/>
                        <a:moveTo>
                          <a:pt x="127" y="29"/>
                        </a:moveTo>
                        <a:cubicBezTo>
                          <a:pt x="128" y="29"/>
                          <a:pt x="128" y="29"/>
                          <a:pt x="127" y="29"/>
                        </a:cubicBezTo>
                        <a:cubicBezTo>
                          <a:pt x="127" y="29"/>
                          <a:pt x="127" y="29"/>
                          <a:pt x="127" y="29"/>
                        </a:cubicBezTo>
                        <a:close/>
                        <a:moveTo>
                          <a:pt x="125" y="28"/>
                        </a:moveTo>
                        <a:cubicBezTo>
                          <a:pt x="125" y="28"/>
                          <a:pt x="125" y="28"/>
                          <a:pt x="126" y="28"/>
                        </a:cubicBezTo>
                        <a:cubicBezTo>
                          <a:pt x="126" y="28"/>
                          <a:pt x="125" y="28"/>
                          <a:pt x="125" y="28"/>
                        </a:cubicBezTo>
                        <a:close/>
                        <a:moveTo>
                          <a:pt x="125" y="30"/>
                        </a:moveTo>
                        <a:cubicBezTo>
                          <a:pt x="125" y="30"/>
                          <a:pt x="125" y="30"/>
                          <a:pt x="125" y="30"/>
                        </a:cubicBezTo>
                        <a:cubicBezTo>
                          <a:pt x="125" y="30"/>
                          <a:pt x="125" y="29"/>
                          <a:pt x="125" y="29"/>
                        </a:cubicBezTo>
                        <a:cubicBezTo>
                          <a:pt x="125" y="29"/>
                          <a:pt x="125" y="29"/>
                          <a:pt x="125" y="29"/>
                        </a:cubicBezTo>
                        <a:cubicBezTo>
                          <a:pt x="125" y="29"/>
                          <a:pt x="125" y="29"/>
                          <a:pt x="126" y="29"/>
                        </a:cubicBezTo>
                        <a:cubicBezTo>
                          <a:pt x="126" y="29"/>
                          <a:pt x="126" y="29"/>
                          <a:pt x="126" y="29"/>
                        </a:cubicBezTo>
                        <a:cubicBezTo>
                          <a:pt x="126" y="29"/>
                          <a:pt x="126" y="29"/>
                          <a:pt x="126" y="30"/>
                        </a:cubicBezTo>
                        <a:cubicBezTo>
                          <a:pt x="125" y="30"/>
                          <a:pt x="125" y="30"/>
                          <a:pt x="125" y="30"/>
                        </a:cubicBezTo>
                        <a:cubicBezTo>
                          <a:pt x="125" y="30"/>
                          <a:pt x="125" y="30"/>
                          <a:pt x="125" y="30"/>
                        </a:cubicBezTo>
                        <a:close/>
                        <a:moveTo>
                          <a:pt x="125" y="35"/>
                        </a:moveTo>
                        <a:cubicBezTo>
                          <a:pt x="125" y="34"/>
                          <a:pt x="126" y="35"/>
                          <a:pt x="126" y="34"/>
                        </a:cubicBezTo>
                        <a:cubicBezTo>
                          <a:pt x="126" y="35"/>
                          <a:pt x="126" y="34"/>
                          <a:pt x="125" y="35"/>
                        </a:cubicBezTo>
                        <a:close/>
                        <a:moveTo>
                          <a:pt x="125" y="31"/>
                        </a:moveTo>
                        <a:cubicBezTo>
                          <a:pt x="125" y="30"/>
                          <a:pt x="125" y="31"/>
                          <a:pt x="125" y="31"/>
                        </a:cubicBezTo>
                        <a:cubicBezTo>
                          <a:pt x="125" y="31"/>
                          <a:pt x="125" y="31"/>
                          <a:pt x="125" y="30"/>
                        </a:cubicBezTo>
                        <a:cubicBezTo>
                          <a:pt x="125" y="30"/>
                          <a:pt x="125" y="31"/>
                          <a:pt x="125" y="31"/>
                        </a:cubicBezTo>
                        <a:cubicBezTo>
                          <a:pt x="125" y="31"/>
                          <a:pt x="125" y="31"/>
                          <a:pt x="125" y="31"/>
                        </a:cubicBezTo>
                        <a:cubicBezTo>
                          <a:pt x="125" y="31"/>
                          <a:pt x="124" y="31"/>
                          <a:pt x="125" y="31"/>
                        </a:cubicBezTo>
                        <a:close/>
                        <a:moveTo>
                          <a:pt x="124" y="28"/>
                        </a:moveTo>
                        <a:cubicBezTo>
                          <a:pt x="124" y="28"/>
                          <a:pt x="124" y="28"/>
                          <a:pt x="124" y="28"/>
                        </a:cubicBezTo>
                        <a:cubicBezTo>
                          <a:pt x="124" y="28"/>
                          <a:pt x="124" y="28"/>
                          <a:pt x="124" y="28"/>
                        </a:cubicBezTo>
                        <a:close/>
                        <a:moveTo>
                          <a:pt x="124" y="29"/>
                        </a:moveTo>
                        <a:cubicBezTo>
                          <a:pt x="124" y="29"/>
                          <a:pt x="124" y="29"/>
                          <a:pt x="124" y="29"/>
                        </a:cubicBezTo>
                        <a:cubicBezTo>
                          <a:pt x="124" y="29"/>
                          <a:pt x="124" y="29"/>
                          <a:pt x="123" y="29"/>
                        </a:cubicBezTo>
                        <a:cubicBezTo>
                          <a:pt x="123" y="29"/>
                          <a:pt x="123" y="29"/>
                          <a:pt x="123" y="29"/>
                        </a:cubicBezTo>
                        <a:cubicBezTo>
                          <a:pt x="124" y="29"/>
                          <a:pt x="124" y="29"/>
                          <a:pt x="124" y="29"/>
                        </a:cubicBezTo>
                        <a:close/>
                        <a:moveTo>
                          <a:pt x="125" y="33"/>
                        </a:moveTo>
                        <a:cubicBezTo>
                          <a:pt x="125" y="33"/>
                          <a:pt x="125" y="33"/>
                          <a:pt x="125" y="33"/>
                        </a:cubicBezTo>
                        <a:cubicBezTo>
                          <a:pt x="125" y="33"/>
                          <a:pt x="125" y="33"/>
                          <a:pt x="125" y="33"/>
                        </a:cubicBezTo>
                        <a:close/>
                        <a:moveTo>
                          <a:pt x="124" y="30"/>
                        </a:moveTo>
                        <a:cubicBezTo>
                          <a:pt x="123" y="30"/>
                          <a:pt x="123" y="30"/>
                          <a:pt x="123" y="30"/>
                        </a:cubicBezTo>
                        <a:cubicBezTo>
                          <a:pt x="122" y="30"/>
                          <a:pt x="124" y="30"/>
                          <a:pt x="124" y="30"/>
                        </a:cubicBezTo>
                        <a:cubicBezTo>
                          <a:pt x="124" y="30"/>
                          <a:pt x="124" y="30"/>
                          <a:pt x="124" y="30"/>
                        </a:cubicBezTo>
                        <a:close/>
                        <a:moveTo>
                          <a:pt x="121" y="31"/>
                        </a:moveTo>
                        <a:cubicBezTo>
                          <a:pt x="122" y="31"/>
                          <a:pt x="123" y="31"/>
                          <a:pt x="124" y="31"/>
                        </a:cubicBezTo>
                        <a:cubicBezTo>
                          <a:pt x="124" y="31"/>
                          <a:pt x="122" y="32"/>
                          <a:pt x="121" y="31"/>
                        </a:cubicBezTo>
                        <a:close/>
                        <a:moveTo>
                          <a:pt x="124" y="34"/>
                        </a:moveTo>
                        <a:cubicBezTo>
                          <a:pt x="124" y="34"/>
                          <a:pt x="124" y="34"/>
                          <a:pt x="124" y="34"/>
                        </a:cubicBezTo>
                        <a:cubicBezTo>
                          <a:pt x="124" y="34"/>
                          <a:pt x="124" y="34"/>
                          <a:pt x="124" y="34"/>
                        </a:cubicBezTo>
                        <a:close/>
                        <a:moveTo>
                          <a:pt x="123" y="28"/>
                        </a:moveTo>
                        <a:cubicBezTo>
                          <a:pt x="122" y="28"/>
                          <a:pt x="122" y="28"/>
                          <a:pt x="122" y="28"/>
                        </a:cubicBezTo>
                        <a:cubicBezTo>
                          <a:pt x="122" y="28"/>
                          <a:pt x="123" y="28"/>
                          <a:pt x="122" y="28"/>
                        </a:cubicBezTo>
                        <a:cubicBezTo>
                          <a:pt x="122" y="28"/>
                          <a:pt x="123" y="28"/>
                          <a:pt x="123" y="28"/>
                        </a:cubicBezTo>
                        <a:close/>
                        <a:moveTo>
                          <a:pt x="123" y="30"/>
                        </a:moveTo>
                        <a:cubicBezTo>
                          <a:pt x="123" y="30"/>
                          <a:pt x="123" y="30"/>
                          <a:pt x="123" y="30"/>
                        </a:cubicBezTo>
                        <a:cubicBezTo>
                          <a:pt x="123" y="30"/>
                          <a:pt x="123" y="30"/>
                          <a:pt x="123" y="30"/>
                        </a:cubicBezTo>
                        <a:cubicBezTo>
                          <a:pt x="123" y="31"/>
                          <a:pt x="123" y="31"/>
                          <a:pt x="123" y="31"/>
                        </a:cubicBezTo>
                        <a:cubicBezTo>
                          <a:pt x="123" y="30"/>
                          <a:pt x="123" y="30"/>
                          <a:pt x="123" y="30"/>
                        </a:cubicBezTo>
                        <a:close/>
                        <a:moveTo>
                          <a:pt x="123" y="34"/>
                        </a:moveTo>
                        <a:cubicBezTo>
                          <a:pt x="122" y="34"/>
                          <a:pt x="122" y="34"/>
                          <a:pt x="122" y="34"/>
                        </a:cubicBezTo>
                        <a:cubicBezTo>
                          <a:pt x="122" y="34"/>
                          <a:pt x="122" y="34"/>
                          <a:pt x="122" y="34"/>
                        </a:cubicBezTo>
                        <a:cubicBezTo>
                          <a:pt x="122" y="34"/>
                          <a:pt x="123" y="33"/>
                          <a:pt x="123" y="34"/>
                        </a:cubicBezTo>
                        <a:close/>
                        <a:moveTo>
                          <a:pt x="120" y="29"/>
                        </a:moveTo>
                        <a:cubicBezTo>
                          <a:pt x="120" y="29"/>
                          <a:pt x="121" y="29"/>
                          <a:pt x="121" y="29"/>
                        </a:cubicBezTo>
                        <a:cubicBezTo>
                          <a:pt x="121" y="29"/>
                          <a:pt x="121" y="29"/>
                          <a:pt x="120" y="29"/>
                        </a:cubicBezTo>
                        <a:close/>
                        <a:moveTo>
                          <a:pt x="123" y="39"/>
                        </a:moveTo>
                        <a:cubicBezTo>
                          <a:pt x="123" y="39"/>
                          <a:pt x="123" y="39"/>
                          <a:pt x="123" y="39"/>
                        </a:cubicBezTo>
                        <a:cubicBezTo>
                          <a:pt x="123" y="39"/>
                          <a:pt x="123" y="39"/>
                          <a:pt x="124" y="39"/>
                        </a:cubicBezTo>
                        <a:cubicBezTo>
                          <a:pt x="123" y="39"/>
                          <a:pt x="123" y="40"/>
                          <a:pt x="123" y="39"/>
                        </a:cubicBezTo>
                        <a:close/>
                        <a:moveTo>
                          <a:pt x="122" y="35"/>
                        </a:moveTo>
                        <a:cubicBezTo>
                          <a:pt x="122" y="35"/>
                          <a:pt x="122" y="35"/>
                          <a:pt x="122" y="35"/>
                        </a:cubicBezTo>
                        <a:cubicBezTo>
                          <a:pt x="122" y="35"/>
                          <a:pt x="122" y="35"/>
                          <a:pt x="122" y="35"/>
                        </a:cubicBezTo>
                        <a:close/>
                        <a:moveTo>
                          <a:pt x="122" y="38"/>
                        </a:moveTo>
                        <a:cubicBezTo>
                          <a:pt x="122" y="38"/>
                          <a:pt x="122" y="38"/>
                          <a:pt x="123" y="38"/>
                        </a:cubicBezTo>
                        <a:cubicBezTo>
                          <a:pt x="123" y="38"/>
                          <a:pt x="123" y="38"/>
                          <a:pt x="123" y="38"/>
                        </a:cubicBezTo>
                        <a:cubicBezTo>
                          <a:pt x="122" y="38"/>
                          <a:pt x="122" y="38"/>
                          <a:pt x="122" y="38"/>
                        </a:cubicBezTo>
                        <a:close/>
                        <a:moveTo>
                          <a:pt x="121" y="34"/>
                        </a:moveTo>
                        <a:cubicBezTo>
                          <a:pt x="120" y="34"/>
                          <a:pt x="120" y="34"/>
                          <a:pt x="120" y="34"/>
                        </a:cubicBezTo>
                        <a:cubicBezTo>
                          <a:pt x="121" y="34"/>
                          <a:pt x="121" y="34"/>
                          <a:pt x="121" y="34"/>
                        </a:cubicBezTo>
                        <a:cubicBezTo>
                          <a:pt x="121" y="34"/>
                          <a:pt x="121" y="34"/>
                          <a:pt x="121" y="34"/>
                        </a:cubicBezTo>
                        <a:close/>
                        <a:moveTo>
                          <a:pt x="122" y="38"/>
                        </a:moveTo>
                        <a:cubicBezTo>
                          <a:pt x="122" y="38"/>
                          <a:pt x="121" y="38"/>
                          <a:pt x="121" y="38"/>
                        </a:cubicBezTo>
                        <a:cubicBezTo>
                          <a:pt x="121" y="38"/>
                          <a:pt x="122" y="38"/>
                          <a:pt x="122" y="38"/>
                        </a:cubicBezTo>
                        <a:close/>
                        <a:moveTo>
                          <a:pt x="120" y="32"/>
                        </a:moveTo>
                        <a:cubicBezTo>
                          <a:pt x="120" y="32"/>
                          <a:pt x="120" y="32"/>
                          <a:pt x="120" y="32"/>
                        </a:cubicBezTo>
                        <a:cubicBezTo>
                          <a:pt x="121" y="33"/>
                          <a:pt x="119" y="33"/>
                          <a:pt x="120" y="32"/>
                        </a:cubicBezTo>
                        <a:close/>
                        <a:moveTo>
                          <a:pt x="119" y="30"/>
                        </a:moveTo>
                        <a:cubicBezTo>
                          <a:pt x="119" y="30"/>
                          <a:pt x="119" y="30"/>
                          <a:pt x="120" y="30"/>
                        </a:cubicBezTo>
                        <a:cubicBezTo>
                          <a:pt x="119" y="30"/>
                          <a:pt x="119" y="30"/>
                          <a:pt x="119" y="30"/>
                        </a:cubicBezTo>
                        <a:cubicBezTo>
                          <a:pt x="119" y="30"/>
                          <a:pt x="119" y="30"/>
                          <a:pt x="119" y="30"/>
                        </a:cubicBezTo>
                        <a:close/>
                        <a:moveTo>
                          <a:pt x="120" y="39"/>
                        </a:moveTo>
                        <a:cubicBezTo>
                          <a:pt x="120" y="39"/>
                          <a:pt x="120" y="39"/>
                          <a:pt x="120" y="39"/>
                        </a:cubicBezTo>
                        <a:cubicBezTo>
                          <a:pt x="121" y="39"/>
                          <a:pt x="120" y="39"/>
                          <a:pt x="121" y="39"/>
                        </a:cubicBezTo>
                        <a:cubicBezTo>
                          <a:pt x="121" y="39"/>
                          <a:pt x="120" y="39"/>
                          <a:pt x="120" y="39"/>
                        </a:cubicBezTo>
                        <a:cubicBezTo>
                          <a:pt x="120" y="39"/>
                          <a:pt x="120" y="39"/>
                          <a:pt x="120" y="39"/>
                        </a:cubicBezTo>
                        <a:cubicBezTo>
                          <a:pt x="120" y="39"/>
                          <a:pt x="120" y="39"/>
                          <a:pt x="120" y="39"/>
                        </a:cubicBezTo>
                        <a:close/>
                        <a:moveTo>
                          <a:pt x="116" y="30"/>
                        </a:moveTo>
                        <a:cubicBezTo>
                          <a:pt x="117" y="30"/>
                          <a:pt x="117" y="30"/>
                          <a:pt x="118" y="30"/>
                        </a:cubicBezTo>
                        <a:cubicBezTo>
                          <a:pt x="118" y="30"/>
                          <a:pt x="117" y="30"/>
                          <a:pt x="116" y="30"/>
                        </a:cubicBezTo>
                        <a:close/>
                        <a:moveTo>
                          <a:pt x="116" y="31"/>
                        </a:moveTo>
                        <a:cubicBezTo>
                          <a:pt x="116" y="31"/>
                          <a:pt x="116" y="31"/>
                          <a:pt x="115" y="31"/>
                        </a:cubicBezTo>
                        <a:cubicBezTo>
                          <a:pt x="116" y="31"/>
                          <a:pt x="116" y="31"/>
                          <a:pt x="116" y="31"/>
                        </a:cubicBezTo>
                        <a:cubicBezTo>
                          <a:pt x="116" y="31"/>
                          <a:pt x="116" y="31"/>
                          <a:pt x="117" y="31"/>
                        </a:cubicBezTo>
                        <a:cubicBezTo>
                          <a:pt x="117" y="31"/>
                          <a:pt x="116" y="31"/>
                          <a:pt x="116" y="31"/>
                        </a:cubicBezTo>
                        <a:close/>
                        <a:moveTo>
                          <a:pt x="117" y="31"/>
                        </a:moveTo>
                        <a:cubicBezTo>
                          <a:pt x="117" y="31"/>
                          <a:pt x="116" y="31"/>
                          <a:pt x="117" y="31"/>
                        </a:cubicBezTo>
                        <a:cubicBezTo>
                          <a:pt x="116" y="31"/>
                          <a:pt x="116" y="31"/>
                          <a:pt x="116" y="31"/>
                        </a:cubicBezTo>
                        <a:cubicBezTo>
                          <a:pt x="116" y="31"/>
                          <a:pt x="116" y="31"/>
                          <a:pt x="117" y="31"/>
                        </a:cubicBezTo>
                        <a:close/>
                        <a:moveTo>
                          <a:pt x="115" y="31"/>
                        </a:moveTo>
                        <a:cubicBezTo>
                          <a:pt x="115" y="31"/>
                          <a:pt x="115" y="31"/>
                          <a:pt x="115" y="31"/>
                        </a:cubicBezTo>
                        <a:cubicBezTo>
                          <a:pt x="115" y="31"/>
                          <a:pt x="115" y="31"/>
                          <a:pt x="115" y="31"/>
                        </a:cubicBezTo>
                        <a:cubicBezTo>
                          <a:pt x="114" y="31"/>
                          <a:pt x="115" y="31"/>
                          <a:pt x="115" y="31"/>
                        </a:cubicBezTo>
                        <a:close/>
                        <a:moveTo>
                          <a:pt x="114" y="34"/>
                        </a:moveTo>
                        <a:cubicBezTo>
                          <a:pt x="114" y="34"/>
                          <a:pt x="115" y="34"/>
                          <a:pt x="115" y="34"/>
                        </a:cubicBezTo>
                        <a:cubicBezTo>
                          <a:pt x="115" y="34"/>
                          <a:pt x="115" y="34"/>
                          <a:pt x="114" y="34"/>
                        </a:cubicBezTo>
                        <a:cubicBezTo>
                          <a:pt x="114" y="34"/>
                          <a:pt x="114" y="34"/>
                          <a:pt x="114" y="34"/>
                        </a:cubicBezTo>
                        <a:close/>
                        <a:moveTo>
                          <a:pt x="114" y="31"/>
                        </a:moveTo>
                        <a:cubicBezTo>
                          <a:pt x="114" y="31"/>
                          <a:pt x="114" y="31"/>
                          <a:pt x="114" y="31"/>
                        </a:cubicBezTo>
                        <a:cubicBezTo>
                          <a:pt x="114" y="31"/>
                          <a:pt x="114" y="31"/>
                          <a:pt x="114" y="31"/>
                        </a:cubicBezTo>
                        <a:cubicBezTo>
                          <a:pt x="114" y="31"/>
                          <a:pt x="114" y="31"/>
                          <a:pt x="114" y="31"/>
                        </a:cubicBezTo>
                        <a:close/>
                        <a:moveTo>
                          <a:pt x="115" y="36"/>
                        </a:moveTo>
                        <a:cubicBezTo>
                          <a:pt x="114" y="36"/>
                          <a:pt x="114" y="36"/>
                          <a:pt x="115" y="36"/>
                        </a:cubicBezTo>
                        <a:cubicBezTo>
                          <a:pt x="114" y="36"/>
                          <a:pt x="114" y="36"/>
                          <a:pt x="114" y="36"/>
                        </a:cubicBezTo>
                        <a:cubicBezTo>
                          <a:pt x="114" y="36"/>
                          <a:pt x="114" y="36"/>
                          <a:pt x="115" y="36"/>
                        </a:cubicBezTo>
                        <a:close/>
                        <a:moveTo>
                          <a:pt x="111" y="42"/>
                        </a:moveTo>
                        <a:cubicBezTo>
                          <a:pt x="110" y="42"/>
                          <a:pt x="110" y="43"/>
                          <a:pt x="109" y="42"/>
                        </a:cubicBezTo>
                        <a:cubicBezTo>
                          <a:pt x="111" y="42"/>
                          <a:pt x="114" y="41"/>
                          <a:pt x="115" y="41"/>
                        </a:cubicBezTo>
                        <a:cubicBezTo>
                          <a:pt x="115" y="41"/>
                          <a:pt x="115" y="41"/>
                          <a:pt x="115" y="41"/>
                        </a:cubicBezTo>
                        <a:cubicBezTo>
                          <a:pt x="113" y="41"/>
                          <a:pt x="112" y="42"/>
                          <a:pt x="110" y="42"/>
                        </a:cubicBezTo>
                        <a:cubicBezTo>
                          <a:pt x="110" y="42"/>
                          <a:pt x="111" y="42"/>
                          <a:pt x="111" y="42"/>
                        </a:cubicBezTo>
                        <a:close/>
                        <a:moveTo>
                          <a:pt x="111" y="33"/>
                        </a:moveTo>
                        <a:cubicBezTo>
                          <a:pt x="111" y="33"/>
                          <a:pt x="112" y="33"/>
                          <a:pt x="112" y="33"/>
                        </a:cubicBezTo>
                        <a:cubicBezTo>
                          <a:pt x="112" y="33"/>
                          <a:pt x="111" y="33"/>
                          <a:pt x="111" y="33"/>
                        </a:cubicBezTo>
                        <a:cubicBezTo>
                          <a:pt x="111" y="33"/>
                          <a:pt x="111" y="33"/>
                          <a:pt x="111" y="33"/>
                        </a:cubicBezTo>
                        <a:cubicBezTo>
                          <a:pt x="111" y="33"/>
                          <a:pt x="111" y="33"/>
                          <a:pt x="111" y="33"/>
                        </a:cubicBezTo>
                        <a:cubicBezTo>
                          <a:pt x="111" y="33"/>
                          <a:pt x="111" y="33"/>
                          <a:pt x="112" y="33"/>
                        </a:cubicBezTo>
                        <a:cubicBezTo>
                          <a:pt x="112" y="33"/>
                          <a:pt x="112" y="33"/>
                          <a:pt x="113" y="33"/>
                        </a:cubicBezTo>
                        <a:cubicBezTo>
                          <a:pt x="112" y="33"/>
                          <a:pt x="112" y="33"/>
                          <a:pt x="112" y="33"/>
                        </a:cubicBezTo>
                        <a:cubicBezTo>
                          <a:pt x="112" y="33"/>
                          <a:pt x="112" y="33"/>
                          <a:pt x="113" y="33"/>
                        </a:cubicBezTo>
                        <a:cubicBezTo>
                          <a:pt x="113" y="33"/>
                          <a:pt x="111" y="34"/>
                          <a:pt x="111" y="33"/>
                        </a:cubicBezTo>
                        <a:close/>
                        <a:moveTo>
                          <a:pt x="110" y="34"/>
                        </a:moveTo>
                        <a:cubicBezTo>
                          <a:pt x="110" y="33"/>
                          <a:pt x="110" y="33"/>
                          <a:pt x="110" y="33"/>
                        </a:cubicBezTo>
                        <a:cubicBezTo>
                          <a:pt x="109" y="34"/>
                          <a:pt x="109" y="34"/>
                          <a:pt x="108" y="34"/>
                        </a:cubicBezTo>
                        <a:cubicBezTo>
                          <a:pt x="108" y="34"/>
                          <a:pt x="109" y="34"/>
                          <a:pt x="108" y="33"/>
                        </a:cubicBezTo>
                        <a:cubicBezTo>
                          <a:pt x="108" y="34"/>
                          <a:pt x="109" y="33"/>
                          <a:pt x="109" y="34"/>
                        </a:cubicBezTo>
                        <a:cubicBezTo>
                          <a:pt x="109" y="34"/>
                          <a:pt x="110" y="33"/>
                          <a:pt x="110" y="33"/>
                        </a:cubicBezTo>
                        <a:cubicBezTo>
                          <a:pt x="110" y="33"/>
                          <a:pt x="110" y="33"/>
                          <a:pt x="110" y="33"/>
                        </a:cubicBezTo>
                        <a:cubicBezTo>
                          <a:pt x="110" y="34"/>
                          <a:pt x="110" y="34"/>
                          <a:pt x="110" y="34"/>
                        </a:cubicBezTo>
                        <a:close/>
                        <a:moveTo>
                          <a:pt x="111" y="36"/>
                        </a:moveTo>
                        <a:cubicBezTo>
                          <a:pt x="111" y="36"/>
                          <a:pt x="111" y="37"/>
                          <a:pt x="110" y="37"/>
                        </a:cubicBezTo>
                        <a:cubicBezTo>
                          <a:pt x="110" y="37"/>
                          <a:pt x="110" y="37"/>
                          <a:pt x="109" y="37"/>
                        </a:cubicBezTo>
                        <a:cubicBezTo>
                          <a:pt x="110" y="36"/>
                          <a:pt x="110" y="36"/>
                          <a:pt x="111" y="36"/>
                        </a:cubicBezTo>
                        <a:close/>
                        <a:moveTo>
                          <a:pt x="110" y="34"/>
                        </a:moveTo>
                        <a:cubicBezTo>
                          <a:pt x="110" y="34"/>
                          <a:pt x="110" y="34"/>
                          <a:pt x="110" y="34"/>
                        </a:cubicBezTo>
                        <a:cubicBezTo>
                          <a:pt x="110" y="34"/>
                          <a:pt x="109" y="34"/>
                          <a:pt x="110" y="34"/>
                        </a:cubicBezTo>
                        <a:cubicBezTo>
                          <a:pt x="110" y="34"/>
                          <a:pt x="110" y="34"/>
                          <a:pt x="110" y="34"/>
                        </a:cubicBezTo>
                        <a:close/>
                        <a:moveTo>
                          <a:pt x="109" y="33"/>
                        </a:moveTo>
                        <a:cubicBezTo>
                          <a:pt x="108" y="33"/>
                          <a:pt x="109" y="33"/>
                          <a:pt x="109" y="33"/>
                        </a:cubicBezTo>
                        <a:cubicBezTo>
                          <a:pt x="110" y="33"/>
                          <a:pt x="109" y="33"/>
                          <a:pt x="109" y="33"/>
                        </a:cubicBezTo>
                        <a:close/>
                        <a:moveTo>
                          <a:pt x="108" y="33"/>
                        </a:moveTo>
                        <a:cubicBezTo>
                          <a:pt x="109" y="33"/>
                          <a:pt x="109" y="33"/>
                          <a:pt x="109" y="33"/>
                        </a:cubicBezTo>
                        <a:cubicBezTo>
                          <a:pt x="109" y="33"/>
                          <a:pt x="108" y="33"/>
                          <a:pt x="108" y="33"/>
                        </a:cubicBezTo>
                        <a:close/>
                        <a:moveTo>
                          <a:pt x="108" y="37"/>
                        </a:moveTo>
                        <a:cubicBezTo>
                          <a:pt x="108" y="37"/>
                          <a:pt x="108" y="37"/>
                          <a:pt x="108" y="37"/>
                        </a:cubicBezTo>
                        <a:cubicBezTo>
                          <a:pt x="108" y="37"/>
                          <a:pt x="108" y="36"/>
                          <a:pt x="108" y="37"/>
                        </a:cubicBezTo>
                        <a:cubicBezTo>
                          <a:pt x="108" y="37"/>
                          <a:pt x="108" y="37"/>
                          <a:pt x="108" y="37"/>
                        </a:cubicBezTo>
                        <a:close/>
                        <a:moveTo>
                          <a:pt x="106" y="33"/>
                        </a:moveTo>
                        <a:cubicBezTo>
                          <a:pt x="106" y="33"/>
                          <a:pt x="107" y="33"/>
                          <a:pt x="107" y="33"/>
                        </a:cubicBezTo>
                        <a:cubicBezTo>
                          <a:pt x="107" y="33"/>
                          <a:pt x="106" y="33"/>
                          <a:pt x="106" y="33"/>
                        </a:cubicBezTo>
                        <a:close/>
                        <a:moveTo>
                          <a:pt x="107" y="35"/>
                        </a:moveTo>
                        <a:cubicBezTo>
                          <a:pt x="107" y="35"/>
                          <a:pt x="107" y="35"/>
                          <a:pt x="107" y="35"/>
                        </a:cubicBezTo>
                        <a:cubicBezTo>
                          <a:pt x="107" y="35"/>
                          <a:pt x="107" y="35"/>
                          <a:pt x="107" y="35"/>
                        </a:cubicBezTo>
                        <a:cubicBezTo>
                          <a:pt x="107" y="35"/>
                          <a:pt x="107" y="35"/>
                          <a:pt x="107" y="35"/>
                        </a:cubicBezTo>
                        <a:close/>
                        <a:moveTo>
                          <a:pt x="106" y="33"/>
                        </a:moveTo>
                        <a:cubicBezTo>
                          <a:pt x="106" y="33"/>
                          <a:pt x="105" y="34"/>
                          <a:pt x="105" y="34"/>
                        </a:cubicBezTo>
                        <a:cubicBezTo>
                          <a:pt x="105" y="33"/>
                          <a:pt x="106" y="33"/>
                          <a:pt x="106" y="33"/>
                        </a:cubicBezTo>
                        <a:cubicBezTo>
                          <a:pt x="107" y="33"/>
                          <a:pt x="107" y="33"/>
                          <a:pt x="107" y="33"/>
                        </a:cubicBezTo>
                        <a:cubicBezTo>
                          <a:pt x="107" y="33"/>
                          <a:pt x="106" y="33"/>
                          <a:pt x="106" y="33"/>
                        </a:cubicBezTo>
                        <a:cubicBezTo>
                          <a:pt x="106" y="33"/>
                          <a:pt x="106" y="33"/>
                          <a:pt x="106" y="33"/>
                        </a:cubicBezTo>
                        <a:close/>
                        <a:moveTo>
                          <a:pt x="106" y="34"/>
                        </a:moveTo>
                        <a:cubicBezTo>
                          <a:pt x="106" y="34"/>
                          <a:pt x="106" y="34"/>
                          <a:pt x="107" y="33"/>
                        </a:cubicBezTo>
                        <a:cubicBezTo>
                          <a:pt x="107" y="34"/>
                          <a:pt x="106" y="34"/>
                          <a:pt x="106" y="34"/>
                        </a:cubicBezTo>
                        <a:close/>
                        <a:moveTo>
                          <a:pt x="107" y="38"/>
                        </a:moveTo>
                        <a:cubicBezTo>
                          <a:pt x="106" y="38"/>
                          <a:pt x="105" y="38"/>
                          <a:pt x="104" y="38"/>
                        </a:cubicBezTo>
                        <a:cubicBezTo>
                          <a:pt x="105" y="38"/>
                          <a:pt x="106" y="38"/>
                          <a:pt x="107" y="37"/>
                        </a:cubicBezTo>
                        <a:cubicBezTo>
                          <a:pt x="107" y="37"/>
                          <a:pt x="107" y="38"/>
                          <a:pt x="107" y="38"/>
                        </a:cubicBezTo>
                        <a:close/>
                        <a:moveTo>
                          <a:pt x="105" y="36"/>
                        </a:moveTo>
                        <a:cubicBezTo>
                          <a:pt x="105" y="36"/>
                          <a:pt x="106" y="36"/>
                          <a:pt x="105" y="36"/>
                        </a:cubicBezTo>
                        <a:cubicBezTo>
                          <a:pt x="106" y="36"/>
                          <a:pt x="106" y="36"/>
                          <a:pt x="106" y="36"/>
                        </a:cubicBezTo>
                        <a:cubicBezTo>
                          <a:pt x="106" y="36"/>
                          <a:pt x="106" y="36"/>
                          <a:pt x="105" y="37"/>
                        </a:cubicBezTo>
                        <a:cubicBezTo>
                          <a:pt x="105" y="36"/>
                          <a:pt x="105" y="36"/>
                          <a:pt x="105" y="36"/>
                        </a:cubicBezTo>
                        <a:close/>
                        <a:moveTo>
                          <a:pt x="105" y="36"/>
                        </a:moveTo>
                        <a:cubicBezTo>
                          <a:pt x="105" y="36"/>
                          <a:pt x="105" y="36"/>
                          <a:pt x="106" y="36"/>
                        </a:cubicBezTo>
                        <a:cubicBezTo>
                          <a:pt x="106" y="36"/>
                          <a:pt x="106" y="36"/>
                          <a:pt x="106" y="36"/>
                        </a:cubicBezTo>
                        <a:cubicBezTo>
                          <a:pt x="105" y="36"/>
                          <a:pt x="105" y="36"/>
                          <a:pt x="105" y="36"/>
                        </a:cubicBezTo>
                        <a:close/>
                        <a:moveTo>
                          <a:pt x="105" y="35"/>
                        </a:moveTo>
                        <a:cubicBezTo>
                          <a:pt x="105" y="36"/>
                          <a:pt x="104" y="36"/>
                          <a:pt x="104" y="36"/>
                        </a:cubicBezTo>
                        <a:cubicBezTo>
                          <a:pt x="104" y="36"/>
                          <a:pt x="105" y="36"/>
                          <a:pt x="105" y="35"/>
                        </a:cubicBezTo>
                        <a:close/>
                        <a:moveTo>
                          <a:pt x="103" y="36"/>
                        </a:moveTo>
                        <a:cubicBezTo>
                          <a:pt x="103" y="36"/>
                          <a:pt x="103" y="36"/>
                          <a:pt x="103" y="36"/>
                        </a:cubicBezTo>
                        <a:cubicBezTo>
                          <a:pt x="103" y="36"/>
                          <a:pt x="103" y="36"/>
                          <a:pt x="104" y="36"/>
                        </a:cubicBezTo>
                        <a:cubicBezTo>
                          <a:pt x="104" y="36"/>
                          <a:pt x="104" y="36"/>
                          <a:pt x="103" y="36"/>
                        </a:cubicBezTo>
                        <a:close/>
                        <a:moveTo>
                          <a:pt x="104" y="37"/>
                        </a:moveTo>
                        <a:cubicBezTo>
                          <a:pt x="103" y="37"/>
                          <a:pt x="104" y="37"/>
                          <a:pt x="104" y="37"/>
                        </a:cubicBezTo>
                        <a:cubicBezTo>
                          <a:pt x="103" y="37"/>
                          <a:pt x="103" y="37"/>
                          <a:pt x="103" y="37"/>
                        </a:cubicBezTo>
                        <a:cubicBezTo>
                          <a:pt x="103" y="37"/>
                          <a:pt x="103" y="37"/>
                          <a:pt x="103" y="37"/>
                        </a:cubicBezTo>
                        <a:cubicBezTo>
                          <a:pt x="103" y="37"/>
                          <a:pt x="101" y="38"/>
                          <a:pt x="101" y="38"/>
                        </a:cubicBezTo>
                        <a:cubicBezTo>
                          <a:pt x="100" y="38"/>
                          <a:pt x="99" y="38"/>
                          <a:pt x="99" y="38"/>
                        </a:cubicBezTo>
                        <a:cubicBezTo>
                          <a:pt x="100" y="38"/>
                          <a:pt x="102" y="37"/>
                          <a:pt x="104" y="37"/>
                        </a:cubicBezTo>
                        <a:cubicBezTo>
                          <a:pt x="104" y="37"/>
                          <a:pt x="104" y="37"/>
                          <a:pt x="104" y="37"/>
                        </a:cubicBezTo>
                        <a:close/>
                        <a:moveTo>
                          <a:pt x="103" y="34"/>
                        </a:moveTo>
                        <a:cubicBezTo>
                          <a:pt x="103" y="34"/>
                          <a:pt x="103" y="34"/>
                          <a:pt x="102" y="34"/>
                        </a:cubicBezTo>
                        <a:cubicBezTo>
                          <a:pt x="102" y="34"/>
                          <a:pt x="102" y="34"/>
                          <a:pt x="102" y="34"/>
                        </a:cubicBezTo>
                        <a:cubicBezTo>
                          <a:pt x="103" y="34"/>
                          <a:pt x="103" y="34"/>
                          <a:pt x="103" y="33"/>
                        </a:cubicBezTo>
                        <a:cubicBezTo>
                          <a:pt x="103" y="34"/>
                          <a:pt x="103" y="34"/>
                          <a:pt x="103" y="34"/>
                        </a:cubicBezTo>
                        <a:close/>
                        <a:moveTo>
                          <a:pt x="103" y="37"/>
                        </a:moveTo>
                        <a:cubicBezTo>
                          <a:pt x="103" y="37"/>
                          <a:pt x="103" y="36"/>
                          <a:pt x="104" y="36"/>
                        </a:cubicBezTo>
                        <a:cubicBezTo>
                          <a:pt x="104" y="36"/>
                          <a:pt x="103" y="37"/>
                          <a:pt x="103" y="37"/>
                        </a:cubicBezTo>
                        <a:close/>
                        <a:moveTo>
                          <a:pt x="103" y="35"/>
                        </a:moveTo>
                        <a:cubicBezTo>
                          <a:pt x="103" y="35"/>
                          <a:pt x="103" y="35"/>
                          <a:pt x="103" y="35"/>
                        </a:cubicBezTo>
                        <a:cubicBezTo>
                          <a:pt x="103" y="35"/>
                          <a:pt x="103" y="35"/>
                          <a:pt x="103" y="35"/>
                        </a:cubicBezTo>
                        <a:cubicBezTo>
                          <a:pt x="103" y="35"/>
                          <a:pt x="103" y="35"/>
                          <a:pt x="102" y="35"/>
                        </a:cubicBezTo>
                        <a:cubicBezTo>
                          <a:pt x="103" y="34"/>
                          <a:pt x="103" y="35"/>
                          <a:pt x="103" y="35"/>
                        </a:cubicBezTo>
                        <a:close/>
                        <a:moveTo>
                          <a:pt x="102" y="34"/>
                        </a:moveTo>
                        <a:cubicBezTo>
                          <a:pt x="102" y="34"/>
                          <a:pt x="102" y="34"/>
                          <a:pt x="103" y="34"/>
                        </a:cubicBezTo>
                        <a:cubicBezTo>
                          <a:pt x="103" y="34"/>
                          <a:pt x="102" y="34"/>
                          <a:pt x="102" y="34"/>
                        </a:cubicBezTo>
                        <a:close/>
                        <a:moveTo>
                          <a:pt x="104" y="40"/>
                        </a:moveTo>
                        <a:cubicBezTo>
                          <a:pt x="104" y="40"/>
                          <a:pt x="103" y="40"/>
                          <a:pt x="103" y="40"/>
                        </a:cubicBezTo>
                        <a:cubicBezTo>
                          <a:pt x="103" y="40"/>
                          <a:pt x="103" y="40"/>
                          <a:pt x="103" y="40"/>
                        </a:cubicBezTo>
                        <a:cubicBezTo>
                          <a:pt x="104" y="40"/>
                          <a:pt x="104" y="40"/>
                          <a:pt x="104" y="40"/>
                        </a:cubicBezTo>
                        <a:close/>
                        <a:moveTo>
                          <a:pt x="103" y="38"/>
                        </a:moveTo>
                        <a:cubicBezTo>
                          <a:pt x="103" y="38"/>
                          <a:pt x="103" y="38"/>
                          <a:pt x="103" y="38"/>
                        </a:cubicBezTo>
                        <a:cubicBezTo>
                          <a:pt x="103" y="38"/>
                          <a:pt x="103" y="38"/>
                          <a:pt x="103" y="38"/>
                        </a:cubicBezTo>
                        <a:cubicBezTo>
                          <a:pt x="104" y="38"/>
                          <a:pt x="103" y="38"/>
                          <a:pt x="103" y="38"/>
                        </a:cubicBezTo>
                        <a:close/>
                        <a:moveTo>
                          <a:pt x="101" y="34"/>
                        </a:moveTo>
                        <a:cubicBezTo>
                          <a:pt x="102" y="34"/>
                          <a:pt x="102" y="34"/>
                          <a:pt x="102" y="34"/>
                        </a:cubicBezTo>
                        <a:cubicBezTo>
                          <a:pt x="102" y="34"/>
                          <a:pt x="101" y="34"/>
                          <a:pt x="101" y="34"/>
                        </a:cubicBezTo>
                        <a:close/>
                        <a:moveTo>
                          <a:pt x="102" y="36"/>
                        </a:moveTo>
                        <a:cubicBezTo>
                          <a:pt x="102" y="37"/>
                          <a:pt x="102" y="37"/>
                          <a:pt x="102" y="37"/>
                        </a:cubicBezTo>
                        <a:cubicBezTo>
                          <a:pt x="102" y="37"/>
                          <a:pt x="101" y="37"/>
                          <a:pt x="101" y="37"/>
                        </a:cubicBezTo>
                        <a:cubicBezTo>
                          <a:pt x="102" y="36"/>
                          <a:pt x="102" y="36"/>
                          <a:pt x="102" y="36"/>
                        </a:cubicBezTo>
                        <a:close/>
                        <a:moveTo>
                          <a:pt x="100" y="36"/>
                        </a:moveTo>
                        <a:cubicBezTo>
                          <a:pt x="100" y="35"/>
                          <a:pt x="101" y="35"/>
                          <a:pt x="101" y="35"/>
                        </a:cubicBezTo>
                        <a:cubicBezTo>
                          <a:pt x="101" y="35"/>
                          <a:pt x="100" y="36"/>
                          <a:pt x="100" y="36"/>
                        </a:cubicBezTo>
                        <a:close/>
                        <a:moveTo>
                          <a:pt x="102" y="39"/>
                        </a:moveTo>
                        <a:cubicBezTo>
                          <a:pt x="102" y="39"/>
                          <a:pt x="102" y="39"/>
                          <a:pt x="102" y="39"/>
                        </a:cubicBezTo>
                        <a:cubicBezTo>
                          <a:pt x="102" y="39"/>
                          <a:pt x="101" y="39"/>
                          <a:pt x="101" y="39"/>
                        </a:cubicBezTo>
                        <a:cubicBezTo>
                          <a:pt x="101" y="39"/>
                          <a:pt x="102" y="39"/>
                          <a:pt x="102" y="39"/>
                        </a:cubicBezTo>
                        <a:close/>
                        <a:moveTo>
                          <a:pt x="102" y="40"/>
                        </a:moveTo>
                        <a:cubicBezTo>
                          <a:pt x="102" y="40"/>
                          <a:pt x="102" y="40"/>
                          <a:pt x="102" y="41"/>
                        </a:cubicBezTo>
                        <a:cubicBezTo>
                          <a:pt x="101" y="41"/>
                          <a:pt x="101" y="40"/>
                          <a:pt x="102" y="40"/>
                        </a:cubicBezTo>
                        <a:close/>
                        <a:moveTo>
                          <a:pt x="98" y="37"/>
                        </a:moveTo>
                        <a:cubicBezTo>
                          <a:pt x="98" y="37"/>
                          <a:pt x="98" y="37"/>
                          <a:pt x="98" y="37"/>
                        </a:cubicBezTo>
                        <a:cubicBezTo>
                          <a:pt x="98" y="37"/>
                          <a:pt x="98" y="37"/>
                          <a:pt x="98" y="37"/>
                        </a:cubicBezTo>
                        <a:close/>
                        <a:moveTo>
                          <a:pt x="99" y="41"/>
                        </a:moveTo>
                        <a:cubicBezTo>
                          <a:pt x="99" y="41"/>
                          <a:pt x="99" y="41"/>
                          <a:pt x="99" y="41"/>
                        </a:cubicBezTo>
                        <a:cubicBezTo>
                          <a:pt x="99" y="41"/>
                          <a:pt x="99" y="42"/>
                          <a:pt x="99" y="41"/>
                        </a:cubicBezTo>
                        <a:close/>
                        <a:moveTo>
                          <a:pt x="98" y="41"/>
                        </a:moveTo>
                        <a:cubicBezTo>
                          <a:pt x="98" y="41"/>
                          <a:pt x="98" y="41"/>
                          <a:pt x="98" y="41"/>
                        </a:cubicBezTo>
                        <a:cubicBezTo>
                          <a:pt x="98" y="41"/>
                          <a:pt x="98" y="41"/>
                          <a:pt x="98" y="41"/>
                        </a:cubicBezTo>
                        <a:close/>
                        <a:moveTo>
                          <a:pt x="96" y="41"/>
                        </a:moveTo>
                        <a:cubicBezTo>
                          <a:pt x="96" y="41"/>
                          <a:pt x="96" y="41"/>
                          <a:pt x="97" y="41"/>
                        </a:cubicBezTo>
                        <a:cubicBezTo>
                          <a:pt x="96" y="41"/>
                          <a:pt x="96" y="41"/>
                          <a:pt x="96" y="41"/>
                        </a:cubicBezTo>
                        <a:close/>
                        <a:moveTo>
                          <a:pt x="95" y="38"/>
                        </a:moveTo>
                        <a:cubicBezTo>
                          <a:pt x="95" y="38"/>
                          <a:pt x="95" y="38"/>
                          <a:pt x="95" y="38"/>
                        </a:cubicBezTo>
                        <a:cubicBezTo>
                          <a:pt x="95" y="38"/>
                          <a:pt x="95" y="38"/>
                          <a:pt x="95" y="38"/>
                        </a:cubicBezTo>
                        <a:close/>
                        <a:moveTo>
                          <a:pt x="94" y="43"/>
                        </a:moveTo>
                        <a:cubicBezTo>
                          <a:pt x="94" y="44"/>
                          <a:pt x="95" y="43"/>
                          <a:pt x="95" y="43"/>
                        </a:cubicBezTo>
                        <a:cubicBezTo>
                          <a:pt x="96" y="43"/>
                          <a:pt x="95" y="43"/>
                          <a:pt x="94" y="43"/>
                        </a:cubicBezTo>
                        <a:cubicBezTo>
                          <a:pt x="94" y="44"/>
                          <a:pt x="96" y="43"/>
                          <a:pt x="96" y="43"/>
                        </a:cubicBezTo>
                        <a:cubicBezTo>
                          <a:pt x="96" y="43"/>
                          <a:pt x="96" y="43"/>
                          <a:pt x="97" y="43"/>
                        </a:cubicBezTo>
                        <a:cubicBezTo>
                          <a:pt x="96" y="43"/>
                          <a:pt x="96" y="43"/>
                          <a:pt x="95" y="43"/>
                        </a:cubicBezTo>
                        <a:cubicBezTo>
                          <a:pt x="95" y="43"/>
                          <a:pt x="95" y="43"/>
                          <a:pt x="95" y="44"/>
                        </a:cubicBezTo>
                        <a:cubicBezTo>
                          <a:pt x="95" y="44"/>
                          <a:pt x="95" y="44"/>
                          <a:pt x="95" y="44"/>
                        </a:cubicBezTo>
                        <a:cubicBezTo>
                          <a:pt x="95" y="44"/>
                          <a:pt x="94" y="44"/>
                          <a:pt x="94" y="44"/>
                        </a:cubicBezTo>
                        <a:cubicBezTo>
                          <a:pt x="94" y="44"/>
                          <a:pt x="93" y="44"/>
                          <a:pt x="93" y="44"/>
                        </a:cubicBezTo>
                        <a:cubicBezTo>
                          <a:pt x="93" y="44"/>
                          <a:pt x="93" y="44"/>
                          <a:pt x="92" y="44"/>
                        </a:cubicBezTo>
                        <a:cubicBezTo>
                          <a:pt x="93" y="44"/>
                          <a:pt x="93" y="44"/>
                          <a:pt x="93" y="44"/>
                        </a:cubicBezTo>
                        <a:cubicBezTo>
                          <a:pt x="93" y="44"/>
                          <a:pt x="93" y="44"/>
                          <a:pt x="93" y="44"/>
                        </a:cubicBezTo>
                        <a:cubicBezTo>
                          <a:pt x="93" y="44"/>
                          <a:pt x="93" y="43"/>
                          <a:pt x="94" y="43"/>
                        </a:cubicBezTo>
                        <a:cubicBezTo>
                          <a:pt x="94" y="43"/>
                          <a:pt x="94" y="43"/>
                          <a:pt x="94" y="43"/>
                        </a:cubicBezTo>
                        <a:close/>
                        <a:moveTo>
                          <a:pt x="96" y="41"/>
                        </a:moveTo>
                        <a:cubicBezTo>
                          <a:pt x="96" y="41"/>
                          <a:pt x="95" y="41"/>
                          <a:pt x="95" y="41"/>
                        </a:cubicBezTo>
                        <a:lnTo>
                          <a:pt x="96" y="41"/>
                        </a:lnTo>
                        <a:close/>
                        <a:moveTo>
                          <a:pt x="94" y="42"/>
                        </a:moveTo>
                        <a:cubicBezTo>
                          <a:pt x="94" y="42"/>
                          <a:pt x="94" y="42"/>
                          <a:pt x="95" y="42"/>
                        </a:cubicBezTo>
                        <a:cubicBezTo>
                          <a:pt x="95" y="42"/>
                          <a:pt x="95" y="42"/>
                          <a:pt x="96" y="42"/>
                        </a:cubicBezTo>
                        <a:cubicBezTo>
                          <a:pt x="96" y="42"/>
                          <a:pt x="95" y="42"/>
                          <a:pt x="95" y="42"/>
                        </a:cubicBezTo>
                        <a:cubicBezTo>
                          <a:pt x="95" y="42"/>
                          <a:pt x="95" y="42"/>
                          <a:pt x="94" y="42"/>
                        </a:cubicBezTo>
                        <a:close/>
                        <a:moveTo>
                          <a:pt x="96" y="43"/>
                        </a:moveTo>
                        <a:cubicBezTo>
                          <a:pt x="96" y="43"/>
                          <a:pt x="95" y="43"/>
                          <a:pt x="95" y="43"/>
                        </a:cubicBezTo>
                        <a:cubicBezTo>
                          <a:pt x="95" y="43"/>
                          <a:pt x="95" y="43"/>
                          <a:pt x="96" y="43"/>
                        </a:cubicBezTo>
                        <a:close/>
                        <a:moveTo>
                          <a:pt x="96" y="43"/>
                        </a:moveTo>
                        <a:cubicBezTo>
                          <a:pt x="96" y="43"/>
                          <a:pt x="95" y="43"/>
                          <a:pt x="95" y="43"/>
                        </a:cubicBezTo>
                        <a:cubicBezTo>
                          <a:pt x="95" y="43"/>
                          <a:pt x="95" y="43"/>
                          <a:pt x="96" y="43"/>
                        </a:cubicBezTo>
                        <a:close/>
                        <a:moveTo>
                          <a:pt x="95" y="45"/>
                        </a:moveTo>
                        <a:cubicBezTo>
                          <a:pt x="96" y="44"/>
                          <a:pt x="96" y="44"/>
                          <a:pt x="96" y="44"/>
                        </a:cubicBezTo>
                        <a:cubicBezTo>
                          <a:pt x="96" y="44"/>
                          <a:pt x="96" y="44"/>
                          <a:pt x="96" y="45"/>
                        </a:cubicBezTo>
                        <a:cubicBezTo>
                          <a:pt x="96" y="45"/>
                          <a:pt x="96" y="44"/>
                          <a:pt x="95" y="45"/>
                        </a:cubicBezTo>
                        <a:close/>
                        <a:moveTo>
                          <a:pt x="96" y="45"/>
                        </a:moveTo>
                        <a:cubicBezTo>
                          <a:pt x="96" y="45"/>
                          <a:pt x="96" y="45"/>
                          <a:pt x="96" y="45"/>
                        </a:cubicBezTo>
                        <a:cubicBezTo>
                          <a:pt x="96" y="45"/>
                          <a:pt x="95" y="45"/>
                          <a:pt x="95" y="45"/>
                        </a:cubicBezTo>
                        <a:cubicBezTo>
                          <a:pt x="95" y="45"/>
                          <a:pt x="96" y="45"/>
                          <a:pt x="96" y="45"/>
                        </a:cubicBezTo>
                        <a:cubicBezTo>
                          <a:pt x="96" y="45"/>
                          <a:pt x="96" y="45"/>
                          <a:pt x="96" y="45"/>
                        </a:cubicBezTo>
                        <a:close/>
                        <a:moveTo>
                          <a:pt x="93" y="39"/>
                        </a:moveTo>
                        <a:cubicBezTo>
                          <a:pt x="93" y="39"/>
                          <a:pt x="94" y="39"/>
                          <a:pt x="94" y="39"/>
                        </a:cubicBezTo>
                        <a:cubicBezTo>
                          <a:pt x="94" y="39"/>
                          <a:pt x="93" y="39"/>
                          <a:pt x="93" y="39"/>
                        </a:cubicBezTo>
                        <a:close/>
                        <a:moveTo>
                          <a:pt x="95" y="43"/>
                        </a:moveTo>
                        <a:cubicBezTo>
                          <a:pt x="95" y="43"/>
                          <a:pt x="95" y="43"/>
                          <a:pt x="94" y="43"/>
                        </a:cubicBezTo>
                        <a:cubicBezTo>
                          <a:pt x="94" y="43"/>
                          <a:pt x="95" y="43"/>
                          <a:pt x="95" y="43"/>
                        </a:cubicBezTo>
                        <a:close/>
                        <a:moveTo>
                          <a:pt x="94" y="42"/>
                        </a:moveTo>
                        <a:cubicBezTo>
                          <a:pt x="94" y="42"/>
                          <a:pt x="94" y="42"/>
                          <a:pt x="94" y="42"/>
                        </a:cubicBezTo>
                        <a:cubicBezTo>
                          <a:pt x="94" y="42"/>
                          <a:pt x="94" y="42"/>
                          <a:pt x="94" y="42"/>
                        </a:cubicBezTo>
                        <a:close/>
                        <a:moveTo>
                          <a:pt x="92" y="36"/>
                        </a:moveTo>
                        <a:cubicBezTo>
                          <a:pt x="91" y="36"/>
                          <a:pt x="91" y="36"/>
                          <a:pt x="92" y="36"/>
                        </a:cubicBezTo>
                        <a:cubicBezTo>
                          <a:pt x="92" y="36"/>
                          <a:pt x="92" y="36"/>
                          <a:pt x="92" y="36"/>
                        </a:cubicBezTo>
                        <a:close/>
                        <a:moveTo>
                          <a:pt x="92" y="40"/>
                        </a:moveTo>
                        <a:cubicBezTo>
                          <a:pt x="93" y="40"/>
                          <a:pt x="93" y="40"/>
                          <a:pt x="93" y="40"/>
                        </a:cubicBezTo>
                        <a:cubicBezTo>
                          <a:pt x="92" y="40"/>
                          <a:pt x="92" y="40"/>
                          <a:pt x="92" y="40"/>
                        </a:cubicBezTo>
                        <a:cubicBezTo>
                          <a:pt x="92" y="40"/>
                          <a:pt x="92" y="40"/>
                          <a:pt x="92" y="40"/>
                        </a:cubicBezTo>
                        <a:close/>
                        <a:moveTo>
                          <a:pt x="90" y="36"/>
                        </a:moveTo>
                        <a:cubicBezTo>
                          <a:pt x="90" y="36"/>
                          <a:pt x="91" y="36"/>
                          <a:pt x="91" y="36"/>
                        </a:cubicBezTo>
                        <a:cubicBezTo>
                          <a:pt x="91" y="36"/>
                          <a:pt x="91" y="36"/>
                          <a:pt x="90" y="36"/>
                        </a:cubicBezTo>
                        <a:close/>
                        <a:moveTo>
                          <a:pt x="91" y="42"/>
                        </a:moveTo>
                        <a:cubicBezTo>
                          <a:pt x="92" y="42"/>
                          <a:pt x="92" y="42"/>
                          <a:pt x="92" y="42"/>
                        </a:cubicBezTo>
                        <a:cubicBezTo>
                          <a:pt x="92" y="42"/>
                          <a:pt x="92" y="42"/>
                          <a:pt x="92" y="42"/>
                        </a:cubicBezTo>
                        <a:cubicBezTo>
                          <a:pt x="92" y="42"/>
                          <a:pt x="92" y="42"/>
                          <a:pt x="92" y="42"/>
                        </a:cubicBezTo>
                        <a:cubicBezTo>
                          <a:pt x="92" y="42"/>
                          <a:pt x="91" y="42"/>
                          <a:pt x="91" y="42"/>
                        </a:cubicBezTo>
                        <a:cubicBezTo>
                          <a:pt x="91" y="42"/>
                          <a:pt x="91" y="42"/>
                          <a:pt x="91" y="42"/>
                        </a:cubicBezTo>
                        <a:close/>
                        <a:moveTo>
                          <a:pt x="92" y="45"/>
                        </a:moveTo>
                        <a:cubicBezTo>
                          <a:pt x="92" y="45"/>
                          <a:pt x="92" y="45"/>
                          <a:pt x="92" y="45"/>
                        </a:cubicBezTo>
                        <a:cubicBezTo>
                          <a:pt x="92" y="45"/>
                          <a:pt x="92" y="45"/>
                          <a:pt x="92" y="45"/>
                        </a:cubicBezTo>
                        <a:cubicBezTo>
                          <a:pt x="92" y="45"/>
                          <a:pt x="92" y="45"/>
                          <a:pt x="92" y="45"/>
                        </a:cubicBezTo>
                        <a:cubicBezTo>
                          <a:pt x="92" y="45"/>
                          <a:pt x="92" y="45"/>
                          <a:pt x="92" y="45"/>
                        </a:cubicBezTo>
                        <a:close/>
                        <a:moveTo>
                          <a:pt x="91" y="42"/>
                        </a:moveTo>
                        <a:cubicBezTo>
                          <a:pt x="91" y="42"/>
                          <a:pt x="91" y="42"/>
                          <a:pt x="91" y="42"/>
                        </a:cubicBezTo>
                        <a:cubicBezTo>
                          <a:pt x="91" y="42"/>
                          <a:pt x="91" y="42"/>
                          <a:pt x="91" y="41"/>
                        </a:cubicBezTo>
                        <a:cubicBezTo>
                          <a:pt x="91" y="41"/>
                          <a:pt x="91" y="41"/>
                          <a:pt x="91" y="41"/>
                        </a:cubicBezTo>
                        <a:cubicBezTo>
                          <a:pt x="91" y="41"/>
                          <a:pt x="91" y="42"/>
                          <a:pt x="91" y="42"/>
                        </a:cubicBezTo>
                        <a:close/>
                        <a:moveTo>
                          <a:pt x="91" y="45"/>
                        </a:moveTo>
                        <a:cubicBezTo>
                          <a:pt x="91" y="45"/>
                          <a:pt x="91" y="45"/>
                          <a:pt x="91" y="45"/>
                        </a:cubicBezTo>
                        <a:cubicBezTo>
                          <a:pt x="91" y="45"/>
                          <a:pt x="91" y="45"/>
                          <a:pt x="90" y="45"/>
                        </a:cubicBezTo>
                        <a:cubicBezTo>
                          <a:pt x="90" y="45"/>
                          <a:pt x="90" y="45"/>
                          <a:pt x="90" y="45"/>
                        </a:cubicBezTo>
                        <a:cubicBezTo>
                          <a:pt x="90" y="45"/>
                          <a:pt x="91" y="45"/>
                          <a:pt x="91" y="45"/>
                        </a:cubicBezTo>
                        <a:cubicBezTo>
                          <a:pt x="92" y="45"/>
                          <a:pt x="92" y="45"/>
                          <a:pt x="92" y="45"/>
                        </a:cubicBezTo>
                        <a:cubicBezTo>
                          <a:pt x="92" y="45"/>
                          <a:pt x="92" y="45"/>
                          <a:pt x="91" y="45"/>
                        </a:cubicBezTo>
                        <a:cubicBezTo>
                          <a:pt x="91" y="45"/>
                          <a:pt x="91" y="45"/>
                          <a:pt x="91" y="45"/>
                        </a:cubicBezTo>
                        <a:close/>
                        <a:moveTo>
                          <a:pt x="92" y="46"/>
                        </a:moveTo>
                        <a:cubicBezTo>
                          <a:pt x="91" y="46"/>
                          <a:pt x="92" y="46"/>
                          <a:pt x="92" y="46"/>
                        </a:cubicBezTo>
                        <a:cubicBezTo>
                          <a:pt x="92" y="46"/>
                          <a:pt x="92" y="46"/>
                          <a:pt x="92" y="46"/>
                        </a:cubicBezTo>
                        <a:cubicBezTo>
                          <a:pt x="92" y="46"/>
                          <a:pt x="92" y="46"/>
                          <a:pt x="92" y="46"/>
                        </a:cubicBezTo>
                        <a:close/>
                        <a:moveTo>
                          <a:pt x="91" y="44"/>
                        </a:moveTo>
                        <a:cubicBezTo>
                          <a:pt x="92" y="44"/>
                          <a:pt x="91" y="44"/>
                          <a:pt x="92" y="44"/>
                        </a:cubicBezTo>
                        <a:cubicBezTo>
                          <a:pt x="92" y="44"/>
                          <a:pt x="92" y="44"/>
                          <a:pt x="92" y="44"/>
                        </a:cubicBezTo>
                        <a:cubicBezTo>
                          <a:pt x="91" y="44"/>
                          <a:pt x="91" y="44"/>
                          <a:pt x="91" y="44"/>
                        </a:cubicBezTo>
                        <a:cubicBezTo>
                          <a:pt x="91" y="44"/>
                          <a:pt x="91" y="44"/>
                          <a:pt x="91" y="44"/>
                        </a:cubicBezTo>
                        <a:close/>
                        <a:moveTo>
                          <a:pt x="89" y="41"/>
                        </a:moveTo>
                        <a:cubicBezTo>
                          <a:pt x="89" y="40"/>
                          <a:pt x="89" y="40"/>
                          <a:pt x="89" y="40"/>
                        </a:cubicBezTo>
                        <a:cubicBezTo>
                          <a:pt x="90" y="40"/>
                          <a:pt x="90" y="40"/>
                          <a:pt x="90" y="40"/>
                        </a:cubicBezTo>
                        <a:cubicBezTo>
                          <a:pt x="90" y="40"/>
                          <a:pt x="90" y="40"/>
                          <a:pt x="90" y="40"/>
                        </a:cubicBezTo>
                        <a:cubicBezTo>
                          <a:pt x="91" y="40"/>
                          <a:pt x="90" y="40"/>
                          <a:pt x="89" y="41"/>
                        </a:cubicBezTo>
                        <a:close/>
                        <a:moveTo>
                          <a:pt x="91" y="44"/>
                        </a:moveTo>
                        <a:cubicBezTo>
                          <a:pt x="91" y="44"/>
                          <a:pt x="90" y="44"/>
                          <a:pt x="90" y="44"/>
                        </a:cubicBezTo>
                        <a:cubicBezTo>
                          <a:pt x="90" y="44"/>
                          <a:pt x="91" y="44"/>
                          <a:pt x="91" y="44"/>
                        </a:cubicBezTo>
                        <a:close/>
                        <a:moveTo>
                          <a:pt x="91" y="44"/>
                        </a:moveTo>
                        <a:cubicBezTo>
                          <a:pt x="90" y="45"/>
                          <a:pt x="90" y="44"/>
                          <a:pt x="89" y="45"/>
                        </a:cubicBezTo>
                        <a:cubicBezTo>
                          <a:pt x="90" y="44"/>
                          <a:pt x="90" y="44"/>
                          <a:pt x="91" y="44"/>
                        </a:cubicBezTo>
                        <a:close/>
                        <a:moveTo>
                          <a:pt x="89" y="42"/>
                        </a:moveTo>
                        <a:cubicBezTo>
                          <a:pt x="89" y="42"/>
                          <a:pt x="89" y="42"/>
                          <a:pt x="89" y="42"/>
                        </a:cubicBezTo>
                        <a:cubicBezTo>
                          <a:pt x="89" y="42"/>
                          <a:pt x="88" y="42"/>
                          <a:pt x="88" y="42"/>
                        </a:cubicBezTo>
                        <a:cubicBezTo>
                          <a:pt x="88" y="42"/>
                          <a:pt x="88" y="42"/>
                          <a:pt x="88" y="42"/>
                        </a:cubicBezTo>
                        <a:cubicBezTo>
                          <a:pt x="88" y="42"/>
                          <a:pt x="88" y="42"/>
                          <a:pt x="88" y="42"/>
                        </a:cubicBezTo>
                        <a:cubicBezTo>
                          <a:pt x="88" y="42"/>
                          <a:pt x="88" y="42"/>
                          <a:pt x="88" y="42"/>
                        </a:cubicBezTo>
                        <a:cubicBezTo>
                          <a:pt x="88" y="42"/>
                          <a:pt x="88" y="42"/>
                          <a:pt x="87" y="42"/>
                        </a:cubicBezTo>
                        <a:cubicBezTo>
                          <a:pt x="87" y="42"/>
                          <a:pt x="87" y="42"/>
                          <a:pt x="88" y="42"/>
                        </a:cubicBezTo>
                        <a:cubicBezTo>
                          <a:pt x="88" y="42"/>
                          <a:pt x="88" y="42"/>
                          <a:pt x="88" y="42"/>
                        </a:cubicBezTo>
                        <a:cubicBezTo>
                          <a:pt x="88" y="42"/>
                          <a:pt x="88" y="42"/>
                          <a:pt x="88" y="42"/>
                        </a:cubicBezTo>
                        <a:cubicBezTo>
                          <a:pt x="88" y="42"/>
                          <a:pt x="88" y="42"/>
                          <a:pt x="88" y="42"/>
                        </a:cubicBezTo>
                        <a:cubicBezTo>
                          <a:pt x="89" y="42"/>
                          <a:pt x="89" y="42"/>
                          <a:pt x="89" y="42"/>
                        </a:cubicBezTo>
                        <a:cubicBezTo>
                          <a:pt x="89" y="42"/>
                          <a:pt x="89" y="42"/>
                          <a:pt x="88" y="42"/>
                        </a:cubicBezTo>
                        <a:cubicBezTo>
                          <a:pt x="88" y="42"/>
                          <a:pt x="89" y="42"/>
                          <a:pt x="89" y="42"/>
                        </a:cubicBezTo>
                        <a:cubicBezTo>
                          <a:pt x="89" y="42"/>
                          <a:pt x="90" y="42"/>
                          <a:pt x="90" y="42"/>
                        </a:cubicBezTo>
                        <a:cubicBezTo>
                          <a:pt x="90" y="42"/>
                          <a:pt x="89" y="42"/>
                          <a:pt x="89" y="42"/>
                        </a:cubicBezTo>
                        <a:close/>
                        <a:moveTo>
                          <a:pt x="88" y="45"/>
                        </a:moveTo>
                        <a:cubicBezTo>
                          <a:pt x="88" y="45"/>
                          <a:pt x="89" y="45"/>
                          <a:pt x="90" y="45"/>
                        </a:cubicBezTo>
                        <a:cubicBezTo>
                          <a:pt x="89" y="45"/>
                          <a:pt x="88" y="45"/>
                          <a:pt x="88" y="45"/>
                        </a:cubicBezTo>
                        <a:close/>
                        <a:moveTo>
                          <a:pt x="89" y="43"/>
                        </a:moveTo>
                        <a:cubicBezTo>
                          <a:pt x="89" y="43"/>
                          <a:pt x="89" y="43"/>
                          <a:pt x="90" y="43"/>
                        </a:cubicBezTo>
                        <a:cubicBezTo>
                          <a:pt x="89" y="43"/>
                          <a:pt x="89" y="43"/>
                          <a:pt x="89" y="43"/>
                        </a:cubicBezTo>
                        <a:close/>
                        <a:moveTo>
                          <a:pt x="89" y="47"/>
                        </a:moveTo>
                        <a:cubicBezTo>
                          <a:pt x="89" y="46"/>
                          <a:pt x="89" y="46"/>
                          <a:pt x="90" y="46"/>
                        </a:cubicBezTo>
                        <a:cubicBezTo>
                          <a:pt x="90" y="47"/>
                          <a:pt x="89" y="47"/>
                          <a:pt x="89" y="47"/>
                        </a:cubicBezTo>
                        <a:close/>
                        <a:moveTo>
                          <a:pt x="87" y="42"/>
                        </a:moveTo>
                        <a:cubicBezTo>
                          <a:pt x="87" y="42"/>
                          <a:pt x="88" y="42"/>
                          <a:pt x="88" y="42"/>
                        </a:cubicBezTo>
                        <a:cubicBezTo>
                          <a:pt x="88" y="42"/>
                          <a:pt x="87" y="42"/>
                          <a:pt x="87" y="42"/>
                        </a:cubicBezTo>
                        <a:close/>
                        <a:moveTo>
                          <a:pt x="88" y="44"/>
                        </a:moveTo>
                        <a:cubicBezTo>
                          <a:pt x="88" y="44"/>
                          <a:pt x="88" y="44"/>
                          <a:pt x="87" y="44"/>
                        </a:cubicBezTo>
                        <a:cubicBezTo>
                          <a:pt x="87" y="43"/>
                          <a:pt x="88" y="43"/>
                          <a:pt x="88" y="43"/>
                        </a:cubicBezTo>
                        <a:cubicBezTo>
                          <a:pt x="88" y="43"/>
                          <a:pt x="88" y="43"/>
                          <a:pt x="88" y="43"/>
                        </a:cubicBezTo>
                        <a:cubicBezTo>
                          <a:pt x="88" y="44"/>
                          <a:pt x="88" y="44"/>
                          <a:pt x="88" y="44"/>
                        </a:cubicBezTo>
                        <a:close/>
                        <a:moveTo>
                          <a:pt x="88" y="45"/>
                        </a:moveTo>
                        <a:cubicBezTo>
                          <a:pt x="88" y="45"/>
                          <a:pt x="88" y="45"/>
                          <a:pt x="88" y="45"/>
                        </a:cubicBezTo>
                        <a:cubicBezTo>
                          <a:pt x="88" y="44"/>
                          <a:pt x="88" y="44"/>
                          <a:pt x="87" y="45"/>
                        </a:cubicBezTo>
                        <a:cubicBezTo>
                          <a:pt x="87" y="44"/>
                          <a:pt x="88" y="44"/>
                          <a:pt x="88" y="44"/>
                        </a:cubicBezTo>
                        <a:cubicBezTo>
                          <a:pt x="88" y="45"/>
                          <a:pt x="88" y="44"/>
                          <a:pt x="88" y="45"/>
                        </a:cubicBezTo>
                        <a:close/>
                        <a:moveTo>
                          <a:pt x="88" y="47"/>
                        </a:moveTo>
                        <a:cubicBezTo>
                          <a:pt x="88" y="47"/>
                          <a:pt x="88" y="47"/>
                          <a:pt x="88" y="47"/>
                        </a:cubicBezTo>
                        <a:cubicBezTo>
                          <a:pt x="88" y="47"/>
                          <a:pt x="88" y="47"/>
                          <a:pt x="88" y="47"/>
                        </a:cubicBezTo>
                        <a:cubicBezTo>
                          <a:pt x="88" y="47"/>
                          <a:pt x="88" y="47"/>
                          <a:pt x="88" y="47"/>
                        </a:cubicBezTo>
                        <a:close/>
                        <a:moveTo>
                          <a:pt x="88" y="47"/>
                        </a:moveTo>
                        <a:cubicBezTo>
                          <a:pt x="87" y="47"/>
                          <a:pt x="87" y="47"/>
                          <a:pt x="87" y="47"/>
                        </a:cubicBezTo>
                        <a:cubicBezTo>
                          <a:pt x="87" y="47"/>
                          <a:pt x="87" y="47"/>
                          <a:pt x="88" y="47"/>
                        </a:cubicBezTo>
                        <a:close/>
                        <a:moveTo>
                          <a:pt x="88" y="47"/>
                        </a:moveTo>
                        <a:cubicBezTo>
                          <a:pt x="87" y="47"/>
                          <a:pt x="87" y="47"/>
                          <a:pt x="87" y="47"/>
                        </a:cubicBezTo>
                        <a:cubicBezTo>
                          <a:pt x="87" y="47"/>
                          <a:pt x="87" y="47"/>
                          <a:pt x="88" y="47"/>
                        </a:cubicBezTo>
                        <a:cubicBezTo>
                          <a:pt x="88" y="47"/>
                          <a:pt x="88" y="47"/>
                          <a:pt x="88" y="47"/>
                        </a:cubicBezTo>
                        <a:close/>
                        <a:moveTo>
                          <a:pt x="85" y="41"/>
                        </a:moveTo>
                        <a:cubicBezTo>
                          <a:pt x="85" y="41"/>
                          <a:pt x="86" y="41"/>
                          <a:pt x="86" y="41"/>
                        </a:cubicBezTo>
                        <a:cubicBezTo>
                          <a:pt x="86" y="41"/>
                          <a:pt x="85" y="41"/>
                          <a:pt x="85" y="41"/>
                        </a:cubicBezTo>
                        <a:close/>
                        <a:moveTo>
                          <a:pt x="85" y="42"/>
                        </a:moveTo>
                        <a:cubicBezTo>
                          <a:pt x="85" y="42"/>
                          <a:pt x="85" y="42"/>
                          <a:pt x="85" y="42"/>
                        </a:cubicBezTo>
                        <a:cubicBezTo>
                          <a:pt x="85" y="42"/>
                          <a:pt x="85" y="42"/>
                          <a:pt x="86" y="42"/>
                        </a:cubicBezTo>
                        <a:cubicBezTo>
                          <a:pt x="86" y="42"/>
                          <a:pt x="85" y="42"/>
                          <a:pt x="85" y="42"/>
                        </a:cubicBezTo>
                        <a:cubicBezTo>
                          <a:pt x="85" y="42"/>
                          <a:pt x="86" y="42"/>
                          <a:pt x="86" y="42"/>
                        </a:cubicBezTo>
                        <a:cubicBezTo>
                          <a:pt x="86" y="42"/>
                          <a:pt x="85" y="42"/>
                          <a:pt x="85" y="42"/>
                        </a:cubicBezTo>
                        <a:close/>
                        <a:moveTo>
                          <a:pt x="84" y="42"/>
                        </a:moveTo>
                        <a:cubicBezTo>
                          <a:pt x="84" y="42"/>
                          <a:pt x="86" y="41"/>
                          <a:pt x="85" y="42"/>
                        </a:cubicBezTo>
                        <a:cubicBezTo>
                          <a:pt x="85" y="42"/>
                          <a:pt x="85" y="42"/>
                          <a:pt x="85" y="42"/>
                        </a:cubicBezTo>
                        <a:cubicBezTo>
                          <a:pt x="85" y="42"/>
                          <a:pt x="85" y="42"/>
                          <a:pt x="84" y="42"/>
                        </a:cubicBezTo>
                        <a:close/>
                        <a:moveTo>
                          <a:pt x="85" y="42"/>
                        </a:moveTo>
                        <a:cubicBezTo>
                          <a:pt x="85" y="42"/>
                          <a:pt x="85" y="42"/>
                          <a:pt x="85" y="42"/>
                        </a:cubicBezTo>
                        <a:cubicBezTo>
                          <a:pt x="85" y="42"/>
                          <a:pt x="85" y="42"/>
                          <a:pt x="85" y="42"/>
                        </a:cubicBezTo>
                        <a:cubicBezTo>
                          <a:pt x="85" y="42"/>
                          <a:pt x="85" y="42"/>
                          <a:pt x="85" y="42"/>
                        </a:cubicBezTo>
                        <a:cubicBezTo>
                          <a:pt x="85" y="42"/>
                          <a:pt x="85" y="42"/>
                          <a:pt x="85" y="42"/>
                        </a:cubicBezTo>
                        <a:close/>
                        <a:moveTo>
                          <a:pt x="84" y="39"/>
                        </a:moveTo>
                        <a:cubicBezTo>
                          <a:pt x="84" y="39"/>
                          <a:pt x="84" y="39"/>
                          <a:pt x="84" y="39"/>
                        </a:cubicBezTo>
                        <a:cubicBezTo>
                          <a:pt x="85" y="39"/>
                          <a:pt x="85" y="39"/>
                          <a:pt x="84" y="39"/>
                        </a:cubicBezTo>
                        <a:close/>
                        <a:moveTo>
                          <a:pt x="86" y="46"/>
                        </a:moveTo>
                        <a:cubicBezTo>
                          <a:pt x="86" y="46"/>
                          <a:pt x="85" y="46"/>
                          <a:pt x="86" y="46"/>
                        </a:cubicBezTo>
                        <a:cubicBezTo>
                          <a:pt x="86" y="46"/>
                          <a:pt x="86" y="46"/>
                          <a:pt x="86" y="46"/>
                        </a:cubicBezTo>
                        <a:cubicBezTo>
                          <a:pt x="86" y="46"/>
                          <a:pt x="86" y="46"/>
                          <a:pt x="85" y="46"/>
                        </a:cubicBezTo>
                        <a:cubicBezTo>
                          <a:pt x="86" y="46"/>
                          <a:pt x="86" y="46"/>
                          <a:pt x="86" y="46"/>
                        </a:cubicBezTo>
                        <a:close/>
                        <a:moveTo>
                          <a:pt x="86" y="48"/>
                        </a:moveTo>
                        <a:cubicBezTo>
                          <a:pt x="86" y="48"/>
                          <a:pt x="85" y="48"/>
                          <a:pt x="85" y="48"/>
                        </a:cubicBezTo>
                        <a:cubicBezTo>
                          <a:pt x="85" y="48"/>
                          <a:pt x="86" y="48"/>
                          <a:pt x="86" y="47"/>
                        </a:cubicBezTo>
                        <a:lnTo>
                          <a:pt x="86" y="48"/>
                        </a:lnTo>
                        <a:close/>
                        <a:moveTo>
                          <a:pt x="86" y="47"/>
                        </a:moveTo>
                        <a:cubicBezTo>
                          <a:pt x="86" y="47"/>
                          <a:pt x="85" y="48"/>
                          <a:pt x="85" y="48"/>
                        </a:cubicBezTo>
                        <a:cubicBezTo>
                          <a:pt x="85" y="47"/>
                          <a:pt x="86" y="47"/>
                          <a:pt x="86" y="47"/>
                        </a:cubicBezTo>
                        <a:close/>
                        <a:moveTo>
                          <a:pt x="85" y="46"/>
                        </a:moveTo>
                        <a:cubicBezTo>
                          <a:pt x="85" y="46"/>
                          <a:pt x="85" y="46"/>
                          <a:pt x="84" y="46"/>
                        </a:cubicBezTo>
                        <a:cubicBezTo>
                          <a:pt x="84" y="46"/>
                          <a:pt x="85" y="46"/>
                          <a:pt x="85" y="46"/>
                        </a:cubicBezTo>
                        <a:close/>
                        <a:moveTo>
                          <a:pt x="85" y="47"/>
                        </a:moveTo>
                        <a:cubicBezTo>
                          <a:pt x="85" y="47"/>
                          <a:pt x="85" y="47"/>
                          <a:pt x="85" y="47"/>
                        </a:cubicBezTo>
                        <a:cubicBezTo>
                          <a:pt x="85" y="47"/>
                          <a:pt x="85" y="47"/>
                          <a:pt x="84" y="47"/>
                        </a:cubicBezTo>
                        <a:cubicBezTo>
                          <a:pt x="85" y="47"/>
                          <a:pt x="85" y="47"/>
                          <a:pt x="86" y="47"/>
                        </a:cubicBezTo>
                        <a:cubicBezTo>
                          <a:pt x="85" y="47"/>
                          <a:pt x="86" y="47"/>
                          <a:pt x="85" y="47"/>
                        </a:cubicBezTo>
                        <a:close/>
                        <a:moveTo>
                          <a:pt x="82" y="43"/>
                        </a:moveTo>
                        <a:cubicBezTo>
                          <a:pt x="82" y="43"/>
                          <a:pt x="81" y="43"/>
                          <a:pt x="81" y="43"/>
                        </a:cubicBezTo>
                        <a:cubicBezTo>
                          <a:pt x="82" y="43"/>
                          <a:pt x="82" y="42"/>
                          <a:pt x="83" y="42"/>
                        </a:cubicBezTo>
                        <a:cubicBezTo>
                          <a:pt x="83" y="43"/>
                          <a:pt x="82" y="43"/>
                          <a:pt x="82" y="43"/>
                        </a:cubicBezTo>
                        <a:cubicBezTo>
                          <a:pt x="82" y="43"/>
                          <a:pt x="82" y="43"/>
                          <a:pt x="82" y="43"/>
                        </a:cubicBezTo>
                        <a:close/>
                        <a:moveTo>
                          <a:pt x="81" y="43"/>
                        </a:moveTo>
                        <a:cubicBezTo>
                          <a:pt x="81" y="43"/>
                          <a:pt x="81" y="43"/>
                          <a:pt x="81" y="43"/>
                        </a:cubicBezTo>
                        <a:cubicBezTo>
                          <a:pt x="81" y="43"/>
                          <a:pt x="81" y="43"/>
                          <a:pt x="81" y="43"/>
                        </a:cubicBezTo>
                        <a:cubicBezTo>
                          <a:pt x="81" y="43"/>
                          <a:pt x="81" y="43"/>
                          <a:pt x="82" y="43"/>
                        </a:cubicBezTo>
                        <a:cubicBezTo>
                          <a:pt x="82" y="43"/>
                          <a:pt x="81" y="43"/>
                          <a:pt x="81" y="43"/>
                        </a:cubicBezTo>
                        <a:close/>
                        <a:moveTo>
                          <a:pt x="80" y="46"/>
                        </a:moveTo>
                        <a:cubicBezTo>
                          <a:pt x="81" y="45"/>
                          <a:pt x="81" y="45"/>
                          <a:pt x="81" y="45"/>
                        </a:cubicBezTo>
                        <a:cubicBezTo>
                          <a:pt x="81" y="46"/>
                          <a:pt x="81" y="45"/>
                          <a:pt x="80" y="46"/>
                        </a:cubicBezTo>
                        <a:close/>
                        <a:moveTo>
                          <a:pt x="79" y="40"/>
                        </a:moveTo>
                        <a:cubicBezTo>
                          <a:pt x="79" y="40"/>
                          <a:pt x="79" y="40"/>
                          <a:pt x="79" y="40"/>
                        </a:cubicBezTo>
                        <a:cubicBezTo>
                          <a:pt x="80" y="40"/>
                          <a:pt x="79" y="40"/>
                          <a:pt x="79" y="40"/>
                        </a:cubicBezTo>
                        <a:close/>
                        <a:moveTo>
                          <a:pt x="80" y="43"/>
                        </a:moveTo>
                        <a:cubicBezTo>
                          <a:pt x="80" y="43"/>
                          <a:pt x="80" y="43"/>
                          <a:pt x="80" y="43"/>
                        </a:cubicBezTo>
                        <a:cubicBezTo>
                          <a:pt x="79" y="43"/>
                          <a:pt x="79" y="44"/>
                          <a:pt x="79" y="43"/>
                        </a:cubicBezTo>
                        <a:lnTo>
                          <a:pt x="80" y="43"/>
                        </a:lnTo>
                        <a:close/>
                        <a:moveTo>
                          <a:pt x="78" y="44"/>
                        </a:moveTo>
                        <a:cubicBezTo>
                          <a:pt x="78" y="43"/>
                          <a:pt x="79" y="43"/>
                          <a:pt x="79" y="43"/>
                        </a:cubicBezTo>
                        <a:cubicBezTo>
                          <a:pt x="79" y="43"/>
                          <a:pt x="78" y="43"/>
                          <a:pt x="78" y="44"/>
                        </a:cubicBezTo>
                        <a:cubicBezTo>
                          <a:pt x="78" y="44"/>
                          <a:pt x="78" y="44"/>
                          <a:pt x="78" y="44"/>
                        </a:cubicBezTo>
                        <a:close/>
                        <a:moveTo>
                          <a:pt x="76" y="41"/>
                        </a:moveTo>
                        <a:cubicBezTo>
                          <a:pt x="76" y="41"/>
                          <a:pt x="76" y="41"/>
                          <a:pt x="76" y="41"/>
                        </a:cubicBezTo>
                        <a:cubicBezTo>
                          <a:pt x="76" y="40"/>
                          <a:pt x="76" y="41"/>
                          <a:pt x="77" y="40"/>
                        </a:cubicBezTo>
                        <a:cubicBezTo>
                          <a:pt x="77" y="40"/>
                          <a:pt x="76" y="41"/>
                          <a:pt x="76" y="41"/>
                        </a:cubicBezTo>
                        <a:close/>
                        <a:moveTo>
                          <a:pt x="78" y="44"/>
                        </a:moveTo>
                        <a:cubicBezTo>
                          <a:pt x="78" y="44"/>
                          <a:pt x="77" y="44"/>
                          <a:pt x="77" y="44"/>
                        </a:cubicBezTo>
                        <a:cubicBezTo>
                          <a:pt x="77" y="44"/>
                          <a:pt x="78" y="44"/>
                          <a:pt x="78" y="44"/>
                        </a:cubicBezTo>
                        <a:close/>
                        <a:moveTo>
                          <a:pt x="78" y="43"/>
                        </a:moveTo>
                        <a:cubicBezTo>
                          <a:pt x="77" y="43"/>
                          <a:pt x="77" y="44"/>
                          <a:pt x="77" y="44"/>
                        </a:cubicBezTo>
                        <a:cubicBezTo>
                          <a:pt x="77" y="43"/>
                          <a:pt x="77" y="43"/>
                          <a:pt x="78" y="43"/>
                        </a:cubicBezTo>
                        <a:close/>
                        <a:moveTo>
                          <a:pt x="77" y="44"/>
                        </a:moveTo>
                        <a:cubicBezTo>
                          <a:pt x="77" y="44"/>
                          <a:pt x="76" y="44"/>
                          <a:pt x="77" y="44"/>
                        </a:cubicBezTo>
                        <a:close/>
                        <a:moveTo>
                          <a:pt x="75" y="40"/>
                        </a:moveTo>
                        <a:cubicBezTo>
                          <a:pt x="75" y="40"/>
                          <a:pt x="75" y="40"/>
                          <a:pt x="75" y="40"/>
                        </a:cubicBezTo>
                        <a:cubicBezTo>
                          <a:pt x="76" y="40"/>
                          <a:pt x="74" y="40"/>
                          <a:pt x="75" y="40"/>
                        </a:cubicBezTo>
                        <a:close/>
                        <a:moveTo>
                          <a:pt x="76" y="46"/>
                        </a:moveTo>
                        <a:cubicBezTo>
                          <a:pt x="76" y="46"/>
                          <a:pt x="76" y="46"/>
                          <a:pt x="76" y="46"/>
                        </a:cubicBezTo>
                        <a:cubicBezTo>
                          <a:pt x="76" y="46"/>
                          <a:pt x="76" y="46"/>
                          <a:pt x="76" y="46"/>
                        </a:cubicBezTo>
                        <a:close/>
                        <a:moveTo>
                          <a:pt x="73" y="48"/>
                        </a:moveTo>
                        <a:cubicBezTo>
                          <a:pt x="73" y="48"/>
                          <a:pt x="74" y="48"/>
                          <a:pt x="74" y="48"/>
                        </a:cubicBezTo>
                        <a:cubicBezTo>
                          <a:pt x="74" y="48"/>
                          <a:pt x="74" y="48"/>
                          <a:pt x="73" y="48"/>
                        </a:cubicBezTo>
                        <a:close/>
                        <a:moveTo>
                          <a:pt x="72" y="43"/>
                        </a:moveTo>
                        <a:cubicBezTo>
                          <a:pt x="72" y="43"/>
                          <a:pt x="72" y="43"/>
                          <a:pt x="72" y="43"/>
                        </a:cubicBezTo>
                        <a:cubicBezTo>
                          <a:pt x="72" y="43"/>
                          <a:pt x="72" y="44"/>
                          <a:pt x="72" y="43"/>
                        </a:cubicBezTo>
                        <a:close/>
                        <a:moveTo>
                          <a:pt x="71" y="45"/>
                        </a:moveTo>
                        <a:cubicBezTo>
                          <a:pt x="71" y="45"/>
                          <a:pt x="72" y="45"/>
                          <a:pt x="72" y="45"/>
                        </a:cubicBezTo>
                        <a:cubicBezTo>
                          <a:pt x="72" y="45"/>
                          <a:pt x="71" y="45"/>
                          <a:pt x="71" y="45"/>
                        </a:cubicBezTo>
                        <a:close/>
                        <a:moveTo>
                          <a:pt x="72" y="49"/>
                        </a:moveTo>
                        <a:cubicBezTo>
                          <a:pt x="73" y="49"/>
                          <a:pt x="73" y="49"/>
                          <a:pt x="73" y="49"/>
                        </a:cubicBezTo>
                        <a:cubicBezTo>
                          <a:pt x="73" y="49"/>
                          <a:pt x="73" y="49"/>
                          <a:pt x="73" y="49"/>
                        </a:cubicBezTo>
                        <a:cubicBezTo>
                          <a:pt x="73" y="49"/>
                          <a:pt x="73" y="49"/>
                          <a:pt x="72" y="49"/>
                        </a:cubicBezTo>
                        <a:close/>
                        <a:moveTo>
                          <a:pt x="72" y="48"/>
                        </a:moveTo>
                        <a:cubicBezTo>
                          <a:pt x="72" y="48"/>
                          <a:pt x="72" y="48"/>
                          <a:pt x="71" y="48"/>
                        </a:cubicBezTo>
                        <a:cubicBezTo>
                          <a:pt x="71" y="48"/>
                          <a:pt x="72" y="48"/>
                          <a:pt x="72" y="48"/>
                        </a:cubicBezTo>
                        <a:close/>
                        <a:moveTo>
                          <a:pt x="72" y="50"/>
                        </a:moveTo>
                        <a:cubicBezTo>
                          <a:pt x="72" y="50"/>
                          <a:pt x="72" y="50"/>
                          <a:pt x="72" y="50"/>
                        </a:cubicBezTo>
                        <a:cubicBezTo>
                          <a:pt x="72" y="50"/>
                          <a:pt x="72" y="50"/>
                          <a:pt x="72" y="50"/>
                        </a:cubicBezTo>
                        <a:cubicBezTo>
                          <a:pt x="72" y="50"/>
                          <a:pt x="72" y="50"/>
                          <a:pt x="72" y="50"/>
                        </a:cubicBezTo>
                        <a:close/>
                        <a:moveTo>
                          <a:pt x="69" y="44"/>
                        </a:moveTo>
                        <a:cubicBezTo>
                          <a:pt x="70" y="44"/>
                          <a:pt x="70" y="44"/>
                          <a:pt x="70" y="44"/>
                        </a:cubicBezTo>
                        <a:cubicBezTo>
                          <a:pt x="70" y="44"/>
                          <a:pt x="69" y="44"/>
                          <a:pt x="69" y="44"/>
                        </a:cubicBezTo>
                        <a:close/>
                        <a:moveTo>
                          <a:pt x="70" y="51"/>
                        </a:moveTo>
                        <a:cubicBezTo>
                          <a:pt x="70" y="52"/>
                          <a:pt x="71" y="51"/>
                          <a:pt x="71" y="51"/>
                        </a:cubicBezTo>
                        <a:cubicBezTo>
                          <a:pt x="71" y="51"/>
                          <a:pt x="70" y="52"/>
                          <a:pt x="70" y="51"/>
                        </a:cubicBezTo>
                        <a:close/>
                        <a:moveTo>
                          <a:pt x="70" y="49"/>
                        </a:moveTo>
                        <a:cubicBezTo>
                          <a:pt x="70" y="49"/>
                          <a:pt x="70" y="49"/>
                          <a:pt x="70" y="49"/>
                        </a:cubicBezTo>
                        <a:cubicBezTo>
                          <a:pt x="70" y="49"/>
                          <a:pt x="70" y="49"/>
                          <a:pt x="70" y="49"/>
                        </a:cubicBezTo>
                        <a:close/>
                        <a:moveTo>
                          <a:pt x="63" y="46"/>
                        </a:moveTo>
                        <a:cubicBezTo>
                          <a:pt x="63" y="47"/>
                          <a:pt x="62" y="47"/>
                          <a:pt x="62" y="47"/>
                        </a:cubicBezTo>
                        <a:cubicBezTo>
                          <a:pt x="62" y="46"/>
                          <a:pt x="63" y="46"/>
                          <a:pt x="63" y="46"/>
                        </a:cubicBezTo>
                        <a:close/>
                        <a:moveTo>
                          <a:pt x="56" y="53"/>
                        </a:moveTo>
                        <a:cubicBezTo>
                          <a:pt x="56" y="53"/>
                          <a:pt x="55" y="53"/>
                          <a:pt x="55" y="53"/>
                        </a:cubicBezTo>
                        <a:cubicBezTo>
                          <a:pt x="55" y="53"/>
                          <a:pt x="55" y="53"/>
                          <a:pt x="56" y="53"/>
                        </a:cubicBezTo>
                        <a:close/>
                        <a:moveTo>
                          <a:pt x="54" y="49"/>
                        </a:moveTo>
                        <a:cubicBezTo>
                          <a:pt x="54" y="49"/>
                          <a:pt x="53" y="49"/>
                          <a:pt x="53" y="49"/>
                        </a:cubicBezTo>
                        <a:cubicBezTo>
                          <a:pt x="53" y="49"/>
                          <a:pt x="53" y="49"/>
                          <a:pt x="54" y="49"/>
                        </a:cubicBezTo>
                        <a:close/>
                        <a:moveTo>
                          <a:pt x="53" y="54"/>
                        </a:moveTo>
                        <a:cubicBezTo>
                          <a:pt x="53" y="54"/>
                          <a:pt x="53" y="54"/>
                          <a:pt x="53" y="54"/>
                        </a:cubicBezTo>
                        <a:cubicBezTo>
                          <a:pt x="53" y="54"/>
                          <a:pt x="53" y="54"/>
                          <a:pt x="53" y="53"/>
                        </a:cubicBezTo>
                        <a:cubicBezTo>
                          <a:pt x="53" y="53"/>
                          <a:pt x="53" y="54"/>
                          <a:pt x="53" y="53"/>
                        </a:cubicBezTo>
                        <a:cubicBezTo>
                          <a:pt x="53" y="54"/>
                          <a:pt x="53" y="54"/>
                          <a:pt x="53" y="54"/>
                        </a:cubicBezTo>
                        <a:close/>
                        <a:moveTo>
                          <a:pt x="47" y="55"/>
                        </a:moveTo>
                        <a:cubicBezTo>
                          <a:pt x="47" y="55"/>
                          <a:pt x="46" y="55"/>
                          <a:pt x="46" y="55"/>
                        </a:cubicBezTo>
                        <a:cubicBezTo>
                          <a:pt x="46" y="55"/>
                          <a:pt x="47" y="55"/>
                          <a:pt x="47" y="55"/>
                        </a:cubicBezTo>
                        <a:close/>
                        <a:moveTo>
                          <a:pt x="45" y="57"/>
                        </a:moveTo>
                        <a:cubicBezTo>
                          <a:pt x="44" y="57"/>
                          <a:pt x="44" y="57"/>
                          <a:pt x="44" y="57"/>
                        </a:cubicBezTo>
                        <a:cubicBezTo>
                          <a:pt x="44" y="57"/>
                          <a:pt x="44" y="57"/>
                          <a:pt x="45" y="57"/>
                        </a:cubicBezTo>
                        <a:close/>
                        <a:moveTo>
                          <a:pt x="42" y="57"/>
                        </a:moveTo>
                        <a:cubicBezTo>
                          <a:pt x="42" y="57"/>
                          <a:pt x="42" y="57"/>
                          <a:pt x="42" y="58"/>
                        </a:cubicBezTo>
                        <a:cubicBezTo>
                          <a:pt x="41" y="58"/>
                          <a:pt x="41" y="57"/>
                          <a:pt x="42" y="57"/>
                        </a:cubicBezTo>
                        <a:close/>
                        <a:moveTo>
                          <a:pt x="41" y="57"/>
                        </a:moveTo>
                        <a:cubicBezTo>
                          <a:pt x="41" y="58"/>
                          <a:pt x="41" y="58"/>
                          <a:pt x="41" y="58"/>
                        </a:cubicBezTo>
                        <a:cubicBezTo>
                          <a:pt x="41" y="58"/>
                          <a:pt x="41" y="58"/>
                          <a:pt x="41" y="58"/>
                        </a:cubicBezTo>
                        <a:cubicBezTo>
                          <a:pt x="40" y="58"/>
                          <a:pt x="41" y="57"/>
                          <a:pt x="41" y="57"/>
                        </a:cubicBezTo>
                        <a:close/>
                        <a:moveTo>
                          <a:pt x="40" y="57"/>
                        </a:moveTo>
                        <a:cubicBezTo>
                          <a:pt x="40" y="57"/>
                          <a:pt x="40" y="57"/>
                          <a:pt x="40" y="57"/>
                        </a:cubicBezTo>
                        <a:cubicBezTo>
                          <a:pt x="40" y="57"/>
                          <a:pt x="40" y="57"/>
                          <a:pt x="41" y="57"/>
                        </a:cubicBezTo>
                        <a:cubicBezTo>
                          <a:pt x="41" y="57"/>
                          <a:pt x="40" y="57"/>
                          <a:pt x="40" y="57"/>
                        </a:cubicBezTo>
                        <a:close/>
                        <a:moveTo>
                          <a:pt x="38" y="55"/>
                        </a:moveTo>
                        <a:cubicBezTo>
                          <a:pt x="38" y="55"/>
                          <a:pt x="38" y="55"/>
                          <a:pt x="38" y="55"/>
                        </a:cubicBezTo>
                        <a:cubicBezTo>
                          <a:pt x="38" y="55"/>
                          <a:pt x="38" y="55"/>
                          <a:pt x="38" y="55"/>
                        </a:cubicBezTo>
                        <a:close/>
                        <a:moveTo>
                          <a:pt x="35" y="59"/>
                        </a:moveTo>
                        <a:cubicBezTo>
                          <a:pt x="34" y="59"/>
                          <a:pt x="34" y="59"/>
                          <a:pt x="35" y="59"/>
                        </a:cubicBezTo>
                        <a:cubicBezTo>
                          <a:pt x="36" y="59"/>
                          <a:pt x="37" y="58"/>
                          <a:pt x="38" y="58"/>
                        </a:cubicBezTo>
                        <a:cubicBezTo>
                          <a:pt x="37" y="59"/>
                          <a:pt x="36" y="59"/>
                          <a:pt x="35" y="59"/>
                        </a:cubicBezTo>
                        <a:close/>
                        <a:moveTo>
                          <a:pt x="35" y="56"/>
                        </a:moveTo>
                        <a:cubicBezTo>
                          <a:pt x="36" y="56"/>
                          <a:pt x="36" y="55"/>
                          <a:pt x="36" y="56"/>
                        </a:cubicBezTo>
                        <a:cubicBezTo>
                          <a:pt x="36" y="56"/>
                          <a:pt x="36" y="56"/>
                          <a:pt x="35" y="56"/>
                        </a:cubicBezTo>
                        <a:close/>
                        <a:moveTo>
                          <a:pt x="34" y="59"/>
                        </a:moveTo>
                        <a:cubicBezTo>
                          <a:pt x="34" y="60"/>
                          <a:pt x="33" y="59"/>
                          <a:pt x="32" y="60"/>
                        </a:cubicBezTo>
                        <a:cubicBezTo>
                          <a:pt x="32" y="59"/>
                          <a:pt x="34" y="59"/>
                          <a:pt x="34" y="59"/>
                        </a:cubicBezTo>
                        <a:close/>
                        <a:moveTo>
                          <a:pt x="29" y="61"/>
                        </a:moveTo>
                        <a:cubicBezTo>
                          <a:pt x="29" y="61"/>
                          <a:pt x="29" y="61"/>
                          <a:pt x="30" y="61"/>
                        </a:cubicBezTo>
                        <a:cubicBezTo>
                          <a:pt x="30" y="61"/>
                          <a:pt x="30" y="61"/>
                          <a:pt x="30" y="61"/>
                        </a:cubicBezTo>
                        <a:cubicBezTo>
                          <a:pt x="30" y="61"/>
                          <a:pt x="29" y="61"/>
                          <a:pt x="29" y="61"/>
                        </a:cubicBezTo>
                        <a:close/>
                        <a:moveTo>
                          <a:pt x="29" y="61"/>
                        </a:moveTo>
                        <a:cubicBezTo>
                          <a:pt x="29" y="61"/>
                          <a:pt x="28" y="61"/>
                          <a:pt x="28" y="61"/>
                        </a:cubicBezTo>
                        <a:cubicBezTo>
                          <a:pt x="28" y="61"/>
                          <a:pt x="29" y="61"/>
                          <a:pt x="29" y="61"/>
                        </a:cubicBezTo>
                        <a:close/>
                        <a:moveTo>
                          <a:pt x="28" y="60"/>
                        </a:moveTo>
                        <a:cubicBezTo>
                          <a:pt x="28" y="60"/>
                          <a:pt x="28" y="60"/>
                          <a:pt x="28" y="60"/>
                        </a:cubicBezTo>
                        <a:cubicBezTo>
                          <a:pt x="28" y="60"/>
                          <a:pt x="28" y="60"/>
                          <a:pt x="28" y="60"/>
                        </a:cubicBezTo>
                        <a:cubicBezTo>
                          <a:pt x="28" y="60"/>
                          <a:pt x="28" y="60"/>
                          <a:pt x="28" y="60"/>
                        </a:cubicBezTo>
                        <a:cubicBezTo>
                          <a:pt x="28" y="60"/>
                          <a:pt x="28" y="60"/>
                          <a:pt x="28" y="60"/>
                        </a:cubicBezTo>
                        <a:cubicBezTo>
                          <a:pt x="28" y="60"/>
                          <a:pt x="28" y="60"/>
                          <a:pt x="28" y="60"/>
                        </a:cubicBezTo>
                        <a:close/>
                        <a:moveTo>
                          <a:pt x="27" y="56"/>
                        </a:moveTo>
                        <a:cubicBezTo>
                          <a:pt x="27" y="55"/>
                          <a:pt x="27" y="55"/>
                          <a:pt x="27" y="55"/>
                        </a:cubicBezTo>
                        <a:cubicBezTo>
                          <a:pt x="27" y="56"/>
                          <a:pt x="27" y="56"/>
                          <a:pt x="27" y="56"/>
                        </a:cubicBezTo>
                        <a:close/>
                        <a:moveTo>
                          <a:pt x="26" y="60"/>
                        </a:moveTo>
                        <a:cubicBezTo>
                          <a:pt x="26" y="59"/>
                          <a:pt x="27" y="59"/>
                          <a:pt x="27" y="59"/>
                        </a:cubicBezTo>
                        <a:cubicBezTo>
                          <a:pt x="27" y="59"/>
                          <a:pt x="27" y="60"/>
                          <a:pt x="26" y="60"/>
                        </a:cubicBezTo>
                        <a:close/>
                        <a:moveTo>
                          <a:pt x="28" y="61"/>
                        </a:move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8" y="60"/>
                          <a:pt x="28" y="61"/>
                        </a:cubicBezTo>
                        <a:close/>
                        <a:moveTo>
                          <a:pt x="27" y="60"/>
                        </a:moveTo>
                        <a:cubicBezTo>
                          <a:pt x="27" y="60"/>
                          <a:pt x="27" y="60"/>
                          <a:pt x="27" y="60"/>
                        </a:cubicBezTo>
                        <a:cubicBezTo>
                          <a:pt x="27" y="61"/>
                          <a:pt x="26" y="61"/>
                          <a:pt x="26" y="61"/>
                        </a:cubicBezTo>
                        <a:cubicBezTo>
                          <a:pt x="26" y="60"/>
                          <a:pt x="27" y="61"/>
                          <a:pt x="27" y="60"/>
                        </a:cubicBezTo>
                        <a:close/>
                        <a:moveTo>
                          <a:pt x="24" y="60"/>
                        </a:moveTo>
                        <a:cubicBezTo>
                          <a:pt x="25" y="60"/>
                          <a:pt x="25" y="60"/>
                          <a:pt x="25" y="60"/>
                        </a:cubicBezTo>
                        <a:cubicBezTo>
                          <a:pt x="25" y="60"/>
                          <a:pt x="25" y="60"/>
                          <a:pt x="24" y="60"/>
                        </a:cubicBezTo>
                        <a:close/>
                        <a:moveTo>
                          <a:pt x="25" y="60"/>
                        </a:moveTo>
                        <a:cubicBezTo>
                          <a:pt x="25" y="60"/>
                          <a:pt x="25" y="60"/>
                          <a:pt x="25" y="60"/>
                        </a:cubicBezTo>
                        <a:cubicBezTo>
                          <a:pt x="25" y="60"/>
                          <a:pt x="25" y="60"/>
                          <a:pt x="25" y="60"/>
                        </a:cubicBezTo>
                        <a:close/>
                        <a:moveTo>
                          <a:pt x="25" y="61"/>
                        </a:moveTo>
                        <a:cubicBezTo>
                          <a:pt x="24" y="61"/>
                          <a:pt x="25" y="61"/>
                          <a:pt x="25" y="61"/>
                        </a:cubicBezTo>
                        <a:cubicBezTo>
                          <a:pt x="25" y="61"/>
                          <a:pt x="25" y="61"/>
                          <a:pt x="25" y="61"/>
                        </a:cubicBezTo>
                        <a:cubicBezTo>
                          <a:pt x="25" y="61"/>
                          <a:pt x="25" y="61"/>
                          <a:pt x="25" y="61"/>
                        </a:cubicBezTo>
                        <a:cubicBezTo>
                          <a:pt x="25" y="61"/>
                          <a:pt x="25" y="61"/>
                          <a:pt x="25" y="61"/>
                        </a:cubicBezTo>
                        <a:close/>
                        <a:moveTo>
                          <a:pt x="24" y="62"/>
                        </a:moveTo>
                        <a:cubicBezTo>
                          <a:pt x="24" y="62"/>
                          <a:pt x="24" y="62"/>
                          <a:pt x="24" y="62"/>
                        </a:cubicBezTo>
                        <a:cubicBezTo>
                          <a:pt x="24" y="62"/>
                          <a:pt x="24" y="62"/>
                          <a:pt x="24" y="62"/>
                        </a:cubicBezTo>
                        <a:close/>
                        <a:moveTo>
                          <a:pt x="22" y="57"/>
                        </a:moveTo>
                        <a:cubicBezTo>
                          <a:pt x="22" y="56"/>
                          <a:pt x="22" y="56"/>
                          <a:pt x="22" y="56"/>
                        </a:cubicBezTo>
                        <a:cubicBezTo>
                          <a:pt x="22" y="56"/>
                          <a:pt x="22" y="56"/>
                          <a:pt x="22" y="57"/>
                        </a:cubicBezTo>
                        <a:close/>
                        <a:moveTo>
                          <a:pt x="19" y="57"/>
                        </a:moveTo>
                        <a:cubicBezTo>
                          <a:pt x="19" y="57"/>
                          <a:pt x="20" y="57"/>
                          <a:pt x="20" y="57"/>
                        </a:cubicBezTo>
                        <a:cubicBezTo>
                          <a:pt x="20" y="57"/>
                          <a:pt x="19" y="57"/>
                          <a:pt x="19" y="57"/>
                        </a:cubicBezTo>
                        <a:close/>
                        <a:moveTo>
                          <a:pt x="20" y="62"/>
                        </a:moveTo>
                        <a:cubicBezTo>
                          <a:pt x="19" y="63"/>
                          <a:pt x="17" y="63"/>
                          <a:pt x="16" y="63"/>
                        </a:cubicBezTo>
                        <a:cubicBezTo>
                          <a:pt x="15" y="63"/>
                          <a:pt x="13" y="64"/>
                          <a:pt x="12" y="64"/>
                        </a:cubicBezTo>
                        <a:cubicBezTo>
                          <a:pt x="14" y="63"/>
                          <a:pt x="17" y="63"/>
                          <a:pt x="20" y="62"/>
                        </a:cubicBezTo>
                        <a:close/>
                        <a:moveTo>
                          <a:pt x="19" y="64"/>
                        </a:moveTo>
                        <a:cubicBezTo>
                          <a:pt x="18" y="64"/>
                          <a:pt x="18" y="64"/>
                          <a:pt x="18" y="64"/>
                        </a:cubicBezTo>
                        <a:cubicBezTo>
                          <a:pt x="18" y="64"/>
                          <a:pt x="19" y="63"/>
                          <a:pt x="19" y="64"/>
                        </a:cubicBezTo>
                        <a:close/>
                        <a:moveTo>
                          <a:pt x="17" y="61"/>
                        </a:moveTo>
                        <a:cubicBezTo>
                          <a:pt x="17" y="61"/>
                          <a:pt x="17" y="62"/>
                          <a:pt x="18" y="61"/>
                        </a:cubicBezTo>
                        <a:cubicBezTo>
                          <a:pt x="17" y="62"/>
                          <a:pt x="17" y="62"/>
                          <a:pt x="17" y="62"/>
                        </a:cubicBezTo>
                        <a:cubicBezTo>
                          <a:pt x="17" y="61"/>
                          <a:pt x="17" y="61"/>
                          <a:pt x="17" y="61"/>
                        </a:cubicBezTo>
                        <a:close/>
                        <a:moveTo>
                          <a:pt x="18" y="64"/>
                        </a:moveTo>
                        <a:cubicBezTo>
                          <a:pt x="18" y="64"/>
                          <a:pt x="18" y="64"/>
                          <a:pt x="18" y="64"/>
                        </a:cubicBezTo>
                        <a:cubicBezTo>
                          <a:pt x="18" y="64"/>
                          <a:pt x="18" y="64"/>
                          <a:pt x="18" y="64"/>
                        </a:cubicBezTo>
                        <a:close/>
                        <a:moveTo>
                          <a:pt x="16" y="64"/>
                        </a:moveTo>
                        <a:cubicBezTo>
                          <a:pt x="17" y="64"/>
                          <a:pt x="17" y="64"/>
                          <a:pt x="18" y="63"/>
                        </a:cubicBezTo>
                        <a:cubicBezTo>
                          <a:pt x="17" y="64"/>
                          <a:pt x="17" y="64"/>
                          <a:pt x="16" y="64"/>
                        </a:cubicBezTo>
                        <a:close/>
                        <a:moveTo>
                          <a:pt x="17" y="64"/>
                        </a:moveTo>
                        <a:cubicBezTo>
                          <a:pt x="17" y="64"/>
                          <a:pt x="16" y="64"/>
                          <a:pt x="16" y="64"/>
                        </a:cubicBezTo>
                        <a:cubicBezTo>
                          <a:pt x="16" y="64"/>
                          <a:pt x="16" y="64"/>
                          <a:pt x="16" y="64"/>
                        </a:cubicBezTo>
                        <a:cubicBezTo>
                          <a:pt x="16" y="64"/>
                          <a:pt x="17" y="64"/>
                          <a:pt x="17" y="64"/>
                        </a:cubicBezTo>
                        <a:close/>
                        <a:moveTo>
                          <a:pt x="15" y="62"/>
                        </a:moveTo>
                        <a:cubicBezTo>
                          <a:pt x="15" y="62"/>
                          <a:pt x="16" y="62"/>
                          <a:pt x="16" y="62"/>
                        </a:cubicBezTo>
                        <a:cubicBezTo>
                          <a:pt x="16" y="62"/>
                          <a:pt x="16" y="62"/>
                          <a:pt x="15" y="62"/>
                        </a:cubicBezTo>
                        <a:close/>
                        <a:moveTo>
                          <a:pt x="13" y="57"/>
                        </a:moveTo>
                        <a:cubicBezTo>
                          <a:pt x="13" y="58"/>
                          <a:pt x="13" y="58"/>
                          <a:pt x="12" y="58"/>
                        </a:cubicBezTo>
                        <a:cubicBezTo>
                          <a:pt x="12" y="58"/>
                          <a:pt x="13" y="58"/>
                          <a:pt x="13" y="57"/>
                        </a:cubicBezTo>
                        <a:close/>
                        <a:moveTo>
                          <a:pt x="12" y="62"/>
                        </a:moveTo>
                        <a:cubicBezTo>
                          <a:pt x="12" y="62"/>
                          <a:pt x="12" y="62"/>
                          <a:pt x="12" y="62"/>
                        </a:cubicBezTo>
                        <a:cubicBezTo>
                          <a:pt x="12" y="62"/>
                          <a:pt x="13" y="62"/>
                          <a:pt x="13" y="62"/>
                        </a:cubicBezTo>
                        <a:cubicBezTo>
                          <a:pt x="13" y="62"/>
                          <a:pt x="13" y="62"/>
                          <a:pt x="12" y="62"/>
                        </a:cubicBezTo>
                        <a:close/>
                        <a:moveTo>
                          <a:pt x="12" y="62"/>
                        </a:moveTo>
                        <a:cubicBezTo>
                          <a:pt x="12" y="62"/>
                          <a:pt x="12" y="62"/>
                          <a:pt x="12" y="63"/>
                        </a:cubicBezTo>
                        <a:cubicBezTo>
                          <a:pt x="12" y="63"/>
                          <a:pt x="12" y="63"/>
                          <a:pt x="12" y="63"/>
                        </a:cubicBezTo>
                        <a:cubicBezTo>
                          <a:pt x="12" y="63"/>
                          <a:pt x="12" y="63"/>
                          <a:pt x="11" y="63"/>
                        </a:cubicBezTo>
                        <a:cubicBezTo>
                          <a:pt x="11" y="63"/>
                          <a:pt x="12" y="63"/>
                          <a:pt x="12" y="62"/>
                        </a:cubicBezTo>
                        <a:close/>
                        <a:moveTo>
                          <a:pt x="11" y="63"/>
                        </a:moveTo>
                        <a:cubicBezTo>
                          <a:pt x="11" y="63"/>
                          <a:pt x="11" y="63"/>
                          <a:pt x="11" y="63"/>
                        </a:cubicBezTo>
                        <a:cubicBezTo>
                          <a:pt x="11" y="63"/>
                          <a:pt x="11" y="63"/>
                          <a:pt x="10" y="63"/>
                        </a:cubicBezTo>
                        <a:cubicBezTo>
                          <a:pt x="11" y="63"/>
                          <a:pt x="11" y="63"/>
                          <a:pt x="11" y="63"/>
                        </a:cubicBezTo>
                        <a:close/>
                        <a:moveTo>
                          <a:pt x="11" y="66"/>
                        </a:moveTo>
                        <a:cubicBezTo>
                          <a:pt x="11" y="66"/>
                          <a:pt x="12" y="65"/>
                          <a:pt x="12" y="65"/>
                        </a:cubicBezTo>
                        <a:cubicBezTo>
                          <a:pt x="12" y="66"/>
                          <a:pt x="11" y="66"/>
                          <a:pt x="11" y="66"/>
                        </a:cubicBezTo>
                        <a:close/>
                        <a:moveTo>
                          <a:pt x="8" y="59"/>
                        </a:moveTo>
                        <a:cubicBezTo>
                          <a:pt x="8" y="59"/>
                          <a:pt x="9" y="58"/>
                          <a:pt x="9" y="58"/>
                        </a:cubicBezTo>
                        <a:cubicBezTo>
                          <a:pt x="9" y="59"/>
                          <a:pt x="9" y="59"/>
                          <a:pt x="8" y="59"/>
                        </a:cubicBezTo>
                        <a:close/>
                        <a:moveTo>
                          <a:pt x="10" y="63"/>
                        </a:moveTo>
                        <a:cubicBezTo>
                          <a:pt x="10" y="64"/>
                          <a:pt x="10" y="64"/>
                          <a:pt x="9" y="64"/>
                        </a:cubicBezTo>
                        <a:cubicBezTo>
                          <a:pt x="9" y="64"/>
                          <a:pt x="9" y="64"/>
                          <a:pt x="10" y="63"/>
                        </a:cubicBezTo>
                        <a:cubicBezTo>
                          <a:pt x="10" y="63"/>
                          <a:pt x="10" y="63"/>
                          <a:pt x="10" y="63"/>
                        </a:cubicBezTo>
                        <a:cubicBezTo>
                          <a:pt x="10" y="63"/>
                          <a:pt x="10" y="63"/>
                          <a:pt x="10" y="63"/>
                        </a:cubicBezTo>
                        <a:cubicBezTo>
                          <a:pt x="10" y="63"/>
                          <a:pt x="10" y="63"/>
                          <a:pt x="10" y="63"/>
                        </a:cubicBezTo>
                        <a:close/>
                        <a:moveTo>
                          <a:pt x="11" y="66"/>
                        </a:moveTo>
                        <a:cubicBezTo>
                          <a:pt x="10" y="66"/>
                          <a:pt x="9" y="66"/>
                          <a:pt x="9" y="66"/>
                        </a:cubicBezTo>
                        <a:cubicBezTo>
                          <a:pt x="9" y="66"/>
                          <a:pt x="10" y="66"/>
                          <a:pt x="11" y="66"/>
                        </a:cubicBezTo>
                        <a:close/>
                        <a:moveTo>
                          <a:pt x="10" y="64"/>
                        </a:moveTo>
                        <a:cubicBezTo>
                          <a:pt x="10" y="64"/>
                          <a:pt x="10" y="65"/>
                          <a:pt x="9" y="64"/>
                        </a:cubicBezTo>
                        <a:cubicBezTo>
                          <a:pt x="9" y="64"/>
                          <a:pt x="10" y="64"/>
                          <a:pt x="10" y="64"/>
                        </a:cubicBezTo>
                        <a:close/>
                        <a:moveTo>
                          <a:pt x="8" y="59"/>
                        </a:moveTo>
                        <a:cubicBezTo>
                          <a:pt x="8" y="59"/>
                          <a:pt x="7" y="59"/>
                          <a:pt x="7" y="59"/>
                        </a:cubicBezTo>
                        <a:cubicBezTo>
                          <a:pt x="7" y="59"/>
                          <a:pt x="8" y="59"/>
                          <a:pt x="8" y="59"/>
                        </a:cubicBezTo>
                        <a:close/>
                        <a:moveTo>
                          <a:pt x="8" y="62"/>
                        </a:moveTo>
                        <a:cubicBezTo>
                          <a:pt x="8" y="62"/>
                          <a:pt x="8" y="62"/>
                          <a:pt x="9" y="62"/>
                        </a:cubicBezTo>
                        <a:cubicBezTo>
                          <a:pt x="9" y="62"/>
                          <a:pt x="8" y="62"/>
                          <a:pt x="8" y="62"/>
                        </a:cubicBezTo>
                        <a:close/>
                        <a:moveTo>
                          <a:pt x="9" y="63"/>
                        </a:moveTo>
                        <a:cubicBezTo>
                          <a:pt x="8" y="64"/>
                          <a:pt x="8" y="64"/>
                          <a:pt x="7" y="64"/>
                        </a:cubicBezTo>
                        <a:cubicBezTo>
                          <a:pt x="8" y="64"/>
                          <a:pt x="8" y="63"/>
                          <a:pt x="9" y="63"/>
                        </a:cubicBezTo>
                        <a:close/>
                        <a:moveTo>
                          <a:pt x="8" y="66"/>
                        </a:moveTo>
                        <a:cubicBezTo>
                          <a:pt x="8" y="66"/>
                          <a:pt x="8" y="66"/>
                          <a:pt x="8" y="66"/>
                        </a:cubicBezTo>
                        <a:cubicBezTo>
                          <a:pt x="8" y="66"/>
                          <a:pt x="8" y="66"/>
                          <a:pt x="8" y="66"/>
                        </a:cubicBezTo>
                        <a:close/>
                        <a:moveTo>
                          <a:pt x="6" y="62"/>
                        </a:moveTo>
                        <a:cubicBezTo>
                          <a:pt x="6" y="62"/>
                          <a:pt x="7" y="62"/>
                          <a:pt x="7" y="62"/>
                        </a:cubicBezTo>
                        <a:cubicBezTo>
                          <a:pt x="7" y="62"/>
                          <a:pt x="6" y="62"/>
                          <a:pt x="6" y="62"/>
                        </a:cubicBezTo>
                        <a:close/>
                        <a:moveTo>
                          <a:pt x="6" y="59"/>
                        </a:moveTo>
                        <a:cubicBezTo>
                          <a:pt x="6" y="59"/>
                          <a:pt x="6" y="59"/>
                          <a:pt x="6" y="59"/>
                        </a:cubicBezTo>
                        <a:cubicBezTo>
                          <a:pt x="6" y="59"/>
                          <a:pt x="6" y="59"/>
                          <a:pt x="6" y="59"/>
                        </a:cubicBezTo>
                        <a:close/>
                        <a:moveTo>
                          <a:pt x="5" y="67"/>
                        </a:moveTo>
                        <a:cubicBezTo>
                          <a:pt x="5" y="67"/>
                          <a:pt x="6" y="67"/>
                          <a:pt x="6" y="66"/>
                        </a:cubicBezTo>
                        <a:cubicBezTo>
                          <a:pt x="6" y="66"/>
                          <a:pt x="6" y="66"/>
                          <a:pt x="6" y="66"/>
                        </a:cubicBezTo>
                        <a:cubicBezTo>
                          <a:pt x="6" y="66"/>
                          <a:pt x="6" y="66"/>
                          <a:pt x="6" y="66"/>
                        </a:cubicBezTo>
                        <a:cubicBezTo>
                          <a:pt x="7" y="66"/>
                          <a:pt x="7" y="66"/>
                          <a:pt x="8" y="66"/>
                        </a:cubicBezTo>
                        <a:cubicBezTo>
                          <a:pt x="7" y="66"/>
                          <a:pt x="6" y="67"/>
                          <a:pt x="5" y="67"/>
                        </a:cubicBezTo>
                        <a:close/>
                        <a:moveTo>
                          <a:pt x="3" y="59"/>
                        </a:moveTo>
                        <a:cubicBezTo>
                          <a:pt x="4" y="59"/>
                          <a:pt x="4" y="59"/>
                          <a:pt x="4" y="59"/>
                        </a:cubicBezTo>
                        <a:cubicBezTo>
                          <a:pt x="4" y="59"/>
                          <a:pt x="5" y="59"/>
                          <a:pt x="5" y="59"/>
                        </a:cubicBezTo>
                        <a:cubicBezTo>
                          <a:pt x="5" y="59"/>
                          <a:pt x="4" y="59"/>
                          <a:pt x="4" y="59"/>
                        </a:cubicBezTo>
                        <a:cubicBezTo>
                          <a:pt x="4" y="59"/>
                          <a:pt x="4" y="59"/>
                          <a:pt x="3" y="59"/>
                        </a:cubicBezTo>
                        <a:close/>
                        <a:moveTo>
                          <a:pt x="5" y="64"/>
                        </a:moveTo>
                        <a:cubicBezTo>
                          <a:pt x="5" y="64"/>
                          <a:pt x="6" y="64"/>
                          <a:pt x="6" y="64"/>
                        </a:cubicBezTo>
                        <a:cubicBezTo>
                          <a:pt x="6" y="64"/>
                          <a:pt x="6" y="64"/>
                          <a:pt x="5" y="64"/>
                        </a:cubicBezTo>
                        <a:close/>
                        <a:moveTo>
                          <a:pt x="5" y="64"/>
                        </a:moveTo>
                        <a:cubicBezTo>
                          <a:pt x="5" y="64"/>
                          <a:pt x="6" y="64"/>
                          <a:pt x="6" y="64"/>
                        </a:cubicBezTo>
                        <a:cubicBezTo>
                          <a:pt x="6" y="64"/>
                          <a:pt x="5" y="64"/>
                          <a:pt x="5" y="64"/>
                        </a:cubicBezTo>
                        <a:close/>
                        <a:moveTo>
                          <a:pt x="3" y="60"/>
                        </a:moveTo>
                        <a:cubicBezTo>
                          <a:pt x="3" y="60"/>
                          <a:pt x="4" y="59"/>
                          <a:pt x="4" y="59"/>
                        </a:cubicBezTo>
                        <a:cubicBezTo>
                          <a:pt x="4" y="60"/>
                          <a:pt x="3" y="60"/>
                          <a:pt x="3" y="60"/>
                        </a:cubicBezTo>
                        <a:close/>
                        <a:moveTo>
                          <a:pt x="3" y="59"/>
                        </a:moveTo>
                        <a:cubicBezTo>
                          <a:pt x="3" y="59"/>
                          <a:pt x="3" y="59"/>
                          <a:pt x="3" y="59"/>
                        </a:cubicBezTo>
                        <a:cubicBezTo>
                          <a:pt x="3" y="59"/>
                          <a:pt x="3" y="59"/>
                          <a:pt x="3" y="59"/>
                        </a:cubicBezTo>
                        <a:cubicBezTo>
                          <a:pt x="3" y="60"/>
                          <a:pt x="3" y="59"/>
                          <a:pt x="3" y="59"/>
                        </a:cubicBezTo>
                        <a:close/>
                        <a:moveTo>
                          <a:pt x="2" y="63"/>
                        </a:moveTo>
                        <a:cubicBezTo>
                          <a:pt x="2" y="63"/>
                          <a:pt x="3" y="63"/>
                          <a:pt x="3" y="63"/>
                        </a:cubicBezTo>
                        <a:cubicBezTo>
                          <a:pt x="3" y="63"/>
                          <a:pt x="3" y="63"/>
                          <a:pt x="3" y="63"/>
                        </a:cubicBezTo>
                        <a:cubicBezTo>
                          <a:pt x="2" y="63"/>
                          <a:pt x="2" y="63"/>
                          <a:pt x="2" y="63"/>
                        </a:cubicBezTo>
                        <a:close/>
                        <a:moveTo>
                          <a:pt x="1" y="60"/>
                        </a:moveTo>
                        <a:cubicBezTo>
                          <a:pt x="1" y="60"/>
                          <a:pt x="1" y="60"/>
                          <a:pt x="1" y="60"/>
                        </a:cubicBezTo>
                        <a:cubicBezTo>
                          <a:pt x="1" y="60"/>
                          <a:pt x="1" y="60"/>
                          <a:pt x="1" y="60"/>
                        </a:cubicBezTo>
                        <a:close/>
                        <a:moveTo>
                          <a:pt x="2" y="67"/>
                        </a:moveTo>
                        <a:cubicBezTo>
                          <a:pt x="3" y="67"/>
                          <a:pt x="3" y="67"/>
                          <a:pt x="3" y="67"/>
                        </a:cubicBezTo>
                        <a:cubicBezTo>
                          <a:pt x="3" y="67"/>
                          <a:pt x="2" y="67"/>
                          <a:pt x="3" y="67"/>
                        </a:cubicBezTo>
                        <a:cubicBezTo>
                          <a:pt x="3" y="67"/>
                          <a:pt x="2" y="67"/>
                          <a:pt x="2" y="67"/>
                        </a:cubicBezTo>
                        <a:close/>
                        <a:moveTo>
                          <a:pt x="0" y="67"/>
                        </a:moveTo>
                        <a:cubicBezTo>
                          <a:pt x="0" y="66"/>
                          <a:pt x="1" y="67"/>
                          <a:pt x="1" y="66"/>
                        </a:cubicBezTo>
                        <a:cubicBezTo>
                          <a:pt x="1" y="67"/>
                          <a:pt x="0" y="67"/>
                          <a:pt x="0" y="67"/>
                        </a:cubicBezTo>
                        <a:close/>
                        <a:moveTo>
                          <a:pt x="179" y="22"/>
                        </a:moveTo>
                        <a:cubicBezTo>
                          <a:pt x="179" y="22"/>
                          <a:pt x="179" y="22"/>
                          <a:pt x="179" y="22"/>
                        </a:cubicBezTo>
                        <a:cubicBezTo>
                          <a:pt x="179" y="22"/>
                          <a:pt x="179" y="22"/>
                          <a:pt x="179" y="22"/>
                        </a:cubicBezTo>
                        <a:close/>
                        <a:moveTo>
                          <a:pt x="226" y="17"/>
                        </a:moveTo>
                        <a:cubicBezTo>
                          <a:pt x="225" y="18"/>
                          <a:pt x="224" y="18"/>
                          <a:pt x="223" y="18"/>
                        </a:cubicBezTo>
                        <a:cubicBezTo>
                          <a:pt x="223" y="18"/>
                          <a:pt x="223" y="18"/>
                          <a:pt x="223" y="18"/>
                        </a:cubicBezTo>
                        <a:cubicBezTo>
                          <a:pt x="223" y="18"/>
                          <a:pt x="222" y="18"/>
                          <a:pt x="222" y="18"/>
                        </a:cubicBezTo>
                        <a:cubicBezTo>
                          <a:pt x="221" y="19"/>
                          <a:pt x="220" y="19"/>
                          <a:pt x="218" y="19"/>
                        </a:cubicBezTo>
                        <a:cubicBezTo>
                          <a:pt x="218" y="19"/>
                          <a:pt x="219" y="19"/>
                          <a:pt x="219" y="19"/>
                        </a:cubicBezTo>
                        <a:cubicBezTo>
                          <a:pt x="218" y="19"/>
                          <a:pt x="217" y="20"/>
                          <a:pt x="216" y="19"/>
                        </a:cubicBezTo>
                        <a:cubicBezTo>
                          <a:pt x="215" y="19"/>
                          <a:pt x="215" y="20"/>
                          <a:pt x="215" y="20"/>
                        </a:cubicBezTo>
                        <a:cubicBezTo>
                          <a:pt x="215" y="20"/>
                          <a:pt x="215" y="20"/>
                          <a:pt x="215" y="20"/>
                        </a:cubicBezTo>
                        <a:cubicBezTo>
                          <a:pt x="215" y="19"/>
                          <a:pt x="215" y="19"/>
                          <a:pt x="216" y="19"/>
                        </a:cubicBezTo>
                        <a:cubicBezTo>
                          <a:pt x="215" y="19"/>
                          <a:pt x="214" y="19"/>
                          <a:pt x="213" y="20"/>
                        </a:cubicBezTo>
                        <a:cubicBezTo>
                          <a:pt x="212" y="20"/>
                          <a:pt x="212" y="20"/>
                          <a:pt x="212" y="20"/>
                        </a:cubicBezTo>
                        <a:cubicBezTo>
                          <a:pt x="212" y="20"/>
                          <a:pt x="213" y="20"/>
                          <a:pt x="213" y="20"/>
                        </a:cubicBezTo>
                        <a:cubicBezTo>
                          <a:pt x="213" y="20"/>
                          <a:pt x="212" y="20"/>
                          <a:pt x="213" y="20"/>
                        </a:cubicBezTo>
                        <a:cubicBezTo>
                          <a:pt x="212" y="19"/>
                          <a:pt x="212" y="20"/>
                          <a:pt x="211" y="20"/>
                        </a:cubicBezTo>
                        <a:cubicBezTo>
                          <a:pt x="211" y="20"/>
                          <a:pt x="211" y="20"/>
                          <a:pt x="211" y="20"/>
                        </a:cubicBezTo>
                        <a:cubicBezTo>
                          <a:pt x="210" y="20"/>
                          <a:pt x="211" y="20"/>
                          <a:pt x="211" y="20"/>
                        </a:cubicBezTo>
                        <a:cubicBezTo>
                          <a:pt x="210" y="20"/>
                          <a:pt x="210" y="20"/>
                          <a:pt x="210" y="20"/>
                        </a:cubicBezTo>
                        <a:cubicBezTo>
                          <a:pt x="210" y="20"/>
                          <a:pt x="210" y="20"/>
                          <a:pt x="210" y="20"/>
                        </a:cubicBezTo>
                        <a:cubicBezTo>
                          <a:pt x="210" y="20"/>
                          <a:pt x="210" y="20"/>
                          <a:pt x="209" y="20"/>
                        </a:cubicBezTo>
                        <a:cubicBezTo>
                          <a:pt x="209" y="20"/>
                          <a:pt x="210" y="20"/>
                          <a:pt x="210" y="20"/>
                        </a:cubicBezTo>
                        <a:cubicBezTo>
                          <a:pt x="209" y="20"/>
                          <a:pt x="208" y="20"/>
                          <a:pt x="207" y="20"/>
                        </a:cubicBezTo>
                        <a:cubicBezTo>
                          <a:pt x="207" y="20"/>
                          <a:pt x="207" y="20"/>
                          <a:pt x="207" y="20"/>
                        </a:cubicBezTo>
                        <a:cubicBezTo>
                          <a:pt x="206" y="20"/>
                          <a:pt x="206" y="20"/>
                          <a:pt x="206" y="20"/>
                        </a:cubicBezTo>
                        <a:cubicBezTo>
                          <a:pt x="205" y="20"/>
                          <a:pt x="204" y="21"/>
                          <a:pt x="204" y="21"/>
                        </a:cubicBezTo>
                        <a:cubicBezTo>
                          <a:pt x="203" y="21"/>
                          <a:pt x="203" y="21"/>
                          <a:pt x="203" y="21"/>
                        </a:cubicBezTo>
                        <a:cubicBezTo>
                          <a:pt x="203" y="21"/>
                          <a:pt x="203" y="21"/>
                          <a:pt x="203" y="21"/>
                        </a:cubicBezTo>
                        <a:cubicBezTo>
                          <a:pt x="203" y="21"/>
                          <a:pt x="203" y="21"/>
                          <a:pt x="203" y="21"/>
                        </a:cubicBezTo>
                        <a:cubicBezTo>
                          <a:pt x="202" y="21"/>
                          <a:pt x="202" y="21"/>
                          <a:pt x="201" y="21"/>
                        </a:cubicBezTo>
                        <a:cubicBezTo>
                          <a:pt x="201" y="21"/>
                          <a:pt x="201" y="21"/>
                          <a:pt x="201" y="21"/>
                        </a:cubicBezTo>
                        <a:cubicBezTo>
                          <a:pt x="201" y="21"/>
                          <a:pt x="201" y="21"/>
                          <a:pt x="201" y="21"/>
                        </a:cubicBezTo>
                        <a:cubicBezTo>
                          <a:pt x="200" y="21"/>
                          <a:pt x="201" y="21"/>
                          <a:pt x="201" y="21"/>
                        </a:cubicBezTo>
                        <a:cubicBezTo>
                          <a:pt x="200" y="21"/>
                          <a:pt x="200" y="21"/>
                          <a:pt x="200" y="21"/>
                        </a:cubicBezTo>
                        <a:cubicBezTo>
                          <a:pt x="200" y="21"/>
                          <a:pt x="200" y="21"/>
                          <a:pt x="200" y="21"/>
                        </a:cubicBezTo>
                        <a:cubicBezTo>
                          <a:pt x="200" y="21"/>
                          <a:pt x="200" y="21"/>
                          <a:pt x="200" y="21"/>
                        </a:cubicBezTo>
                        <a:cubicBezTo>
                          <a:pt x="200" y="21"/>
                          <a:pt x="200" y="21"/>
                          <a:pt x="200" y="21"/>
                        </a:cubicBezTo>
                        <a:cubicBezTo>
                          <a:pt x="199" y="21"/>
                          <a:pt x="200" y="21"/>
                          <a:pt x="200" y="21"/>
                        </a:cubicBezTo>
                        <a:cubicBezTo>
                          <a:pt x="200" y="21"/>
                          <a:pt x="199" y="21"/>
                          <a:pt x="199" y="21"/>
                        </a:cubicBezTo>
                        <a:cubicBezTo>
                          <a:pt x="198" y="21"/>
                          <a:pt x="197" y="22"/>
                          <a:pt x="196" y="22"/>
                        </a:cubicBezTo>
                        <a:cubicBezTo>
                          <a:pt x="196" y="22"/>
                          <a:pt x="197" y="22"/>
                          <a:pt x="197" y="22"/>
                        </a:cubicBezTo>
                        <a:cubicBezTo>
                          <a:pt x="197" y="22"/>
                          <a:pt x="196" y="22"/>
                          <a:pt x="196" y="22"/>
                        </a:cubicBezTo>
                        <a:cubicBezTo>
                          <a:pt x="196" y="22"/>
                          <a:pt x="196" y="22"/>
                          <a:pt x="196" y="21"/>
                        </a:cubicBezTo>
                        <a:cubicBezTo>
                          <a:pt x="196" y="22"/>
                          <a:pt x="196" y="22"/>
                          <a:pt x="195" y="22"/>
                        </a:cubicBezTo>
                        <a:cubicBezTo>
                          <a:pt x="195" y="22"/>
                          <a:pt x="194" y="22"/>
                          <a:pt x="195" y="22"/>
                        </a:cubicBezTo>
                        <a:cubicBezTo>
                          <a:pt x="194" y="22"/>
                          <a:pt x="194" y="22"/>
                          <a:pt x="194" y="22"/>
                        </a:cubicBezTo>
                        <a:cubicBezTo>
                          <a:pt x="194" y="22"/>
                          <a:pt x="194" y="22"/>
                          <a:pt x="194" y="22"/>
                        </a:cubicBezTo>
                        <a:cubicBezTo>
                          <a:pt x="194" y="22"/>
                          <a:pt x="194" y="22"/>
                          <a:pt x="194" y="22"/>
                        </a:cubicBezTo>
                        <a:cubicBezTo>
                          <a:pt x="194" y="22"/>
                          <a:pt x="194" y="22"/>
                          <a:pt x="194" y="22"/>
                        </a:cubicBezTo>
                        <a:cubicBezTo>
                          <a:pt x="193" y="23"/>
                          <a:pt x="193" y="23"/>
                          <a:pt x="193" y="23"/>
                        </a:cubicBezTo>
                        <a:cubicBezTo>
                          <a:pt x="193" y="22"/>
                          <a:pt x="193" y="22"/>
                          <a:pt x="193" y="22"/>
                        </a:cubicBezTo>
                        <a:cubicBezTo>
                          <a:pt x="193" y="22"/>
                          <a:pt x="193" y="22"/>
                          <a:pt x="194" y="22"/>
                        </a:cubicBezTo>
                        <a:cubicBezTo>
                          <a:pt x="193" y="22"/>
                          <a:pt x="193" y="22"/>
                          <a:pt x="193" y="22"/>
                        </a:cubicBezTo>
                        <a:cubicBezTo>
                          <a:pt x="193" y="22"/>
                          <a:pt x="192" y="22"/>
                          <a:pt x="191" y="22"/>
                        </a:cubicBezTo>
                        <a:cubicBezTo>
                          <a:pt x="191" y="22"/>
                          <a:pt x="192" y="22"/>
                          <a:pt x="192" y="22"/>
                        </a:cubicBezTo>
                        <a:cubicBezTo>
                          <a:pt x="191" y="22"/>
                          <a:pt x="191" y="23"/>
                          <a:pt x="190" y="23"/>
                        </a:cubicBezTo>
                        <a:cubicBezTo>
                          <a:pt x="191" y="23"/>
                          <a:pt x="190" y="23"/>
                          <a:pt x="190" y="23"/>
                        </a:cubicBezTo>
                        <a:cubicBezTo>
                          <a:pt x="189" y="23"/>
                          <a:pt x="189" y="23"/>
                          <a:pt x="189" y="23"/>
                        </a:cubicBezTo>
                        <a:cubicBezTo>
                          <a:pt x="189" y="23"/>
                          <a:pt x="189" y="23"/>
                          <a:pt x="189" y="23"/>
                        </a:cubicBezTo>
                        <a:cubicBezTo>
                          <a:pt x="189" y="23"/>
                          <a:pt x="188" y="23"/>
                          <a:pt x="188" y="23"/>
                        </a:cubicBezTo>
                        <a:cubicBezTo>
                          <a:pt x="190" y="23"/>
                          <a:pt x="192" y="22"/>
                          <a:pt x="193" y="22"/>
                        </a:cubicBezTo>
                        <a:cubicBezTo>
                          <a:pt x="193" y="22"/>
                          <a:pt x="193" y="22"/>
                          <a:pt x="193" y="22"/>
                        </a:cubicBezTo>
                        <a:cubicBezTo>
                          <a:pt x="193" y="22"/>
                          <a:pt x="193" y="22"/>
                          <a:pt x="193" y="22"/>
                        </a:cubicBezTo>
                        <a:cubicBezTo>
                          <a:pt x="193" y="22"/>
                          <a:pt x="193" y="22"/>
                          <a:pt x="193" y="22"/>
                        </a:cubicBezTo>
                        <a:cubicBezTo>
                          <a:pt x="193" y="22"/>
                          <a:pt x="192" y="22"/>
                          <a:pt x="192" y="22"/>
                        </a:cubicBezTo>
                        <a:cubicBezTo>
                          <a:pt x="192" y="22"/>
                          <a:pt x="192" y="22"/>
                          <a:pt x="192" y="22"/>
                        </a:cubicBezTo>
                        <a:cubicBezTo>
                          <a:pt x="192" y="22"/>
                          <a:pt x="191" y="22"/>
                          <a:pt x="191" y="22"/>
                        </a:cubicBezTo>
                        <a:cubicBezTo>
                          <a:pt x="191" y="22"/>
                          <a:pt x="192" y="22"/>
                          <a:pt x="191" y="22"/>
                        </a:cubicBezTo>
                        <a:cubicBezTo>
                          <a:pt x="191" y="22"/>
                          <a:pt x="191" y="22"/>
                          <a:pt x="191" y="22"/>
                        </a:cubicBezTo>
                        <a:cubicBezTo>
                          <a:pt x="190" y="22"/>
                          <a:pt x="190" y="22"/>
                          <a:pt x="190" y="22"/>
                        </a:cubicBezTo>
                        <a:cubicBezTo>
                          <a:pt x="190" y="22"/>
                          <a:pt x="190" y="22"/>
                          <a:pt x="189" y="22"/>
                        </a:cubicBezTo>
                        <a:cubicBezTo>
                          <a:pt x="189" y="22"/>
                          <a:pt x="189" y="22"/>
                          <a:pt x="189" y="22"/>
                        </a:cubicBezTo>
                        <a:cubicBezTo>
                          <a:pt x="189" y="22"/>
                          <a:pt x="188" y="22"/>
                          <a:pt x="188" y="23"/>
                        </a:cubicBezTo>
                        <a:cubicBezTo>
                          <a:pt x="188" y="23"/>
                          <a:pt x="188" y="22"/>
                          <a:pt x="188" y="23"/>
                        </a:cubicBezTo>
                        <a:cubicBezTo>
                          <a:pt x="188" y="23"/>
                          <a:pt x="188" y="23"/>
                          <a:pt x="188" y="22"/>
                        </a:cubicBezTo>
                        <a:cubicBezTo>
                          <a:pt x="187" y="22"/>
                          <a:pt x="187" y="23"/>
                          <a:pt x="187" y="23"/>
                        </a:cubicBezTo>
                        <a:cubicBezTo>
                          <a:pt x="187" y="23"/>
                          <a:pt x="188" y="23"/>
                          <a:pt x="188" y="23"/>
                        </a:cubicBezTo>
                        <a:cubicBezTo>
                          <a:pt x="188" y="23"/>
                          <a:pt x="187" y="23"/>
                          <a:pt x="188" y="23"/>
                        </a:cubicBezTo>
                        <a:cubicBezTo>
                          <a:pt x="188" y="23"/>
                          <a:pt x="187" y="23"/>
                          <a:pt x="187" y="23"/>
                        </a:cubicBezTo>
                        <a:cubicBezTo>
                          <a:pt x="187" y="23"/>
                          <a:pt x="187" y="23"/>
                          <a:pt x="186" y="23"/>
                        </a:cubicBezTo>
                        <a:cubicBezTo>
                          <a:pt x="186" y="23"/>
                          <a:pt x="187" y="23"/>
                          <a:pt x="186" y="23"/>
                        </a:cubicBezTo>
                        <a:cubicBezTo>
                          <a:pt x="186" y="23"/>
                          <a:pt x="186" y="23"/>
                          <a:pt x="186" y="23"/>
                        </a:cubicBezTo>
                        <a:cubicBezTo>
                          <a:pt x="186" y="23"/>
                          <a:pt x="186" y="23"/>
                          <a:pt x="185" y="23"/>
                        </a:cubicBezTo>
                        <a:cubicBezTo>
                          <a:pt x="186" y="23"/>
                          <a:pt x="186" y="23"/>
                          <a:pt x="186" y="23"/>
                        </a:cubicBezTo>
                        <a:cubicBezTo>
                          <a:pt x="186" y="24"/>
                          <a:pt x="188" y="23"/>
                          <a:pt x="188" y="23"/>
                        </a:cubicBezTo>
                        <a:cubicBezTo>
                          <a:pt x="186" y="23"/>
                          <a:pt x="185" y="24"/>
                          <a:pt x="184" y="24"/>
                        </a:cubicBezTo>
                        <a:cubicBezTo>
                          <a:pt x="184" y="24"/>
                          <a:pt x="184" y="24"/>
                          <a:pt x="184" y="24"/>
                        </a:cubicBezTo>
                        <a:cubicBezTo>
                          <a:pt x="184" y="24"/>
                          <a:pt x="184" y="24"/>
                          <a:pt x="183" y="24"/>
                        </a:cubicBezTo>
                        <a:cubicBezTo>
                          <a:pt x="184" y="24"/>
                          <a:pt x="183" y="24"/>
                          <a:pt x="183" y="24"/>
                        </a:cubicBezTo>
                        <a:cubicBezTo>
                          <a:pt x="183" y="24"/>
                          <a:pt x="183" y="24"/>
                          <a:pt x="183" y="24"/>
                        </a:cubicBezTo>
                        <a:cubicBezTo>
                          <a:pt x="183" y="24"/>
                          <a:pt x="183" y="24"/>
                          <a:pt x="183" y="24"/>
                        </a:cubicBezTo>
                        <a:cubicBezTo>
                          <a:pt x="183" y="24"/>
                          <a:pt x="183" y="24"/>
                          <a:pt x="183" y="24"/>
                        </a:cubicBezTo>
                        <a:cubicBezTo>
                          <a:pt x="183" y="24"/>
                          <a:pt x="182" y="24"/>
                          <a:pt x="182" y="24"/>
                        </a:cubicBezTo>
                        <a:cubicBezTo>
                          <a:pt x="182" y="24"/>
                          <a:pt x="182" y="24"/>
                          <a:pt x="182" y="24"/>
                        </a:cubicBezTo>
                        <a:cubicBezTo>
                          <a:pt x="182" y="24"/>
                          <a:pt x="182" y="24"/>
                          <a:pt x="182" y="24"/>
                        </a:cubicBezTo>
                        <a:cubicBezTo>
                          <a:pt x="182" y="24"/>
                          <a:pt x="181" y="24"/>
                          <a:pt x="181" y="25"/>
                        </a:cubicBezTo>
                        <a:cubicBezTo>
                          <a:pt x="181" y="25"/>
                          <a:pt x="182" y="24"/>
                          <a:pt x="182" y="25"/>
                        </a:cubicBezTo>
                        <a:cubicBezTo>
                          <a:pt x="181" y="25"/>
                          <a:pt x="181" y="25"/>
                          <a:pt x="181" y="25"/>
                        </a:cubicBezTo>
                        <a:cubicBezTo>
                          <a:pt x="181" y="25"/>
                          <a:pt x="181" y="25"/>
                          <a:pt x="181" y="25"/>
                        </a:cubicBezTo>
                        <a:cubicBezTo>
                          <a:pt x="181" y="24"/>
                          <a:pt x="181" y="25"/>
                          <a:pt x="181" y="24"/>
                        </a:cubicBezTo>
                        <a:cubicBezTo>
                          <a:pt x="181" y="25"/>
                          <a:pt x="181" y="25"/>
                          <a:pt x="181" y="25"/>
                        </a:cubicBezTo>
                        <a:cubicBezTo>
                          <a:pt x="180" y="25"/>
                          <a:pt x="180" y="25"/>
                          <a:pt x="180" y="24"/>
                        </a:cubicBezTo>
                        <a:cubicBezTo>
                          <a:pt x="181" y="25"/>
                          <a:pt x="181" y="24"/>
                          <a:pt x="181" y="24"/>
                        </a:cubicBezTo>
                        <a:cubicBezTo>
                          <a:pt x="182" y="24"/>
                          <a:pt x="181" y="24"/>
                          <a:pt x="181" y="24"/>
                        </a:cubicBezTo>
                        <a:cubicBezTo>
                          <a:pt x="181" y="24"/>
                          <a:pt x="181" y="24"/>
                          <a:pt x="180" y="24"/>
                        </a:cubicBezTo>
                        <a:cubicBezTo>
                          <a:pt x="180" y="24"/>
                          <a:pt x="180" y="24"/>
                          <a:pt x="180" y="24"/>
                        </a:cubicBezTo>
                        <a:cubicBezTo>
                          <a:pt x="180" y="24"/>
                          <a:pt x="179" y="24"/>
                          <a:pt x="179" y="25"/>
                        </a:cubicBezTo>
                        <a:cubicBezTo>
                          <a:pt x="179" y="25"/>
                          <a:pt x="178" y="25"/>
                          <a:pt x="178" y="25"/>
                        </a:cubicBezTo>
                        <a:cubicBezTo>
                          <a:pt x="178" y="25"/>
                          <a:pt x="178" y="25"/>
                          <a:pt x="178" y="25"/>
                        </a:cubicBezTo>
                        <a:cubicBezTo>
                          <a:pt x="178" y="25"/>
                          <a:pt x="178" y="25"/>
                          <a:pt x="178" y="25"/>
                        </a:cubicBezTo>
                        <a:cubicBezTo>
                          <a:pt x="177" y="25"/>
                          <a:pt x="178" y="25"/>
                          <a:pt x="177" y="25"/>
                        </a:cubicBezTo>
                        <a:cubicBezTo>
                          <a:pt x="177" y="25"/>
                          <a:pt x="176" y="25"/>
                          <a:pt x="175" y="25"/>
                        </a:cubicBezTo>
                        <a:cubicBezTo>
                          <a:pt x="175" y="25"/>
                          <a:pt x="175" y="25"/>
                          <a:pt x="175" y="25"/>
                        </a:cubicBezTo>
                        <a:cubicBezTo>
                          <a:pt x="175" y="26"/>
                          <a:pt x="175" y="25"/>
                          <a:pt x="175" y="26"/>
                        </a:cubicBezTo>
                        <a:cubicBezTo>
                          <a:pt x="175" y="25"/>
                          <a:pt x="174" y="26"/>
                          <a:pt x="174" y="25"/>
                        </a:cubicBezTo>
                        <a:cubicBezTo>
                          <a:pt x="173" y="26"/>
                          <a:pt x="172" y="26"/>
                          <a:pt x="172" y="26"/>
                        </a:cubicBezTo>
                        <a:cubicBezTo>
                          <a:pt x="171" y="26"/>
                          <a:pt x="171" y="26"/>
                          <a:pt x="171" y="26"/>
                        </a:cubicBezTo>
                        <a:cubicBezTo>
                          <a:pt x="171" y="27"/>
                          <a:pt x="171" y="27"/>
                          <a:pt x="171" y="27"/>
                        </a:cubicBezTo>
                        <a:cubicBezTo>
                          <a:pt x="170" y="27"/>
                          <a:pt x="171" y="27"/>
                          <a:pt x="171" y="27"/>
                        </a:cubicBezTo>
                        <a:cubicBezTo>
                          <a:pt x="169" y="27"/>
                          <a:pt x="168" y="27"/>
                          <a:pt x="167" y="27"/>
                        </a:cubicBezTo>
                        <a:cubicBezTo>
                          <a:pt x="167" y="27"/>
                          <a:pt x="167" y="27"/>
                          <a:pt x="167" y="27"/>
                        </a:cubicBezTo>
                        <a:cubicBezTo>
                          <a:pt x="166" y="27"/>
                          <a:pt x="166" y="27"/>
                          <a:pt x="166" y="28"/>
                        </a:cubicBezTo>
                        <a:cubicBezTo>
                          <a:pt x="166" y="27"/>
                          <a:pt x="167" y="27"/>
                          <a:pt x="167" y="27"/>
                        </a:cubicBezTo>
                        <a:cubicBezTo>
                          <a:pt x="168" y="27"/>
                          <a:pt x="168" y="27"/>
                          <a:pt x="168" y="27"/>
                        </a:cubicBezTo>
                        <a:cubicBezTo>
                          <a:pt x="168" y="27"/>
                          <a:pt x="168" y="27"/>
                          <a:pt x="168" y="27"/>
                        </a:cubicBezTo>
                        <a:cubicBezTo>
                          <a:pt x="171" y="26"/>
                          <a:pt x="172" y="26"/>
                          <a:pt x="175" y="25"/>
                        </a:cubicBezTo>
                        <a:cubicBezTo>
                          <a:pt x="175" y="25"/>
                          <a:pt x="175" y="25"/>
                          <a:pt x="175" y="25"/>
                        </a:cubicBezTo>
                        <a:cubicBezTo>
                          <a:pt x="175" y="25"/>
                          <a:pt x="175" y="25"/>
                          <a:pt x="175" y="25"/>
                        </a:cubicBezTo>
                        <a:cubicBezTo>
                          <a:pt x="176" y="25"/>
                          <a:pt x="175" y="25"/>
                          <a:pt x="176" y="25"/>
                        </a:cubicBezTo>
                        <a:cubicBezTo>
                          <a:pt x="176" y="25"/>
                          <a:pt x="176" y="25"/>
                          <a:pt x="176" y="25"/>
                        </a:cubicBezTo>
                        <a:cubicBezTo>
                          <a:pt x="176" y="25"/>
                          <a:pt x="176" y="25"/>
                          <a:pt x="176" y="25"/>
                        </a:cubicBezTo>
                        <a:cubicBezTo>
                          <a:pt x="176" y="25"/>
                          <a:pt x="177" y="25"/>
                          <a:pt x="177" y="25"/>
                        </a:cubicBezTo>
                        <a:cubicBezTo>
                          <a:pt x="177" y="25"/>
                          <a:pt x="177" y="25"/>
                          <a:pt x="177" y="25"/>
                        </a:cubicBezTo>
                        <a:cubicBezTo>
                          <a:pt x="177" y="25"/>
                          <a:pt x="177" y="25"/>
                          <a:pt x="178" y="25"/>
                        </a:cubicBezTo>
                        <a:cubicBezTo>
                          <a:pt x="178" y="25"/>
                          <a:pt x="178" y="25"/>
                          <a:pt x="178" y="25"/>
                        </a:cubicBezTo>
                        <a:cubicBezTo>
                          <a:pt x="178" y="24"/>
                          <a:pt x="178" y="25"/>
                          <a:pt x="177" y="25"/>
                        </a:cubicBezTo>
                        <a:cubicBezTo>
                          <a:pt x="178" y="24"/>
                          <a:pt x="178" y="25"/>
                          <a:pt x="178" y="24"/>
                        </a:cubicBezTo>
                        <a:cubicBezTo>
                          <a:pt x="178" y="24"/>
                          <a:pt x="178" y="24"/>
                          <a:pt x="178" y="24"/>
                        </a:cubicBezTo>
                        <a:cubicBezTo>
                          <a:pt x="179" y="25"/>
                          <a:pt x="179" y="24"/>
                          <a:pt x="179" y="24"/>
                        </a:cubicBezTo>
                        <a:cubicBezTo>
                          <a:pt x="179" y="24"/>
                          <a:pt x="179" y="24"/>
                          <a:pt x="179" y="24"/>
                        </a:cubicBezTo>
                        <a:cubicBezTo>
                          <a:pt x="179" y="24"/>
                          <a:pt x="179" y="24"/>
                          <a:pt x="179" y="24"/>
                        </a:cubicBezTo>
                        <a:cubicBezTo>
                          <a:pt x="180" y="24"/>
                          <a:pt x="180" y="24"/>
                          <a:pt x="180" y="24"/>
                        </a:cubicBezTo>
                        <a:cubicBezTo>
                          <a:pt x="180" y="24"/>
                          <a:pt x="180" y="24"/>
                          <a:pt x="180" y="24"/>
                        </a:cubicBezTo>
                        <a:cubicBezTo>
                          <a:pt x="180" y="24"/>
                          <a:pt x="180" y="24"/>
                          <a:pt x="180" y="24"/>
                        </a:cubicBezTo>
                        <a:cubicBezTo>
                          <a:pt x="180" y="24"/>
                          <a:pt x="180" y="24"/>
                          <a:pt x="180" y="24"/>
                        </a:cubicBezTo>
                        <a:cubicBezTo>
                          <a:pt x="179" y="24"/>
                          <a:pt x="178" y="24"/>
                          <a:pt x="178" y="24"/>
                        </a:cubicBezTo>
                        <a:cubicBezTo>
                          <a:pt x="178" y="24"/>
                          <a:pt x="178" y="24"/>
                          <a:pt x="178" y="24"/>
                        </a:cubicBezTo>
                        <a:cubicBezTo>
                          <a:pt x="178" y="24"/>
                          <a:pt x="178" y="24"/>
                          <a:pt x="178" y="24"/>
                        </a:cubicBezTo>
                        <a:cubicBezTo>
                          <a:pt x="178" y="24"/>
                          <a:pt x="178" y="24"/>
                          <a:pt x="178" y="24"/>
                        </a:cubicBezTo>
                        <a:cubicBezTo>
                          <a:pt x="178" y="24"/>
                          <a:pt x="178" y="24"/>
                          <a:pt x="177" y="24"/>
                        </a:cubicBezTo>
                        <a:cubicBezTo>
                          <a:pt x="177" y="24"/>
                          <a:pt x="177" y="24"/>
                          <a:pt x="177" y="24"/>
                        </a:cubicBezTo>
                        <a:cubicBezTo>
                          <a:pt x="177" y="24"/>
                          <a:pt x="177" y="24"/>
                          <a:pt x="177" y="25"/>
                        </a:cubicBezTo>
                        <a:cubicBezTo>
                          <a:pt x="177" y="24"/>
                          <a:pt x="177" y="24"/>
                          <a:pt x="177" y="24"/>
                        </a:cubicBezTo>
                        <a:cubicBezTo>
                          <a:pt x="176" y="24"/>
                          <a:pt x="177" y="24"/>
                          <a:pt x="177" y="25"/>
                        </a:cubicBezTo>
                        <a:cubicBezTo>
                          <a:pt x="176" y="25"/>
                          <a:pt x="176" y="25"/>
                          <a:pt x="175" y="25"/>
                        </a:cubicBezTo>
                        <a:cubicBezTo>
                          <a:pt x="176" y="24"/>
                          <a:pt x="176" y="25"/>
                          <a:pt x="176" y="25"/>
                        </a:cubicBezTo>
                        <a:cubicBezTo>
                          <a:pt x="176" y="25"/>
                          <a:pt x="176" y="24"/>
                          <a:pt x="176" y="24"/>
                        </a:cubicBezTo>
                        <a:cubicBezTo>
                          <a:pt x="176" y="24"/>
                          <a:pt x="176" y="24"/>
                          <a:pt x="176" y="24"/>
                        </a:cubicBezTo>
                        <a:cubicBezTo>
                          <a:pt x="176" y="24"/>
                          <a:pt x="176" y="24"/>
                          <a:pt x="175" y="25"/>
                        </a:cubicBezTo>
                        <a:cubicBezTo>
                          <a:pt x="175" y="25"/>
                          <a:pt x="175" y="24"/>
                          <a:pt x="175" y="24"/>
                        </a:cubicBezTo>
                        <a:cubicBezTo>
                          <a:pt x="175" y="24"/>
                          <a:pt x="174" y="24"/>
                          <a:pt x="173" y="25"/>
                        </a:cubicBezTo>
                        <a:cubicBezTo>
                          <a:pt x="173" y="24"/>
                          <a:pt x="174" y="24"/>
                          <a:pt x="174" y="24"/>
                        </a:cubicBezTo>
                        <a:cubicBezTo>
                          <a:pt x="174" y="24"/>
                          <a:pt x="174" y="24"/>
                          <a:pt x="174" y="24"/>
                        </a:cubicBezTo>
                        <a:cubicBezTo>
                          <a:pt x="174" y="24"/>
                          <a:pt x="174" y="24"/>
                          <a:pt x="174" y="24"/>
                        </a:cubicBezTo>
                        <a:cubicBezTo>
                          <a:pt x="175" y="24"/>
                          <a:pt x="176" y="24"/>
                          <a:pt x="178" y="23"/>
                        </a:cubicBezTo>
                        <a:cubicBezTo>
                          <a:pt x="178" y="24"/>
                          <a:pt x="177" y="24"/>
                          <a:pt x="177" y="24"/>
                        </a:cubicBezTo>
                        <a:cubicBezTo>
                          <a:pt x="177" y="24"/>
                          <a:pt x="177" y="24"/>
                          <a:pt x="177" y="24"/>
                        </a:cubicBezTo>
                        <a:cubicBezTo>
                          <a:pt x="178" y="23"/>
                          <a:pt x="179" y="23"/>
                          <a:pt x="179" y="23"/>
                        </a:cubicBezTo>
                        <a:cubicBezTo>
                          <a:pt x="179" y="23"/>
                          <a:pt x="179" y="23"/>
                          <a:pt x="179" y="23"/>
                        </a:cubicBezTo>
                        <a:cubicBezTo>
                          <a:pt x="179" y="23"/>
                          <a:pt x="180" y="23"/>
                          <a:pt x="180" y="23"/>
                        </a:cubicBezTo>
                        <a:cubicBezTo>
                          <a:pt x="180" y="23"/>
                          <a:pt x="180" y="23"/>
                          <a:pt x="180" y="23"/>
                        </a:cubicBezTo>
                        <a:cubicBezTo>
                          <a:pt x="181" y="23"/>
                          <a:pt x="182" y="23"/>
                          <a:pt x="183" y="22"/>
                        </a:cubicBezTo>
                        <a:cubicBezTo>
                          <a:pt x="182" y="23"/>
                          <a:pt x="181" y="23"/>
                          <a:pt x="180" y="23"/>
                        </a:cubicBezTo>
                        <a:cubicBezTo>
                          <a:pt x="180" y="23"/>
                          <a:pt x="179" y="23"/>
                          <a:pt x="178" y="24"/>
                        </a:cubicBezTo>
                        <a:cubicBezTo>
                          <a:pt x="179" y="24"/>
                          <a:pt x="180" y="23"/>
                          <a:pt x="181" y="23"/>
                        </a:cubicBezTo>
                        <a:cubicBezTo>
                          <a:pt x="181" y="23"/>
                          <a:pt x="181" y="24"/>
                          <a:pt x="181" y="24"/>
                        </a:cubicBezTo>
                        <a:cubicBezTo>
                          <a:pt x="181" y="24"/>
                          <a:pt x="180" y="24"/>
                          <a:pt x="180" y="24"/>
                        </a:cubicBezTo>
                        <a:cubicBezTo>
                          <a:pt x="180" y="24"/>
                          <a:pt x="181" y="24"/>
                          <a:pt x="181" y="24"/>
                        </a:cubicBezTo>
                        <a:cubicBezTo>
                          <a:pt x="181" y="24"/>
                          <a:pt x="181" y="24"/>
                          <a:pt x="181" y="23"/>
                        </a:cubicBezTo>
                        <a:cubicBezTo>
                          <a:pt x="182" y="23"/>
                          <a:pt x="182" y="23"/>
                          <a:pt x="182" y="23"/>
                        </a:cubicBezTo>
                        <a:cubicBezTo>
                          <a:pt x="182" y="23"/>
                          <a:pt x="182" y="23"/>
                          <a:pt x="182" y="23"/>
                        </a:cubicBezTo>
                        <a:cubicBezTo>
                          <a:pt x="182" y="23"/>
                          <a:pt x="182" y="23"/>
                          <a:pt x="182" y="24"/>
                        </a:cubicBezTo>
                        <a:cubicBezTo>
                          <a:pt x="183" y="23"/>
                          <a:pt x="183" y="23"/>
                          <a:pt x="183" y="23"/>
                        </a:cubicBezTo>
                        <a:cubicBezTo>
                          <a:pt x="182" y="23"/>
                          <a:pt x="183" y="23"/>
                          <a:pt x="182" y="23"/>
                        </a:cubicBezTo>
                        <a:cubicBezTo>
                          <a:pt x="182" y="23"/>
                          <a:pt x="183" y="23"/>
                          <a:pt x="183" y="23"/>
                        </a:cubicBezTo>
                        <a:cubicBezTo>
                          <a:pt x="184" y="23"/>
                          <a:pt x="184" y="23"/>
                          <a:pt x="184" y="23"/>
                        </a:cubicBezTo>
                        <a:cubicBezTo>
                          <a:pt x="184" y="23"/>
                          <a:pt x="184" y="23"/>
                          <a:pt x="184" y="23"/>
                        </a:cubicBezTo>
                        <a:cubicBezTo>
                          <a:pt x="184" y="23"/>
                          <a:pt x="184" y="22"/>
                          <a:pt x="184" y="23"/>
                        </a:cubicBezTo>
                        <a:cubicBezTo>
                          <a:pt x="186" y="23"/>
                          <a:pt x="187" y="22"/>
                          <a:pt x="188" y="22"/>
                        </a:cubicBezTo>
                        <a:cubicBezTo>
                          <a:pt x="188" y="22"/>
                          <a:pt x="188" y="22"/>
                          <a:pt x="188" y="22"/>
                        </a:cubicBezTo>
                        <a:cubicBezTo>
                          <a:pt x="188" y="22"/>
                          <a:pt x="189" y="22"/>
                          <a:pt x="189" y="22"/>
                        </a:cubicBezTo>
                        <a:cubicBezTo>
                          <a:pt x="189" y="22"/>
                          <a:pt x="189" y="22"/>
                          <a:pt x="189" y="22"/>
                        </a:cubicBezTo>
                        <a:cubicBezTo>
                          <a:pt x="189" y="21"/>
                          <a:pt x="189" y="22"/>
                          <a:pt x="190" y="21"/>
                        </a:cubicBezTo>
                        <a:cubicBezTo>
                          <a:pt x="190" y="22"/>
                          <a:pt x="189" y="22"/>
                          <a:pt x="189" y="22"/>
                        </a:cubicBezTo>
                        <a:cubicBezTo>
                          <a:pt x="189" y="22"/>
                          <a:pt x="190" y="22"/>
                          <a:pt x="190" y="22"/>
                        </a:cubicBezTo>
                        <a:cubicBezTo>
                          <a:pt x="190" y="21"/>
                          <a:pt x="191" y="21"/>
                          <a:pt x="192" y="21"/>
                        </a:cubicBezTo>
                        <a:cubicBezTo>
                          <a:pt x="192" y="21"/>
                          <a:pt x="192" y="21"/>
                          <a:pt x="192" y="21"/>
                        </a:cubicBezTo>
                        <a:cubicBezTo>
                          <a:pt x="192" y="21"/>
                          <a:pt x="192" y="21"/>
                          <a:pt x="192" y="21"/>
                        </a:cubicBezTo>
                        <a:cubicBezTo>
                          <a:pt x="193" y="21"/>
                          <a:pt x="192" y="21"/>
                          <a:pt x="192" y="21"/>
                        </a:cubicBezTo>
                        <a:cubicBezTo>
                          <a:pt x="192" y="21"/>
                          <a:pt x="192" y="21"/>
                          <a:pt x="192" y="21"/>
                        </a:cubicBezTo>
                        <a:cubicBezTo>
                          <a:pt x="192" y="21"/>
                          <a:pt x="193" y="21"/>
                          <a:pt x="192" y="21"/>
                        </a:cubicBezTo>
                        <a:cubicBezTo>
                          <a:pt x="193" y="21"/>
                          <a:pt x="193" y="21"/>
                          <a:pt x="193" y="21"/>
                        </a:cubicBezTo>
                        <a:cubicBezTo>
                          <a:pt x="193" y="21"/>
                          <a:pt x="194" y="21"/>
                          <a:pt x="193" y="21"/>
                        </a:cubicBezTo>
                        <a:cubicBezTo>
                          <a:pt x="194" y="21"/>
                          <a:pt x="194" y="21"/>
                          <a:pt x="193" y="21"/>
                        </a:cubicBezTo>
                        <a:cubicBezTo>
                          <a:pt x="194" y="21"/>
                          <a:pt x="194" y="21"/>
                          <a:pt x="194" y="21"/>
                        </a:cubicBezTo>
                        <a:cubicBezTo>
                          <a:pt x="194" y="21"/>
                          <a:pt x="194" y="21"/>
                          <a:pt x="194" y="21"/>
                        </a:cubicBezTo>
                        <a:cubicBezTo>
                          <a:pt x="195" y="21"/>
                          <a:pt x="195" y="21"/>
                          <a:pt x="196" y="20"/>
                        </a:cubicBezTo>
                        <a:cubicBezTo>
                          <a:pt x="196" y="21"/>
                          <a:pt x="197" y="20"/>
                          <a:pt x="197" y="20"/>
                        </a:cubicBezTo>
                        <a:cubicBezTo>
                          <a:pt x="198" y="20"/>
                          <a:pt x="199" y="20"/>
                          <a:pt x="199" y="19"/>
                        </a:cubicBezTo>
                        <a:cubicBezTo>
                          <a:pt x="200" y="19"/>
                          <a:pt x="201" y="19"/>
                          <a:pt x="201" y="19"/>
                        </a:cubicBezTo>
                        <a:cubicBezTo>
                          <a:pt x="201" y="19"/>
                          <a:pt x="200" y="19"/>
                          <a:pt x="200" y="19"/>
                        </a:cubicBezTo>
                        <a:cubicBezTo>
                          <a:pt x="200" y="19"/>
                          <a:pt x="200" y="19"/>
                          <a:pt x="200" y="19"/>
                        </a:cubicBezTo>
                        <a:cubicBezTo>
                          <a:pt x="200" y="19"/>
                          <a:pt x="200" y="19"/>
                          <a:pt x="199" y="19"/>
                        </a:cubicBezTo>
                        <a:cubicBezTo>
                          <a:pt x="199" y="19"/>
                          <a:pt x="199" y="19"/>
                          <a:pt x="199" y="19"/>
                        </a:cubicBezTo>
                        <a:cubicBezTo>
                          <a:pt x="199" y="20"/>
                          <a:pt x="199" y="19"/>
                          <a:pt x="199" y="19"/>
                        </a:cubicBezTo>
                        <a:cubicBezTo>
                          <a:pt x="199" y="20"/>
                          <a:pt x="199" y="20"/>
                          <a:pt x="199" y="20"/>
                        </a:cubicBezTo>
                        <a:cubicBezTo>
                          <a:pt x="199" y="20"/>
                          <a:pt x="199" y="20"/>
                          <a:pt x="198" y="20"/>
                        </a:cubicBezTo>
                        <a:cubicBezTo>
                          <a:pt x="199" y="19"/>
                          <a:pt x="198" y="20"/>
                          <a:pt x="198" y="20"/>
                        </a:cubicBezTo>
                        <a:cubicBezTo>
                          <a:pt x="197" y="20"/>
                          <a:pt x="197" y="20"/>
                          <a:pt x="196" y="20"/>
                        </a:cubicBezTo>
                        <a:cubicBezTo>
                          <a:pt x="196" y="20"/>
                          <a:pt x="195" y="20"/>
                          <a:pt x="194" y="21"/>
                        </a:cubicBezTo>
                        <a:cubicBezTo>
                          <a:pt x="194" y="20"/>
                          <a:pt x="194" y="20"/>
                          <a:pt x="194" y="20"/>
                        </a:cubicBezTo>
                        <a:cubicBezTo>
                          <a:pt x="194" y="20"/>
                          <a:pt x="194" y="20"/>
                          <a:pt x="194" y="20"/>
                        </a:cubicBezTo>
                        <a:cubicBezTo>
                          <a:pt x="194" y="20"/>
                          <a:pt x="194" y="20"/>
                          <a:pt x="194" y="20"/>
                        </a:cubicBezTo>
                        <a:cubicBezTo>
                          <a:pt x="194" y="20"/>
                          <a:pt x="193" y="20"/>
                          <a:pt x="193" y="20"/>
                        </a:cubicBezTo>
                        <a:cubicBezTo>
                          <a:pt x="193" y="20"/>
                          <a:pt x="193" y="20"/>
                          <a:pt x="193" y="20"/>
                        </a:cubicBezTo>
                        <a:cubicBezTo>
                          <a:pt x="193" y="20"/>
                          <a:pt x="193" y="20"/>
                          <a:pt x="193" y="21"/>
                        </a:cubicBezTo>
                        <a:cubicBezTo>
                          <a:pt x="192" y="21"/>
                          <a:pt x="192" y="21"/>
                          <a:pt x="192" y="21"/>
                        </a:cubicBezTo>
                        <a:cubicBezTo>
                          <a:pt x="192" y="21"/>
                          <a:pt x="192" y="21"/>
                          <a:pt x="192" y="21"/>
                        </a:cubicBezTo>
                        <a:cubicBezTo>
                          <a:pt x="191" y="21"/>
                          <a:pt x="191" y="21"/>
                          <a:pt x="191" y="21"/>
                        </a:cubicBezTo>
                        <a:cubicBezTo>
                          <a:pt x="191" y="21"/>
                          <a:pt x="191" y="21"/>
                          <a:pt x="191" y="21"/>
                        </a:cubicBezTo>
                        <a:cubicBezTo>
                          <a:pt x="190" y="21"/>
                          <a:pt x="190" y="21"/>
                          <a:pt x="190" y="21"/>
                        </a:cubicBezTo>
                        <a:cubicBezTo>
                          <a:pt x="190" y="21"/>
                          <a:pt x="189" y="21"/>
                          <a:pt x="190" y="21"/>
                        </a:cubicBezTo>
                        <a:cubicBezTo>
                          <a:pt x="190" y="21"/>
                          <a:pt x="189" y="21"/>
                          <a:pt x="189" y="21"/>
                        </a:cubicBezTo>
                        <a:cubicBezTo>
                          <a:pt x="189" y="21"/>
                          <a:pt x="189" y="21"/>
                          <a:pt x="188" y="21"/>
                        </a:cubicBezTo>
                        <a:cubicBezTo>
                          <a:pt x="188" y="21"/>
                          <a:pt x="188" y="21"/>
                          <a:pt x="188" y="21"/>
                        </a:cubicBezTo>
                        <a:cubicBezTo>
                          <a:pt x="188" y="21"/>
                          <a:pt x="188" y="21"/>
                          <a:pt x="187" y="21"/>
                        </a:cubicBezTo>
                        <a:cubicBezTo>
                          <a:pt x="187" y="21"/>
                          <a:pt x="187" y="21"/>
                          <a:pt x="188" y="21"/>
                        </a:cubicBezTo>
                        <a:cubicBezTo>
                          <a:pt x="188" y="21"/>
                          <a:pt x="187" y="21"/>
                          <a:pt x="187" y="21"/>
                        </a:cubicBezTo>
                        <a:cubicBezTo>
                          <a:pt x="187" y="21"/>
                          <a:pt x="187" y="21"/>
                          <a:pt x="187" y="21"/>
                        </a:cubicBezTo>
                        <a:cubicBezTo>
                          <a:pt x="187" y="21"/>
                          <a:pt x="186" y="21"/>
                          <a:pt x="186" y="21"/>
                        </a:cubicBezTo>
                        <a:cubicBezTo>
                          <a:pt x="186" y="21"/>
                          <a:pt x="186" y="21"/>
                          <a:pt x="186" y="21"/>
                        </a:cubicBezTo>
                        <a:cubicBezTo>
                          <a:pt x="187" y="21"/>
                          <a:pt x="187" y="21"/>
                          <a:pt x="187" y="21"/>
                        </a:cubicBezTo>
                        <a:cubicBezTo>
                          <a:pt x="187" y="21"/>
                          <a:pt x="188" y="20"/>
                          <a:pt x="188" y="21"/>
                        </a:cubicBezTo>
                        <a:cubicBezTo>
                          <a:pt x="189" y="21"/>
                          <a:pt x="188" y="20"/>
                          <a:pt x="188" y="20"/>
                        </a:cubicBezTo>
                        <a:cubicBezTo>
                          <a:pt x="189" y="20"/>
                          <a:pt x="190" y="20"/>
                          <a:pt x="190" y="20"/>
                        </a:cubicBezTo>
                        <a:cubicBezTo>
                          <a:pt x="190" y="20"/>
                          <a:pt x="190" y="20"/>
                          <a:pt x="190" y="20"/>
                        </a:cubicBezTo>
                        <a:cubicBezTo>
                          <a:pt x="190" y="20"/>
                          <a:pt x="188" y="20"/>
                          <a:pt x="188" y="21"/>
                        </a:cubicBezTo>
                        <a:cubicBezTo>
                          <a:pt x="187" y="21"/>
                          <a:pt x="188" y="20"/>
                          <a:pt x="188" y="20"/>
                        </a:cubicBezTo>
                        <a:cubicBezTo>
                          <a:pt x="188" y="20"/>
                          <a:pt x="188" y="20"/>
                          <a:pt x="188" y="20"/>
                        </a:cubicBezTo>
                        <a:cubicBezTo>
                          <a:pt x="188" y="20"/>
                          <a:pt x="188" y="20"/>
                          <a:pt x="188" y="20"/>
                        </a:cubicBezTo>
                        <a:cubicBezTo>
                          <a:pt x="188" y="20"/>
                          <a:pt x="188" y="20"/>
                          <a:pt x="188" y="20"/>
                        </a:cubicBezTo>
                        <a:cubicBezTo>
                          <a:pt x="187" y="20"/>
                          <a:pt x="187" y="20"/>
                          <a:pt x="187" y="20"/>
                        </a:cubicBezTo>
                        <a:cubicBezTo>
                          <a:pt x="187" y="20"/>
                          <a:pt x="187" y="20"/>
                          <a:pt x="187" y="20"/>
                        </a:cubicBezTo>
                        <a:cubicBezTo>
                          <a:pt x="187" y="21"/>
                          <a:pt x="187" y="20"/>
                          <a:pt x="187" y="21"/>
                        </a:cubicBezTo>
                        <a:cubicBezTo>
                          <a:pt x="187" y="20"/>
                          <a:pt x="187" y="21"/>
                          <a:pt x="186" y="21"/>
                        </a:cubicBezTo>
                        <a:cubicBezTo>
                          <a:pt x="186" y="20"/>
                          <a:pt x="187" y="20"/>
                          <a:pt x="187" y="20"/>
                        </a:cubicBezTo>
                        <a:cubicBezTo>
                          <a:pt x="187" y="20"/>
                          <a:pt x="187" y="20"/>
                          <a:pt x="186" y="20"/>
                        </a:cubicBezTo>
                        <a:cubicBezTo>
                          <a:pt x="186" y="20"/>
                          <a:pt x="186" y="20"/>
                          <a:pt x="186" y="20"/>
                        </a:cubicBezTo>
                        <a:cubicBezTo>
                          <a:pt x="186" y="20"/>
                          <a:pt x="185" y="21"/>
                          <a:pt x="185" y="21"/>
                        </a:cubicBezTo>
                        <a:cubicBezTo>
                          <a:pt x="185" y="20"/>
                          <a:pt x="184" y="20"/>
                          <a:pt x="183" y="20"/>
                        </a:cubicBezTo>
                        <a:cubicBezTo>
                          <a:pt x="183" y="20"/>
                          <a:pt x="183" y="20"/>
                          <a:pt x="183" y="20"/>
                        </a:cubicBezTo>
                        <a:cubicBezTo>
                          <a:pt x="183" y="20"/>
                          <a:pt x="183" y="20"/>
                          <a:pt x="184" y="20"/>
                        </a:cubicBezTo>
                        <a:cubicBezTo>
                          <a:pt x="184" y="21"/>
                          <a:pt x="184" y="20"/>
                          <a:pt x="184" y="21"/>
                        </a:cubicBezTo>
                        <a:cubicBezTo>
                          <a:pt x="184" y="21"/>
                          <a:pt x="183" y="21"/>
                          <a:pt x="183" y="21"/>
                        </a:cubicBezTo>
                        <a:cubicBezTo>
                          <a:pt x="183" y="21"/>
                          <a:pt x="183" y="21"/>
                          <a:pt x="183" y="21"/>
                        </a:cubicBezTo>
                        <a:cubicBezTo>
                          <a:pt x="183" y="21"/>
                          <a:pt x="183" y="21"/>
                          <a:pt x="183" y="21"/>
                        </a:cubicBezTo>
                        <a:cubicBezTo>
                          <a:pt x="183" y="21"/>
                          <a:pt x="182" y="21"/>
                          <a:pt x="182" y="21"/>
                        </a:cubicBezTo>
                        <a:cubicBezTo>
                          <a:pt x="182" y="21"/>
                          <a:pt x="182" y="21"/>
                          <a:pt x="182" y="21"/>
                        </a:cubicBezTo>
                        <a:cubicBezTo>
                          <a:pt x="182" y="21"/>
                          <a:pt x="182" y="21"/>
                          <a:pt x="182" y="21"/>
                        </a:cubicBezTo>
                        <a:cubicBezTo>
                          <a:pt x="182" y="20"/>
                          <a:pt x="182" y="20"/>
                          <a:pt x="183" y="20"/>
                        </a:cubicBezTo>
                        <a:cubicBezTo>
                          <a:pt x="183" y="20"/>
                          <a:pt x="182" y="21"/>
                          <a:pt x="181" y="20"/>
                        </a:cubicBezTo>
                        <a:cubicBezTo>
                          <a:pt x="181" y="21"/>
                          <a:pt x="181" y="21"/>
                          <a:pt x="181" y="21"/>
                        </a:cubicBezTo>
                        <a:cubicBezTo>
                          <a:pt x="181" y="21"/>
                          <a:pt x="181" y="21"/>
                          <a:pt x="181" y="21"/>
                        </a:cubicBezTo>
                        <a:cubicBezTo>
                          <a:pt x="181" y="21"/>
                          <a:pt x="181" y="21"/>
                          <a:pt x="180" y="21"/>
                        </a:cubicBezTo>
                        <a:cubicBezTo>
                          <a:pt x="181" y="21"/>
                          <a:pt x="181" y="21"/>
                          <a:pt x="181" y="21"/>
                        </a:cubicBezTo>
                        <a:cubicBezTo>
                          <a:pt x="181" y="21"/>
                          <a:pt x="180" y="21"/>
                          <a:pt x="180" y="21"/>
                        </a:cubicBezTo>
                        <a:cubicBezTo>
                          <a:pt x="180" y="21"/>
                          <a:pt x="180" y="21"/>
                          <a:pt x="180" y="21"/>
                        </a:cubicBezTo>
                        <a:cubicBezTo>
                          <a:pt x="180" y="21"/>
                          <a:pt x="180" y="21"/>
                          <a:pt x="180" y="21"/>
                        </a:cubicBezTo>
                        <a:cubicBezTo>
                          <a:pt x="180" y="21"/>
                          <a:pt x="179" y="21"/>
                          <a:pt x="179" y="21"/>
                        </a:cubicBezTo>
                        <a:cubicBezTo>
                          <a:pt x="179" y="21"/>
                          <a:pt x="179" y="21"/>
                          <a:pt x="179" y="21"/>
                        </a:cubicBezTo>
                        <a:cubicBezTo>
                          <a:pt x="179" y="22"/>
                          <a:pt x="180" y="21"/>
                          <a:pt x="181" y="21"/>
                        </a:cubicBezTo>
                        <a:cubicBezTo>
                          <a:pt x="181" y="22"/>
                          <a:pt x="180" y="22"/>
                          <a:pt x="180" y="22"/>
                        </a:cubicBezTo>
                        <a:cubicBezTo>
                          <a:pt x="181" y="22"/>
                          <a:pt x="181" y="22"/>
                          <a:pt x="182" y="22"/>
                        </a:cubicBezTo>
                        <a:cubicBezTo>
                          <a:pt x="182" y="22"/>
                          <a:pt x="181" y="22"/>
                          <a:pt x="181" y="22"/>
                        </a:cubicBezTo>
                        <a:cubicBezTo>
                          <a:pt x="181" y="22"/>
                          <a:pt x="182" y="22"/>
                          <a:pt x="182" y="22"/>
                        </a:cubicBezTo>
                        <a:cubicBezTo>
                          <a:pt x="182" y="22"/>
                          <a:pt x="181" y="22"/>
                          <a:pt x="181" y="22"/>
                        </a:cubicBezTo>
                        <a:cubicBezTo>
                          <a:pt x="181" y="22"/>
                          <a:pt x="181" y="22"/>
                          <a:pt x="181" y="22"/>
                        </a:cubicBezTo>
                        <a:cubicBezTo>
                          <a:pt x="181" y="22"/>
                          <a:pt x="181" y="22"/>
                          <a:pt x="180" y="22"/>
                        </a:cubicBezTo>
                        <a:cubicBezTo>
                          <a:pt x="180" y="22"/>
                          <a:pt x="180" y="22"/>
                          <a:pt x="180" y="22"/>
                        </a:cubicBezTo>
                        <a:cubicBezTo>
                          <a:pt x="180" y="22"/>
                          <a:pt x="180" y="22"/>
                          <a:pt x="180" y="22"/>
                        </a:cubicBezTo>
                        <a:cubicBezTo>
                          <a:pt x="180" y="22"/>
                          <a:pt x="180" y="22"/>
                          <a:pt x="180" y="22"/>
                        </a:cubicBezTo>
                        <a:cubicBezTo>
                          <a:pt x="180" y="22"/>
                          <a:pt x="179" y="22"/>
                          <a:pt x="179" y="22"/>
                        </a:cubicBezTo>
                        <a:cubicBezTo>
                          <a:pt x="179" y="22"/>
                          <a:pt x="180" y="22"/>
                          <a:pt x="180" y="22"/>
                        </a:cubicBezTo>
                        <a:cubicBezTo>
                          <a:pt x="179" y="22"/>
                          <a:pt x="179" y="22"/>
                          <a:pt x="179" y="23"/>
                        </a:cubicBezTo>
                        <a:cubicBezTo>
                          <a:pt x="179" y="22"/>
                          <a:pt x="178" y="22"/>
                          <a:pt x="179" y="22"/>
                        </a:cubicBezTo>
                        <a:cubicBezTo>
                          <a:pt x="178" y="22"/>
                          <a:pt x="178" y="23"/>
                          <a:pt x="177" y="23"/>
                        </a:cubicBezTo>
                        <a:cubicBezTo>
                          <a:pt x="177" y="23"/>
                          <a:pt x="176" y="23"/>
                          <a:pt x="177" y="23"/>
                        </a:cubicBezTo>
                        <a:cubicBezTo>
                          <a:pt x="175" y="23"/>
                          <a:pt x="175" y="23"/>
                          <a:pt x="174" y="23"/>
                        </a:cubicBezTo>
                        <a:cubicBezTo>
                          <a:pt x="174" y="23"/>
                          <a:pt x="174" y="23"/>
                          <a:pt x="174" y="23"/>
                        </a:cubicBezTo>
                        <a:cubicBezTo>
                          <a:pt x="174" y="23"/>
                          <a:pt x="174" y="23"/>
                          <a:pt x="174" y="23"/>
                        </a:cubicBezTo>
                        <a:cubicBezTo>
                          <a:pt x="174" y="23"/>
                          <a:pt x="174" y="23"/>
                          <a:pt x="174" y="23"/>
                        </a:cubicBezTo>
                        <a:cubicBezTo>
                          <a:pt x="174" y="23"/>
                          <a:pt x="174" y="24"/>
                          <a:pt x="173" y="24"/>
                        </a:cubicBezTo>
                        <a:cubicBezTo>
                          <a:pt x="173" y="24"/>
                          <a:pt x="173" y="24"/>
                          <a:pt x="173" y="24"/>
                        </a:cubicBezTo>
                        <a:cubicBezTo>
                          <a:pt x="173" y="24"/>
                          <a:pt x="173" y="24"/>
                          <a:pt x="172" y="24"/>
                        </a:cubicBezTo>
                        <a:cubicBezTo>
                          <a:pt x="172" y="24"/>
                          <a:pt x="172" y="24"/>
                          <a:pt x="172" y="23"/>
                        </a:cubicBezTo>
                        <a:cubicBezTo>
                          <a:pt x="172" y="23"/>
                          <a:pt x="172" y="24"/>
                          <a:pt x="172" y="24"/>
                        </a:cubicBezTo>
                        <a:cubicBezTo>
                          <a:pt x="172" y="24"/>
                          <a:pt x="171" y="24"/>
                          <a:pt x="171" y="24"/>
                        </a:cubicBezTo>
                        <a:cubicBezTo>
                          <a:pt x="171" y="24"/>
                          <a:pt x="171" y="24"/>
                          <a:pt x="171" y="24"/>
                        </a:cubicBezTo>
                        <a:cubicBezTo>
                          <a:pt x="171" y="24"/>
                          <a:pt x="170" y="24"/>
                          <a:pt x="170" y="24"/>
                        </a:cubicBezTo>
                        <a:cubicBezTo>
                          <a:pt x="170" y="24"/>
                          <a:pt x="171" y="24"/>
                          <a:pt x="171" y="23"/>
                        </a:cubicBezTo>
                        <a:cubicBezTo>
                          <a:pt x="171" y="23"/>
                          <a:pt x="171" y="24"/>
                          <a:pt x="171" y="24"/>
                        </a:cubicBezTo>
                        <a:cubicBezTo>
                          <a:pt x="171" y="24"/>
                          <a:pt x="172" y="23"/>
                          <a:pt x="172" y="23"/>
                        </a:cubicBezTo>
                        <a:cubicBezTo>
                          <a:pt x="172" y="23"/>
                          <a:pt x="172" y="23"/>
                          <a:pt x="173" y="23"/>
                        </a:cubicBezTo>
                        <a:cubicBezTo>
                          <a:pt x="173" y="23"/>
                          <a:pt x="173" y="23"/>
                          <a:pt x="173" y="23"/>
                        </a:cubicBezTo>
                        <a:cubicBezTo>
                          <a:pt x="173" y="23"/>
                          <a:pt x="173" y="23"/>
                          <a:pt x="173" y="23"/>
                        </a:cubicBezTo>
                        <a:cubicBezTo>
                          <a:pt x="173" y="23"/>
                          <a:pt x="174" y="23"/>
                          <a:pt x="174" y="23"/>
                        </a:cubicBezTo>
                        <a:cubicBezTo>
                          <a:pt x="174" y="23"/>
                          <a:pt x="175" y="23"/>
                          <a:pt x="174" y="23"/>
                        </a:cubicBezTo>
                        <a:cubicBezTo>
                          <a:pt x="174" y="22"/>
                          <a:pt x="175" y="23"/>
                          <a:pt x="175" y="23"/>
                        </a:cubicBezTo>
                        <a:cubicBezTo>
                          <a:pt x="175" y="23"/>
                          <a:pt x="175" y="23"/>
                          <a:pt x="174" y="23"/>
                        </a:cubicBezTo>
                        <a:cubicBezTo>
                          <a:pt x="175" y="23"/>
                          <a:pt x="175" y="23"/>
                          <a:pt x="175" y="23"/>
                        </a:cubicBezTo>
                        <a:cubicBezTo>
                          <a:pt x="175" y="23"/>
                          <a:pt x="175" y="23"/>
                          <a:pt x="175" y="22"/>
                        </a:cubicBezTo>
                        <a:cubicBezTo>
                          <a:pt x="175" y="22"/>
                          <a:pt x="175" y="22"/>
                          <a:pt x="175" y="22"/>
                        </a:cubicBezTo>
                        <a:cubicBezTo>
                          <a:pt x="176" y="22"/>
                          <a:pt x="176" y="23"/>
                          <a:pt x="177" y="22"/>
                        </a:cubicBezTo>
                        <a:cubicBezTo>
                          <a:pt x="177" y="22"/>
                          <a:pt x="177" y="22"/>
                          <a:pt x="177" y="22"/>
                        </a:cubicBezTo>
                        <a:cubicBezTo>
                          <a:pt x="177" y="22"/>
                          <a:pt x="177" y="22"/>
                          <a:pt x="176" y="22"/>
                        </a:cubicBezTo>
                        <a:cubicBezTo>
                          <a:pt x="176" y="22"/>
                          <a:pt x="176" y="22"/>
                          <a:pt x="176" y="22"/>
                        </a:cubicBezTo>
                        <a:cubicBezTo>
                          <a:pt x="177" y="22"/>
                          <a:pt x="177" y="22"/>
                          <a:pt x="178" y="22"/>
                        </a:cubicBezTo>
                        <a:cubicBezTo>
                          <a:pt x="178" y="22"/>
                          <a:pt x="178" y="22"/>
                          <a:pt x="178" y="22"/>
                        </a:cubicBezTo>
                        <a:cubicBezTo>
                          <a:pt x="178" y="22"/>
                          <a:pt x="178" y="22"/>
                          <a:pt x="179" y="22"/>
                        </a:cubicBezTo>
                        <a:cubicBezTo>
                          <a:pt x="179" y="22"/>
                          <a:pt x="179" y="22"/>
                          <a:pt x="180" y="22"/>
                        </a:cubicBezTo>
                        <a:cubicBezTo>
                          <a:pt x="179" y="22"/>
                          <a:pt x="179" y="22"/>
                          <a:pt x="179" y="22"/>
                        </a:cubicBezTo>
                        <a:cubicBezTo>
                          <a:pt x="179" y="22"/>
                          <a:pt x="179" y="22"/>
                          <a:pt x="179" y="22"/>
                        </a:cubicBezTo>
                        <a:cubicBezTo>
                          <a:pt x="179" y="22"/>
                          <a:pt x="178" y="21"/>
                          <a:pt x="178" y="22"/>
                        </a:cubicBezTo>
                        <a:cubicBezTo>
                          <a:pt x="178" y="22"/>
                          <a:pt x="179" y="21"/>
                          <a:pt x="179" y="21"/>
                        </a:cubicBezTo>
                        <a:cubicBezTo>
                          <a:pt x="179" y="21"/>
                          <a:pt x="179" y="21"/>
                          <a:pt x="178" y="21"/>
                        </a:cubicBezTo>
                        <a:cubicBezTo>
                          <a:pt x="178" y="21"/>
                          <a:pt x="178" y="21"/>
                          <a:pt x="178" y="22"/>
                        </a:cubicBezTo>
                        <a:cubicBezTo>
                          <a:pt x="177" y="21"/>
                          <a:pt x="178" y="21"/>
                          <a:pt x="178" y="21"/>
                        </a:cubicBezTo>
                        <a:cubicBezTo>
                          <a:pt x="178" y="21"/>
                          <a:pt x="177" y="21"/>
                          <a:pt x="177" y="21"/>
                        </a:cubicBezTo>
                        <a:cubicBezTo>
                          <a:pt x="177" y="21"/>
                          <a:pt x="177" y="21"/>
                          <a:pt x="177" y="21"/>
                        </a:cubicBezTo>
                        <a:cubicBezTo>
                          <a:pt x="177" y="21"/>
                          <a:pt x="178" y="21"/>
                          <a:pt x="178" y="21"/>
                        </a:cubicBezTo>
                        <a:cubicBezTo>
                          <a:pt x="179" y="21"/>
                          <a:pt x="178" y="21"/>
                          <a:pt x="178" y="21"/>
                        </a:cubicBezTo>
                        <a:cubicBezTo>
                          <a:pt x="179" y="20"/>
                          <a:pt x="179" y="20"/>
                          <a:pt x="180" y="20"/>
                        </a:cubicBezTo>
                        <a:cubicBezTo>
                          <a:pt x="180" y="20"/>
                          <a:pt x="180" y="21"/>
                          <a:pt x="180" y="20"/>
                        </a:cubicBezTo>
                        <a:cubicBezTo>
                          <a:pt x="180" y="20"/>
                          <a:pt x="181" y="20"/>
                          <a:pt x="181" y="20"/>
                        </a:cubicBezTo>
                        <a:cubicBezTo>
                          <a:pt x="181" y="20"/>
                          <a:pt x="182" y="20"/>
                          <a:pt x="182" y="20"/>
                        </a:cubicBezTo>
                        <a:cubicBezTo>
                          <a:pt x="182" y="20"/>
                          <a:pt x="182" y="20"/>
                          <a:pt x="182" y="20"/>
                        </a:cubicBezTo>
                        <a:cubicBezTo>
                          <a:pt x="182" y="20"/>
                          <a:pt x="183" y="20"/>
                          <a:pt x="183" y="20"/>
                        </a:cubicBezTo>
                        <a:cubicBezTo>
                          <a:pt x="183" y="20"/>
                          <a:pt x="183" y="20"/>
                          <a:pt x="183" y="20"/>
                        </a:cubicBezTo>
                        <a:cubicBezTo>
                          <a:pt x="183" y="20"/>
                          <a:pt x="183" y="20"/>
                          <a:pt x="183" y="20"/>
                        </a:cubicBezTo>
                        <a:cubicBezTo>
                          <a:pt x="183" y="20"/>
                          <a:pt x="183" y="20"/>
                          <a:pt x="183" y="20"/>
                        </a:cubicBezTo>
                        <a:cubicBezTo>
                          <a:pt x="183" y="20"/>
                          <a:pt x="183" y="20"/>
                          <a:pt x="183" y="20"/>
                        </a:cubicBezTo>
                        <a:cubicBezTo>
                          <a:pt x="183" y="20"/>
                          <a:pt x="183" y="20"/>
                          <a:pt x="183" y="20"/>
                        </a:cubicBezTo>
                        <a:cubicBezTo>
                          <a:pt x="183" y="20"/>
                          <a:pt x="183" y="20"/>
                          <a:pt x="183" y="20"/>
                        </a:cubicBezTo>
                        <a:cubicBezTo>
                          <a:pt x="183" y="20"/>
                          <a:pt x="184" y="20"/>
                          <a:pt x="184" y="20"/>
                        </a:cubicBezTo>
                        <a:cubicBezTo>
                          <a:pt x="184" y="20"/>
                          <a:pt x="184" y="20"/>
                          <a:pt x="185" y="20"/>
                        </a:cubicBezTo>
                        <a:cubicBezTo>
                          <a:pt x="184" y="20"/>
                          <a:pt x="185" y="20"/>
                          <a:pt x="185" y="20"/>
                        </a:cubicBezTo>
                        <a:cubicBezTo>
                          <a:pt x="185" y="20"/>
                          <a:pt x="185" y="19"/>
                          <a:pt x="184" y="20"/>
                        </a:cubicBezTo>
                        <a:cubicBezTo>
                          <a:pt x="184" y="20"/>
                          <a:pt x="185" y="20"/>
                          <a:pt x="185" y="19"/>
                        </a:cubicBezTo>
                        <a:cubicBezTo>
                          <a:pt x="185" y="20"/>
                          <a:pt x="185" y="20"/>
                          <a:pt x="185" y="20"/>
                        </a:cubicBezTo>
                        <a:cubicBezTo>
                          <a:pt x="185" y="19"/>
                          <a:pt x="185" y="19"/>
                          <a:pt x="186" y="19"/>
                        </a:cubicBezTo>
                        <a:cubicBezTo>
                          <a:pt x="186" y="19"/>
                          <a:pt x="186" y="19"/>
                          <a:pt x="186" y="19"/>
                        </a:cubicBezTo>
                        <a:cubicBezTo>
                          <a:pt x="186" y="19"/>
                          <a:pt x="185" y="19"/>
                          <a:pt x="185" y="19"/>
                        </a:cubicBezTo>
                        <a:cubicBezTo>
                          <a:pt x="185" y="19"/>
                          <a:pt x="187" y="19"/>
                          <a:pt x="187" y="19"/>
                        </a:cubicBezTo>
                        <a:cubicBezTo>
                          <a:pt x="187" y="19"/>
                          <a:pt x="187" y="19"/>
                          <a:pt x="187" y="18"/>
                        </a:cubicBezTo>
                        <a:cubicBezTo>
                          <a:pt x="188" y="18"/>
                          <a:pt x="188" y="19"/>
                          <a:pt x="188" y="19"/>
                        </a:cubicBezTo>
                        <a:cubicBezTo>
                          <a:pt x="188" y="18"/>
                          <a:pt x="189" y="18"/>
                          <a:pt x="189" y="18"/>
                        </a:cubicBezTo>
                        <a:cubicBezTo>
                          <a:pt x="189" y="18"/>
                          <a:pt x="189" y="18"/>
                          <a:pt x="189" y="18"/>
                        </a:cubicBezTo>
                        <a:cubicBezTo>
                          <a:pt x="190" y="18"/>
                          <a:pt x="190" y="18"/>
                          <a:pt x="190" y="18"/>
                        </a:cubicBezTo>
                        <a:cubicBezTo>
                          <a:pt x="190" y="18"/>
                          <a:pt x="190" y="18"/>
                          <a:pt x="190" y="18"/>
                        </a:cubicBezTo>
                        <a:cubicBezTo>
                          <a:pt x="190" y="18"/>
                          <a:pt x="190" y="18"/>
                          <a:pt x="190" y="18"/>
                        </a:cubicBezTo>
                        <a:cubicBezTo>
                          <a:pt x="190" y="18"/>
                          <a:pt x="190" y="18"/>
                          <a:pt x="190" y="18"/>
                        </a:cubicBezTo>
                        <a:cubicBezTo>
                          <a:pt x="190" y="18"/>
                          <a:pt x="191" y="18"/>
                          <a:pt x="191" y="18"/>
                        </a:cubicBezTo>
                        <a:cubicBezTo>
                          <a:pt x="191" y="18"/>
                          <a:pt x="191" y="18"/>
                          <a:pt x="192" y="18"/>
                        </a:cubicBezTo>
                        <a:cubicBezTo>
                          <a:pt x="192" y="18"/>
                          <a:pt x="190" y="18"/>
                          <a:pt x="191" y="18"/>
                        </a:cubicBezTo>
                        <a:cubicBezTo>
                          <a:pt x="191" y="18"/>
                          <a:pt x="191" y="18"/>
                          <a:pt x="191" y="18"/>
                        </a:cubicBezTo>
                        <a:cubicBezTo>
                          <a:pt x="191" y="18"/>
                          <a:pt x="192" y="18"/>
                          <a:pt x="193" y="18"/>
                        </a:cubicBezTo>
                        <a:cubicBezTo>
                          <a:pt x="193" y="18"/>
                          <a:pt x="193" y="18"/>
                          <a:pt x="193" y="18"/>
                        </a:cubicBezTo>
                        <a:cubicBezTo>
                          <a:pt x="193" y="18"/>
                          <a:pt x="193" y="18"/>
                          <a:pt x="193" y="18"/>
                        </a:cubicBezTo>
                        <a:cubicBezTo>
                          <a:pt x="192" y="18"/>
                          <a:pt x="192" y="18"/>
                          <a:pt x="192" y="18"/>
                        </a:cubicBezTo>
                        <a:cubicBezTo>
                          <a:pt x="192" y="18"/>
                          <a:pt x="192" y="18"/>
                          <a:pt x="192" y="18"/>
                        </a:cubicBezTo>
                        <a:cubicBezTo>
                          <a:pt x="192" y="18"/>
                          <a:pt x="192" y="18"/>
                          <a:pt x="192" y="18"/>
                        </a:cubicBezTo>
                        <a:cubicBezTo>
                          <a:pt x="192" y="18"/>
                          <a:pt x="192" y="18"/>
                          <a:pt x="193" y="17"/>
                        </a:cubicBezTo>
                        <a:cubicBezTo>
                          <a:pt x="193" y="17"/>
                          <a:pt x="193" y="18"/>
                          <a:pt x="193" y="18"/>
                        </a:cubicBezTo>
                        <a:cubicBezTo>
                          <a:pt x="193" y="18"/>
                          <a:pt x="193" y="18"/>
                          <a:pt x="193" y="18"/>
                        </a:cubicBezTo>
                        <a:cubicBezTo>
                          <a:pt x="193" y="17"/>
                          <a:pt x="193" y="18"/>
                          <a:pt x="193" y="17"/>
                        </a:cubicBezTo>
                        <a:cubicBezTo>
                          <a:pt x="193" y="17"/>
                          <a:pt x="193" y="17"/>
                          <a:pt x="193" y="17"/>
                        </a:cubicBezTo>
                        <a:cubicBezTo>
                          <a:pt x="193" y="17"/>
                          <a:pt x="193" y="17"/>
                          <a:pt x="193" y="17"/>
                        </a:cubicBezTo>
                        <a:cubicBezTo>
                          <a:pt x="193" y="17"/>
                          <a:pt x="193" y="17"/>
                          <a:pt x="193" y="17"/>
                        </a:cubicBezTo>
                        <a:cubicBezTo>
                          <a:pt x="193" y="17"/>
                          <a:pt x="193" y="17"/>
                          <a:pt x="193" y="16"/>
                        </a:cubicBezTo>
                        <a:cubicBezTo>
                          <a:pt x="194" y="16"/>
                          <a:pt x="194" y="16"/>
                          <a:pt x="194" y="17"/>
                        </a:cubicBezTo>
                        <a:cubicBezTo>
                          <a:pt x="194" y="16"/>
                          <a:pt x="194" y="16"/>
                          <a:pt x="194" y="16"/>
                        </a:cubicBezTo>
                        <a:cubicBezTo>
                          <a:pt x="194" y="16"/>
                          <a:pt x="194" y="16"/>
                          <a:pt x="194" y="16"/>
                        </a:cubicBezTo>
                        <a:cubicBezTo>
                          <a:pt x="194" y="16"/>
                          <a:pt x="194" y="16"/>
                          <a:pt x="194" y="16"/>
                        </a:cubicBezTo>
                        <a:cubicBezTo>
                          <a:pt x="194" y="16"/>
                          <a:pt x="194" y="16"/>
                          <a:pt x="194" y="16"/>
                        </a:cubicBezTo>
                        <a:cubicBezTo>
                          <a:pt x="194" y="16"/>
                          <a:pt x="194" y="16"/>
                          <a:pt x="194" y="16"/>
                        </a:cubicBezTo>
                        <a:cubicBezTo>
                          <a:pt x="194" y="16"/>
                          <a:pt x="194" y="16"/>
                          <a:pt x="194" y="16"/>
                        </a:cubicBezTo>
                        <a:cubicBezTo>
                          <a:pt x="194" y="16"/>
                          <a:pt x="194" y="16"/>
                          <a:pt x="195" y="16"/>
                        </a:cubicBezTo>
                        <a:cubicBezTo>
                          <a:pt x="195" y="16"/>
                          <a:pt x="195" y="16"/>
                          <a:pt x="195" y="16"/>
                        </a:cubicBezTo>
                        <a:cubicBezTo>
                          <a:pt x="195" y="16"/>
                          <a:pt x="194" y="16"/>
                          <a:pt x="193" y="16"/>
                        </a:cubicBezTo>
                        <a:cubicBezTo>
                          <a:pt x="193" y="16"/>
                          <a:pt x="194" y="16"/>
                          <a:pt x="194" y="16"/>
                        </a:cubicBezTo>
                        <a:cubicBezTo>
                          <a:pt x="194" y="15"/>
                          <a:pt x="194" y="16"/>
                          <a:pt x="194" y="15"/>
                        </a:cubicBezTo>
                        <a:cubicBezTo>
                          <a:pt x="195" y="15"/>
                          <a:pt x="195" y="15"/>
                          <a:pt x="195" y="15"/>
                        </a:cubicBezTo>
                        <a:cubicBezTo>
                          <a:pt x="195" y="15"/>
                          <a:pt x="195" y="15"/>
                          <a:pt x="194" y="15"/>
                        </a:cubicBezTo>
                        <a:cubicBezTo>
                          <a:pt x="195" y="16"/>
                          <a:pt x="195" y="15"/>
                          <a:pt x="195" y="15"/>
                        </a:cubicBezTo>
                        <a:cubicBezTo>
                          <a:pt x="196" y="15"/>
                          <a:pt x="196" y="15"/>
                          <a:pt x="196" y="15"/>
                        </a:cubicBezTo>
                        <a:cubicBezTo>
                          <a:pt x="195" y="15"/>
                          <a:pt x="195" y="16"/>
                          <a:pt x="196" y="16"/>
                        </a:cubicBezTo>
                        <a:cubicBezTo>
                          <a:pt x="195" y="16"/>
                          <a:pt x="195" y="16"/>
                          <a:pt x="195" y="16"/>
                        </a:cubicBezTo>
                        <a:cubicBezTo>
                          <a:pt x="195" y="16"/>
                          <a:pt x="195" y="16"/>
                          <a:pt x="195" y="16"/>
                        </a:cubicBezTo>
                        <a:cubicBezTo>
                          <a:pt x="195" y="16"/>
                          <a:pt x="195" y="16"/>
                          <a:pt x="194" y="16"/>
                        </a:cubicBezTo>
                        <a:cubicBezTo>
                          <a:pt x="195" y="17"/>
                          <a:pt x="195" y="16"/>
                          <a:pt x="195" y="16"/>
                        </a:cubicBezTo>
                        <a:cubicBezTo>
                          <a:pt x="195" y="16"/>
                          <a:pt x="195" y="16"/>
                          <a:pt x="195" y="16"/>
                        </a:cubicBezTo>
                        <a:cubicBezTo>
                          <a:pt x="196" y="16"/>
                          <a:pt x="196" y="16"/>
                          <a:pt x="196" y="16"/>
                        </a:cubicBezTo>
                        <a:cubicBezTo>
                          <a:pt x="196" y="16"/>
                          <a:pt x="196" y="16"/>
                          <a:pt x="196" y="16"/>
                        </a:cubicBezTo>
                        <a:cubicBezTo>
                          <a:pt x="196" y="16"/>
                          <a:pt x="196" y="16"/>
                          <a:pt x="196" y="16"/>
                        </a:cubicBezTo>
                        <a:cubicBezTo>
                          <a:pt x="196" y="16"/>
                          <a:pt x="196" y="16"/>
                          <a:pt x="196" y="16"/>
                        </a:cubicBezTo>
                        <a:cubicBezTo>
                          <a:pt x="197" y="16"/>
                          <a:pt x="196" y="16"/>
                          <a:pt x="196" y="16"/>
                        </a:cubicBezTo>
                        <a:cubicBezTo>
                          <a:pt x="197" y="16"/>
                          <a:pt x="197" y="16"/>
                          <a:pt x="197" y="16"/>
                        </a:cubicBezTo>
                        <a:cubicBezTo>
                          <a:pt x="198" y="16"/>
                          <a:pt x="197" y="15"/>
                          <a:pt x="197" y="15"/>
                        </a:cubicBezTo>
                        <a:cubicBezTo>
                          <a:pt x="198" y="15"/>
                          <a:pt x="197" y="16"/>
                          <a:pt x="198" y="16"/>
                        </a:cubicBezTo>
                        <a:cubicBezTo>
                          <a:pt x="198" y="16"/>
                          <a:pt x="197" y="16"/>
                          <a:pt x="197" y="16"/>
                        </a:cubicBezTo>
                        <a:cubicBezTo>
                          <a:pt x="197" y="16"/>
                          <a:pt x="197" y="16"/>
                          <a:pt x="197" y="16"/>
                        </a:cubicBezTo>
                        <a:cubicBezTo>
                          <a:pt x="197" y="16"/>
                          <a:pt x="198" y="15"/>
                          <a:pt x="198" y="16"/>
                        </a:cubicBezTo>
                        <a:cubicBezTo>
                          <a:pt x="198" y="16"/>
                          <a:pt x="198" y="15"/>
                          <a:pt x="198" y="15"/>
                        </a:cubicBezTo>
                        <a:cubicBezTo>
                          <a:pt x="199" y="15"/>
                          <a:pt x="198" y="15"/>
                          <a:pt x="198" y="15"/>
                        </a:cubicBezTo>
                        <a:cubicBezTo>
                          <a:pt x="198" y="15"/>
                          <a:pt x="198" y="15"/>
                          <a:pt x="197" y="15"/>
                        </a:cubicBezTo>
                        <a:cubicBezTo>
                          <a:pt x="197" y="15"/>
                          <a:pt x="197" y="15"/>
                          <a:pt x="197" y="16"/>
                        </a:cubicBezTo>
                        <a:cubicBezTo>
                          <a:pt x="197" y="15"/>
                          <a:pt x="197" y="16"/>
                          <a:pt x="196" y="15"/>
                        </a:cubicBezTo>
                        <a:cubicBezTo>
                          <a:pt x="196" y="15"/>
                          <a:pt x="197" y="15"/>
                          <a:pt x="197" y="15"/>
                        </a:cubicBezTo>
                        <a:cubicBezTo>
                          <a:pt x="197" y="15"/>
                          <a:pt x="197" y="15"/>
                          <a:pt x="196" y="15"/>
                        </a:cubicBezTo>
                        <a:cubicBezTo>
                          <a:pt x="196" y="15"/>
                          <a:pt x="196" y="15"/>
                          <a:pt x="196" y="15"/>
                        </a:cubicBezTo>
                        <a:cubicBezTo>
                          <a:pt x="196" y="15"/>
                          <a:pt x="196" y="15"/>
                          <a:pt x="197" y="15"/>
                        </a:cubicBezTo>
                        <a:cubicBezTo>
                          <a:pt x="197" y="15"/>
                          <a:pt x="197" y="15"/>
                          <a:pt x="197" y="15"/>
                        </a:cubicBezTo>
                        <a:cubicBezTo>
                          <a:pt x="197" y="15"/>
                          <a:pt x="197" y="15"/>
                          <a:pt x="197" y="15"/>
                        </a:cubicBezTo>
                        <a:cubicBezTo>
                          <a:pt x="196" y="15"/>
                          <a:pt x="196" y="15"/>
                          <a:pt x="196" y="15"/>
                        </a:cubicBezTo>
                        <a:cubicBezTo>
                          <a:pt x="196" y="15"/>
                          <a:pt x="196" y="15"/>
                          <a:pt x="195" y="15"/>
                        </a:cubicBezTo>
                        <a:cubicBezTo>
                          <a:pt x="195" y="15"/>
                          <a:pt x="195" y="15"/>
                          <a:pt x="195" y="15"/>
                        </a:cubicBezTo>
                        <a:cubicBezTo>
                          <a:pt x="195" y="15"/>
                          <a:pt x="195" y="15"/>
                          <a:pt x="195" y="15"/>
                        </a:cubicBezTo>
                        <a:cubicBezTo>
                          <a:pt x="196" y="15"/>
                          <a:pt x="196" y="14"/>
                          <a:pt x="196" y="14"/>
                        </a:cubicBezTo>
                        <a:cubicBezTo>
                          <a:pt x="196" y="14"/>
                          <a:pt x="196" y="14"/>
                          <a:pt x="195" y="14"/>
                        </a:cubicBezTo>
                        <a:cubicBezTo>
                          <a:pt x="195" y="14"/>
                          <a:pt x="196" y="14"/>
                          <a:pt x="196" y="14"/>
                        </a:cubicBezTo>
                        <a:cubicBezTo>
                          <a:pt x="195" y="14"/>
                          <a:pt x="195" y="14"/>
                          <a:pt x="195" y="14"/>
                        </a:cubicBezTo>
                        <a:cubicBezTo>
                          <a:pt x="195" y="14"/>
                          <a:pt x="196" y="14"/>
                          <a:pt x="195" y="14"/>
                        </a:cubicBezTo>
                        <a:cubicBezTo>
                          <a:pt x="194" y="15"/>
                          <a:pt x="194" y="15"/>
                          <a:pt x="194" y="15"/>
                        </a:cubicBezTo>
                        <a:cubicBezTo>
                          <a:pt x="194" y="15"/>
                          <a:pt x="195" y="15"/>
                          <a:pt x="195" y="15"/>
                        </a:cubicBezTo>
                        <a:cubicBezTo>
                          <a:pt x="195" y="15"/>
                          <a:pt x="195" y="15"/>
                          <a:pt x="195" y="15"/>
                        </a:cubicBezTo>
                        <a:cubicBezTo>
                          <a:pt x="194" y="15"/>
                          <a:pt x="194" y="15"/>
                          <a:pt x="193" y="15"/>
                        </a:cubicBezTo>
                        <a:cubicBezTo>
                          <a:pt x="193" y="15"/>
                          <a:pt x="193" y="16"/>
                          <a:pt x="193" y="16"/>
                        </a:cubicBezTo>
                        <a:cubicBezTo>
                          <a:pt x="193" y="16"/>
                          <a:pt x="193" y="16"/>
                          <a:pt x="193" y="16"/>
                        </a:cubicBezTo>
                        <a:cubicBezTo>
                          <a:pt x="192" y="16"/>
                          <a:pt x="193" y="16"/>
                          <a:pt x="193" y="16"/>
                        </a:cubicBezTo>
                        <a:cubicBezTo>
                          <a:pt x="193" y="16"/>
                          <a:pt x="193" y="16"/>
                          <a:pt x="193" y="16"/>
                        </a:cubicBezTo>
                        <a:cubicBezTo>
                          <a:pt x="193" y="16"/>
                          <a:pt x="193" y="16"/>
                          <a:pt x="192" y="16"/>
                        </a:cubicBezTo>
                        <a:cubicBezTo>
                          <a:pt x="192" y="16"/>
                          <a:pt x="192" y="16"/>
                          <a:pt x="192" y="16"/>
                        </a:cubicBezTo>
                        <a:cubicBezTo>
                          <a:pt x="192" y="16"/>
                          <a:pt x="192" y="16"/>
                          <a:pt x="192" y="16"/>
                        </a:cubicBezTo>
                        <a:cubicBezTo>
                          <a:pt x="192" y="16"/>
                          <a:pt x="192" y="16"/>
                          <a:pt x="191" y="16"/>
                        </a:cubicBezTo>
                        <a:cubicBezTo>
                          <a:pt x="192" y="16"/>
                          <a:pt x="191" y="16"/>
                          <a:pt x="190" y="16"/>
                        </a:cubicBezTo>
                        <a:cubicBezTo>
                          <a:pt x="191" y="16"/>
                          <a:pt x="191" y="16"/>
                          <a:pt x="191" y="16"/>
                        </a:cubicBezTo>
                        <a:cubicBezTo>
                          <a:pt x="191" y="16"/>
                          <a:pt x="191" y="16"/>
                          <a:pt x="191" y="16"/>
                        </a:cubicBezTo>
                        <a:cubicBezTo>
                          <a:pt x="190" y="16"/>
                          <a:pt x="190" y="16"/>
                          <a:pt x="190" y="16"/>
                        </a:cubicBezTo>
                        <a:cubicBezTo>
                          <a:pt x="190" y="16"/>
                          <a:pt x="189" y="16"/>
                          <a:pt x="189" y="17"/>
                        </a:cubicBezTo>
                        <a:cubicBezTo>
                          <a:pt x="189" y="16"/>
                          <a:pt x="189" y="16"/>
                          <a:pt x="189" y="16"/>
                        </a:cubicBezTo>
                        <a:cubicBezTo>
                          <a:pt x="188" y="17"/>
                          <a:pt x="188" y="17"/>
                          <a:pt x="187" y="17"/>
                        </a:cubicBezTo>
                        <a:cubicBezTo>
                          <a:pt x="187" y="17"/>
                          <a:pt x="187" y="17"/>
                          <a:pt x="188" y="17"/>
                        </a:cubicBezTo>
                        <a:cubicBezTo>
                          <a:pt x="188" y="17"/>
                          <a:pt x="187" y="17"/>
                          <a:pt x="187" y="17"/>
                        </a:cubicBezTo>
                        <a:cubicBezTo>
                          <a:pt x="188" y="17"/>
                          <a:pt x="188" y="17"/>
                          <a:pt x="188" y="17"/>
                        </a:cubicBezTo>
                        <a:cubicBezTo>
                          <a:pt x="188" y="17"/>
                          <a:pt x="187" y="17"/>
                          <a:pt x="187" y="17"/>
                        </a:cubicBezTo>
                        <a:cubicBezTo>
                          <a:pt x="187" y="17"/>
                          <a:pt x="187" y="17"/>
                          <a:pt x="187" y="17"/>
                        </a:cubicBezTo>
                        <a:cubicBezTo>
                          <a:pt x="187" y="17"/>
                          <a:pt x="187" y="17"/>
                          <a:pt x="187" y="17"/>
                        </a:cubicBezTo>
                        <a:cubicBezTo>
                          <a:pt x="186" y="17"/>
                          <a:pt x="187" y="17"/>
                          <a:pt x="186" y="17"/>
                        </a:cubicBezTo>
                        <a:cubicBezTo>
                          <a:pt x="186" y="17"/>
                          <a:pt x="186" y="17"/>
                          <a:pt x="187" y="17"/>
                        </a:cubicBezTo>
                        <a:cubicBezTo>
                          <a:pt x="186" y="17"/>
                          <a:pt x="186" y="17"/>
                          <a:pt x="185" y="18"/>
                        </a:cubicBezTo>
                        <a:cubicBezTo>
                          <a:pt x="185" y="17"/>
                          <a:pt x="186" y="17"/>
                          <a:pt x="186" y="17"/>
                        </a:cubicBezTo>
                        <a:cubicBezTo>
                          <a:pt x="186" y="17"/>
                          <a:pt x="185" y="17"/>
                          <a:pt x="185" y="17"/>
                        </a:cubicBezTo>
                        <a:cubicBezTo>
                          <a:pt x="185" y="17"/>
                          <a:pt x="185" y="17"/>
                          <a:pt x="185" y="17"/>
                        </a:cubicBezTo>
                        <a:cubicBezTo>
                          <a:pt x="184" y="17"/>
                          <a:pt x="185" y="17"/>
                          <a:pt x="185" y="17"/>
                        </a:cubicBezTo>
                        <a:cubicBezTo>
                          <a:pt x="184" y="17"/>
                          <a:pt x="184" y="18"/>
                          <a:pt x="183" y="17"/>
                        </a:cubicBezTo>
                        <a:cubicBezTo>
                          <a:pt x="183" y="18"/>
                          <a:pt x="182" y="18"/>
                          <a:pt x="183" y="18"/>
                        </a:cubicBezTo>
                        <a:cubicBezTo>
                          <a:pt x="182" y="18"/>
                          <a:pt x="182" y="18"/>
                          <a:pt x="182" y="18"/>
                        </a:cubicBezTo>
                        <a:cubicBezTo>
                          <a:pt x="182" y="17"/>
                          <a:pt x="181" y="18"/>
                          <a:pt x="181" y="18"/>
                        </a:cubicBezTo>
                        <a:cubicBezTo>
                          <a:pt x="181" y="18"/>
                          <a:pt x="181" y="18"/>
                          <a:pt x="181" y="17"/>
                        </a:cubicBezTo>
                        <a:cubicBezTo>
                          <a:pt x="183" y="17"/>
                          <a:pt x="186" y="16"/>
                          <a:pt x="187" y="16"/>
                        </a:cubicBezTo>
                        <a:cubicBezTo>
                          <a:pt x="187" y="16"/>
                          <a:pt x="187" y="16"/>
                          <a:pt x="187" y="16"/>
                        </a:cubicBezTo>
                        <a:cubicBezTo>
                          <a:pt x="187" y="16"/>
                          <a:pt x="187" y="17"/>
                          <a:pt x="187" y="16"/>
                        </a:cubicBezTo>
                        <a:cubicBezTo>
                          <a:pt x="187" y="16"/>
                          <a:pt x="188" y="16"/>
                          <a:pt x="188" y="16"/>
                        </a:cubicBezTo>
                        <a:cubicBezTo>
                          <a:pt x="188" y="16"/>
                          <a:pt x="188" y="16"/>
                          <a:pt x="189" y="16"/>
                        </a:cubicBezTo>
                        <a:cubicBezTo>
                          <a:pt x="189" y="16"/>
                          <a:pt x="189" y="16"/>
                          <a:pt x="189" y="16"/>
                        </a:cubicBezTo>
                        <a:cubicBezTo>
                          <a:pt x="189" y="16"/>
                          <a:pt x="189" y="16"/>
                          <a:pt x="189" y="16"/>
                        </a:cubicBezTo>
                        <a:cubicBezTo>
                          <a:pt x="189" y="16"/>
                          <a:pt x="189" y="16"/>
                          <a:pt x="189" y="16"/>
                        </a:cubicBezTo>
                        <a:cubicBezTo>
                          <a:pt x="189" y="16"/>
                          <a:pt x="189" y="16"/>
                          <a:pt x="190" y="16"/>
                        </a:cubicBezTo>
                        <a:cubicBezTo>
                          <a:pt x="190" y="16"/>
                          <a:pt x="190" y="15"/>
                          <a:pt x="190" y="16"/>
                        </a:cubicBezTo>
                        <a:cubicBezTo>
                          <a:pt x="190" y="16"/>
                          <a:pt x="190" y="16"/>
                          <a:pt x="190" y="16"/>
                        </a:cubicBezTo>
                        <a:cubicBezTo>
                          <a:pt x="190" y="16"/>
                          <a:pt x="191" y="15"/>
                          <a:pt x="191" y="15"/>
                        </a:cubicBez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1" y="15"/>
                          <a:pt x="192" y="15"/>
                          <a:pt x="192" y="15"/>
                        </a:cubicBezTo>
                        <a:cubicBezTo>
                          <a:pt x="192" y="15"/>
                          <a:pt x="192" y="15"/>
                          <a:pt x="192" y="15"/>
                        </a:cubicBezTo>
                        <a:cubicBezTo>
                          <a:pt x="192" y="15"/>
                          <a:pt x="192" y="15"/>
                          <a:pt x="193" y="15"/>
                        </a:cubicBezTo>
                        <a:cubicBezTo>
                          <a:pt x="192" y="15"/>
                          <a:pt x="192" y="15"/>
                          <a:pt x="192" y="15"/>
                        </a:cubicBezTo>
                        <a:cubicBezTo>
                          <a:pt x="193" y="15"/>
                          <a:pt x="194" y="14"/>
                          <a:pt x="194" y="15"/>
                        </a:cubicBezTo>
                        <a:cubicBezTo>
                          <a:pt x="194" y="14"/>
                          <a:pt x="193" y="14"/>
                          <a:pt x="193" y="15"/>
                        </a:cubicBezTo>
                        <a:cubicBezTo>
                          <a:pt x="193" y="14"/>
                          <a:pt x="193" y="14"/>
                          <a:pt x="193" y="14"/>
                        </a:cubicBezTo>
                        <a:cubicBezTo>
                          <a:pt x="194" y="14"/>
                          <a:pt x="194" y="14"/>
                          <a:pt x="194" y="14"/>
                        </a:cubicBezTo>
                        <a:cubicBezTo>
                          <a:pt x="194" y="14"/>
                          <a:pt x="194" y="14"/>
                          <a:pt x="194" y="14"/>
                        </a:cubicBezTo>
                        <a:cubicBezTo>
                          <a:pt x="195" y="13"/>
                          <a:pt x="193" y="14"/>
                          <a:pt x="193" y="13"/>
                        </a:cubicBezTo>
                        <a:cubicBezTo>
                          <a:pt x="193" y="14"/>
                          <a:pt x="193" y="14"/>
                          <a:pt x="192" y="14"/>
                        </a:cubicBezTo>
                        <a:cubicBezTo>
                          <a:pt x="192" y="14"/>
                          <a:pt x="192" y="14"/>
                          <a:pt x="192" y="14"/>
                        </a:cubicBezTo>
                        <a:cubicBezTo>
                          <a:pt x="192" y="14"/>
                          <a:pt x="192" y="14"/>
                          <a:pt x="191" y="14"/>
                        </a:cubicBezTo>
                        <a:cubicBezTo>
                          <a:pt x="192" y="13"/>
                          <a:pt x="193" y="14"/>
                          <a:pt x="193" y="13"/>
                        </a:cubicBezTo>
                        <a:cubicBezTo>
                          <a:pt x="193" y="13"/>
                          <a:pt x="194" y="13"/>
                          <a:pt x="194" y="13"/>
                        </a:cubicBezTo>
                        <a:cubicBezTo>
                          <a:pt x="194" y="13"/>
                          <a:pt x="194" y="13"/>
                          <a:pt x="194" y="13"/>
                        </a:cubicBezTo>
                        <a:cubicBezTo>
                          <a:pt x="194" y="13"/>
                          <a:pt x="194" y="13"/>
                          <a:pt x="195" y="13"/>
                        </a:cubicBezTo>
                        <a:cubicBezTo>
                          <a:pt x="195" y="13"/>
                          <a:pt x="195" y="13"/>
                          <a:pt x="195" y="13"/>
                        </a:cubicBezTo>
                        <a:cubicBezTo>
                          <a:pt x="195" y="13"/>
                          <a:pt x="195" y="13"/>
                          <a:pt x="195" y="13"/>
                        </a:cubicBezTo>
                        <a:cubicBezTo>
                          <a:pt x="195" y="13"/>
                          <a:pt x="195" y="12"/>
                          <a:pt x="195" y="12"/>
                        </a:cubicBezTo>
                        <a:cubicBezTo>
                          <a:pt x="196" y="12"/>
                          <a:pt x="196" y="13"/>
                          <a:pt x="196" y="12"/>
                        </a:cubicBezTo>
                        <a:cubicBezTo>
                          <a:pt x="196" y="12"/>
                          <a:pt x="196" y="12"/>
                          <a:pt x="196" y="12"/>
                        </a:cubicBezTo>
                        <a:cubicBezTo>
                          <a:pt x="196" y="12"/>
                          <a:pt x="196" y="12"/>
                          <a:pt x="197" y="12"/>
                        </a:cubicBezTo>
                        <a:cubicBezTo>
                          <a:pt x="197" y="12"/>
                          <a:pt x="196" y="12"/>
                          <a:pt x="196" y="12"/>
                        </a:cubicBezTo>
                        <a:cubicBezTo>
                          <a:pt x="197" y="12"/>
                          <a:pt x="197" y="12"/>
                          <a:pt x="197" y="12"/>
                        </a:cubicBezTo>
                        <a:cubicBezTo>
                          <a:pt x="197" y="12"/>
                          <a:pt x="197" y="12"/>
                          <a:pt x="197" y="12"/>
                        </a:cubicBezTo>
                        <a:cubicBezTo>
                          <a:pt x="197" y="12"/>
                          <a:pt x="196" y="12"/>
                          <a:pt x="195" y="12"/>
                        </a:cubicBezTo>
                        <a:cubicBezTo>
                          <a:pt x="195" y="12"/>
                          <a:pt x="195" y="12"/>
                          <a:pt x="195" y="13"/>
                        </a:cubicBezTo>
                        <a:cubicBezTo>
                          <a:pt x="195" y="13"/>
                          <a:pt x="195" y="13"/>
                          <a:pt x="195" y="13"/>
                        </a:cubicBezTo>
                        <a:cubicBezTo>
                          <a:pt x="195" y="13"/>
                          <a:pt x="195" y="13"/>
                          <a:pt x="195" y="13"/>
                        </a:cubicBezTo>
                        <a:cubicBezTo>
                          <a:pt x="195" y="13"/>
                          <a:pt x="195" y="13"/>
                          <a:pt x="195" y="13"/>
                        </a:cubicBezTo>
                        <a:cubicBezTo>
                          <a:pt x="194" y="13"/>
                          <a:pt x="194" y="13"/>
                          <a:pt x="194" y="13"/>
                        </a:cubicBezTo>
                        <a:cubicBezTo>
                          <a:pt x="194" y="13"/>
                          <a:pt x="194" y="13"/>
                          <a:pt x="194" y="13"/>
                        </a:cubicBezTo>
                        <a:cubicBezTo>
                          <a:pt x="194" y="13"/>
                          <a:pt x="194" y="13"/>
                          <a:pt x="195" y="12"/>
                        </a:cubicBezTo>
                        <a:cubicBezTo>
                          <a:pt x="195" y="12"/>
                          <a:pt x="194" y="13"/>
                          <a:pt x="194" y="12"/>
                        </a:cubicBezTo>
                        <a:cubicBezTo>
                          <a:pt x="194" y="12"/>
                          <a:pt x="193" y="13"/>
                          <a:pt x="193" y="13"/>
                        </a:cubicBezTo>
                        <a:cubicBezTo>
                          <a:pt x="193" y="12"/>
                          <a:pt x="194" y="12"/>
                          <a:pt x="194" y="12"/>
                        </a:cubicBezTo>
                        <a:cubicBezTo>
                          <a:pt x="194" y="12"/>
                          <a:pt x="194" y="12"/>
                          <a:pt x="194" y="12"/>
                        </a:cubicBezTo>
                        <a:cubicBezTo>
                          <a:pt x="194" y="12"/>
                          <a:pt x="194" y="12"/>
                          <a:pt x="194" y="12"/>
                        </a:cubicBezTo>
                        <a:cubicBezTo>
                          <a:pt x="195" y="12"/>
                          <a:pt x="195" y="12"/>
                          <a:pt x="195" y="12"/>
                        </a:cubicBezTo>
                        <a:cubicBezTo>
                          <a:pt x="195" y="12"/>
                          <a:pt x="195" y="12"/>
                          <a:pt x="195" y="12"/>
                        </a:cubicBezTo>
                        <a:cubicBezTo>
                          <a:pt x="195" y="12"/>
                          <a:pt x="196" y="12"/>
                          <a:pt x="196" y="12"/>
                        </a:cubicBezTo>
                        <a:cubicBezTo>
                          <a:pt x="196" y="11"/>
                          <a:pt x="196" y="11"/>
                          <a:pt x="196" y="11"/>
                        </a:cubicBezTo>
                        <a:cubicBezTo>
                          <a:pt x="196" y="11"/>
                          <a:pt x="196" y="11"/>
                          <a:pt x="196" y="11"/>
                        </a:cubicBezTo>
                        <a:cubicBezTo>
                          <a:pt x="196" y="11"/>
                          <a:pt x="197" y="11"/>
                          <a:pt x="196" y="11"/>
                        </a:cubicBezTo>
                        <a:cubicBezTo>
                          <a:pt x="196" y="11"/>
                          <a:pt x="196" y="11"/>
                          <a:pt x="197" y="11"/>
                        </a:cubicBezTo>
                        <a:cubicBezTo>
                          <a:pt x="196" y="11"/>
                          <a:pt x="196" y="12"/>
                          <a:pt x="197" y="11"/>
                        </a:cubicBezTo>
                        <a:cubicBezTo>
                          <a:pt x="197" y="11"/>
                          <a:pt x="197" y="11"/>
                          <a:pt x="197" y="11"/>
                        </a:cubicBezTo>
                        <a:cubicBezTo>
                          <a:pt x="197" y="11"/>
                          <a:pt x="197" y="11"/>
                          <a:pt x="197" y="11"/>
                        </a:cubicBezTo>
                        <a:cubicBezTo>
                          <a:pt x="197" y="11"/>
                          <a:pt x="197" y="11"/>
                          <a:pt x="197" y="11"/>
                        </a:cubicBezTo>
                        <a:cubicBezTo>
                          <a:pt x="198" y="11"/>
                          <a:pt x="198" y="11"/>
                          <a:pt x="198" y="11"/>
                        </a:cubicBezTo>
                        <a:cubicBezTo>
                          <a:pt x="198" y="11"/>
                          <a:pt x="198" y="11"/>
                          <a:pt x="197" y="11"/>
                        </a:cubicBezTo>
                        <a:cubicBezTo>
                          <a:pt x="197" y="11"/>
                          <a:pt x="198" y="11"/>
                          <a:pt x="198" y="11"/>
                        </a:cubicBezTo>
                        <a:cubicBezTo>
                          <a:pt x="198" y="11"/>
                          <a:pt x="199" y="11"/>
                          <a:pt x="199" y="11"/>
                        </a:cubicBezTo>
                        <a:cubicBezTo>
                          <a:pt x="199" y="10"/>
                          <a:pt x="198" y="11"/>
                          <a:pt x="199" y="10"/>
                        </a:cubicBezTo>
                        <a:cubicBezTo>
                          <a:pt x="199" y="10"/>
                          <a:pt x="199" y="10"/>
                          <a:pt x="199" y="10"/>
                        </a:cubicBezTo>
                        <a:cubicBezTo>
                          <a:pt x="199" y="10"/>
                          <a:pt x="199" y="10"/>
                          <a:pt x="200" y="10"/>
                        </a:cubicBezTo>
                        <a:cubicBezTo>
                          <a:pt x="200" y="10"/>
                          <a:pt x="200" y="10"/>
                          <a:pt x="201" y="10"/>
                        </a:cubicBezTo>
                        <a:cubicBezTo>
                          <a:pt x="201" y="10"/>
                          <a:pt x="200" y="10"/>
                          <a:pt x="200" y="10"/>
                        </a:cubicBezTo>
                        <a:cubicBezTo>
                          <a:pt x="200" y="10"/>
                          <a:pt x="200" y="10"/>
                          <a:pt x="200" y="10"/>
                        </a:cubicBezTo>
                        <a:cubicBezTo>
                          <a:pt x="200" y="10"/>
                          <a:pt x="200" y="10"/>
                          <a:pt x="200" y="11"/>
                        </a:cubicBezTo>
                        <a:cubicBezTo>
                          <a:pt x="200" y="11"/>
                          <a:pt x="200" y="10"/>
                          <a:pt x="200" y="10"/>
                        </a:cubicBezTo>
                        <a:cubicBezTo>
                          <a:pt x="200" y="10"/>
                          <a:pt x="200" y="10"/>
                          <a:pt x="200" y="10"/>
                        </a:cubicBezTo>
                        <a:cubicBezTo>
                          <a:pt x="201" y="10"/>
                          <a:pt x="200" y="10"/>
                          <a:pt x="201" y="10"/>
                        </a:cubicBezTo>
                        <a:cubicBezTo>
                          <a:pt x="201" y="10"/>
                          <a:pt x="201" y="10"/>
                          <a:pt x="202" y="10"/>
                        </a:cubicBezTo>
                        <a:cubicBezTo>
                          <a:pt x="201" y="10"/>
                          <a:pt x="201" y="10"/>
                          <a:pt x="201" y="10"/>
                        </a:cubicBezTo>
                        <a:cubicBezTo>
                          <a:pt x="201" y="10"/>
                          <a:pt x="201" y="10"/>
                          <a:pt x="202" y="9"/>
                        </a:cubicBezTo>
                        <a:cubicBezTo>
                          <a:pt x="202" y="10"/>
                          <a:pt x="202" y="10"/>
                          <a:pt x="202" y="10"/>
                        </a:cubicBezTo>
                        <a:cubicBezTo>
                          <a:pt x="202" y="10"/>
                          <a:pt x="203" y="10"/>
                          <a:pt x="202" y="9"/>
                        </a:cubicBezTo>
                        <a:cubicBezTo>
                          <a:pt x="203" y="9"/>
                          <a:pt x="203" y="9"/>
                          <a:pt x="204" y="9"/>
                        </a:cubicBezTo>
                        <a:cubicBezTo>
                          <a:pt x="204" y="9"/>
                          <a:pt x="203" y="9"/>
                          <a:pt x="204" y="9"/>
                        </a:cubicBezTo>
                        <a:cubicBezTo>
                          <a:pt x="204" y="9"/>
                          <a:pt x="205" y="9"/>
                          <a:pt x="205" y="9"/>
                        </a:cubicBezTo>
                        <a:cubicBezTo>
                          <a:pt x="205" y="9"/>
                          <a:pt x="205" y="9"/>
                          <a:pt x="205" y="8"/>
                        </a:cubicBezTo>
                        <a:cubicBezTo>
                          <a:pt x="205" y="8"/>
                          <a:pt x="205" y="8"/>
                          <a:pt x="205" y="8"/>
                        </a:cubicBezTo>
                        <a:cubicBezTo>
                          <a:pt x="205" y="8"/>
                          <a:pt x="205" y="8"/>
                          <a:pt x="205" y="8"/>
                        </a:cubicBezTo>
                        <a:cubicBezTo>
                          <a:pt x="205" y="8"/>
                          <a:pt x="205" y="8"/>
                          <a:pt x="205" y="8"/>
                        </a:cubicBezTo>
                        <a:cubicBezTo>
                          <a:pt x="206" y="8"/>
                          <a:pt x="206" y="8"/>
                          <a:pt x="206" y="8"/>
                        </a:cubicBezTo>
                        <a:cubicBezTo>
                          <a:pt x="206" y="8"/>
                          <a:pt x="206" y="8"/>
                          <a:pt x="206" y="7"/>
                        </a:cubicBezTo>
                        <a:cubicBezTo>
                          <a:pt x="206" y="8"/>
                          <a:pt x="206" y="8"/>
                          <a:pt x="205" y="8"/>
                        </a:cubicBezTo>
                        <a:cubicBezTo>
                          <a:pt x="205" y="8"/>
                          <a:pt x="206" y="8"/>
                          <a:pt x="206" y="8"/>
                        </a:cubicBezTo>
                        <a:cubicBezTo>
                          <a:pt x="205" y="8"/>
                          <a:pt x="205" y="8"/>
                          <a:pt x="205" y="8"/>
                        </a:cubicBezTo>
                        <a:cubicBezTo>
                          <a:pt x="205" y="8"/>
                          <a:pt x="205" y="8"/>
                          <a:pt x="205" y="8"/>
                        </a:cubicBezTo>
                        <a:cubicBezTo>
                          <a:pt x="204" y="8"/>
                          <a:pt x="205" y="8"/>
                          <a:pt x="205" y="8"/>
                        </a:cubicBezTo>
                        <a:cubicBezTo>
                          <a:pt x="204" y="8"/>
                          <a:pt x="204" y="8"/>
                          <a:pt x="204" y="8"/>
                        </a:cubicBezTo>
                        <a:cubicBezTo>
                          <a:pt x="203" y="8"/>
                          <a:pt x="203" y="8"/>
                          <a:pt x="203" y="8"/>
                        </a:cubicBezTo>
                        <a:cubicBezTo>
                          <a:pt x="203" y="8"/>
                          <a:pt x="203" y="8"/>
                          <a:pt x="203" y="8"/>
                        </a:cubicBezTo>
                        <a:cubicBezTo>
                          <a:pt x="203" y="8"/>
                          <a:pt x="203" y="8"/>
                          <a:pt x="204" y="8"/>
                        </a:cubicBezTo>
                        <a:cubicBezTo>
                          <a:pt x="204" y="8"/>
                          <a:pt x="203" y="8"/>
                          <a:pt x="203" y="8"/>
                        </a:cubicBezTo>
                        <a:cubicBezTo>
                          <a:pt x="203" y="8"/>
                          <a:pt x="204" y="7"/>
                          <a:pt x="204" y="7"/>
                        </a:cubicBezTo>
                        <a:cubicBezTo>
                          <a:pt x="204" y="8"/>
                          <a:pt x="204" y="7"/>
                          <a:pt x="204" y="8"/>
                        </a:cubicBezTo>
                        <a:cubicBezTo>
                          <a:pt x="204" y="8"/>
                          <a:pt x="204" y="7"/>
                          <a:pt x="204" y="7"/>
                        </a:cubicBezTo>
                        <a:cubicBezTo>
                          <a:pt x="204" y="7"/>
                          <a:pt x="204" y="7"/>
                          <a:pt x="204" y="8"/>
                        </a:cubicBezTo>
                        <a:cubicBezTo>
                          <a:pt x="204" y="8"/>
                          <a:pt x="204" y="7"/>
                          <a:pt x="205" y="7"/>
                        </a:cubicBezTo>
                        <a:cubicBezTo>
                          <a:pt x="204" y="7"/>
                          <a:pt x="204" y="7"/>
                          <a:pt x="204" y="7"/>
                        </a:cubicBezTo>
                        <a:cubicBezTo>
                          <a:pt x="205" y="7"/>
                          <a:pt x="205" y="7"/>
                          <a:pt x="205" y="7"/>
                        </a:cubicBezTo>
                        <a:cubicBezTo>
                          <a:pt x="205" y="7"/>
                          <a:pt x="206" y="7"/>
                          <a:pt x="207" y="7"/>
                        </a:cubicBezTo>
                        <a:cubicBezTo>
                          <a:pt x="207" y="7"/>
                          <a:pt x="206" y="7"/>
                          <a:pt x="207" y="7"/>
                        </a:cubicBezTo>
                        <a:cubicBezTo>
                          <a:pt x="207" y="7"/>
                          <a:pt x="207" y="7"/>
                          <a:pt x="207" y="7"/>
                        </a:cubicBezTo>
                        <a:cubicBezTo>
                          <a:pt x="207" y="6"/>
                          <a:pt x="207" y="7"/>
                          <a:pt x="207" y="7"/>
                        </a:cubicBezTo>
                        <a:cubicBezTo>
                          <a:pt x="207" y="7"/>
                          <a:pt x="207" y="6"/>
                          <a:pt x="208" y="6"/>
                        </a:cubicBezTo>
                        <a:cubicBezTo>
                          <a:pt x="207" y="6"/>
                          <a:pt x="207" y="7"/>
                          <a:pt x="207" y="6"/>
                        </a:cubicBezTo>
                        <a:cubicBezTo>
                          <a:pt x="207" y="6"/>
                          <a:pt x="208" y="6"/>
                          <a:pt x="208" y="6"/>
                        </a:cubicBezTo>
                        <a:cubicBezTo>
                          <a:pt x="208" y="6"/>
                          <a:pt x="208" y="6"/>
                          <a:pt x="208" y="6"/>
                        </a:cubicBezTo>
                        <a:cubicBezTo>
                          <a:pt x="208" y="6"/>
                          <a:pt x="208" y="6"/>
                          <a:pt x="209" y="6"/>
                        </a:cubicBezTo>
                        <a:cubicBezTo>
                          <a:pt x="209" y="6"/>
                          <a:pt x="209" y="6"/>
                          <a:pt x="209" y="6"/>
                        </a:cubicBezTo>
                        <a:cubicBezTo>
                          <a:pt x="209" y="6"/>
                          <a:pt x="209" y="6"/>
                          <a:pt x="209" y="6"/>
                        </a:cubicBezTo>
                        <a:cubicBezTo>
                          <a:pt x="210" y="5"/>
                          <a:pt x="210" y="5"/>
                          <a:pt x="211" y="5"/>
                        </a:cubicBezTo>
                        <a:cubicBezTo>
                          <a:pt x="211" y="5"/>
                          <a:pt x="211" y="5"/>
                          <a:pt x="211" y="5"/>
                        </a:cubicBezTo>
                        <a:cubicBezTo>
                          <a:pt x="211" y="5"/>
                          <a:pt x="211" y="5"/>
                          <a:pt x="212" y="4"/>
                        </a:cubicBezTo>
                        <a:cubicBezTo>
                          <a:pt x="212" y="4"/>
                          <a:pt x="212" y="4"/>
                          <a:pt x="212" y="4"/>
                        </a:cubicBezTo>
                        <a:cubicBezTo>
                          <a:pt x="212" y="4"/>
                          <a:pt x="212" y="4"/>
                          <a:pt x="212" y="4"/>
                        </a:cubicBezTo>
                        <a:cubicBezTo>
                          <a:pt x="212" y="4"/>
                          <a:pt x="212" y="4"/>
                          <a:pt x="212" y="4"/>
                        </a:cubicBezTo>
                        <a:cubicBezTo>
                          <a:pt x="212" y="4"/>
                          <a:pt x="212" y="4"/>
                          <a:pt x="212" y="4"/>
                        </a:cubicBezTo>
                        <a:cubicBezTo>
                          <a:pt x="212" y="4"/>
                          <a:pt x="213" y="4"/>
                          <a:pt x="213" y="4"/>
                        </a:cubicBezTo>
                        <a:cubicBezTo>
                          <a:pt x="213" y="4"/>
                          <a:pt x="212" y="4"/>
                          <a:pt x="212" y="4"/>
                        </a:cubicBezTo>
                        <a:cubicBezTo>
                          <a:pt x="213" y="4"/>
                          <a:pt x="213" y="4"/>
                          <a:pt x="213" y="4"/>
                        </a:cubicBezTo>
                        <a:cubicBezTo>
                          <a:pt x="213" y="4"/>
                          <a:pt x="213" y="4"/>
                          <a:pt x="213" y="4"/>
                        </a:cubicBezTo>
                        <a:cubicBezTo>
                          <a:pt x="213" y="4"/>
                          <a:pt x="213" y="4"/>
                          <a:pt x="214" y="4"/>
                        </a:cubicBezTo>
                        <a:cubicBezTo>
                          <a:pt x="214" y="4"/>
                          <a:pt x="215" y="3"/>
                          <a:pt x="216" y="4"/>
                        </a:cubicBezTo>
                        <a:cubicBezTo>
                          <a:pt x="216" y="4"/>
                          <a:pt x="217" y="4"/>
                          <a:pt x="217" y="4"/>
                        </a:cubicBezTo>
                        <a:cubicBezTo>
                          <a:pt x="217" y="4"/>
                          <a:pt x="217" y="4"/>
                          <a:pt x="217" y="4"/>
                        </a:cubicBezTo>
                        <a:cubicBezTo>
                          <a:pt x="217" y="3"/>
                          <a:pt x="217" y="4"/>
                          <a:pt x="217" y="4"/>
                        </a:cubicBezTo>
                        <a:cubicBezTo>
                          <a:pt x="217" y="3"/>
                          <a:pt x="217" y="3"/>
                          <a:pt x="217" y="3"/>
                        </a:cubicBezTo>
                        <a:cubicBezTo>
                          <a:pt x="217" y="4"/>
                          <a:pt x="218" y="4"/>
                          <a:pt x="219" y="3"/>
                        </a:cubicBezTo>
                        <a:cubicBezTo>
                          <a:pt x="219" y="3"/>
                          <a:pt x="218" y="3"/>
                          <a:pt x="218" y="3"/>
                        </a:cubicBezTo>
                        <a:cubicBezTo>
                          <a:pt x="219" y="3"/>
                          <a:pt x="219" y="3"/>
                          <a:pt x="219" y="3"/>
                        </a:cubicBezTo>
                        <a:cubicBezTo>
                          <a:pt x="219" y="3"/>
                          <a:pt x="220" y="3"/>
                          <a:pt x="220" y="3"/>
                        </a:cubicBezTo>
                        <a:cubicBezTo>
                          <a:pt x="220" y="3"/>
                          <a:pt x="220" y="3"/>
                          <a:pt x="220" y="4"/>
                        </a:cubicBezTo>
                        <a:cubicBezTo>
                          <a:pt x="221" y="4"/>
                          <a:pt x="222" y="4"/>
                          <a:pt x="222" y="3"/>
                        </a:cubicBezTo>
                        <a:cubicBezTo>
                          <a:pt x="222" y="4"/>
                          <a:pt x="222" y="3"/>
                          <a:pt x="223" y="4"/>
                        </a:cubicBezTo>
                        <a:cubicBezTo>
                          <a:pt x="223" y="3"/>
                          <a:pt x="223" y="3"/>
                          <a:pt x="223" y="3"/>
                        </a:cubicBezTo>
                        <a:cubicBezTo>
                          <a:pt x="222" y="3"/>
                          <a:pt x="222" y="3"/>
                          <a:pt x="221" y="3"/>
                        </a:cubicBezTo>
                        <a:cubicBezTo>
                          <a:pt x="221" y="3"/>
                          <a:pt x="221" y="4"/>
                          <a:pt x="221" y="3"/>
                        </a:cubicBezTo>
                        <a:cubicBezTo>
                          <a:pt x="221" y="3"/>
                          <a:pt x="221" y="3"/>
                          <a:pt x="221" y="3"/>
                        </a:cubicBezTo>
                        <a:cubicBezTo>
                          <a:pt x="221" y="3"/>
                          <a:pt x="221" y="3"/>
                          <a:pt x="221" y="3"/>
                        </a:cubicBezTo>
                        <a:cubicBezTo>
                          <a:pt x="221" y="3"/>
                          <a:pt x="221" y="3"/>
                          <a:pt x="221" y="3"/>
                        </a:cubicBezTo>
                        <a:cubicBezTo>
                          <a:pt x="222" y="3"/>
                          <a:pt x="221" y="3"/>
                          <a:pt x="222" y="3"/>
                        </a:cubicBezTo>
                        <a:cubicBezTo>
                          <a:pt x="221" y="3"/>
                          <a:pt x="222" y="3"/>
                          <a:pt x="222" y="3"/>
                        </a:cubicBezTo>
                        <a:cubicBezTo>
                          <a:pt x="223" y="3"/>
                          <a:pt x="223" y="3"/>
                          <a:pt x="224" y="3"/>
                        </a:cubicBezTo>
                        <a:cubicBezTo>
                          <a:pt x="224" y="3"/>
                          <a:pt x="224" y="3"/>
                          <a:pt x="224" y="3"/>
                        </a:cubicBezTo>
                        <a:cubicBezTo>
                          <a:pt x="224" y="3"/>
                          <a:pt x="223" y="3"/>
                          <a:pt x="224" y="2"/>
                        </a:cubicBezTo>
                        <a:cubicBezTo>
                          <a:pt x="224" y="2"/>
                          <a:pt x="225" y="2"/>
                          <a:pt x="225" y="2"/>
                        </a:cubicBezTo>
                        <a:cubicBezTo>
                          <a:pt x="226" y="2"/>
                          <a:pt x="228" y="2"/>
                          <a:pt x="228" y="2"/>
                        </a:cubicBezTo>
                        <a:cubicBezTo>
                          <a:pt x="229" y="2"/>
                          <a:pt x="228" y="2"/>
                          <a:pt x="229" y="2"/>
                        </a:cubicBezTo>
                        <a:cubicBezTo>
                          <a:pt x="228" y="2"/>
                          <a:pt x="228" y="2"/>
                          <a:pt x="228" y="2"/>
                        </a:cubicBezTo>
                        <a:cubicBezTo>
                          <a:pt x="228" y="1"/>
                          <a:pt x="229" y="1"/>
                          <a:pt x="229" y="1"/>
                        </a:cubicBezTo>
                        <a:cubicBezTo>
                          <a:pt x="229" y="1"/>
                          <a:pt x="229" y="1"/>
                          <a:pt x="229" y="1"/>
                        </a:cubicBezTo>
                        <a:cubicBezTo>
                          <a:pt x="229" y="1"/>
                          <a:pt x="230" y="1"/>
                          <a:pt x="230" y="1"/>
                        </a:cubicBezTo>
                        <a:cubicBezTo>
                          <a:pt x="230" y="1"/>
                          <a:pt x="230" y="1"/>
                          <a:pt x="230" y="1"/>
                        </a:cubicBezTo>
                        <a:cubicBezTo>
                          <a:pt x="229" y="1"/>
                          <a:pt x="230" y="1"/>
                          <a:pt x="230" y="2"/>
                        </a:cubicBezTo>
                        <a:cubicBezTo>
                          <a:pt x="230" y="1"/>
                          <a:pt x="231" y="2"/>
                          <a:pt x="231" y="1"/>
                        </a:cubicBezTo>
                        <a:cubicBezTo>
                          <a:pt x="231" y="1"/>
                          <a:pt x="231" y="1"/>
                          <a:pt x="230" y="1"/>
                        </a:cubicBezTo>
                        <a:cubicBezTo>
                          <a:pt x="231" y="1"/>
                          <a:pt x="231" y="1"/>
                          <a:pt x="231" y="1"/>
                        </a:cubicBezTo>
                        <a:cubicBezTo>
                          <a:pt x="231" y="1"/>
                          <a:pt x="231" y="1"/>
                          <a:pt x="230" y="1"/>
                        </a:cubicBezTo>
                        <a:cubicBezTo>
                          <a:pt x="231" y="0"/>
                          <a:pt x="232" y="0"/>
                          <a:pt x="232" y="1"/>
                        </a:cubicBezTo>
                        <a:cubicBezTo>
                          <a:pt x="232" y="1"/>
                          <a:pt x="233" y="1"/>
                          <a:pt x="233" y="1"/>
                        </a:cubicBezTo>
                        <a:cubicBezTo>
                          <a:pt x="233" y="1"/>
                          <a:pt x="233" y="1"/>
                          <a:pt x="233" y="1"/>
                        </a:cubicBezTo>
                        <a:cubicBezTo>
                          <a:pt x="233" y="1"/>
                          <a:pt x="233" y="1"/>
                          <a:pt x="233" y="1"/>
                        </a:cubicBezTo>
                        <a:cubicBezTo>
                          <a:pt x="233" y="1"/>
                          <a:pt x="233" y="0"/>
                          <a:pt x="233" y="0"/>
                        </a:cubicBezTo>
                        <a:cubicBezTo>
                          <a:pt x="233" y="0"/>
                          <a:pt x="233" y="0"/>
                          <a:pt x="234" y="0"/>
                        </a:cubicBezTo>
                        <a:cubicBezTo>
                          <a:pt x="233" y="1"/>
                          <a:pt x="234" y="0"/>
                          <a:pt x="234" y="0"/>
                        </a:cubicBezTo>
                        <a:cubicBezTo>
                          <a:pt x="234" y="1"/>
                          <a:pt x="234" y="0"/>
                          <a:pt x="234" y="0"/>
                        </a:cubicBezTo>
                        <a:cubicBezTo>
                          <a:pt x="235" y="0"/>
                          <a:pt x="235" y="0"/>
                          <a:pt x="235" y="0"/>
                        </a:cubicBezTo>
                        <a:cubicBezTo>
                          <a:pt x="235" y="0"/>
                          <a:pt x="236" y="0"/>
                          <a:pt x="237" y="0"/>
                        </a:cubicBezTo>
                        <a:cubicBezTo>
                          <a:pt x="237" y="0"/>
                          <a:pt x="238" y="0"/>
                          <a:pt x="238" y="0"/>
                        </a:cubicBezTo>
                        <a:cubicBezTo>
                          <a:pt x="238" y="0"/>
                          <a:pt x="238" y="0"/>
                          <a:pt x="239" y="0"/>
                        </a:cubicBezTo>
                        <a:cubicBezTo>
                          <a:pt x="240" y="0"/>
                          <a:pt x="241" y="0"/>
                          <a:pt x="242" y="0"/>
                        </a:cubicBezTo>
                        <a:cubicBezTo>
                          <a:pt x="242" y="0"/>
                          <a:pt x="242" y="0"/>
                          <a:pt x="243" y="0"/>
                        </a:cubicBezTo>
                        <a:cubicBezTo>
                          <a:pt x="245" y="0"/>
                          <a:pt x="247" y="0"/>
                          <a:pt x="248" y="2"/>
                        </a:cubicBezTo>
                        <a:cubicBezTo>
                          <a:pt x="248" y="2"/>
                          <a:pt x="248" y="2"/>
                          <a:pt x="249" y="2"/>
                        </a:cubicBezTo>
                        <a:cubicBezTo>
                          <a:pt x="249" y="2"/>
                          <a:pt x="249" y="2"/>
                          <a:pt x="249" y="2"/>
                        </a:cubicBezTo>
                        <a:cubicBezTo>
                          <a:pt x="250" y="2"/>
                          <a:pt x="250" y="2"/>
                          <a:pt x="250" y="3"/>
                        </a:cubicBezTo>
                        <a:cubicBezTo>
                          <a:pt x="250" y="3"/>
                          <a:pt x="250" y="4"/>
                          <a:pt x="250" y="4"/>
                        </a:cubicBezTo>
                        <a:cubicBezTo>
                          <a:pt x="250" y="4"/>
                          <a:pt x="250" y="5"/>
                          <a:pt x="250" y="5"/>
                        </a:cubicBezTo>
                        <a:cubicBezTo>
                          <a:pt x="249" y="5"/>
                          <a:pt x="249" y="5"/>
                          <a:pt x="249" y="5"/>
                        </a:cubicBezTo>
                        <a:cubicBezTo>
                          <a:pt x="251" y="5"/>
                          <a:pt x="249" y="6"/>
                          <a:pt x="249" y="7"/>
                        </a:cubicBezTo>
                        <a:cubicBezTo>
                          <a:pt x="249" y="7"/>
                          <a:pt x="249" y="7"/>
                          <a:pt x="248" y="7"/>
                        </a:cubicBezTo>
                        <a:cubicBezTo>
                          <a:pt x="248" y="8"/>
                          <a:pt x="246" y="9"/>
                          <a:pt x="245" y="10"/>
                        </a:cubicBezTo>
                        <a:cubicBezTo>
                          <a:pt x="246" y="10"/>
                          <a:pt x="246" y="10"/>
                          <a:pt x="246" y="10"/>
                        </a:cubicBezTo>
                        <a:cubicBezTo>
                          <a:pt x="246" y="10"/>
                          <a:pt x="246" y="10"/>
                          <a:pt x="245" y="10"/>
                        </a:cubicBezTo>
                        <a:cubicBezTo>
                          <a:pt x="245" y="11"/>
                          <a:pt x="244" y="11"/>
                          <a:pt x="244" y="11"/>
                        </a:cubicBezTo>
                        <a:cubicBezTo>
                          <a:pt x="242" y="12"/>
                          <a:pt x="242" y="13"/>
                          <a:pt x="239" y="13"/>
                        </a:cubicBezTo>
                        <a:cubicBezTo>
                          <a:pt x="239" y="14"/>
                          <a:pt x="239" y="14"/>
                          <a:pt x="239" y="14"/>
                        </a:cubicBezTo>
                        <a:cubicBezTo>
                          <a:pt x="238" y="14"/>
                          <a:pt x="237" y="14"/>
                          <a:pt x="236" y="15"/>
                        </a:cubicBezTo>
                        <a:cubicBezTo>
                          <a:pt x="236" y="15"/>
                          <a:pt x="235" y="15"/>
                          <a:pt x="234" y="15"/>
                        </a:cubicBezTo>
                        <a:cubicBezTo>
                          <a:pt x="233" y="15"/>
                          <a:pt x="233" y="15"/>
                          <a:pt x="232" y="16"/>
                        </a:cubicBezTo>
                        <a:cubicBezTo>
                          <a:pt x="232" y="16"/>
                          <a:pt x="232" y="16"/>
                          <a:pt x="232" y="16"/>
                        </a:cubicBezTo>
                        <a:cubicBezTo>
                          <a:pt x="230" y="16"/>
                          <a:pt x="228" y="17"/>
                          <a:pt x="226" y="17"/>
                        </a:cubicBezTo>
                        <a:cubicBezTo>
                          <a:pt x="226" y="17"/>
                          <a:pt x="226" y="17"/>
                          <a:pt x="226" y="17"/>
                        </a:cubicBezTo>
                        <a:close/>
                        <a:moveTo>
                          <a:pt x="210" y="6"/>
                        </a:moveTo>
                        <a:cubicBezTo>
                          <a:pt x="210" y="6"/>
                          <a:pt x="210" y="5"/>
                          <a:pt x="209" y="6"/>
                        </a:cubicBezTo>
                        <a:cubicBezTo>
                          <a:pt x="209" y="6"/>
                          <a:pt x="210" y="6"/>
                          <a:pt x="210" y="6"/>
                        </a:cubicBezTo>
                        <a:close/>
                        <a:moveTo>
                          <a:pt x="210" y="6"/>
                        </a:moveTo>
                        <a:cubicBezTo>
                          <a:pt x="210" y="6"/>
                          <a:pt x="210" y="6"/>
                          <a:pt x="210" y="6"/>
                        </a:cubicBezTo>
                        <a:cubicBezTo>
                          <a:pt x="210" y="6"/>
                          <a:pt x="210" y="6"/>
                          <a:pt x="210" y="6"/>
                        </a:cubicBezTo>
                        <a:close/>
                        <a:moveTo>
                          <a:pt x="204" y="8"/>
                        </a:moveTo>
                        <a:cubicBezTo>
                          <a:pt x="205" y="8"/>
                          <a:pt x="205" y="8"/>
                          <a:pt x="205" y="8"/>
                        </a:cubicBezTo>
                        <a:cubicBezTo>
                          <a:pt x="205" y="8"/>
                          <a:pt x="205" y="8"/>
                          <a:pt x="205" y="8"/>
                        </a:cubicBezTo>
                        <a:cubicBezTo>
                          <a:pt x="204" y="8"/>
                          <a:pt x="204" y="8"/>
                          <a:pt x="204" y="8"/>
                        </a:cubicBezTo>
                        <a:close/>
                        <a:moveTo>
                          <a:pt x="209" y="7"/>
                        </a:moveTo>
                        <a:cubicBezTo>
                          <a:pt x="209" y="7"/>
                          <a:pt x="209" y="7"/>
                          <a:pt x="209" y="7"/>
                        </a:cubicBezTo>
                        <a:cubicBezTo>
                          <a:pt x="209" y="7"/>
                          <a:pt x="209" y="7"/>
                          <a:pt x="209" y="7"/>
                        </a:cubicBezTo>
                        <a:cubicBezTo>
                          <a:pt x="209" y="7"/>
                          <a:pt x="209" y="7"/>
                          <a:pt x="209" y="7"/>
                        </a:cubicBezTo>
                        <a:close/>
                        <a:moveTo>
                          <a:pt x="207" y="7"/>
                        </a:moveTo>
                        <a:cubicBezTo>
                          <a:pt x="208" y="7"/>
                          <a:pt x="208" y="7"/>
                          <a:pt x="207" y="8"/>
                        </a:cubicBezTo>
                        <a:cubicBezTo>
                          <a:pt x="208" y="8"/>
                          <a:pt x="208" y="7"/>
                          <a:pt x="208" y="7"/>
                        </a:cubicBezTo>
                        <a:cubicBezTo>
                          <a:pt x="208" y="7"/>
                          <a:pt x="208" y="7"/>
                          <a:pt x="208" y="7"/>
                        </a:cubicBezTo>
                        <a:cubicBezTo>
                          <a:pt x="208" y="7"/>
                          <a:pt x="207" y="7"/>
                          <a:pt x="207" y="7"/>
                        </a:cubicBezTo>
                        <a:cubicBezTo>
                          <a:pt x="208" y="7"/>
                          <a:pt x="207" y="7"/>
                          <a:pt x="207" y="7"/>
                        </a:cubicBezTo>
                        <a:close/>
                        <a:moveTo>
                          <a:pt x="207" y="8"/>
                        </a:moveTo>
                        <a:cubicBezTo>
                          <a:pt x="207" y="8"/>
                          <a:pt x="208" y="7"/>
                          <a:pt x="207" y="7"/>
                        </a:cubicBezTo>
                        <a:cubicBezTo>
                          <a:pt x="207" y="8"/>
                          <a:pt x="206" y="8"/>
                          <a:pt x="207" y="8"/>
                        </a:cubicBezTo>
                        <a:close/>
                        <a:moveTo>
                          <a:pt x="206" y="8"/>
                        </a:moveTo>
                        <a:cubicBezTo>
                          <a:pt x="206" y="8"/>
                          <a:pt x="206" y="8"/>
                          <a:pt x="206" y="8"/>
                        </a:cubicBezTo>
                        <a:cubicBezTo>
                          <a:pt x="206" y="8"/>
                          <a:pt x="206" y="8"/>
                          <a:pt x="206" y="8"/>
                        </a:cubicBezTo>
                        <a:cubicBezTo>
                          <a:pt x="206" y="8"/>
                          <a:pt x="206" y="8"/>
                          <a:pt x="206" y="8"/>
                        </a:cubicBezTo>
                        <a:cubicBezTo>
                          <a:pt x="206" y="8"/>
                          <a:pt x="206" y="8"/>
                          <a:pt x="206" y="8"/>
                        </a:cubicBezTo>
                        <a:close/>
                        <a:moveTo>
                          <a:pt x="208" y="8"/>
                        </a:moveTo>
                        <a:cubicBezTo>
                          <a:pt x="209" y="8"/>
                          <a:pt x="209" y="8"/>
                          <a:pt x="209" y="8"/>
                        </a:cubicBezTo>
                        <a:cubicBezTo>
                          <a:pt x="209" y="7"/>
                          <a:pt x="209" y="8"/>
                          <a:pt x="209" y="7"/>
                        </a:cubicBezTo>
                        <a:cubicBezTo>
                          <a:pt x="209" y="7"/>
                          <a:pt x="209" y="7"/>
                          <a:pt x="209" y="7"/>
                        </a:cubicBezTo>
                        <a:cubicBezTo>
                          <a:pt x="208" y="7"/>
                          <a:pt x="209" y="7"/>
                          <a:pt x="208" y="8"/>
                        </a:cubicBezTo>
                        <a:close/>
                        <a:moveTo>
                          <a:pt x="205" y="9"/>
                        </a:moveTo>
                        <a:cubicBezTo>
                          <a:pt x="205" y="9"/>
                          <a:pt x="205" y="9"/>
                          <a:pt x="205" y="9"/>
                        </a:cubicBezTo>
                        <a:cubicBezTo>
                          <a:pt x="206" y="8"/>
                          <a:pt x="206" y="8"/>
                          <a:pt x="206" y="8"/>
                        </a:cubicBezTo>
                        <a:cubicBezTo>
                          <a:pt x="205" y="8"/>
                          <a:pt x="205" y="8"/>
                          <a:pt x="205" y="9"/>
                        </a:cubicBezTo>
                        <a:close/>
                        <a:moveTo>
                          <a:pt x="208" y="8"/>
                        </a:moveTo>
                        <a:cubicBezTo>
                          <a:pt x="208" y="8"/>
                          <a:pt x="208" y="8"/>
                          <a:pt x="208" y="8"/>
                        </a:cubicBezTo>
                        <a:cubicBezTo>
                          <a:pt x="208" y="8"/>
                          <a:pt x="208" y="8"/>
                          <a:pt x="208" y="8"/>
                        </a:cubicBezTo>
                        <a:cubicBezTo>
                          <a:pt x="208" y="8"/>
                          <a:pt x="208" y="8"/>
                          <a:pt x="208" y="8"/>
                        </a:cubicBezTo>
                        <a:close/>
                        <a:moveTo>
                          <a:pt x="204" y="9"/>
                        </a:moveTo>
                        <a:cubicBezTo>
                          <a:pt x="204" y="9"/>
                          <a:pt x="204" y="9"/>
                          <a:pt x="204" y="9"/>
                        </a:cubicBezTo>
                        <a:cubicBezTo>
                          <a:pt x="204" y="9"/>
                          <a:pt x="205" y="9"/>
                          <a:pt x="204" y="9"/>
                        </a:cubicBezTo>
                        <a:cubicBezTo>
                          <a:pt x="204" y="9"/>
                          <a:pt x="204" y="9"/>
                          <a:pt x="204" y="9"/>
                        </a:cubicBezTo>
                        <a:cubicBezTo>
                          <a:pt x="204" y="9"/>
                          <a:pt x="204" y="9"/>
                          <a:pt x="204" y="9"/>
                        </a:cubicBezTo>
                        <a:close/>
                        <a:moveTo>
                          <a:pt x="203" y="10"/>
                        </a:moveTo>
                        <a:cubicBezTo>
                          <a:pt x="203" y="10"/>
                          <a:pt x="203" y="9"/>
                          <a:pt x="202" y="10"/>
                        </a:cubicBezTo>
                        <a:cubicBezTo>
                          <a:pt x="203" y="10"/>
                          <a:pt x="203" y="10"/>
                          <a:pt x="203" y="10"/>
                        </a:cubicBezTo>
                        <a:close/>
                        <a:moveTo>
                          <a:pt x="201" y="10"/>
                        </a:moveTo>
                        <a:cubicBezTo>
                          <a:pt x="202" y="10"/>
                          <a:pt x="202" y="10"/>
                          <a:pt x="202" y="10"/>
                        </a:cubicBezTo>
                        <a:cubicBezTo>
                          <a:pt x="202" y="10"/>
                          <a:pt x="202" y="10"/>
                          <a:pt x="202" y="10"/>
                        </a:cubicBezTo>
                        <a:cubicBezTo>
                          <a:pt x="202" y="10"/>
                          <a:pt x="201" y="10"/>
                          <a:pt x="201" y="10"/>
                        </a:cubicBezTo>
                        <a:cubicBezTo>
                          <a:pt x="201" y="10"/>
                          <a:pt x="201" y="10"/>
                          <a:pt x="201" y="10"/>
                        </a:cubicBezTo>
                        <a:close/>
                        <a:moveTo>
                          <a:pt x="199" y="11"/>
                        </a:moveTo>
                        <a:cubicBezTo>
                          <a:pt x="199" y="11"/>
                          <a:pt x="199" y="11"/>
                          <a:pt x="198" y="11"/>
                        </a:cubicBezTo>
                        <a:cubicBezTo>
                          <a:pt x="198" y="11"/>
                          <a:pt x="199" y="11"/>
                          <a:pt x="199" y="11"/>
                        </a:cubicBezTo>
                        <a:close/>
                        <a:moveTo>
                          <a:pt x="201" y="11"/>
                        </a:moveTo>
                        <a:cubicBezTo>
                          <a:pt x="201" y="11"/>
                          <a:pt x="202" y="11"/>
                          <a:pt x="202" y="11"/>
                        </a:cubicBezTo>
                        <a:cubicBezTo>
                          <a:pt x="202" y="11"/>
                          <a:pt x="202" y="11"/>
                          <a:pt x="202" y="11"/>
                        </a:cubicBezTo>
                        <a:cubicBezTo>
                          <a:pt x="202" y="11"/>
                          <a:pt x="201" y="11"/>
                          <a:pt x="201" y="11"/>
                        </a:cubicBezTo>
                        <a:close/>
                        <a:moveTo>
                          <a:pt x="201" y="11"/>
                        </a:moveTo>
                        <a:cubicBezTo>
                          <a:pt x="202" y="11"/>
                          <a:pt x="201" y="11"/>
                          <a:pt x="201" y="11"/>
                        </a:cubicBezTo>
                        <a:cubicBezTo>
                          <a:pt x="201" y="11"/>
                          <a:pt x="202" y="11"/>
                          <a:pt x="202" y="11"/>
                        </a:cubicBezTo>
                        <a:cubicBezTo>
                          <a:pt x="202" y="11"/>
                          <a:pt x="202" y="11"/>
                          <a:pt x="201" y="11"/>
                        </a:cubicBezTo>
                        <a:cubicBezTo>
                          <a:pt x="202" y="11"/>
                          <a:pt x="201" y="11"/>
                          <a:pt x="201" y="11"/>
                        </a:cubicBezTo>
                        <a:close/>
                        <a:moveTo>
                          <a:pt x="200" y="11"/>
                        </a:moveTo>
                        <a:cubicBezTo>
                          <a:pt x="200" y="11"/>
                          <a:pt x="200" y="11"/>
                          <a:pt x="200" y="11"/>
                        </a:cubicBezTo>
                        <a:cubicBezTo>
                          <a:pt x="200" y="11"/>
                          <a:pt x="200" y="11"/>
                          <a:pt x="200" y="11"/>
                        </a:cubicBezTo>
                        <a:close/>
                        <a:moveTo>
                          <a:pt x="200" y="11"/>
                        </a:moveTo>
                        <a:cubicBezTo>
                          <a:pt x="200" y="11"/>
                          <a:pt x="200" y="11"/>
                          <a:pt x="200" y="11"/>
                        </a:cubicBezTo>
                        <a:cubicBezTo>
                          <a:pt x="200" y="11"/>
                          <a:pt x="199" y="11"/>
                          <a:pt x="199" y="11"/>
                        </a:cubicBezTo>
                        <a:cubicBezTo>
                          <a:pt x="199" y="11"/>
                          <a:pt x="200" y="11"/>
                          <a:pt x="200" y="11"/>
                        </a:cubicBezTo>
                        <a:cubicBezTo>
                          <a:pt x="200" y="11"/>
                          <a:pt x="199" y="12"/>
                          <a:pt x="199" y="12"/>
                        </a:cubicBezTo>
                        <a:cubicBezTo>
                          <a:pt x="200" y="12"/>
                          <a:pt x="200" y="11"/>
                          <a:pt x="200" y="11"/>
                        </a:cubicBezTo>
                        <a:close/>
                        <a:moveTo>
                          <a:pt x="198" y="12"/>
                        </a:moveTo>
                        <a:cubicBezTo>
                          <a:pt x="198" y="12"/>
                          <a:pt x="198" y="12"/>
                          <a:pt x="199" y="12"/>
                        </a:cubicBezTo>
                        <a:cubicBezTo>
                          <a:pt x="198" y="12"/>
                          <a:pt x="198" y="12"/>
                          <a:pt x="198" y="12"/>
                        </a:cubicBezTo>
                        <a:cubicBezTo>
                          <a:pt x="198" y="12"/>
                          <a:pt x="198" y="12"/>
                          <a:pt x="198" y="12"/>
                        </a:cubicBezTo>
                        <a:close/>
                        <a:moveTo>
                          <a:pt x="194" y="14"/>
                        </a:moveTo>
                        <a:cubicBezTo>
                          <a:pt x="194" y="14"/>
                          <a:pt x="195" y="14"/>
                          <a:pt x="194" y="14"/>
                        </a:cubicBezTo>
                        <a:cubicBezTo>
                          <a:pt x="194" y="14"/>
                          <a:pt x="194" y="14"/>
                          <a:pt x="194" y="14"/>
                        </a:cubicBezTo>
                        <a:cubicBezTo>
                          <a:pt x="194" y="14"/>
                          <a:pt x="194" y="14"/>
                          <a:pt x="194" y="14"/>
                        </a:cubicBezTo>
                        <a:cubicBezTo>
                          <a:pt x="194" y="14"/>
                          <a:pt x="194" y="14"/>
                          <a:pt x="194" y="14"/>
                        </a:cubicBezTo>
                        <a:cubicBezTo>
                          <a:pt x="194" y="14"/>
                          <a:pt x="194" y="14"/>
                          <a:pt x="194" y="14"/>
                        </a:cubicBezTo>
                        <a:close/>
                        <a:moveTo>
                          <a:pt x="195" y="14"/>
                        </a:moveTo>
                        <a:cubicBezTo>
                          <a:pt x="195" y="14"/>
                          <a:pt x="195" y="14"/>
                          <a:pt x="196" y="14"/>
                        </a:cubicBezTo>
                        <a:cubicBezTo>
                          <a:pt x="195" y="14"/>
                          <a:pt x="195" y="13"/>
                          <a:pt x="195" y="13"/>
                        </a:cubicBezTo>
                        <a:cubicBezTo>
                          <a:pt x="195" y="14"/>
                          <a:pt x="195" y="13"/>
                          <a:pt x="195" y="14"/>
                        </a:cubicBezTo>
                        <a:cubicBezTo>
                          <a:pt x="195" y="14"/>
                          <a:pt x="195" y="14"/>
                          <a:pt x="195" y="14"/>
                        </a:cubicBezTo>
                        <a:cubicBezTo>
                          <a:pt x="195" y="14"/>
                          <a:pt x="195" y="14"/>
                          <a:pt x="195" y="14"/>
                        </a:cubicBezTo>
                        <a:close/>
                        <a:moveTo>
                          <a:pt x="191" y="16"/>
                        </a:moveTo>
                        <a:cubicBezTo>
                          <a:pt x="191" y="16"/>
                          <a:pt x="191" y="16"/>
                          <a:pt x="191" y="16"/>
                        </a:cubicBezTo>
                        <a:cubicBezTo>
                          <a:pt x="191" y="16"/>
                          <a:pt x="191" y="15"/>
                          <a:pt x="191" y="15"/>
                        </a:cubicBezTo>
                        <a:cubicBezTo>
                          <a:pt x="191" y="16"/>
                          <a:pt x="191" y="15"/>
                          <a:pt x="191" y="16"/>
                        </a:cubicBezTo>
                        <a:close/>
                        <a:moveTo>
                          <a:pt x="190" y="16"/>
                        </a:moveTo>
                        <a:cubicBezTo>
                          <a:pt x="191" y="16"/>
                          <a:pt x="191" y="16"/>
                          <a:pt x="191" y="16"/>
                        </a:cubicBezTo>
                        <a:cubicBezTo>
                          <a:pt x="191" y="16"/>
                          <a:pt x="190" y="16"/>
                          <a:pt x="190" y="16"/>
                        </a:cubicBezTo>
                        <a:close/>
                        <a:moveTo>
                          <a:pt x="188" y="16"/>
                        </a:moveTo>
                        <a:cubicBezTo>
                          <a:pt x="188" y="16"/>
                          <a:pt x="188" y="16"/>
                          <a:pt x="188" y="16"/>
                        </a:cubicBezTo>
                        <a:cubicBezTo>
                          <a:pt x="188" y="16"/>
                          <a:pt x="188" y="16"/>
                          <a:pt x="188" y="16"/>
                        </a:cubicBezTo>
                        <a:cubicBezTo>
                          <a:pt x="188" y="16"/>
                          <a:pt x="188" y="17"/>
                          <a:pt x="188" y="16"/>
                        </a:cubicBezTo>
                        <a:close/>
                        <a:moveTo>
                          <a:pt x="192" y="15"/>
                        </a:moveTo>
                        <a:cubicBezTo>
                          <a:pt x="192" y="15"/>
                          <a:pt x="192" y="16"/>
                          <a:pt x="193" y="16"/>
                        </a:cubicBezTo>
                        <a:cubicBezTo>
                          <a:pt x="193" y="15"/>
                          <a:pt x="192" y="15"/>
                          <a:pt x="192" y="15"/>
                        </a:cubicBezTo>
                        <a:close/>
                        <a:moveTo>
                          <a:pt x="192" y="15"/>
                        </a:moveTo>
                        <a:cubicBezTo>
                          <a:pt x="191" y="15"/>
                          <a:pt x="192" y="15"/>
                          <a:pt x="192" y="15"/>
                        </a:cubicBezTo>
                        <a:cubicBezTo>
                          <a:pt x="192" y="15"/>
                          <a:pt x="192" y="15"/>
                          <a:pt x="192" y="15"/>
                        </a:cubicBezTo>
                        <a:close/>
                        <a:moveTo>
                          <a:pt x="192" y="15"/>
                        </a:move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2" y="15"/>
                          <a:pt x="192" y="15"/>
                          <a:pt x="192" y="15"/>
                        </a:cubicBezTo>
                        <a:close/>
                        <a:moveTo>
                          <a:pt x="199" y="13"/>
                        </a:moveTo>
                        <a:cubicBezTo>
                          <a:pt x="199" y="13"/>
                          <a:pt x="198" y="14"/>
                          <a:pt x="198" y="14"/>
                        </a:cubicBezTo>
                        <a:cubicBezTo>
                          <a:pt x="198" y="14"/>
                          <a:pt x="199" y="14"/>
                          <a:pt x="199" y="13"/>
                        </a:cubicBezTo>
                        <a:close/>
                        <a:moveTo>
                          <a:pt x="215" y="10"/>
                        </a:moveTo>
                        <a:cubicBezTo>
                          <a:pt x="214" y="10"/>
                          <a:pt x="214" y="10"/>
                          <a:pt x="214" y="11"/>
                        </a:cubicBezTo>
                        <a:cubicBezTo>
                          <a:pt x="214" y="10"/>
                          <a:pt x="215" y="10"/>
                          <a:pt x="215" y="10"/>
                        </a:cubicBezTo>
                        <a:close/>
                        <a:moveTo>
                          <a:pt x="200" y="15"/>
                        </a:moveTo>
                        <a:cubicBezTo>
                          <a:pt x="200" y="15"/>
                          <a:pt x="201" y="15"/>
                          <a:pt x="200" y="15"/>
                        </a:cubicBezTo>
                        <a:cubicBezTo>
                          <a:pt x="200" y="15"/>
                          <a:pt x="201" y="15"/>
                          <a:pt x="201" y="15"/>
                        </a:cubicBezTo>
                        <a:cubicBezTo>
                          <a:pt x="200" y="14"/>
                          <a:pt x="201" y="15"/>
                          <a:pt x="201" y="14"/>
                        </a:cubicBezTo>
                        <a:cubicBezTo>
                          <a:pt x="201" y="14"/>
                          <a:pt x="200" y="14"/>
                          <a:pt x="200" y="14"/>
                        </a:cubicBezTo>
                        <a:cubicBezTo>
                          <a:pt x="200" y="15"/>
                          <a:pt x="200" y="15"/>
                          <a:pt x="200" y="15"/>
                        </a:cubicBezTo>
                        <a:cubicBezTo>
                          <a:pt x="200" y="15"/>
                          <a:pt x="200" y="15"/>
                          <a:pt x="200" y="15"/>
                        </a:cubicBezTo>
                        <a:close/>
                        <a:moveTo>
                          <a:pt x="201" y="14"/>
                        </a:moveTo>
                        <a:cubicBezTo>
                          <a:pt x="202" y="14"/>
                          <a:pt x="201" y="14"/>
                          <a:pt x="201" y="15"/>
                        </a:cubicBezTo>
                        <a:cubicBezTo>
                          <a:pt x="201" y="14"/>
                          <a:pt x="202" y="15"/>
                          <a:pt x="202" y="14"/>
                        </a:cubicBezTo>
                        <a:cubicBezTo>
                          <a:pt x="201" y="14"/>
                          <a:pt x="202" y="14"/>
                          <a:pt x="202" y="14"/>
                        </a:cubicBezTo>
                        <a:cubicBezTo>
                          <a:pt x="202" y="14"/>
                          <a:pt x="201" y="14"/>
                          <a:pt x="201" y="14"/>
                        </a:cubicBezTo>
                        <a:cubicBezTo>
                          <a:pt x="202" y="14"/>
                          <a:pt x="202" y="14"/>
                          <a:pt x="202" y="14"/>
                        </a:cubicBezTo>
                        <a:cubicBezTo>
                          <a:pt x="202" y="14"/>
                          <a:pt x="201" y="14"/>
                          <a:pt x="201" y="14"/>
                        </a:cubicBezTo>
                        <a:close/>
                        <a:moveTo>
                          <a:pt x="200" y="14"/>
                        </a:moveTo>
                        <a:cubicBezTo>
                          <a:pt x="200" y="14"/>
                          <a:pt x="200" y="14"/>
                          <a:pt x="199" y="15"/>
                        </a:cubicBezTo>
                        <a:cubicBezTo>
                          <a:pt x="199" y="15"/>
                          <a:pt x="200" y="14"/>
                          <a:pt x="200" y="14"/>
                        </a:cubicBezTo>
                        <a:cubicBezTo>
                          <a:pt x="200" y="14"/>
                          <a:pt x="200" y="14"/>
                          <a:pt x="200" y="14"/>
                        </a:cubicBezTo>
                        <a:cubicBezTo>
                          <a:pt x="200" y="14"/>
                          <a:pt x="200" y="14"/>
                          <a:pt x="200" y="14"/>
                        </a:cubicBezTo>
                        <a:cubicBezTo>
                          <a:pt x="200" y="14"/>
                          <a:pt x="201" y="14"/>
                          <a:pt x="201" y="14"/>
                        </a:cubicBezTo>
                        <a:cubicBezTo>
                          <a:pt x="201" y="14"/>
                          <a:pt x="200" y="14"/>
                          <a:pt x="200" y="14"/>
                        </a:cubicBezTo>
                        <a:close/>
                        <a:moveTo>
                          <a:pt x="199" y="14"/>
                        </a:moveTo>
                        <a:cubicBezTo>
                          <a:pt x="199" y="14"/>
                          <a:pt x="199" y="14"/>
                          <a:pt x="199" y="14"/>
                        </a:cubicBezTo>
                        <a:cubicBezTo>
                          <a:pt x="199" y="15"/>
                          <a:pt x="199" y="15"/>
                          <a:pt x="199" y="15"/>
                        </a:cubicBezTo>
                        <a:cubicBezTo>
                          <a:pt x="199" y="15"/>
                          <a:pt x="199" y="14"/>
                          <a:pt x="199" y="14"/>
                        </a:cubicBezTo>
                        <a:close/>
                        <a:moveTo>
                          <a:pt x="203" y="13"/>
                        </a:moveTo>
                        <a:cubicBezTo>
                          <a:pt x="204" y="13"/>
                          <a:pt x="203" y="13"/>
                          <a:pt x="203" y="13"/>
                        </a:cubicBezTo>
                        <a:cubicBezTo>
                          <a:pt x="203" y="13"/>
                          <a:pt x="204" y="13"/>
                          <a:pt x="204" y="13"/>
                        </a:cubicBezTo>
                        <a:cubicBezTo>
                          <a:pt x="204" y="13"/>
                          <a:pt x="203" y="13"/>
                          <a:pt x="203" y="13"/>
                        </a:cubicBezTo>
                        <a:close/>
                        <a:moveTo>
                          <a:pt x="198" y="15"/>
                        </a:moveTo>
                        <a:cubicBezTo>
                          <a:pt x="198" y="15"/>
                          <a:pt x="198" y="15"/>
                          <a:pt x="199" y="15"/>
                        </a:cubicBezTo>
                        <a:cubicBezTo>
                          <a:pt x="198" y="15"/>
                          <a:pt x="198" y="15"/>
                          <a:pt x="198" y="15"/>
                        </a:cubicBezTo>
                        <a:cubicBezTo>
                          <a:pt x="198" y="14"/>
                          <a:pt x="199" y="14"/>
                          <a:pt x="199" y="14"/>
                        </a:cubicBezTo>
                        <a:cubicBezTo>
                          <a:pt x="198" y="14"/>
                          <a:pt x="198" y="14"/>
                          <a:pt x="198" y="15"/>
                        </a:cubicBezTo>
                        <a:cubicBezTo>
                          <a:pt x="198" y="14"/>
                          <a:pt x="197" y="15"/>
                          <a:pt x="197" y="15"/>
                        </a:cubicBezTo>
                        <a:cubicBezTo>
                          <a:pt x="197" y="15"/>
                          <a:pt x="197" y="15"/>
                          <a:pt x="197" y="15"/>
                        </a:cubicBezTo>
                        <a:cubicBezTo>
                          <a:pt x="197" y="15"/>
                          <a:pt x="198" y="15"/>
                          <a:pt x="198" y="15"/>
                        </a:cubicBezTo>
                        <a:cubicBezTo>
                          <a:pt x="198" y="15"/>
                          <a:pt x="197" y="15"/>
                          <a:pt x="197" y="15"/>
                        </a:cubicBezTo>
                        <a:cubicBezTo>
                          <a:pt x="197" y="15"/>
                          <a:pt x="197" y="15"/>
                          <a:pt x="198" y="15"/>
                        </a:cubicBezTo>
                        <a:cubicBezTo>
                          <a:pt x="198" y="15"/>
                          <a:pt x="198" y="15"/>
                          <a:pt x="198" y="15"/>
                        </a:cubicBezTo>
                        <a:cubicBezTo>
                          <a:pt x="198" y="15"/>
                          <a:pt x="198" y="15"/>
                          <a:pt x="198" y="15"/>
                        </a:cubicBezTo>
                        <a:cubicBezTo>
                          <a:pt x="198" y="15"/>
                          <a:pt x="198" y="15"/>
                          <a:pt x="198" y="15"/>
                        </a:cubicBezTo>
                        <a:close/>
                        <a:moveTo>
                          <a:pt x="199" y="15"/>
                        </a:moveTo>
                        <a:cubicBezTo>
                          <a:pt x="199" y="15"/>
                          <a:pt x="198" y="15"/>
                          <a:pt x="199" y="15"/>
                        </a:cubicBezTo>
                        <a:cubicBezTo>
                          <a:pt x="199" y="15"/>
                          <a:pt x="199" y="15"/>
                          <a:pt x="199" y="15"/>
                        </a:cubicBezTo>
                        <a:close/>
                        <a:moveTo>
                          <a:pt x="200" y="15"/>
                        </a:moveTo>
                        <a:cubicBezTo>
                          <a:pt x="199" y="15"/>
                          <a:pt x="200" y="15"/>
                          <a:pt x="200" y="15"/>
                        </a:cubicBezTo>
                        <a:cubicBezTo>
                          <a:pt x="200" y="15"/>
                          <a:pt x="200" y="15"/>
                          <a:pt x="200" y="15"/>
                        </a:cubicBezTo>
                        <a:cubicBezTo>
                          <a:pt x="200" y="15"/>
                          <a:pt x="199" y="15"/>
                          <a:pt x="200" y="15"/>
                        </a:cubicBezTo>
                        <a:close/>
                        <a:moveTo>
                          <a:pt x="199" y="15"/>
                        </a:moveTo>
                        <a:cubicBezTo>
                          <a:pt x="199" y="15"/>
                          <a:pt x="200" y="15"/>
                          <a:pt x="200" y="15"/>
                        </a:cubicBezTo>
                        <a:cubicBezTo>
                          <a:pt x="199" y="15"/>
                          <a:pt x="199" y="15"/>
                          <a:pt x="199" y="15"/>
                        </a:cubicBezTo>
                        <a:cubicBezTo>
                          <a:pt x="199" y="15"/>
                          <a:pt x="199" y="15"/>
                          <a:pt x="199" y="15"/>
                        </a:cubicBezTo>
                        <a:cubicBezTo>
                          <a:pt x="200" y="15"/>
                          <a:pt x="199" y="15"/>
                          <a:pt x="199" y="15"/>
                        </a:cubicBezTo>
                        <a:close/>
                        <a:moveTo>
                          <a:pt x="200" y="15"/>
                        </a:moveTo>
                        <a:cubicBezTo>
                          <a:pt x="200" y="15"/>
                          <a:pt x="200" y="15"/>
                          <a:pt x="200" y="15"/>
                        </a:cubicBezTo>
                        <a:cubicBezTo>
                          <a:pt x="200" y="15"/>
                          <a:pt x="200" y="16"/>
                          <a:pt x="200" y="16"/>
                        </a:cubicBezTo>
                        <a:cubicBezTo>
                          <a:pt x="200" y="16"/>
                          <a:pt x="200" y="15"/>
                          <a:pt x="200" y="15"/>
                        </a:cubicBezTo>
                        <a:close/>
                        <a:moveTo>
                          <a:pt x="203" y="15"/>
                        </a:moveTo>
                        <a:cubicBezTo>
                          <a:pt x="204" y="14"/>
                          <a:pt x="204" y="15"/>
                          <a:pt x="204" y="14"/>
                        </a:cubicBezTo>
                        <a:cubicBezTo>
                          <a:pt x="204" y="14"/>
                          <a:pt x="204" y="14"/>
                          <a:pt x="204" y="14"/>
                        </a:cubicBezTo>
                        <a:cubicBezTo>
                          <a:pt x="204" y="15"/>
                          <a:pt x="203" y="15"/>
                          <a:pt x="203" y="15"/>
                        </a:cubicBezTo>
                        <a:close/>
                        <a:moveTo>
                          <a:pt x="197" y="16"/>
                        </a:moveTo>
                        <a:cubicBezTo>
                          <a:pt x="198" y="16"/>
                          <a:pt x="197" y="16"/>
                          <a:pt x="197" y="16"/>
                        </a:cubicBezTo>
                        <a:cubicBezTo>
                          <a:pt x="198" y="16"/>
                          <a:pt x="198" y="16"/>
                          <a:pt x="198" y="16"/>
                        </a:cubicBezTo>
                        <a:cubicBezTo>
                          <a:pt x="198" y="16"/>
                          <a:pt x="198" y="16"/>
                          <a:pt x="198" y="16"/>
                        </a:cubicBezTo>
                        <a:cubicBezTo>
                          <a:pt x="198" y="16"/>
                          <a:pt x="198" y="16"/>
                          <a:pt x="197" y="16"/>
                        </a:cubicBezTo>
                        <a:close/>
                        <a:moveTo>
                          <a:pt x="195" y="17"/>
                        </a:moveTo>
                        <a:cubicBezTo>
                          <a:pt x="195" y="17"/>
                          <a:pt x="195" y="17"/>
                          <a:pt x="195" y="17"/>
                        </a:cubicBezTo>
                        <a:cubicBezTo>
                          <a:pt x="195" y="17"/>
                          <a:pt x="194" y="17"/>
                          <a:pt x="194" y="17"/>
                        </a:cubicBezTo>
                        <a:cubicBezTo>
                          <a:pt x="194" y="17"/>
                          <a:pt x="195" y="17"/>
                          <a:pt x="195" y="17"/>
                        </a:cubicBezTo>
                        <a:close/>
                        <a:moveTo>
                          <a:pt x="194" y="17"/>
                        </a:moveTo>
                        <a:cubicBezTo>
                          <a:pt x="194" y="17"/>
                          <a:pt x="194" y="17"/>
                          <a:pt x="194" y="17"/>
                        </a:cubicBezTo>
                        <a:cubicBezTo>
                          <a:pt x="194" y="17"/>
                          <a:pt x="194" y="17"/>
                          <a:pt x="194" y="17"/>
                        </a:cubicBezTo>
                        <a:cubicBezTo>
                          <a:pt x="194" y="17"/>
                          <a:pt x="194" y="17"/>
                          <a:pt x="194" y="17"/>
                        </a:cubicBezTo>
                        <a:close/>
                        <a:moveTo>
                          <a:pt x="196" y="17"/>
                        </a:moveTo>
                        <a:cubicBezTo>
                          <a:pt x="196" y="17"/>
                          <a:pt x="196" y="17"/>
                          <a:pt x="196" y="16"/>
                        </a:cubicBezTo>
                        <a:cubicBezTo>
                          <a:pt x="196" y="16"/>
                          <a:pt x="196" y="17"/>
                          <a:pt x="196" y="17"/>
                        </a:cubicBezTo>
                        <a:close/>
                        <a:moveTo>
                          <a:pt x="173" y="23"/>
                        </a:moveTo>
                        <a:cubicBezTo>
                          <a:pt x="173" y="23"/>
                          <a:pt x="174" y="23"/>
                          <a:pt x="173" y="23"/>
                        </a:cubicBezTo>
                        <a:cubicBezTo>
                          <a:pt x="173" y="23"/>
                          <a:pt x="173" y="23"/>
                          <a:pt x="173" y="23"/>
                        </a:cubicBezTo>
                        <a:cubicBezTo>
                          <a:pt x="173" y="23"/>
                          <a:pt x="173" y="23"/>
                          <a:pt x="173" y="23"/>
                        </a:cubicBezTo>
                        <a:close/>
                        <a:moveTo>
                          <a:pt x="178" y="22"/>
                        </a:moveTo>
                        <a:cubicBezTo>
                          <a:pt x="178" y="22"/>
                          <a:pt x="178" y="22"/>
                          <a:pt x="178" y="22"/>
                        </a:cubicBezTo>
                        <a:cubicBezTo>
                          <a:pt x="178" y="22"/>
                          <a:pt x="177" y="22"/>
                          <a:pt x="178" y="22"/>
                        </a:cubicBezTo>
                        <a:close/>
                        <a:moveTo>
                          <a:pt x="180" y="21"/>
                        </a:moveTo>
                        <a:cubicBezTo>
                          <a:pt x="181" y="21"/>
                          <a:pt x="181" y="20"/>
                          <a:pt x="181" y="20"/>
                        </a:cubicBezTo>
                        <a:cubicBezTo>
                          <a:pt x="181" y="21"/>
                          <a:pt x="181" y="21"/>
                          <a:pt x="180" y="21"/>
                        </a:cubicBezTo>
                        <a:cubicBezTo>
                          <a:pt x="180" y="21"/>
                          <a:pt x="180" y="21"/>
                          <a:pt x="180" y="21"/>
                        </a:cubicBezTo>
                        <a:close/>
                        <a:moveTo>
                          <a:pt x="195" y="17"/>
                        </a:moveTo>
                        <a:cubicBezTo>
                          <a:pt x="195" y="17"/>
                          <a:pt x="195" y="17"/>
                          <a:pt x="195" y="17"/>
                        </a:cubicBezTo>
                        <a:cubicBezTo>
                          <a:pt x="195" y="17"/>
                          <a:pt x="194" y="17"/>
                          <a:pt x="195" y="17"/>
                        </a:cubicBezTo>
                        <a:cubicBezTo>
                          <a:pt x="195" y="17"/>
                          <a:pt x="195" y="17"/>
                          <a:pt x="195" y="17"/>
                        </a:cubicBezTo>
                        <a:cubicBezTo>
                          <a:pt x="195" y="17"/>
                          <a:pt x="195" y="17"/>
                          <a:pt x="195" y="17"/>
                        </a:cubicBezTo>
                        <a:close/>
                        <a:moveTo>
                          <a:pt x="189" y="18"/>
                        </a:moveTo>
                        <a:cubicBezTo>
                          <a:pt x="189" y="19"/>
                          <a:pt x="189" y="19"/>
                          <a:pt x="189" y="19"/>
                        </a:cubicBezTo>
                        <a:cubicBezTo>
                          <a:pt x="189" y="19"/>
                          <a:pt x="190" y="18"/>
                          <a:pt x="189" y="18"/>
                        </a:cubicBezTo>
                        <a:close/>
                        <a:moveTo>
                          <a:pt x="187" y="19"/>
                        </a:moveTo>
                        <a:cubicBezTo>
                          <a:pt x="187" y="19"/>
                          <a:pt x="186" y="19"/>
                          <a:pt x="186" y="19"/>
                        </a:cubicBezTo>
                        <a:cubicBezTo>
                          <a:pt x="186" y="20"/>
                          <a:pt x="187" y="19"/>
                          <a:pt x="187" y="19"/>
                        </a:cubicBezTo>
                        <a:close/>
                        <a:moveTo>
                          <a:pt x="186" y="20"/>
                        </a:moveTo>
                        <a:cubicBezTo>
                          <a:pt x="186" y="20"/>
                          <a:pt x="186" y="20"/>
                          <a:pt x="186" y="20"/>
                        </a:cubicBezTo>
                        <a:cubicBezTo>
                          <a:pt x="186" y="20"/>
                          <a:pt x="185" y="20"/>
                          <a:pt x="185" y="20"/>
                        </a:cubicBezTo>
                        <a:cubicBezTo>
                          <a:pt x="185" y="20"/>
                          <a:pt x="185" y="20"/>
                          <a:pt x="185" y="20"/>
                        </a:cubicBezTo>
                        <a:cubicBezTo>
                          <a:pt x="186" y="20"/>
                          <a:pt x="186" y="20"/>
                          <a:pt x="186" y="20"/>
                        </a:cubicBezTo>
                        <a:close/>
                        <a:moveTo>
                          <a:pt x="187" y="20"/>
                        </a:moveTo>
                        <a:cubicBezTo>
                          <a:pt x="187" y="20"/>
                          <a:pt x="187" y="20"/>
                          <a:pt x="187" y="20"/>
                        </a:cubicBezTo>
                        <a:cubicBezTo>
                          <a:pt x="187" y="20"/>
                          <a:pt x="188" y="19"/>
                          <a:pt x="188" y="19"/>
                        </a:cubicBezTo>
                        <a:cubicBezTo>
                          <a:pt x="188" y="19"/>
                          <a:pt x="188" y="19"/>
                          <a:pt x="188" y="19"/>
                        </a:cubicBezTo>
                        <a:cubicBezTo>
                          <a:pt x="188" y="19"/>
                          <a:pt x="188" y="19"/>
                          <a:pt x="188" y="19"/>
                        </a:cubicBezTo>
                        <a:cubicBezTo>
                          <a:pt x="188" y="19"/>
                          <a:pt x="188" y="19"/>
                          <a:pt x="188" y="19"/>
                        </a:cubicBezTo>
                        <a:cubicBezTo>
                          <a:pt x="188" y="19"/>
                          <a:pt x="189" y="19"/>
                          <a:pt x="188" y="19"/>
                        </a:cubicBezTo>
                        <a:cubicBezTo>
                          <a:pt x="189" y="19"/>
                          <a:pt x="189" y="19"/>
                          <a:pt x="189" y="19"/>
                        </a:cubicBezTo>
                        <a:cubicBezTo>
                          <a:pt x="189" y="19"/>
                          <a:pt x="189" y="19"/>
                          <a:pt x="189" y="19"/>
                        </a:cubicBezTo>
                        <a:cubicBezTo>
                          <a:pt x="188" y="19"/>
                          <a:pt x="188" y="19"/>
                          <a:pt x="188" y="19"/>
                        </a:cubicBezTo>
                        <a:cubicBezTo>
                          <a:pt x="188" y="19"/>
                          <a:pt x="188" y="19"/>
                          <a:pt x="188" y="19"/>
                        </a:cubicBezTo>
                        <a:cubicBezTo>
                          <a:pt x="188" y="19"/>
                          <a:pt x="187" y="19"/>
                          <a:pt x="187" y="19"/>
                        </a:cubicBezTo>
                        <a:cubicBezTo>
                          <a:pt x="187" y="20"/>
                          <a:pt x="187" y="20"/>
                          <a:pt x="187" y="20"/>
                        </a:cubicBezTo>
                        <a:close/>
                        <a:moveTo>
                          <a:pt x="192" y="19"/>
                        </a:moveTo>
                        <a:cubicBezTo>
                          <a:pt x="192" y="19"/>
                          <a:pt x="191" y="19"/>
                          <a:pt x="191" y="19"/>
                        </a:cubicBezTo>
                        <a:cubicBezTo>
                          <a:pt x="191" y="19"/>
                          <a:pt x="192" y="19"/>
                          <a:pt x="192" y="19"/>
                        </a:cubicBezTo>
                        <a:close/>
                        <a:moveTo>
                          <a:pt x="193" y="19"/>
                        </a:moveTo>
                        <a:cubicBezTo>
                          <a:pt x="193" y="19"/>
                          <a:pt x="193" y="19"/>
                          <a:pt x="193" y="19"/>
                        </a:cubicBezTo>
                        <a:cubicBezTo>
                          <a:pt x="193" y="19"/>
                          <a:pt x="193" y="19"/>
                          <a:pt x="193" y="19"/>
                        </a:cubicBezTo>
                        <a:close/>
                        <a:moveTo>
                          <a:pt x="191" y="20"/>
                        </a:moveTo>
                        <a:cubicBezTo>
                          <a:pt x="191" y="20"/>
                          <a:pt x="191" y="20"/>
                          <a:pt x="191" y="20"/>
                        </a:cubicBezTo>
                        <a:cubicBezTo>
                          <a:pt x="191" y="20"/>
                          <a:pt x="191" y="20"/>
                          <a:pt x="191" y="20"/>
                        </a:cubicBezTo>
                        <a:cubicBezTo>
                          <a:pt x="191" y="20"/>
                          <a:pt x="191" y="20"/>
                          <a:pt x="191" y="20"/>
                        </a:cubicBezTo>
                        <a:cubicBezTo>
                          <a:pt x="191" y="20"/>
                          <a:pt x="191" y="20"/>
                          <a:pt x="190" y="20"/>
                        </a:cubicBezTo>
                        <a:cubicBezTo>
                          <a:pt x="190" y="20"/>
                          <a:pt x="191" y="20"/>
                          <a:pt x="191" y="20"/>
                        </a:cubicBezTo>
                        <a:close/>
                        <a:moveTo>
                          <a:pt x="204" y="18"/>
                        </a:moveTo>
                        <a:cubicBezTo>
                          <a:pt x="204" y="18"/>
                          <a:pt x="204" y="18"/>
                          <a:pt x="204" y="18"/>
                        </a:cubicBezTo>
                        <a:cubicBezTo>
                          <a:pt x="204" y="18"/>
                          <a:pt x="204" y="18"/>
                          <a:pt x="204" y="18"/>
                        </a:cubicBezTo>
                        <a:close/>
                        <a:moveTo>
                          <a:pt x="200" y="19"/>
                        </a:moveTo>
                        <a:cubicBezTo>
                          <a:pt x="200" y="19"/>
                          <a:pt x="200" y="19"/>
                          <a:pt x="200" y="19"/>
                        </a:cubicBezTo>
                        <a:cubicBezTo>
                          <a:pt x="200" y="19"/>
                          <a:pt x="200" y="19"/>
                          <a:pt x="200" y="19"/>
                        </a:cubicBezTo>
                        <a:cubicBezTo>
                          <a:pt x="200" y="19"/>
                          <a:pt x="200" y="19"/>
                          <a:pt x="200" y="19"/>
                        </a:cubicBezTo>
                        <a:cubicBezTo>
                          <a:pt x="200" y="19"/>
                          <a:pt x="200" y="19"/>
                          <a:pt x="200" y="19"/>
                        </a:cubicBezTo>
                        <a:close/>
                        <a:moveTo>
                          <a:pt x="199" y="19"/>
                        </a:moveTo>
                        <a:cubicBezTo>
                          <a:pt x="199" y="19"/>
                          <a:pt x="199" y="19"/>
                          <a:pt x="198" y="19"/>
                        </a:cubicBezTo>
                        <a:cubicBezTo>
                          <a:pt x="198" y="19"/>
                          <a:pt x="198" y="19"/>
                          <a:pt x="198" y="19"/>
                        </a:cubicBezTo>
                        <a:cubicBezTo>
                          <a:pt x="198" y="19"/>
                          <a:pt x="199" y="19"/>
                          <a:pt x="199" y="19"/>
                        </a:cubicBezTo>
                        <a:cubicBezTo>
                          <a:pt x="199" y="19"/>
                          <a:pt x="199" y="19"/>
                          <a:pt x="199" y="19"/>
                        </a:cubicBezTo>
                        <a:close/>
                        <a:moveTo>
                          <a:pt x="202" y="18"/>
                        </a:moveTo>
                        <a:cubicBezTo>
                          <a:pt x="202" y="18"/>
                          <a:pt x="202" y="18"/>
                          <a:pt x="202" y="18"/>
                        </a:cubicBezTo>
                        <a:cubicBezTo>
                          <a:pt x="202" y="18"/>
                          <a:pt x="202" y="18"/>
                          <a:pt x="202" y="18"/>
                        </a:cubicBezTo>
                        <a:cubicBezTo>
                          <a:pt x="202" y="18"/>
                          <a:pt x="203" y="18"/>
                          <a:pt x="203" y="18"/>
                        </a:cubicBezTo>
                        <a:cubicBezTo>
                          <a:pt x="203" y="18"/>
                          <a:pt x="202" y="18"/>
                          <a:pt x="202" y="18"/>
                        </a:cubicBezTo>
                        <a:close/>
                        <a:moveTo>
                          <a:pt x="201" y="18"/>
                        </a:moveTo>
                        <a:cubicBezTo>
                          <a:pt x="201" y="18"/>
                          <a:pt x="201" y="19"/>
                          <a:pt x="201" y="19"/>
                        </a:cubicBezTo>
                        <a:cubicBezTo>
                          <a:pt x="202" y="18"/>
                          <a:pt x="201" y="18"/>
                          <a:pt x="201" y="18"/>
                        </a:cubicBezTo>
                        <a:close/>
                        <a:moveTo>
                          <a:pt x="200" y="18"/>
                        </a:moveTo>
                        <a:cubicBezTo>
                          <a:pt x="200" y="19"/>
                          <a:pt x="200" y="19"/>
                          <a:pt x="200" y="19"/>
                        </a:cubicBezTo>
                        <a:cubicBezTo>
                          <a:pt x="201" y="18"/>
                          <a:pt x="201" y="19"/>
                          <a:pt x="201" y="19"/>
                        </a:cubicBezTo>
                        <a:cubicBezTo>
                          <a:pt x="201" y="19"/>
                          <a:pt x="201" y="19"/>
                          <a:pt x="201" y="19"/>
                        </a:cubicBezTo>
                        <a:cubicBezTo>
                          <a:pt x="201" y="18"/>
                          <a:pt x="201" y="18"/>
                          <a:pt x="200" y="18"/>
                        </a:cubicBezTo>
                        <a:close/>
                        <a:moveTo>
                          <a:pt x="200" y="18"/>
                        </a:moveTo>
                        <a:cubicBezTo>
                          <a:pt x="200" y="19"/>
                          <a:pt x="200" y="19"/>
                          <a:pt x="200" y="19"/>
                        </a:cubicBezTo>
                        <a:cubicBezTo>
                          <a:pt x="200" y="19"/>
                          <a:pt x="200" y="19"/>
                          <a:pt x="200" y="19"/>
                        </a:cubicBezTo>
                        <a:cubicBezTo>
                          <a:pt x="200" y="19"/>
                          <a:pt x="200" y="18"/>
                          <a:pt x="200" y="18"/>
                        </a:cubicBezTo>
                        <a:close/>
                        <a:moveTo>
                          <a:pt x="194" y="20"/>
                        </a:moveTo>
                        <a:cubicBezTo>
                          <a:pt x="194" y="20"/>
                          <a:pt x="195" y="20"/>
                          <a:pt x="195" y="20"/>
                        </a:cubicBezTo>
                        <a:cubicBezTo>
                          <a:pt x="195" y="20"/>
                          <a:pt x="194" y="20"/>
                          <a:pt x="194" y="20"/>
                        </a:cubicBezTo>
                        <a:close/>
                        <a:moveTo>
                          <a:pt x="191" y="20"/>
                        </a:moveTo>
                        <a:cubicBezTo>
                          <a:pt x="191" y="21"/>
                          <a:pt x="193" y="20"/>
                          <a:pt x="193" y="20"/>
                        </a:cubicBezTo>
                        <a:cubicBezTo>
                          <a:pt x="192" y="20"/>
                          <a:pt x="192" y="20"/>
                          <a:pt x="191" y="20"/>
                        </a:cubicBezTo>
                        <a:close/>
                        <a:moveTo>
                          <a:pt x="191" y="20"/>
                        </a:moveTo>
                        <a:cubicBezTo>
                          <a:pt x="191" y="20"/>
                          <a:pt x="192" y="20"/>
                          <a:pt x="192" y="20"/>
                        </a:cubicBezTo>
                        <a:cubicBezTo>
                          <a:pt x="192" y="20"/>
                          <a:pt x="192" y="20"/>
                          <a:pt x="192" y="20"/>
                        </a:cubicBezTo>
                        <a:cubicBezTo>
                          <a:pt x="191" y="20"/>
                          <a:pt x="191" y="20"/>
                          <a:pt x="191" y="20"/>
                        </a:cubicBezTo>
                        <a:cubicBezTo>
                          <a:pt x="191" y="20"/>
                          <a:pt x="191" y="20"/>
                          <a:pt x="191" y="20"/>
                        </a:cubicBezTo>
                        <a:close/>
                        <a:moveTo>
                          <a:pt x="190" y="21"/>
                        </a:moveTo>
                        <a:cubicBezTo>
                          <a:pt x="191" y="21"/>
                          <a:pt x="190" y="21"/>
                          <a:pt x="190" y="21"/>
                        </a:cubicBezTo>
                        <a:cubicBezTo>
                          <a:pt x="190" y="21"/>
                          <a:pt x="190" y="21"/>
                          <a:pt x="190" y="21"/>
                        </a:cubicBezTo>
                        <a:close/>
                        <a:moveTo>
                          <a:pt x="199" y="19"/>
                        </a:moveTo>
                        <a:cubicBezTo>
                          <a:pt x="199" y="19"/>
                          <a:pt x="199" y="19"/>
                          <a:pt x="199" y="19"/>
                        </a:cubicBezTo>
                        <a:cubicBezTo>
                          <a:pt x="199" y="19"/>
                          <a:pt x="199" y="19"/>
                          <a:pt x="199" y="19"/>
                        </a:cubicBezTo>
                        <a:cubicBezTo>
                          <a:pt x="199" y="19"/>
                          <a:pt x="199" y="19"/>
                          <a:pt x="199" y="19"/>
                        </a:cubicBezTo>
                        <a:cubicBezTo>
                          <a:pt x="199" y="19"/>
                          <a:pt x="199" y="19"/>
                          <a:pt x="199" y="19"/>
                        </a:cubicBezTo>
                        <a:cubicBezTo>
                          <a:pt x="199" y="19"/>
                          <a:pt x="199" y="19"/>
                          <a:pt x="199" y="19"/>
                        </a:cubicBezTo>
                        <a:close/>
                        <a:moveTo>
                          <a:pt x="198" y="19"/>
                        </a:moveTo>
                        <a:cubicBezTo>
                          <a:pt x="198" y="19"/>
                          <a:pt x="198" y="19"/>
                          <a:pt x="199" y="19"/>
                        </a:cubicBezTo>
                        <a:cubicBezTo>
                          <a:pt x="198" y="19"/>
                          <a:pt x="198" y="19"/>
                          <a:pt x="198" y="19"/>
                        </a:cubicBezTo>
                        <a:close/>
                        <a:moveTo>
                          <a:pt x="195" y="20"/>
                        </a:moveTo>
                        <a:cubicBezTo>
                          <a:pt x="195" y="20"/>
                          <a:pt x="195" y="20"/>
                          <a:pt x="195" y="20"/>
                        </a:cubicBezTo>
                        <a:cubicBezTo>
                          <a:pt x="194" y="20"/>
                          <a:pt x="194" y="20"/>
                          <a:pt x="194" y="20"/>
                        </a:cubicBezTo>
                        <a:cubicBezTo>
                          <a:pt x="194" y="20"/>
                          <a:pt x="194" y="20"/>
                          <a:pt x="195" y="20"/>
                        </a:cubicBezTo>
                        <a:close/>
                        <a:moveTo>
                          <a:pt x="196" y="20"/>
                        </a:moveTo>
                        <a:cubicBezTo>
                          <a:pt x="196" y="20"/>
                          <a:pt x="196" y="20"/>
                          <a:pt x="196" y="20"/>
                        </a:cubicBezTo>
                        <a:cubicBezTo>
                          <a:pt x="196" y="20"/>
                          <a:pt x="196" y="20"/>
                          <a:pt x="196" y="20"/>
                        </a:cubicBezTo>
                        <a:cubicBezTo>
                          <a:pt x="196" y="20"/>
                          <a:pt x="196" y="20"/>
                          <a:pt x="196" y="20"/>
                        </a:cubicBezTo>
                        <a:cubicBezTo>
                          <a:pt x="196" y="20"/>
                          <a:pt x="196" y="20"/>
                          <a:pt x="196" y="20"/>
                        </a:cubicBezTo>
                        <a:cubicBezTo>
                          <a:pt x="196" y="20"/>
                          <a:pt x="196" y="20"/>
                          <a:pt x="196" y="20"/>
                        </a:cubicBezTo>
                        <a:cubicBezTo>
                          <a:pt x="196" y="20"/>
                          <a:pt x="196" y="20"/>
                          <a:pt x="196" y="20"/>
                        </a:cubicBezTo>
                        <a:cubicBezTo>
                          <a:pt x="196" y="20"/>
                          <a:pt x="196" y="20"/>
                          <a:pt x="196" y="20"/>
                        </a:cubicBezTo>
                        <a:close/>
                        <a:moveTo>
                          <a:pt x="205" y="18"/>
                        </a:moveTo>
                        <a:cubicBezTo>
                          <a:pt x="205" y="18"/>
                          <a:pt x="205" y="18"/>
                          <a:pt x="205" y="18"/>
                        </a:cubicBezTo>
                        <a:cubicBezTo>
                          <a:pt x="205" y="18"/>
                          <a:pt x="205" y="18"/>
                          <a:pt x="205" y="18"/>
                        </a:cubicBezTo>
                        <a:close/>
                        <a:moveTo>
                          <a:pt x="203" y="18"/>
                        </a:moveTo>
                        <a:cubicBezTo>
                          <a:pt x="203" y="19"/>
                          <a:pt x="203" y="19"/>
                          <a:pt x="203" y="19"/>
                        </a:cubicBezTo>
                        <a:cubicBezTo>
                          <a:pt x="204" y="19"/>
                          <a:pt x="204" y="18"/>
                          <a:pt x="204" y="18"/>
                        </a:cubicBezTo>
                        <a:lnTo>
                          <a:pt x="203" y="18"/>
                        </a:lnTo>
                        <a:close/>
                        <a:moveTo>
                          <a:pt x="202" y="19"/>
                        </a:moveTo>
                        <a:cubicBezTo>
                          <a:pt x="202" y="19"/>
                          <a:pt x="201" y="19"/>
                          <a:pt x="201" y="19"/>
                        </a:cubicBezTo>
                        <a:cubicBezTo>
                          <a:pt x="202" y="19"/>
                          <a:pt x="202" y="19"/>
                          <a:pt x="202" y="19"/>
                        </a:cubicBezTo>
                        <a:cubicBezTo>
                          <a:pt x="201" y="19"/>
                          <a:pt x="201" y="19"/>
                          <a:pt x="201" y="19"/>
                        </a:cubicBezTo>
                        <a:cubicBezTo>
                          <a:pt x="201" y="19"/>
                          <a:pt x="201" y="19"/>
                          <a:pt x="201" y="19"/>
                        </a:cubicBezTo>
                        <a:cubicBezTo>
                          <a:pt x="201" y="19"/>
                          <a:pt x="202" y="19"/>
                          <a:pt x="202" y="19"/>
                        </a:cubicBezTo>
                        <a:close/>
                        <a:moveTo>
                          <a:pt x="177" y="24"/>
                        </a:moveTo>
                        <a:cubicBezTo>
                          <a:pt x="177" y="24"/>
                          <a:pt x="178" y="24"/>
                          <a:pt x="178" y="24"/>
                        </a:cubicBezTo>
                        <a:cubicBezTo>
                          <a:pt x="178" y="24"/>
                          <a:pt x="178" y="24"/>
                          <a:pt x="178" y="24"/>
                        </a:cubicBezTo>
                        <a:cubicBezTo>
                          <a:pt x="177" y="24"/>
                          <a:pt x="177" y="24"/>
                          <a:pt x="176" y="24"/>
                        </a:cubicBezTo>
                        <a:cubicBezTo>
                          <a:pt x="177" y="24"/>
                          <a:pt x="177" y="24"/>
                          <a:pt x="177" y="24"/>
                        </a:cubicBezTo>
                        <a:close/>
                        <a:moveTo>
                          <a:pt x="184" y="23"/>
                        </a:moveTo>
                        <a:cubicBezTo>
                          <a:pt x="184" y="23"/>
                          <a:pt x="184" y="23"/>
                          <a:pt x="184" y="23"/>
                        </a:cubicBezTo>
                        <a:cubicBezTo>
                          <a:pt x="184" y="23"/>
                          <a:pt x="184" y="23"/>
                          <a:pt x="184" y="23"/>
                        </a:cubicBezTo>
                        <a:close/>
                        <a:moveTo>
                          <a:pt x="183" y="24"/>
                        </a:moveTo>
                        <a:cubicBezTo>
                          <a:pt x="183" y="24"/>
                          <a:pt x="183" y="23"/>
                          <a:pt x="183" y="23"/>
                        </a:cubicBezTo>
                        <a:cubicBezTo>
                          <a:pt x="183" y="23"/>
                          <a:pt x="183" y="23"/>
                          <a:pt x="183" y="24"/>
                        </a:cubicBezTo>
                        <a:close/>
                        <a:moveTo>
                          <a:pt x="184" y="24"/>
                        </a:moveTo>
                        <a:cubicBezTo>
                          <a:pt x="183" y="24"/>
                          <a:pt x="183" y="24"/>
                          <a:pt x="183" y="24"/>
                        </a:cubicBezTo>
                        <a:cubicBezTo>
                          <a:pt x="183" y="24"/>
                          <a:pt x="183" y="24"/>
                          <a:pt x="183" y="24"/>
                        </a:cubicBezTo>
                        <a:cubicBezTo>
                          <a:pt x="183" y="24"/>
                          <a:pt x="184" y="24"/>
                          <a:pt x="184" y="24"/>
                        </a:cubicBezTo>
                        <a:cubicBezTo>
                          <a:pt x="185" y="24"/>
                          <a:pt x="185" y="24"/>
                          <a:pt x="185" y="23"/>
                        </a:cubicBezTo>
                        <a:cubicBezTo>
                          <a:pt x="185" y="23"/>
                          <a:pt x="185" y="23"/>
                          <a:pt x="185" y="23"/>
                        </a:cubicBezTo>
                        <a:cubicBezTo>
                          <a:pt x="185" y="23"/>
                          <a:pt x="184" y="24"/>
                          <a:pt x="184" y="23"/>
                        </a:cubicBezTo>
                        <a:cubicBezTo>
                          <a:pt x="184" y="23"/>
                          <a:pt x="184" y="24"/>
                          <a:pt x="184" y="24"/>
                        </a:cubicBezTo>
                        <a:close/>
                        <a:moveTo>
                          <a:pt x="185" y="23"/>
                        </a:moveTo>
                        <a:cubicBezTo>
                          <a:pt x="185" y="23"/>
                          <a:pt x="185" y="23"/>
                          <a:pt x="185" y="23"/>
                        </a:cubicBezTo>
                        <a:cubicBezTo>
                          <a:pt x="185" y="23"/>
                          <a:pt x="185" y="23"/>
                          <a:pt x="185" y="23"/>
                        </a:cubicBezTo>
                        <a:cubicBezTo>
                          <a:pt x="185" y="23"/>
                          <a:pt x="185" y="23"/>
                          <a:pt x="185" y="23"/>
                        </a:cubicBezTo>
                        <a:close/>
                        <a:moveTo>
                          <a:pt x="197" y="20"/>
                        </a:moveTo>
                        <a:cubicBezTo>
                          <a:pt x="197" y="21"/>
                          <a:pt x="198" y="20"/>
                          <a:pt x="198" y="20"/>
                        </a:cubicBezTo>
                        <a:cubicBezTo>
                          <a:pt x="198" y="21"/>
                          <a:pt x="198" y="21"/>
                          <a:pt x="198" y="21"/>
                        </a:cubicBezTo>
                        <a:cubicBezTo>
                          <a:pt x="198" y="21"/>
                          <a:pt x="197" y="21"/>
                          <a:pt x="197" y="21"/>
                        </a:cubicBezTo>
                        <a:cubicBezTo>
                          <a:pt x="197" y="21"/>
                          <a:pt x="198" y="21"/>
                          <a:pt x="198" y="21"/>
                        </a:cubicBezTo>
                        <a:cubicBezTo>
                          <a:pt x="197" y="21"/>
                          <a:pt x="198" y="20"/>
                          <a:pt x="198" y="20"/>
                        </a:cubicBezTo>
                        <a:cubicBezTo>
                          <a:pt x="198" y="20"/>
                          <a:pt x="198" y="20"/>
                          <a:pt x="197" y="20"/>
                        </a:cubicBezTo>
                        <a:close/>
                        <a:moveTo>
                          <a:pt x="197" y="20"/>
                        </a:moveTo>
                        <a:cubicBezTo>
                          <a:pt x="197" y="21"/>
                          <a:pt x="196" y="21"/>
                          <a:pt x="196" y="21"/>
                        </a:cubicBezTo>
                        <a:cubicBezTo>
                          <a:pt x="197" y="21"/>
                          <a:pt x="197" y="21"/>
                          <a:pt x="197" y="21"/>
                        </a:cubicBezTo>
                        <a:cubicBezTo>
                          <a:pt x="197" y="21"/>
                          <a:pt x="197" y="21"/>
                          <a:pt x="197" y="21"/>
                        </a:cubicBezTo>
                        <a:cubicBezTo>
                          <a:pt x="197" y="20"/>
                          <a:pt x="197" y="21"/>
                          <a:pt x="197" y="20"/>
                        </a:cubicBezTo>
                        <a:cubicBezTo>
                          <a:pt x="197" y="20"/>
                          <a:pt x="197" y="20"/>
                          <a:pt x="197" y="20"/>
                        </a:cubicBezTo>
                        <a:close/>
                        <a:moveTo>
                          <a:pt x="195" y="21"/>
                        </a:moveTo>
                        <a:cubicBezTo>
                          <a:pt x="195" y="21"/>
                          <a:pt x="195" y="21"/>
                          <a:pt x="195" y="21"/>
                        </a:cubicBezTo>
                        <a:cubicBezTo>
                          <a:pt x="195" y="21"/>
                          <a:pt x="196" y="21"/>
                          <a:pt x="196" y="21"/>
                        </a:cubicBezTo>
                        <a:cubicBezTo>
                          <a:pt x="196" y="21"/>
                          <a:pt x="196" y="21"/>
                          <a:pt x="196" y="21"/>
                        </a:cubicBezTo>
                        <a:cubicBezTo>
                          <a:pt x="196" y="21"/>
                          <a:pt x="196" y="21"/>
                          <a:pt x="196" y="21"/>
                        </a:cubicBezTo>
                        <a:cubicBezTo>
                          <a:pt x="196" y="21"/>
                          <a:pt x="196" y="21"/>
                          <a:pt x="195" y="21"/>
                        </a:cubicBezTo>
                        <a:close/>
                        <a:moveTo>
                          <a:pt x="194" y="21"/>
                        </a:moveTo>
                        <a:cubicBezTo>
                          <a:pt x="194" y="21"/>
                          <a:pt x="193" y="21"/>
                          <a:pt x="193" y="21"/>
                        </a:cubicBezTo>
                        <a:cubicBezTo>
                          <a:pt x="193" y="21"/>
                          <a:pt x="194" y="21"/>
                          <a:pt x="194" y="21"/>
                        </a:cubicBezTo>
                        <a:close/>
                        <a:moveTo>
                          <a:pt x="197" y="21"/>
                        </a:moveTo>
                        <a:cubicBezTo>
                          <a:pt x="197" y="21"/>
                          <a:pt x="197" y="21"/>
                          <a:pt x="197" y="21"/>
                        </a:cubicBezTo>
                        <a:cubicBezTo>
                          <a:pt x="196" y="21"/>
                          <a:pt x="196" y="21"/>
                          <a:pt x="196" y="21"/>
                        </a:cubicBezTo>
                        <a:cubicBezTo>
                          <a:pt x="196" y="21"/>
                          <a:pt x="195" y="21"/>
                          <a:pt x="195" y="21"/>
                        </a:cubicBezTo>
                        <a:cubicBezTo>
                          <a:pt x="195" y="21"/>
                          <a:pt x="197" y="21"/>
                          <a:pt x="197" y="21"/>
                        </a:cubicBezTo>
                        <a:close/>
                        <a:moveTo>
                          <a:pt x="195" y="21"/>
                        </a:moveTo>
                        <a:cubicBezTo>
                          <a:pt x="194" y="21"/>
                          <a:pt x="195" y="21"/>
                          <a:pt x="195" y="21"/>
                        </a:cubicBezTo>
                        <a:cubicBezTo>
                          <a:pt x="195" y="21"/>
                          <a:pt x="195" y="21"/>
                          <a:pt x="194" y="21"/>
                        </a:cubicBezTo>
                        <a:cubicBezTo>
                          <a:pt x="194" y="21"/>
                          <a:pt x="194" y="22"/>
                          <a:pt x="194" y="22"/>
                        </a:cubicBezTo>
                        <a:cubicBezTo>
                          <a:pt x="194" y="21"/>
                          <a:pt x="195" y="22"/>
                          <a:pt x="195" y="21"/>
                        </a:cubicBezTo>
                        <a:close/>
                        <a:moveTo>
                          <a:pt x="199" y="20"/>
                        </a:moveTo>
                        <a:cubicBezTo>
                          <a:pt x="199" y="20"/>
                          <a:pt x="199" y="20"/>
                          <a:pt x="199" y="20"/>
                        </a:cubicBezTo>
                        <a:cubicBezTo>
                          <a:pt x="199" y="21"/>
                          <a:pt x="200" y="20"/>
                          <a:pt x="200" y="20"/>
                        </a:cubicBezTo>
                        <a:cubicBezTo>
                          <a:pt x="200" y="20"/>
                          <a:pt x="200" y="20"/>
                          <a:pt x="200" y="20"/>
                        </a:cubicBezTo>
                        <a:cubicBezTo>
                          <a:pt x="200" y="20"/>
                          <a:pt x="200" y="20"/>
                          <a:pt x="200" y="20"/>
                        </a:cubicBezTo>
                        <a:cubicBezTo>
                          <a:pt x="200" y="20"/>
                          <a:pt x="200" y="20"/>
                          <a:pt x="200" y="20"/>
                        </a:cubicBezTo>
                        <a:cubicBezTo>
                          <a:pt x="200" y="20"/>
                          <a:pt x="200" y="20"/>
                          <a:pt x="200" y="20"/>
                        </a:cubicBezTo>
                        <a:cubicBezTo>
                          <a:pt x="200" y="20"/>
                          <a:pt x="200" y="20"/>
                          <a:pt x="200" y="20"/>
                        </a:cubicBezTo>
                        <a:cubicBezTo>
                          <a:pt x="200" y="20"/>
                          <a:pt x="200" y="20"/>
                          <a:pt x="200" y="20"/>
                        </a:cubicBezTo>
                        <a:cubicBezTo>
                          <a:pt x="200" y="20"/>
                          <a:pt x="199" y="20"/>
                          <a:pt x="199" y="20"/>
                        </a:cubicBezTo>
                        <a:cubicBezTo>
                          <a:pt x="199" y="20"/>
                          <a:pt x="200" y="20"/>
                          <a:pt x="200" y="20"/>
                        </a:cubicBezTo>
                        <a:cubicBezTo>
                          <a:pt x="199" y="20"/>
                          <a:pt x="199" y="20"/>
                          <a:pt x="198" y="21"/>
                        </a:cubicBezTo>
                        <a:cubicBezTo>
                          <a:pt x="198" y="21"/>
                          <a:pt x="198" y="21"/>
                          <a:pt x="198" y="21"/>
                        </a:cubicBezTo>
                        <a:cubicBezTo>
                          <a:pt x="199" y="21"/>
                          <a:pt x="199" y="20"/>
                          <a:pt x="199" y="20"/>
                        </a:cubicBezTo>
                        <a:close/>
                        <a:moveTo>
                          <a:pt x="196" y="21"/>
                        </a:moveTo>
                        <a:cubicBezTo>
                          <a:pt x="195" y="21"/>
                          <a:pt x="195" y="21"/>
                          <a:pt x="195" y="22"/>
                        </a:cubicBezTo>
                        <a:cubicBezTo>
                          <a:pt x="195" y="22"/>
                          <a:pt x="196" y="22"/>
                          <a:pt x="196" y="21"/>
                        </a:cubicBezTo>
                        <a:close/>
                        <a:moveTo>
                          <a:pt x="197" y="21"/>
                        </a:moveTo>
                        <a:cubicBezTo>
                          <a:pt x="198" y="21"/>
                          <a:pt x="198" y="21"/>
                          <a:pt x="198" y="21"/>
                        </a:cubicBezTo>
                        <a:cubicBezTo>
                          <a:pt x="198" y="21"/>
                          <a:pt x="197" y="21"/>
                          <a:pt x="197" y="21"/>
                        </a:cubicBezTo>
                        <a:cubicBezTo>
                          <a:pt x="197" y="21"/>
                          <a:pt x="197" y="21"/>
                          <a:pt x="197" y="21"/>
                        </a:cubicBezTo>
                        <a:close/>
                        <a:moveTo>
                          <a:pt x="204" y="20"/>
                        </a:moveTo>
                        <a:cubicBezTo>
                          <a:pt x="203" y="20"/>
                          <a:pt x="203" y="20"/>
                          <a:pt x="203" y="20"/>
                        </a:cubicBezTo>
                        <a:cubicBezTo>
                          <a:pt x="203" y="20"/>
                          <a:pt x="204" y="20"/>
                          <a:pt x="204" y="20"/>
                        </a:cubicBezTo>
                        <a:close/>
                        <a:moveTo>
                          <a:pt x="211" y="20"/>
                        </a:moveTo>
                        <a:cubicBezTo>
                          <a:pt x="211" y="19"/>
                          <a:pt x="213" y="20"/>
                          <a:pt x="212" y="19"/>
                        </a:cubicBezTo>
                        <a:cubicBezTo>
                          <a:pt x="212" y="20"/>
                          <a:pt x="212" y="19"/>
                          <a:pt x="212" y="19"/>
                        </a:cubicBezTo>
                        <a:cubicBezTo>
                          <a:pt x="212" y="19"/>
                          <a:pt x="211" y="20"/>
                          <a:pt x="211" y="20"/>
                        </a:cubicBezTo>
                        <a:close/>
                        <a:moveTo>
                          <a:pt x="215" y="19"/>
                        </a:moveTo>
                        <a:cubicBezTo>
                          <a:pt x="215" y="19"/>
                          <a:pt x="215" y="19"/>
                          <a:pt x="215" y="19"/>
                        </a:cubicBezTo>
                        <a:cubicBezTo>
                          <a:pt x="215" y="19"/>
                          <a:pt x="215" y="19"/>
                          <a:pt x="215" y="19"/>
                        </a:cubicBezTo>
                        <a:cubicBezTo>
                          <a:pt x="215" y="19"/>
                          <a:pt x="215" y="19"/>
                          <a:pt x="215" y="19"/>
                        </a:cubicBezTo>
                        <a:cubicBezTo>
                          <a:pt x="215" y="19"/>
                          <a:pt x="215" y="18"/>
                          <a:pt x="215" y="19"/>
                        </a:cubicBezTo>
                        <a:cubicBezTo>
                          <a:pt x="214" y="19"/>
                          <a:pt x="214" y="19"/>
                          <a:pt x="214" y="19"/>
                        </a:cubicBezTo>
                        <a:cubicBezTo>
                          <a:pt x="214" y="19"/>
                          <a:pt x="214" y="19"/>
                          <a:pt x="214" y="19"/>
                        </a:cubicBezTo>
                        <a:cubicBezTo>
                          <a:pt x="214" y="19"/>
                          <a:pt x="215" y="19"/>
                          <a:pt x="215" y="19"/>
                        </a:cubicBezTo>
                        <a:cubicBezTo>
                          <a:pt x="215" y="19"/>
                          <a:pt x="215" y="19"/>
                          <a:pt x="215" y="19"/>
                        </a:cubicBezTo>
                        <a:close/>
                        <a:moveTo>
                          <a:pt x="193" y="13"/>
                        </a:moveTo>
                        <a:cubicBezTo>
                          <a:pt x="193" y="13"/>
                          <a:pt x="193" y="13"/>
                          <a:pt x="193" y="13"/>
                        </a:cubicBezTo>
                        <a:cubicBezTo>
                          <a:pt x="193" y="13"/>
                          <a:pt x="193" y="13"/>
                          <a:pt x="193" y="13"/>
                        </a:cubicBezTo>
                        <a:cubicBezTo>
                          <a:pt x="193" y="13"/>
                          <a:pt x="193" y="13"/>
                          <a:pt x="192" y="13"/>
                        </a:cubicBezTo>
                        <a:cubicBezTo>
                          <a:pt x="192" y="13"/>
                          <a:pt x="193" y="13"/>
                          <a:pt x="193" y="13"/>
                        </a:cubicBezTo>
                        <a:close/>
                        <a:moveTo>
                          <a:pt x="191" y="21"/>
                        </a:moveTo>
                        <a:cubicBezTo>
                          <a:pt x="192" y="21"/>
                          <a:pt x="191" y="21"/>
                          <a:pt x="192" y="21"/>
                        </a:cubicBezTo>
                        <a:cubicBezTo>
                          <a:pt x="191" y="21"/>
                          <a:pt x="193" y="21"/>
                          <a:pt x="192" y="21"/>
                        </a:cubicBezTo>
                        <a:cubicBezTo>
                          <a:pt x="192" y="21"/>
                          <a:pt x="192" y="21"/>
                          <a:pt x="192" y="21"/>
                        </a:cubicBezTo>
                        <a:cubicBezTo>
                          <a:pt x="192" y="21"/>
                          <a:pt x="191" y="21"/>
                          <a:pt x="191" y="21"/>
                        </a:cubicBezTo>
                        <a:cubicBezTo>
                          <a:pt x="191" y="21"/>
                          <a:pt x="191" y="21"/>
                          <a:pt x="191" y="21"/>
                        </a:cubicBezTo>
                        <a:cubicBezTo>
                          <a:pt x="191" y="21"/>
                          <a:pt x="191" y="21"/>
                          <a:pt x="191" y="21"/>
                        </a:cubicBezTo>
                        <a:cubicBezTo>
                          <a:pt x="191" y="21"/>
                          <a:pt x="191" y="21"/>
                          <a:pt x="191" y="21"/>
                        </a:cubicBezTo>
                        <a:cubicBezTo>
                          <a:pt x="191" y="21"/>
                          <a:pt x="191" y="21"/>
                          <a:pt x="191" y="21"/>
                        </a:cubicBezTo>
                        <a:close/>
                        <a:moveTo>
                          <a:pt x="249" y="8"/>
                        </a:moveTo>
                        <a:cubicBezTo>
                          <a:pt x="249" y="8"/>
                          <a:pt x="249" y="7"/>
                          <a:pt x="249" y="7"/>
                        </a:cubicBezTo>
                        <a:cubicBezTo>
                          <a:pt x="250" y="7"/>
                          <a:pt x="250" y="7"/>
                          <a:pt x="250" y="7"/>
                        </a:cubicBezTo>
                        <a:cubicBezTo>
                          <a:pt x="250" y="7"/>
                          <a:pt x="249" y="7"/>
                          <a:pt x="249" y="7"/>
                        </a:cubicBezTo>
                        <a:cubicBezTo>
                          <a:pt x="249" y="8"/>
                          <a:pt x="249" y="8"/>
                          <a:pt x="249" y="8"/>
                        </a:cubicBezTo>
                        <a:cubicBezTo>
                          <a:pt x="249" y="8"/>
                          <a:pt x="249" y="8"/>
                          <a:pt x="249" y="8"/>
                        </a:cubicBezTo>
                        <a:close/>
                        <a:moveTo>
                          <a:pt x="196" y="9"/>
                        </a:moveTo>
                        <a:cubicBezTo>
                          <a:pt x="196" y="9"/>
                          <a:pt x="195" y="9"/>
                          <a:pt x="195" y="9"/>
                        </a:cubicBezTo>
                        <a:cubicBezTo>
                          <a:pt x="195" y="9"/>
                          <a:pt x="196" y="9"/>
                          <a:pt x="196" y="9"/>
                        </a:cubicBezTo>
                        <a:cubicBezTo>
                          <a:pt x="196" y="9"/>
                          <a:pt x="196" y="9"/>
                          <a:pt x="196" y="9"/>
                        </a:cubicBezTo>
                        <a:cubicBezTo>
                          <a:pt x="196" y="9"/>
                          <a:pt x="196" y="9"/>
                          <a:pt x="196" y="9"/>
                        </a:cubicBezTo>
                        <a:close/>
                        <a:moveTo>
                          <a:pt x="192" y="13"/>
                        </a:moveTo>
                        <a:cubicBezTo>
                          <a:pt x="191" y="13"/>
                          <a:pt x="191" y="13"/>
                          <a:pt x="191" y="13"/>
                        </a:cubicBezTo>
                        <a:cubicBezTo>
                          <a:pt x="191" y="13"/>
                          <a:pt x="192" y="13"/>
                          <a:pt x="192" y="13"/>
                        </a:cubicBezTo>
                        <a:cubicBezTo>
                          <a:pt x="192" y="13"/>
                          <a:pt x="192" y="13"/>
                          <a:pt x="192" y="13"/>
                        </a:cubicBezTo>
                        <a:cubicBezTo>
                          <a:pt x="192" y="13"/>
                          <a:pt x="192" y="13"/>
                          <a:pt x="192" y="13"/>
                        </a:cubicBezTo>
                        <a:cubicBezTo>
                          <a:pt x="192" y="13"/>
                          <a:pt x="192" y="13"/>
                          <a:pt x="192" y="13"/>
                        </a:cubicBezTo>
                        <a:close/>
                        <a:moveTo>
                          <a:pt x="192" y="14"/>
                        </a:move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1" y="15"/>
                          <a:pt x="191" y="15"/>
                          <a:pt x="191" y="15"/>
                        </a:cubicBezTo>
                        <a:cubicBezTo>
                          <a:pt x="191" y="14"/>
                          <a:pt x="192" y="14"/>
                          <a:pt x="192" y="14"/>
                        </a:cubicBezTo>
                        <a:cubicBezTo>
                          <a:pt x="192" y="14"/>
                          <a:pt x="192" y="14"/>
                          <a:pt x="192" y="14"/>
                        </a:cubicBezTo>
                        <a:close/>
                        <a:moveTo>
                          <a:pt x="190" y="14"/>
                        </a:moveTo>
                        <a:cubicBezTo>
                          <a:pt x="190" y="15"/>
                          <a:pt x="190" y="14"/>
                          <a:pt x="190" y="14"/>
                        </a:cubicBezTo>
                        <a:cubicBezTo>
                          <a:pt x="189" y="15"/>
                          <a:pt x="188" y="15"/>
                          <a:pt x="187" y="15"/>
                        </a:cubicBezTo>
                        <a:cubicBezTo>
                          <a:pt x="187" y="15"/>
                          <a:pt x="188" y="14"/>
                          <a:pt x="188" y="14"/>
                        </a:cubicBezTo>
                        <a:cubicBezTo>
                          <a:pt x="189" y="14"/>
                          <a:pt x="189" y="14"/>
                          <a:pt x="189" y="14"/>
                        </a:cubicBezTo>
                        <a:cubicBezTo>
                          <a:pt x="189" y="14"/>
                          <a:pt x="189" y="14"/>
                          <a:pt x="190" y="14"/>
                        </a:cubicBezTo>
                        <a:cubicBezTo>
                          <a:pt x="190" y="14"/>
                          <a:pt x="189" y="14"/>
                          <a:pt x="189" y="14"/>
                        </a:cubicBezTo>
                        <a:cubicBezTo>
                          <a:pt x="189" y="14"/>
                          <a:pt x="190" y="14"/>
                          <a:pt x="190" y="14"/>
                        </a:cubicBezTo>
                        <a:cubicBezTo>
                          <a:pt x="190" y="14"/>
                          <a:pt x="190" y="14"/>
                          <a:pt x="190" y="14"/>
                        </a:cubicBezTo>
                        <a:close/>
                        <a:moveTo>
                          <a:pt x="190" y="15"/>
                        </a:moveTo>
                        <a:cubicBezTo>
                          <a:pt x="190" y="15"/>
                          <a:pt x="190" y="15"/>
                          <a:pt x="189" y="15"/>
                        </a:cubicBezTo>
                        <a:cubicBezTo>
                          <a:pt x="189" y="15"/>
                          <a:pt x="190" y="15"/>
                          <a:pt x="189" y="15"/>
                        </a:cubicBezTo>
                        <a:cubicBezTo>
                          <a:pt x="189" y="15"/>
                          <a:pt x="190" y="15"/>
                          <a:pt x="190" y="15"/>
                        </a:cubicBezTo>
                        <a:close/>
                        <a:moveTo>
                          <a:pt x="189" y="15"/>
                        </a:moveTo>
                        <a:cubicBezTo>
                          <a:pt x="189" y="15"/>
                          <a:pt x="189" y="15"/>
                          <a:pt x="189" y="15"/>
                        </a:cubicBezTo>
                        <a:cubicBezTo>
                          <a:pt x="189" y="15"/>
                          <a:pt x="189" y="15"/>
                          <a:pt x="189" y="15"/>
                        </a:cubicBezTo>
                        <a:cubicBezTo>
                          <a:pt x="189" y="15"/>
                          <a:pt x="189" y="15"/>
                          <a:pt x="189" y="15"/>
                        </a:cubicBezTo>
                        <a:cubicBezTo>
                          <a:pt x="189" y="15"/>
                          <a:pt x="189" y="15"/>
                          <a:pt x="188" y="15"/>
                        </a:cubicBezTo>
                        <a:cubicBezTo>
                          <a:pt x="188" y="15"/>
                          <a:pt x="189" y="15"/>
                          <a:pt x="189" y="15"/>
                        </a:cubicBezTo>
                        <a:close/>
                        <a:moveTo>
                          <a:pt x="189" y="14"/>
                        </a:moveTo>
                        <a:cubicBezTo>
                          <a:pt x="188" y="14"/>
                          <a:pt x="188" y="14"/>
                          <a:pt x="188" y="14"/>
                        </a:cubicBezTo>
                        <a:cubicBezTo>
                          <a:pt x="188" y="14"/>
                          <a:pt x="189" y="13"/>
                          <a:pt x="188" y="13"/>
                        </a:cubicBezTo>
                        <a:cubicBezTo>
                          <a:pt x="189" y="13"/>
                          <a:pt x="188" y="13"/>
                          <a:pt x="189" y="14"/>
                        </a:cubicBezTo>
                        <a:close/>
                        <a:moveTo>
                          <a:pt x="187" y="14"/>
                        </a:moveTo>
                        <a:cubicBezTo>
                          <a:pt x="187" y="14"/>
                          <a:pt x="187" y="15"/>
                          <a:pt x="187" y="15"/>
                        </a:cubicBezTo>
                        <a:cubicBezTo>
                          <a:pt x="186" y="15"/>
                          <a:pt x="186" y="15"/>
                          <a:pt x="185" y="15"/>
                        </a:cubicBezTo>
                        <a:cubicBezTo>
                          <a:pt x="185" y="15"/>
                          <a:pt x="187" y="14"/>
                          <a:pt x="187" y="14"/>
                        </a:cubicBezTo>
                        <a:cubicBezTo>
                          <a:pt x="187" y="14"/>
                          <a:pt x="187" y="15"/>
                          <a:pt x="187" y="14"/>
                        </a:cubicBezTo>
                        <a:close/>
                        <a:moveTo>
                          <a:pt x="187" y="15"/>
                        </a:moveTo>
                        <a:cubicBezTo>
                          <a:pt x="187" y="15"/>
                          <a:pt x="187" y="15"/>
                          <a:pt x="187" y="15"/>
                        </a:cubicBezTo>
                        <a:cubicBezTo>
                          <a:pt x="187" y="15"/>
                          <a:pt x="187" y="15"/>
                          <a:pt x="187" y="15"/>
                        </a:cubicBezTo>
                        <a:cubicBezTo>
                          <a:pt x="187" y="15"/>
                          <a:pt x="187" y="15"/>
                          <a:pt x="187" y="15"/>
                        </a:cubicBezTo>
                        <a:cubicBezTo>
                          <a:pt x="187" y="15"/>
                          <a:pt x="187" y="15"/>
                          <a:pt x="187" y="15"/>
                        </a:cubicBezTo>
                        <a:cubicBezTo>
                          <a:pt x="187" y="15"/>
                          <a:pt x="187" y="15"/>
                          <a:pt x="187" y="15"/>
                        </a:cubicBezTo>
                        <a:close/>
                        <a:moveTo>
                          <a:pt x="185" y="18"/>
                        </a:moveTo>
                        <a:cubicBezTo>
                          <a:pt x="186" y="18"/>
                          <a:pt x="186" y="18"/>
                          <a:pt x="187" y="18"/>
                        </a:cubicBezTo>
                        <a:cubicBezTo>
                          <a:pt x="187" y="18"/>
                          <a:pt x="187" y="17"/>
                          <a:pt x="188" y="17"/>
                        </a:cubicBezTo>
                        <a:cubicBezTo>
                          <a:pt x="188" y="18"/>
                          <a:pt x="187" y="18"/>
                          <a:pt x="187" y="18"/>
                        </a:cubicBezTo>
                        <a:cubicBezTo>
                          <a:pt x="187" y="18"/>
                          <a:pt x="186" y="18"/>
                          <a:pt x="187" y="18"/>
                        </a:cubicBezTo>
                        <a:cubicBezTo>
                          <a:pt x="186" y="18"/>
                          <a:pt x="185" y="18"/>
                          <a:pt x="185" y="18"/>
                        </a:cubicBezTo>
                        <a:cubicBezTo>
                          <a:pt x="185" y="18"/>
                          <a:pt x="185" y="18"/>
                          <a:pt x="185" y="18"/>
                        </a:cubicBezTo>
                        <a:close/>
                        <a:moveTo>
                          <a:pt x="188" y="18"/>
                        </a:moveTo>
                        <a:cubicBezTo>
                          <a:pt x="188" y="18"/>
                          <a:pt x="188" y="18"/>
                          <a:pt x="187" y="18"/>
                        </a:cubicBezTo>
                        <a:cubicBezTo>
                          <a:pt x="187" y="18"/>
                          <a:pt x="188" y="18"/>
                          <a:pt x="188" y="18"/>
                        </a:cubicBezTo>
                        <a:cubicBezTo>
                          <a:pt x="188" y="18"/>
                          <a:pt x="188" y="18"/>
                          <a:pt x="188" y="18"/>
                        </a:cubicBezTo>
                        <a:cubicBezTo>
                          <a:pt x="188" y="18"/>
                          <a:pt x="188" y="18"/>
                          <a:pt x="188" y="18"/>
                        </a:cubicBezTo>
                        <a:cubicBezTo>
                          <a:pt x="188" y="18"/>
                          <a:pt x="187" y="18"/>
                          <a:pt x="188" y="18"/>
                        </a:cubicBezTo>
                        <a:close/>
                        <a:moveTo>
                          <a:pt x="187" y="16"/>
                        </a:moveTo>
                        <a:cubicBezTo>
                          <a:pt x="186" y="16"/>
                          <a:pt x="186" y="16"/>
                          <a:pt x="186" y="16"/>
                        </a:cubicBezTo>
                        <a:cubicBezTo>
                          <a:pt x="186" y="16"/>
                          <a:pt x="186" y="16"/>
                          <a:pt x="186" y="16"/>
                        </a:cubicBezTo>
                        <a:cubicBezTo>
                          <a:pt x="186" y="16"/>
                          <a:pt x="187" y="16"/>
                          <a:pt x="187" y="16"/>
                        </a:cubicBezTo>
                        <a:close/>
                        <a:moveTo>
                          <a:pt x="186" y="18"/>
                        </a:moveTo>
                        <a:cubicBezTo>
                          <a:pt x="187" y="18"/>
                          <a:pt x="187" y="18"/>
                          <a:pt x="187" y="18"/>
                        </a:cubicBezTo>
                        <a:cubicBezTo>
                          <a:pt x="187" y="18"/>
                          <a:pt x="186" y="18"/>
                          <a:pt x="186" y="18"/>
                        </a:cubicBezTo>
                        <a:close/>
                        <a:moveTo>
                          <a:pt x="188" y="22"/>
                        </a:moveTo>
                        <a:cubicBezTo>
                          <a:pt x="187" y="21"/>
                          <a:pt x="187" y="22"/>
                          <a:pt x="187" y="22"/>
                        </a:cubicBezTo>
                        <a:cubicBezTo>
                          <a:pt x="186" y="22"/>
                          <a:pt x="187" y="22"/>
                          <a:pt x="187" y="22"/>
                        </a:cubicBezTo>
                        <a:cubicBezTo>
                          <a:pt x="186" y="22"/>
                          <a:pt x="185" y="22"/>
                          <a:pt x="183" y="22"/>
                        </a:cubicBezTo>
                        <a:cubicBezTo>
                          <a:pt x="183" y="22"/>
                          <a:pt x="183" y="22"/>
                          <a:pt x="183" y="22"/>
                        </a:cubicBezTo>
                        <a:cubicBezTo>
                          <a:pt x="183" y="22"/>
                          <a:pt x="183" y="22"/>
                          <a:pt x="183" y="22"/>
                        </a:cubicBezTo>
                        <a:cubicBezTo>
                          <a:pt x="183" y="22"/>
                          <a:pt x="183" y="22"/>
                          <a:pt x="183" y="22"/>
                        </a:cubicBezTo>
                        <a:cubicBezTo>
                          <a:pt x="183" y="22"/>
                          <a:pt x="183" y="22"/>
                          <a:pt x="183" y="22"/>
                        </a:cubicBezTo>
                        <a:cubicBezTo>
                          <a:pt x="183" y="22"/>
                          <a:pt x="183" y="22"/>
                          <a:pt x="183" y="22"/>
                        </a:cubicBezTo>
                        <a:cubicBezTo>
                          <a:pt x="182" y="22"/>
                          <a:pt x="182" y="22"/>
                          <a:pt x="182" y="22"/>
                        </a:cubicBezTo>
                        <a:cubicBezTo>
                          <a:pt x="182" y="22"/>
                          <a:pt x="183" y="22"/>
                          <a:pt x="183" y="22"/>
                        </a:cubicBezTo>
                        <a:cubicBezTo>
                          <a:pt x="183" y="22"/>
                          <a:pt x="183" y="22"/>
                          <a:pt x="184" y="22"/>
                        </a:cubicBezTo>
                        <a:cubicBezTo>
                          <a:pt x="184" y="22"/>
                          <a:pt x="184" y="22"/>
                          <a:pt x="184" y="22"/>
                        </a:cubicBezTo>
                        <a:cubicBezTo>
                          <a:pt x="184" y="22"/>
                          <a:pt x="185" y="22"/>
                          <a:pt x="184" y="22"/>
                        </a:cubicBezTo>
                        <a:cubicBezTo>
                          <a:pt x="185" y="22"/>
                          <a:pt x="185" y="22"/>
                          <a:pt x="185" y="22"/>
                        </a:cubicBezTo>
                        <a:cubicBezTo>
                          <a:pt x="185" y="22"/>
                          <a:pt x="186" y="22"/>
                          <a:pt x="185" y="22"/>
                        </a:cubicBezTo>
                        <a:cubicBezTo>
                          <a:pt x="186" y="22"/>
                          <a:pt x="186" y="22"/>
                          <a:pt x="186" y="22"/>
                        </a:cubicBezTo>
                        <a:cubicBezTo>
                          <a:pt x="186" y="21"/>
                          <a:pt x="186" y="21"/>
                          <a:pt x="186" y="21"/>
                        </a:cubicBezTo>
                        <a:cubicBezTo>
                          <a:pt x="186" y="21"/>
                          <a:pt x="186" y="21"/>
                          <a:pt x="186" y="21"/>
                        </a:cubicBezTo>
                        <a:cubicBezTo>
                          <a:pt x="186" y="21"/>
                          <a:pt x="186" y="21"/>
                          <a:pt x="185" y="21"/>
                        </a:cubicBezTo>
                        <a:cubicBezTo>
                          <a:pt x="185" y="21"/>
                          <a:pt x="186" y="21"/>
                          <a:pt x="186" y="21"/>
                        </a:cubicBezTo>
                        <a:cubicBezTo>
                          <a:pt x="186" y="21"/>
                          <a:pt x="187" y="21"/>
                          <a:pt x="187" y="21"/>
                        </a:cubicBezTo>
                        <a:cubicBezTo>
                          <a:pt x="187" y="21"/>
                          <a:pt x="187" y="21"/>
                          <a:pt x="188" y="22"/>
                        </a:cubicBezTo>
                        <a:cubicBezTo>
                          <a:pt x="188" y="22"/>
                          <a:pt x="188" y="22"/>
                          <a:pt x="188" y="22"/>
                        </a:cubicBezTo>
                        <a:close/>
                        <a:moveTo>
                          <a:pt x="186" y="18"/>
                        </a:moveTo>
                        <a:cubicBezTo>
                          <a:pt x="186" y="18"/>
                          <a:pt x="186" y="18"/>
                          <a:pt x="186" y="18"/>
                        </a:cubicBezTo>
                        <a:cubicBezTo>
                          <a:pt x="186" y="18"/>
                          <a:pt x="186" y="18"/>
                          <a:pt x="186" y="18"/>
                        </a:cubicBezTo>
                        <a:cubicBezTo>
                          <a:pt x="185" y="18"/>
                          <a:pt x="186" y="18"/>
                          <a:pt x="186" y="18"/>
                        </a:cubicBezTo>
                        <a:close/>
                        <a:moveTo>
                          <a:pt x="184" y="16"/>
                        </a:moveTo>
                        <a:cubicBezTo>
                          <a:pt x="182" y="16"/>
                          <a:pt x="181" y="17"/>
                          <a:pt x="179" y="17"/>
                        </a:cubicBezTo>
                        <a:cubicBezTo>
                          <a:pt x="179" y="17"/>
                          <a:pt x="181" y="17"/>
                          <a:pt x="181" y="16"/>
                        </a:cubicBezTo>
                        <a:cubicBezTo>
                          <a:pt x="181" y="16"/>
                          <a:pt x="181" y="16"/>
                          <a:pt x="181" y="16"/>
                        </a:cubicBezTo>
                        <a:cubicBezTo>
                          <a:pt x="183" y="16"/>
                          <a:pt x="184" y="16"/>
                          <a:pt x="185" y="16"/>
                        </a:cubicBezTo>
                        <a:cubicBezTo>
                          <a:pt x="185" y="16"/>
                          <a:pt x="185" y="16"/>
                          <a:pt x="185" y="16"/>
                        </a:cubicBezTo>
                        <a:cubicBezTo>
                          <a:pt x="185" y="16"/>
                          <a:pt x="185" y="16"/>
                          <a:pt x="185" y="16"/>
                        </a:cubicBezTo>
                        <a:cubicBezTo>
                          <a:pt x="185" y="16"/>
                          <a:pt x="185" y="16"/>
                          <a:pt x="185" y="16"/>
                        </a:cubicBezTo>
                        <a:cubicBezTo>
                          <a:pt x="184" y="16"/>
                          <a:pt x="184" y="16"/>
                          <a:pt x="184" y="16"/>
                        </a:cubicBezTo>
                        <a:cubicBezTo>
                          <a:pt x="184" y="16"/>
                          <a:pt x="184" y="16"/>
                          <a:pt x="184" y="16"/>
                        </a:cubicBezTo>
                        <a:close/>
                        <a:moveTo>
                          <a:pt x="185" y="16"/>
                        </a:moveTo>
                        <a:cubicBezTo>
                          <a:pt x="185" y="16"/>
                          <a:pt x="185" y="16"/>
                          <a:pt x="185" y="15"/>
                        </a:cubicBezTo>
                        <a:cubicBezTo>
                          <a:pt x="185" y="16"/>
                          <a:pt x="185" y="16"/>
                          <a:pt x="184" y="16"/>
                        </a:cubicBezTo>
                        <a:cubicBezTo>
                          <a:pt x="185" y="16"/>
                          <a:pt x="184" y="15"/>
                          <a:pt x="185" y="15"/>
                        </a:cubicBezTo>
                        <a:cubicBezTo>
                          <a:pt x="185" y="15"/>
                          <a:pt x="185" y="15"/>
                          <a:pt x="185" y="16"/>
                        </a:cubicBezTo>
                        <a:close/>
                        <a:moveTo>
                          <a:pt x="183" y="21"/>
                        </a:moveTo>
                        <a:cubicBezTo>
                          <a:pt x="183" y="21"/>
                          <a:pt x="183" y="21"/>
                          <a:pt x="183" y="21"/>
                        </a:cubicBezTo>
                        <a:cubicBezTo>
                          <a:pt x="183" y="21"/>
                          <a:pt x="183" y="21"/>
                          <a:pt x="183" y="21"/>
                        </a:cubicBezTo>
                        <a:cubicBezTo>
                          <a:pt x="184" y="21"/>
                          <a:pt x="185" y="21"/>
                          <a:pt x="186" y="21"/>
                        </a:cubicBezTo>
                        <a:cubicBezTo>
                          <a:pt x="186" y="21"/>
                          <a:pt x="185" y="21"/>
                          <a:pt x="185" y="21"/>
                        </a:cubicBezTo>
                        <a:cubicBezTo>
                          <a:pt x="185" y="21"/>
                          <a:pt x="185" y="22"/>
                          <a:pt x="185" y="21"/>
                        </a:cubicBezTo>
                        <a:cubicBezTo>
                          <a:pt x="184" y="21"/>
                          <a:pt x="185" y="22"/>
                          <a:pt x="184" y="22"/>
                        </a:cubicBezTo>
                        <a:cubicBezTo>
                          <a:pt x="184" y="21"/>
                          <a:pt x="184" y="22"/>
                          <a:pt x="184" y="21"/>
                        </a:cubicBezTo>
                        <a:cubicBezTo>
                          <a:pt x="183" y="22"/>
                          <a:pt x="183" y="22"/>
                          <a:pt x="182" y="22"/>
                        </a:cubicBezTo>
                        <a:cubicBezTo>
                          <a:pt x="182" y="22"/>
                          <a:pt x="183" y="22"/>
                          <a:pt x="182" y="21"/>
                        </a:cubicBezTo>
                        <a:cubicBezTo>
                          <a:pt x="182" y="21"/>
                          <a:pt x="183" y="21"/>
                          <a:pt x="183" y="21"/>
                        </a:cubicBezTo>
                        <a:close/>
                        <a:moveTo>
                          <a:pt x="182" y="14"/>
                        </a:moveTo>
                        <a:cubicBezTo>
                          <a:pt x="182" y="13"/>
                          <a:pt x="183" y="13"/>
                          <a:pt x="183" y="13"/>
                        </a:cubicBezTo>
                        <a:cubicBezTo>
                          <a:pt x="183" y="13"/>
                          <a:pt x="182" y="13"/>
                          <a:pt x="182" y="14"/>
                        </a:cubicBezTo>
                        <a:close/>
                        <a:moveTo>
                          <a:pt x="183" y="15"/>
                        </a:moveTo>
                        <a:cubicBezTo>
                          <a:pt x="183" y="15"/>
                          <a:pt x="183" y="15"/>
                          <a:pt x="183" y="15"/>
                        </a:cubicBezTo>
                        <a:cubicBezTo>
                          <a:pt x="182" y="15"/>
                          <a:pt x="183" y="15"/>
                          <a:pt x="183" y="14"/>
                        </a:cubicBezTo>
                        <a:cubicBezTo>
                          <a:pt x="183" y="15"/>
                          <a:pt x="183" y="15"/>
                          <a:pt x="183" y="15"/>
                        </a:cubicBezTo>
                        <a:close/>
                        <a:moveTo>
                          <a:pt x="181" y="18"/>
                        </a:moveTo>
                        <a:cubicBezTo>
                          <a:pt x="181" y="18"/>
                          <a:pt x="180" y="18"/>
                          <a:pt x="180" y="18"/>
                        </a:cubicBezTo>
                        <a:cubicBezTo>
                          <a:pt x="180" y="18"/>
                          <a:pt x="180" y="18"/>
                          <a:pt x="179" y="18"/>
                        </a:cubicBezTo>
                        <a:cubicBezTo>
                          <a:pt x="179" y="18"/>
                          <a:pt x="179" y="18"/>
                          <a:pt x="179" y="18"/>
                        </a:cubicBezTo>
                        <a:cubicBezTo>
                          <a:pt x="179" y="18"/>
                          <a:pt x="179" y="18"/>
                          <a:pt x="179" y="18"/>
                        </a:cubicBezTo>
                        <a:cubicBezTo>
                          <a:pt x="179" y="18"/>
                          <a:pt x="179" y="18"/>
                          <a:pt x="179" y="18"/>
                        </a:cubicBezTo>
                        <a:cubicBezTo>
                          <a:pt x="179" y="18"/>
                          <a:pt x="179" y="18"/>
                          <a:pt x="179" y="18"/>
                        </a:cubicBezTo>
                        <a:cubicBezTo>
                          <a:pt x="179" y="18"/>
                          <a:pt x="179" y="18"/>
                          <a:pt x="179" y="18"/>
                        </a:cubicBezTo>
                        <a:cubicBezTo>
                          <a:pt x="178" y="19"/>
                          <a:pt x="178" y="19"/>
                          <a:pt x="177" y="19"/>
                        </a:cubicBezTo>
                        <a:cubicBezTo>
                          <a:pt x="177" y="19"/>
                          <a:pt x="178" y="19"/>
                          <a:pt x="177" y="18"/>
                        </a:cubicBezTo>
                        <a:cubicBezTo>
                          <a:pt x="179" y="18"/>
                          <a:pt x="180" y="18"/>
                          <a:pt x="181" y="18"/>
                        </a:cubicBezTo>
                        <a:cubicBezTo>
                          <a:pt x="181" y="18"/>
                          <a:pt x="181" y="18"/>
                          <a:pt x="181" y="18"/>
                        </a:cubicBezTo>
                        <a:close/>
                        <a:moveTo>
                          <a:pt x="176" y="20"/>
                        </a:moveTo>
                        <a:cubicBezTo>
                          <a:pt x="175" y="20"/>
                          <a:pt x="175" y="20"/>
                          <a:pt x="174" y="20"/>
                        </a:cubicBezTo>
                        <a:cubicBezTo>
                          <a:pt x="174" y="20"/>
                          <a:pt x="174" y="20"/>
                          <a:pt x="175" y="20"/>
                        </a:cubicBezTo>
                        <a:cubicBezTo>
                          <a:pt x="174" y="20"/>
                          <a:pt x="174" y="20"/>
                          <a:pt x="174" y="20"/>
                        </a:cubicBezTo>
                        <a:cubicBezTo>
                          <a:pt x="174" y="20"/>
                          <a:pt x="173" y="20"/>
                          <a:pt x="173" y="20"/>
                        </a:cubicBezTo>
                        <a:cubicBezTo>
                          <a:pt x="174" y="20"/>
                          <a:pt x="176" y="20"/>
                          <a:pt x="176" y="20"/>
                        </a:cubicBezTo>
                        <a:close/>
                        <a:moveTo>
                          <a:pt x="173" y="19"/>
                        </a:moveTo>
                        <a:cubicBezTo>
                          <a:pt x="173" y="19"/>
                          <a:pt x="173" y="19"/>
                          <a:pt x="173" y="19"/>
                        </a:cubicBezTo>
                        <a:cubicBezTo>
                          <a:pt x="173" y="19"/>
                          <a:pt x="173" y="19"/>
                          <a:pt x="173" y="19"/>
                        </a:cubicBezTo>
                        <a:cubicBezTo>
                          <a:pt x="174" y="19"/>
                          <a:pt x="174" y="19"/>
                          <a:pt x="174" y="19"/>
                        </a:cubicBezTo>
                        <a:cubicBezTo>
                          <a:pt x="175" y="19"/>
                          <a:pt x="174" y="19"/>
                          <a:pt x="174" y="19"/>
                        </a:cubicBezTo>
                        <a:cubicBezTo>
                          <a:pt x="174" y="19"/>
                          <a:pt x="173" y="19"/>
                          <a:pt x="173" y="19"/>
                        </a:cubicBezTo>
                        <a:close/>
                        <a:moveTo>
                          <a:pt x="172" y="18"/>
                        </a:moveTo>
                        <a:cubicBezTo>
                          <a:pt x="170" y="19"/>
                          <a:pt x="169" y="19"/>
                          <a:pt x="169" y="19"/>
                        </a:cubicBezTo>
                        <a:cubicBezTo>
                          <a:pt x="169" y="19"/>
                          <a:pt x="169" y="19"/>
                          <a:pt x="168" y="19"/>
                        </a:cubicBezTo>
                        <a:cubicBezTo>
                          <a:pt x="169" y="19"/>
                          <a:pt x="169" y="19"/>
                          <a:pt x="169" y="19"/>
                        </a:cubicBezTo>
                        <a:cubicBezTo>
                          <a:pt x="171" y="18"/>
                          <a:pt x="172" y="18"/>
                          <a:pt x="173" y="18"/>
                        </a:cubicBezTo>
                        <a:cubicBezTo>
                          <a:pt x="173" y="18"/>
                          <a:pt x="172" y="18"/>
                          <a:pt x="172" y="18"/>
                        </a:cubicBezTo>
                        <a:close/>
                        <a:moveTo>
                          <a:pt x="172" y="19"/>
                        </a:moveTo>
                        <a:cubicBezTo>
                          <a:pt x="171" y="19"/>
                          <a:pt x="171" y="20"/>
                          <a:pt x="171" y="20"/>
                        </a:cubicBezTo>
                        <a:cubicBezTo>
                          <a:pt x="171" y="20"/>
                          <a:pt x="171" y="20"/>
                          <a:pt x="171" y="20"/>
                        </a:cubicBezTo>
                        <a:cubicBezTo>
                          <a:pt x="171" y="19"/>
                          <a:pt x="171" y="20"/>
                          <a:pt x="170" y="20"/>
                        </a:cubicBezTo>
                        <a:cubicBezTo>
                          <a:pt x="170" y="20"/>
                          <a:pt x="171" y="20"/>
                          <a:pt x="171" y="20"/>
                        </a:cubicBezTo>
                        <a:cubicBezTo>
                          <a:pt x="170" y="20"/>
                          <a:pt x="170" y="20"/>
                          <a:pt x="170" y="20"/>
                        </a:cubicBezTo>
                        <a:cubicBezTo>
                          <a:pt x="170" y="20"/>
                          <a:pt x="170" y="20"/>
                          <a:pt x="170" y="20"/>
                        </a:cubicBezTo>
                        <a:cubicBezTo>
                          <a:pt x="170" y="20"/>
                          <a:pt x="171" y="19"/>
                          <a:pt x="171" y="19"/>
                        </a:cubicBezTo>
                        <a:cubicBezTo>
                          <a:pt x="171" y="20"/>
                          <a:pt x="171" y="19"/>
                          <a:pt x="172" y="19"/>
                        </a:cubicBezTo>
                        <a:close/>
                        <a:moveTo>
                          <a:pt x="171" y="19"/>
                        </a:moveTo>
                        <a:cubicBezTo>
                          <a:pt x="171" y="19"/>
                          <a:pt x="171" y="19"/>
                          <a:pt x="171" y="19"/>
                        </a:cubicBezTo>
                        <a:cubicBezTo>
                          <a:pt x="170" y="19"/>
                          <a:pt x="171" y="19"/>
                          <a:pt x="171" y="19"/>
                        </a:cubicBezTo>
                        <a:close/>
                        <a:moveTo>
                          <a:pt x="171" y="21"/>
                        </a:moveTo>
                        <a:cubicBezTo>
                          <a:pt x="171" y="21"/>
                          <a:pt x="170" y="21"/>
                          <a:pt x="170" y="21"/>
                        </a:cubicBezTo>
                        <a:cubicBezTo>
                          <a:pt x="171" y="21"/>
                          <a:pt x="171" y="21"/>
                          <a:pt x="171" y="21"/>
                        </a:cubicBezTo>
                        <a:cubicBezTo>
                          <a:pt x="171" y="21"/>
                          <a:pt x="170" y="21"/>
                          <a:pt x="170" y="21"/>
                        </a:cubicBezTo>
                        <a:cubicBezTo>
                          <a:pt x="169" y="21"/>
                          <a:pt x="170" y="21"/>
                          <a:pt x="170" y="21"/>
                        </a:cubicBezTo>
                        <a:cubicBezTo>
                          <a:pt x="170" y="21"/>
                          <a:pt x="170" y="21"/>
                          <a:pt x="170" y="21"/>
                        </a:cubicBezTo>
                        <a:cubicBezTo>
                          <a:pt x="170" y="21"/>
                          <a:pt x="170" y="21"/>
                          <a:pt x="170" y="21"/>
                        </a:cubicBezTo>
                        <a:cubicBezTo>
                          <a:pt x="170" y="21"/>
                          <a:pt x="170" y="20"/>
                          <a:pt x="171" y="20"/>
                        </a:cubicBezTo>
                        <a:cubicBezTo>
                          <a:pt x="170" y="21"/>
                          <a:pt x="171" y="21"/>
                          <a:pt x="171" y="21"/>
                        </a:cubicBezTo>
                        <a:close/>
                        <a:moveTo>
                          <a:pt x="169" y="28"/>
                        </a:moveTo>
                        <a:cubicBezTo>
                          <a:pt x="169" y="28"/>
                          <a:pt x="171" y="27"/>
                          <a:pt x="171" y="28"/>
                        </a:cubicBezTo>
                        <a:cubicBezTo>
                          <a:pt x="170" y="28"/>
                          <a:pt x="169" y="28"/>
                          <a:pt x="169" y="28"/>
                        </a:cubicBezTo>
                        <a:cubicBezTo>
                          <a:pt x="169" y="28"/>
                          <a:pt x="169" y="28"/>
                          <a:pt x="169" y="28"/>
                        </a:cubicBezTo>
                        <a:cubicBezTo>
                          <a:pt x="169" y="28"/>
                          <a:pt x="169" y="28"/>
                          <a:pt x="169" y="28"/>
                        </a:cubicBezTo>
                        <a:cubicBezTo>
                          <a:pt x="169" y="28"/>
                          <a:pt x="169" y="28"/>
                          <a:pt x="169" y="28"/>
                        </a:cubicBezTo>
                        <a:close/>
                        <a:moveTo>
                          <a:pt x="168" y="26"/>
                        </a:moveTo>
                        <a:cubicBezTo>
                          <a:pt x="168" y="26"/>
                          <a:pt x="168" y="26"/>
                          <a:pt x="167" y="27"/>
                        </a:cubicBezTo>
                        <a:cubicBezTo>
                          <a:pt x="167" y="26"/>
                          <a:pt x="167" y="26"/>
                          <a:pt x="167" y="26"/>
                        </a:cubicBezTo>
                        <a:cubicBezTo>
                          <a:pt x="167" y="27"/>
                          <a:pt x="166" y="27"/>
                          <a:pt x="166" y="27"/>
                        </a:cubicBezTo>
                        <a:cubicBezTo>
                          <a:pt x="166" y="26"/>
                          <a:pt x="167" y="26"/>
                          <a:pt x="168" y="26"/>
                        </a:cubicBezTo>
                        <a:close/>
                        <a:moveTo>
                          <a:pt x="166" y="21"/>
                        </a:moveTo>
                        <a:cubicBezTo>
                          <a:pt x="166" y="21"/>
                          <a:pt x="166" y="21"/>
                          <a:pt x="166" y="21"/>
                        </a:cubicBezTo>
                        <a:cubicBezTo>
                          <a:pt x="166" y="21"/>
                          <a:pt x="166" y="21"/>
                          <a:pt x="167" y="21"/>
                        </a:cubicBezTo>
                        <a:cubicBezTo>
                          <a:pt x="166" y="21"/>
                          <a:pt x="166" y="21"/>
                          <a:pt x="165" y="21"/>
                        </a:cubicBezTo>
                        <a:cubicBezTo>
                          <a:pt x="165" y="21"/>
                          <a:pt x="165" y="21"/>
                          <a:pt x="165" y="21"/>
                        </a:cubicBezTo>
                        <a:cubicBezTo>
                          <a:pt x="166" y="21"/>
                          <a:pt x="166" y="21"/>
                          <a:pt x="166" y="21"/>
                        </a:cubicBezTo>
                        <a:close/>
                        <a:moveTo>
                          <a:pt x="160" y="28"/>
                        </a:moveTo>
                        <a:cubicBezTo>
                          <a:pt x="160" y="28"/>
                          <a:pt x="160" y="28"/>
                          <a:pt x="160" y="28"/>
                        </a:cubicBezTo>
                        <a:cubicBezTo>
                          <a:pt x="159" y="29"/>
                          <a:pt x="159" y="28"/>
                          <a:pt x="158" y="29"/>
                        </a:cubicBezTo>
                        <a:cubicBezTo>
                          <a:pt x="158" y="28"/>
                          <a:pt x="158" y="28"/>
                          <a:pt x="158" y="28"/>
                        </a:cubicBezTo>
                        <a:cubicBezTo>
                          <a:pt x="158" y="28"/>
                          <a:pt x="158" y="28"/>
                          <a:pt x="158" y="28"/>
                        </a:cubicBezTo>
                        <a:cubicBezTo>
                          <a:pt x="158" y="28"/>
                          <a:pt x="158" y="28"/>
                          <a:pt x="158" y="28"/>
                        </a:cubicBezTo>
                        <a:cubicBezTo>
                          <a:pt x="158" y="28"/>
                          <a:pt x="158" y="28"/>
                          <a:pt x="158" y="28"/>
                        </a:cubicBezTo>
                        <a:cubicBezTo>
                          <a:pt x="159" y="28"/>
                          <a:pt x="161" y="27"/>
                          <a:pt x="163" y="27"/>
                        </a:cubicBezTo>
                        <a:cubicBezTo>
                          <a:pt x="163" y="27"/>
                          <a:pt x="165" y="27"/>
                          <a:pt x="165" y="27"/>
                        </a:cubicBezTo>
                        <a:cubicBezTo>
                          <a:pt x="165" y="27"/>
                          <a:pt x="165" y="27"/>
                          <a:pt x="165" y="27"/>
                        </a:cubicBezTo>
                        <a:cubicBezTo>
                          <a:pt x="165" y="27"/>
                          <a:pt x="165" y="27"/>
                          <a:pt x="165" y="27"/>
                        </a:cubicBezTo>
                        <a:cubicBezTo>
                          <a:pt x="165" y="27"/>
                          <a:pt x="165" y="27"/>
                          <a:pt x="165" y="27"/>
                        </a:cubicBezTo>
                        <a:cubicBezTo>
                          <a:pt x="165" y="27"/>
                          <a:pt x="165" y="27"/>
                          <a:pt x="165" y="27"/>
                        </a:cubicBezTo>
                        <a:cubicBezTo>
                          <a:pt x="163" y="28"/>
                          <a:pt x="162" y="28"/>
                          <a:pt x="161" y="28"/>
                        </a:cubicBezTo>
                        <a:cubicBezTo>
                          <a:pt x="160" y="28"/>
                          <a:pt x="161" y="28"/>
                          <a:pt x="160" y="28"/>
                        </a:cubicBezTo>
                        <a:close/>
                        <a:moveTo>
                          <a:pt x="160" y="28"/>
                        </a:moveTo>
                        <a:cubicBezTo>
                          <a:pt x="160" y="28"/>
                          <a:pt x="160" y="28"/>
                          <a:pt x="160" y="28"/>
                        </a:cubicBezTo>
                        <a:cubicBezTo>
                          <a:pt x="159" y="28"/>
                          <a:pt x="159" y="28"/>
                          <a:pt x="159" y="28"/>
                        </a:cubicBezTo>
                        <a:cubicBezTo>
                          <a:pt x="160" y="28"/>
                          <a:pt x="160" y="28"/>
                          <a:pt x="160" y="28"/>
                        </a:cubicBezTo>
                        <a:close/>
                        <a:moveTo>
                          <a:pt x="164" y="27"/>
                        </a:moveTo>
                        <a:cubicBezTo>
                          <a:pt x="163" y="27"/>
                          <a:pt x="163" y="27"/>
                          <a:pt x="163" y="27"/>
                        </a:cubicBezTo>
                        <a:cubicBezTo>
                          <a:pt x="163" y="27"/>
                          <a:pt x="163" y="27"/>
                          <a:pt x="164" y="27"/>
                        </a:cubicBezTo>
                        <a:close/>
                        <a:moveTo>
                          <a:pt x="164" y="29"/>
                        </a:moveTo>
                        <a:cubicBezTo>
                          <a:pt x="164" y="29"/>
                          <a:pt x="164" y="29"/>
                          <a:pt x="163" y="29"/>
                        </a:cubicBezTo>
                        <a:cubicBezTo>
                          <a:pt x="163" y="29"/>
                          <a:pt x="163" y="29"/>
                          <a:pt x="163" y="29"/>
                        </a:cubicBezTo>
                        <a:cubicBezTo>
                          <a:pt x="164" y="29"/>
                          <a:pt x="164" y="29"/>
                          <a:pt x="164" y="29"/>
                        </a:cubicBezTo>
                        <a:cubicBezTo>
                          <a:pt x="163" y="29"/>
                          <a:pt x="164" y="29"/>
                          <a:pt x="164" y="29"/>
                        </a:cubicBezTo>
                        <a:cubicBezTo>
                          <a:pt x="164" y="29"/>
                          <a:pt x="164" y="29"/>
                          <a:pt x="164" y="29"/>
                        </a:cubicBezTo>
                        <a:cubicBezTo>
                          <a:pt x="164" y="29"/>
                          <a:pt x="164" y="29"/>
                          <a:pt x="164" y="29"/>
                        </a:cubicBezTo>
                        <a:close/>
                        <a:moveTo>
                          <a:pt x="164" y="29"/>
                        </a:moveTo>
                        <a:cubicBezTo>
                          <a:pt x="164" y="29"/>
                          <a:pt x="163" y="30"/>
                          <a:pt x="163" y="30"/>
                        </a:cubicBezTo>
                        <a:cubicBezTo>
                          <a:pt x="163" y="30"/>
                          <a:pt x="163" y="29"/>
                          <a:pt x="163" y="29"/>
                        </a:cubicBezTo>
                        <a:cubicBezTo>
                          <a:pt x="163" y="29"/>
                          <a:pt x="163" y="29"/>
                          <a:pt x="163" y="29"/>
                        </a:cubicBezTo>
                        <a:cubicBezTo>
                          <a:pt x="162" y="29"/>
                          <a:pt x="162" y="29"/>
                          <a:pt x="162" y="29"/>
                        </a:cubicBezTo>
                        <a:cubicBezTo>
                          <a:pt x="162" y="29"/>
                          <a:pt x="162" y="29"/>
                          <a:pt x="162" y="29"/>
                        </a:cubicBezTo>
                        <a:cubicBezTo>
                          <a:pt x="162" y="29"/>
                          <a:pt x="162" y="29"/>
                          <a:pt x="162" y="29"/>
                        </a:cubicBezTo>
                        <a:cubicBezTo>
                          <a:pt x="162" y="29"/>
                          <a:pt x="163" y="29"/>
                          <a:pt x="163" y="29"/>
                        </a:cubicBezTo>
                        <a:cubicBezTo>
                          <a:pt x="163" y="29"/>
                          <a:pt x="163" y="29"/>
                          <a:pt x="163" y="29"/>
                        </a:cubicBezTo>
                        <a:cubicBezTo>
                          <a:pt x="162" y="29"/>
                          <a:pt x="163" y="29"/>
                          <a:pt x="163" y="29"/>
                        </a:cubicBezTo>
                        <a:cubicBezTo>
                          <a:pt x="163" y="29"/>
                          <a:pt x="163" y="29"/>
                          <a:pt x="164" y="29"/>
                        </a:cubicBezTo>
                        <a:cubicBezTo>
                          <a:pt x="164" y="29"/>
                          <a:pt x="164" y="29"/>
                          <a:pt x="164" y="29"/>
                        </a:cubicBezTo>
                        <a:cubicBezTo>
                          <a:pt x="164" y="29"/>
                          <a:pt x="164" y="29"/>
                          <a:pt x="163" y="29"/>
                        </a:cubicBezTo>
                        <a:cubicBezTo>
                          <a:pt x="163" y="29"/>
                          <a:pt x="164" y="29"/>
                          <a:pt x="164" y="29"/>
                        </a:cubicBezTo>
                        <a:cubicBezTo>
                          <a:pt x="164" y="29"/>
                          <a:pt x="164" y="29"/>
                          <a:pt x="164" y="29"/>
                        </a:cubicBezTo>
                        <a:close/>
                        <a:moveTo>
                          <a:pt x="161" y="30"/>
                        </a:moveTo>
                        <a:cubicBezTo>
                          <a:pt x="161" y="30"/>
                          <a:pt x="161" y="29"/>
                          <a:pt x="161" y="30"/>
                        </a:cubicBezTo>
                        <a:cubicBezTo>
                          <a:pt x="161" y="29"/>
                          <a:pt x="161" y="30"/>
                          <a:pt x="162" y="29"/>
                        </a:cubicBezTo>
                        <a:cubicBezTo>
                          <a:pt x="162" y="29"/>
                          <a:pt x="162" y="29"/>
                          <a:pt x="162" y="29"/>
                        </a:cubicBezTo>
                        <a:cubicBezTo>
                          <a:pt x="162" y="29"/>
                          <a:pt x="162" y="29"/>
                          <a:pt x="162" y="29"/>
                        </a:cubicBezTo>
                        <a:cubicBezTo>
                          <a:pt x="162" y="29"/>
                          <a:pt x="161" y="29"/>
                          <a:pt x="161" y="29"/>
                        </a:cubicBezTo>
                        <a:cubicBezTo>
                          <a:pt x="161" y="30"/>
                          <a:pt x="161" y="29"/>
                          <a:pt x="161" y="29"/>
                        </a:cubicBezTo>
                        <a:cubicBezTo>
                          <a:pt x="161" y="29"/>
                          <a:pt x="161" y="30"/>
                          <a:pt x="161" y="30"/>
                        </a:cubicBezTo>
                        <a:cubicBezTo>
                          <a:pt x="161" y="30"/>
                          <a:pt x="161" y="30"/>
                          <a:pt x="161" y="30"/>
                        </a:cubicBezTo>
                        <a:close/>
                        <a:moveTo>
                          <a:pt x="160" y="26"/>
                        </a:moveTo>
                        <a:cubicBezTo>
                          <a:pt x="159" y="26"/>
                          <a:pt x="160" y="26"/>
                          <a:pt x="159" y="26"/>
                        </a:cubicBezTo>
                        <a:cubicBezTo>
                          <a:pt x="159" y="27"/>
                          <a:pt x="159" y="26"/>
                          <a:pt x="159" y="26"/>
                        </a:cubicBezTo>
                        <a:cubicBezTo>
                          <a:pt x="160" y="26"/>
                          <a:pt x="160" y="26"/>
                          <a:pt x="160" y="26"/>
                        </a:cubicBezTo>
                        <a:cubicBezTo>
                          <a:pt x="160" y="26"/>
                          <a:pt x="160" y="26"/>
                          <a:pt x="161" y="26"/>
                        </a:cubicBezTo>
                        <a:cubicBezTo>
                          <a:pt x="161" y="26"/>
                          <a:pt x="160" y="26"/>
                          <a:pt x="161" y="26"/>
                        </a:cubicBezTo>
                        <a:cubicBezTo>
                          <a:pt x="160" y="26"/>
                          <a:pt x="160" y="26"/>
                          <a:pt x="160" y="26"/>
                        </a:cubicBezTo>
                        <a:cubicBezTo>
                          <a:pt x="160" y="26"/>
                          <a:pt x="160" y="26"/>
                          <a:pt x="160" y="26"/>
                        </a:cubicBezTo>
                        <a:cubicBezTo>
                          <a:pt x="160" y="27"/>
                          <a:pt x="160" y="27"/>
                          <a:pt x="160" y="27"/>
                        </a:cubicBezTo>
                        <a:cubicBezTo>
                          <a:pt x="160" y="27"/>
                          <a:pt x="160" y="27"/>
                          <a:pt x="160" y="27"/>
                        </a:cubicBezTo>
                        <a:cubicBezTo>
                          <a:pt x="160" y="27"/>
                          <a:pt x="159" y="27"/>
                          <a:pt x="159" y="27"/>
                        </a:cubicBezTo>
                        <a:cubicBezTo>
                          <a:pt x="159" y="27"/>
                          <a:pt x="159" y="27"/>
                          <a:pt x="159" y="27"/>
                        </a:cubicBezTo>
                        <a:cubicBezTo>
                          <a:pt x="158" y="27"/>
                          <a:pt x="158" y="27"/>
                          <a:pt x="158" y="27"/>
                        </a:cubicBezTo>
                        <a:cubicBezTo>
                          <a:pt x="158" y="27"/>
                          <a:pt x="158" y="27"/>
                          <a:pt x="159" y="27"/>
                        </a:cubicBezTo>
                        <a:cubicBezTo>
                          <a:pt x="158" y="27"/>
                          <a:pt x="158" y="27"/>
                          <a:pt x="158" y="26"/>
                        </a:cubicBezTo>
                        <a:cubicBezTo>
                          <a:pt x="158" y="26"/>
                          <a:pt x="158" y="26"/>
                          <a:pt x="158" y="26"/>
                        </a:cubicBezTo>
                        <a:cubicBezTo>
                          <a:pt x="158" y="26"/>
                          <a:pt x="158" y="26"/>
                          <a:pt x="158" y="26"/>
                        </a:cubicBezTo>
                        <a:cubicBezTo>
                          <a:pt x="159" y="26"/>
                          <a:pt x="158" y="26"/>
                          <a:pt x="159" y="26"/>
                        </a:cubicBezTo>
                        <a:cubicBezTo>
                          <a:pt x="158" y="26"/>
                          <a:pt x="158" y="26"/>
                          <a:pt x="158" y="26"/>
                        </a:cubicBezTo>
                        <a:cubicBezTo>
                          <a:pt x="158" y="26"/>
                          <a:pt x="158" y="26"/>
                          <a:pt x="159" y="26"/>
                        </a:cubicBezTo>
                        <a:cubicBezTo>
                          <a:pt x="159" y="26"/>
                          <a:pt x="159" y="26"/>
                          <a:pt x="159" y="26"/>
                        </a:cubicBezTo>
                        <a:cubicBezTo>
                          <a:pt x="159" y="26"/>
                          <a:pt x="159" y="26"/>
                          <a:pt x="160" y="26"/>
                        </a:cubicBezTo>
                        <a:cubicBezTo>
                          <a:pt x="160" y="26"/>
                          <a:pt x="160" y="26"/>
                          <a:pt x="160" y="26"/>
                        </a:cubicBezTo>
                        <a:close/>
                        <a:moveTo>
                          <a:pt x="159" y="26"/>
                        </a:moveTo>
                        <a:cubicBezTo>
                          <a:pt x="159" y="26"/>
                          <a:pt x="159" y="27"/>
                          <a:pt x="159" y="26"/>
                        </a:cubicBezTo>
                        <a:cubicBezTo>
                          <a:pt x="159" y="26"/>
                          <a:pt x="159" y="26"/>
                          <a:pt x="159" y="26"/>
                        </a:cubicBezTo>
                        <a:close/>
                        <a:moveTo>
                          <a:pt x="161" y="26"/>
                        </a:moveTo>
                        <a:cubicBezTo>
                          <a:pt x="161" y="26"/>
                          <a:pt x="161" y="27"/>
                          <a:pt x="160" y="27"/>
                        </a:cubicBezTo>
                        <a:cubicBezTo>
                          <a:pt x="160" y="27"/>
                          <a:pt x="161" y="26"/>
                          <a:pt x="161" y="26"/>
                        </a:cubicBezTo>
                        <a:close/>
                        <a:moveTo>
                          <a:pt x="158" y="27"/>
                        </a:moveTo>
                        <a:cubicBezTo>
                          <a:pt x="158" y="27"/>
                          <a:pt x="158" y="27"/>
                          <a:pt x="157" y="27"/>
                        </a:cubicBezTo>
                        <a:cubicBezTo>
                          <a:pt x="158" y="27"/>
                          <a:pt x="157" y="27"/>
                          <a:pt x="158" y="27"/>
                        </a:cubicBezTo>
                        <a:close/>
                        <a:moveTo>
                          <a:pt x="157" y="27"/>
                        </a:moveTo>
                        <a:cubicBezTo>
                          <a:pt x="157" y="27"/>
                          <a:pt x="157" y="28"/>
                          <a:pt x="156" y="28"/>
                        </a:cubicBezTo>
                        <a:cubicBezTo>
                          <a:pt x="156" y="28"/>
                          <a:pt x="157" y="28"/>
                          <a:pt x="157" y="28"/>
                        </a:cubicBezTo>
                        <a:cubicBezTo>
                          <a:pt x="157" y="28"/>
                          <a:pt x="157" y="28"/>
                          <a:pt x="157" y="28"/>
                        </a:cubicBezTo>
                        <a:cubicBezTo>
                          <a:pt x="158" y="28"/>
                          <a:pt x="158" y="27"/>
                          <a:pt x="158" y="28"/>
                        </a:cubicBezTo>
                        <a:cubicBezTo>
                          <a:pt x="158" y="28"/>
                          <a:pt x="158" y="28"/>
                          <a:pt x="158" y="28"/>
                        </a:cubicBezTo>
                        <a:cubicBezTo>
                          <a:pt x="157" y="28"/>
                          <a:pt x="157" y="28"/>
                          <a:pt x="156" y="28"/>
                        </a:cubicBezTo>
                        <a:cubicBezTo>
                          <a:pt x="156" y="28"/>
                          <a:pt x="156" y="28"/>
                          <a:pt x="156" y="28"/>
                        </a:cubicBezTo>
                        <a:cubicBezTo>
                          <a:pt x="157" y="28"/>
                          <a:pt x="156" y="28"/>
                          <a:pt x="156" y="28"/>
                        </a:cubicBezTo>
                        <a:cubicBezTo>
                          <a:pt x="157" y="28"/>
                          <a:pt x="157" y="27"/>
                          <a:pt x="157" y="27"/>
                        </a:cubicBezTo>
                        <a:close/>
                        <a:moveTo>
                          <a:pt x="153" y="29"/>
                        </a:moveTo>
                        <a:cubicBezTo>
                          <a:pt x="153" y="29"/>
                          <a:pt x="154" y="29"/>
                          <a:pt x="154" y="29"/>
                        </a:cubicBezTo>
                        <a:cubicBezTo>
                          <a:pt x="155" y="29"/>
                          <a:pt x="155" y="29"/>
                          <a:pt x="155" y="29"/>
                        </a:cubicBezTo>
                        <a:cubicBezTo>
                          <a:pt x="155" y="29"/>
                          <a:pt x="155" y="29"/>
                          <a:pt x="155" y="29"/>
                        </a:cubicBezTo>
                        <a:cubicBezTo>
                          <a:pt x="156" y="29"/>
                          <a:pt x="155" y="29"/>
                          <a:pt x="156" y="29"/>
                        </a:cubicBezTo>
                        <a:cubicBezTo>
                          <a:pt x="156" y="29"/>
                          <a:pt x="156" y="29"/>
                          <a:pt x="155" y="29"/>
                        </a:cubicBezTo>
                        <a:cubicBezTo>
                          <a:pt x="155" y="29"/>
                          <a:pt x="156" y="29"/>
                          <a:pt x="156" y="29"/>
                        </a:cubicBezTo>
                        <a:cubicBezTo>
                          <a:pt x="156" y="29"/>
                          <a:pt x="156" y="29"/>
                          <a:pt x="156" y="29"/>
                        </a:cubicBezTo>
                        <a:cubicBezTo>
                          <a:pt x="156" y="29"/>
                          <a:pt x="156" y="29"/>
                          <a:pt x="155" y="29"/>
                        </a:cubicBezTo>
                        <a:cubicBezTo>
                          <a:pt x="155" y="29"/>
                          <a:pt x="155" y="29"/>
                          <a:pt x="155" y="29"/>
                        </a:cubicBezTo>
                        <a:cubicBezTo>
                          <a:pt x="156" y="30"/>
                          <a:pt x="158" y="29"/>
                          <a:pt x="158" y="29"/>
                        </a:cubicBezTo>
                        <a:cubicBezTo>
                          <a:pt x="158" y="29"/>
                          <a:pt x="157" y="29"/>
                          <a:pt x="157" y="29"/>
                        </a:cubicBezTo>
                        <a:cubicBezTo>
                          <a:pt x="157" y="29"/>
                          <a:pt x="156" y="30"/>
                          <a:pt x="156" y="30"/>
                        </a:cubicBezTo>
                        <a:cubicBezTo>
                          <a:pt x="155" y="30"/>
                          <a:pt x="155" y="30"/>
                          <a:pt x="155" y="30"/>
                        </a:cubicBezTo>
                        <a:cubicBezTo>
                          <a:pt x="155" y="30"/>
                          <a:pt x="155" y="30"/>
                          <a:pt x="155" y="30"/>
                        </a:cubicBezTo>
                        <a:cubicBezTo>
                          <a:pt x="154" y="30"/>
                          <a:pt x="153" y="30"/>
                          <a:pt x="153" y="31"/>
                        </a:cubicBezTo>
                        <a:cubicBezTo>
                          <a:pt x="153" y="30"/>
                          <a:pt x="152" y="31"/>
                          <a:pt x="151" y="31"/>
                        </a:cubicBezTo>
                        <a:cubicBezTo>
                          <a:pt x="152" y="31"/>
                          <a:pt x="153" y="31"/>
                          <a:pt x="152" y="31"/>
                        </a:cubicBezTo>
                        <a:cubicBezTo>
                          <a:pt x="152" y="31"/>
                          <a:pt x="152" y="31"/>
                          <a:pt x="152" y="31"/>
                        </a:cubicBezTo>
                        <a:cubicBezTo>
                          <a:pt x="152" y="31"/>
                          <a:pt x="152" y="31"/>
                          <a:pt x="153" y="31"/>
                        </a:cubicBezTo>
                        <a:cubicBezTo>
                          <a:pt x="152" y="31"/>
                          <a:pt x="152" y="31"/>
                          <a:pt x="153" y="31"/>
                        </a:cubicBezTo>
                        <a:cubicBezTo>
                          <a:pt x="153" y="31"/>
                          <a:pt x="153" y="31"/>
                          <a:pt x="153" y="31"/>
                        </a:cubicBezTo>
                        <a:cubicBezTo>
                          <a:pt x="153" y="31"/>
                          <a:pt x="153" y="31"/>
                          <a:pt x="153" y="31"/>
                        </a:cubicBezTo>
                        <a:cubicBezTo>
                          <a:pt x="153" y="31"/>
                          <a:pt x="153" y="31"/>
                          <a:pt x="153" y="31"/>
                        </a:cubicBezTo>
                        <a:cubicBezTo>
                          <a:pt x="153" y="31"/>
                          <a:pt x="154" y="31"/>
                          <a:pt x="154" y="31"/>
                        </a:cubicBezTo>
                        <a:cubicBezTo>
                          <a:pt x="154" y="31"/>
                          <a:pt x="154" y="31"/>
                          <a:pt x="154" y="31"/>
                        </a:cubicBezTo>
                        <a:cubicBezTo>
                          <a:pt x="154" y="31"/>
                          <a:pt x="153" y="31"/>
                          <a:pt x="153" y="31"/>
                        </a:cubicBezTo>
                        <a:cubicBezTo>
                          <a:pt x="153" y="31"/>
                          <a:pt x="152" y="32"/>
                          <a:pt x="152" y="32"/>
                        </a:cubicBezTo>
                        <a:cubicBezTo>
                          <a:pt x="152" y="32"/>
                          <a:pt x="152" y="32"/>
                          <a:pt x="152" y="31"/>
                        </a:cubicBezTo>
                        <a:cubicBezTo>
                          <a:pt x="152" y="31"/>
                          <a:pt x="152" y="32"/>
                          <a:pt x="152" y="31"/>
                        </a:cubicBezTo>
                        <a:cubicBezTo>
                          <a:pt x="152" y="31"/>
                          <a:pt x="152" y="31"/>
                          <a:pt x="152" y="31"/>
                        </a:cubicBezTo>
                        <a:cubicBezTo>
                          <a:pt x="152" y="31"/>
                          <a:pt x="152" y="31"/>
                          <a:pt x="152" y="31"/>
                        </a:cubicBezTo>
                        <a:cubicBezTo>
                          <a:pt x="152" y="31"/>
                          <a:pt x="152" y="31"/>
                          <a:pt x="152" y="31"/>
                        </a:cubicBezTo>
                        <a:cubicBezTo>
                          <a:pt x="151" y="31"/>
                          <a:pt x="151" y="31"/>
                          <a:pt x="150" y="31"/>
                        </a:cubicBezTo>
                        <a:cubicBezTo>
                          <a:pt x="150" y="32"/>
                          <a:pt x="151" y="31"/>
                          <a:pt x="151" y="32"/>
                        </a:cubicBezTo>
                        <a:cubicBezTo>
                          <a:pt x="150" y="32"/>
                          <a:pt x="150" y="32"/>
                          <a:pt x="150" y="32"/>
                        </a:cubicBezTo>
                        <a:cubicBezTo>
                          <a:pt x="150" y="32"/>
                          <a:pt x="150" y="32"/>
                          <a:pt x="150" y="32"/>
                        </a:cubicBezTo>
                        <a:cubicBezTo>
                          <a:pt x="150" y="32"/>
                          <a:pt x="151" y="32"/>
                          <a:pt x="150" y="32"/>
                        </a:cubicBezTo>
                        <a:cubicBezTo>
                          <a:pt x="151" y="32"/>
                          <a:pt x="151" y="32"/>
                          <a:pt x="151" y="31"/>
                        </a:cubicBezTo>
                        <a:cubicBezTo>
                          <a:pt x="151" y="32"/>
                          <a:pt x="152" y="31"/>
                          <a:pt x="152" y="31"/>
                        </a:cubicBezTo>
                        <a:cubicBezTo>
                          <a:pt x="152" y="32"/>
                          <a:pt x="152" y="32"/>
                          <a:pt x="152" y="32"/>
                        </a:cubicBezTo>
                        <a:cubicBezTo>
                          <a:pt x="151" y="32"/>
                          <a:pt x="151" y="32"/>
                          <a:pt x="151" y="32"/>
                        </a:cubicBezTo>
                        <a:cubicBezTo>
                          <a:pt x="151" y="32"/>
                          <a:pt x="150" y="32"/>
                          <a:pt x="150" y="32"/>
                        </a:cubicBezTo>
                        <a:cubicBezTo>
                          <a:pt x="150" y="32"/>
                          <a:pt x="150" y="32"/>
                          <a:pt x="150" y="32"/>
                        </a:cubicBezTo>
                        <a:cubicBezTo>
                          <a:pt x="150" y="32"/>
                          <a:pt x="150" y="32"/>
                          <a:pt x="149" y="32"/>
                        </a:cubicBezTo>
                        <a:cubicBezTo>
                          <a:pt x="149" y="33"/>
                          <a:pt x="150" y="33"/>
                          <a:pt x="150" y="33"/>
                        </a:cubicBezTo>
                        <a:cubicBezTo>
                          <a:pt x="150" y="32"/>
                          <a:pt x="150" y="33"/>
                          <a:pt x="150" y="33"/>
                        </a:cubicBezTo>
                        <a:cubicBezTo>
                          <a:pt x="150" y="32"/>
                          <a:pt x="150" y="32"/>
                          <a:pt x="150" y="32"/>
                        </a:cubicBezTo>
                        <a:cubicBezTo>
                          <a:pt x="150" y="32"/>
                          <a:pt x="150" y="32"/>
                          <a:pt x="150" y="32"/>
                        </a:cubicBezTo>
                        <a:cubicBezTo>
                          <a:pt x="150" y="32"/>
                          <a:pt x="150" y="32"/>
                          <a:pt x="151" y="32"/>
                        </a:cubicBezTo>
                        <a:cubicBezTo>
                          <a:pt x="151" y="32"/>
                          <a:pt x="151" y="32"/>
                          <a:pt x="151" y="33"/>
                        </a:cubicBezTo>
                        <a:cubicBezTo>
                          <a:pt x="150" y="32"/>
                          <a:pt x="150" y="33"/>
                          <a:pt x="150" y="33"/>
                        </a:cubicBezTo>
                        <a:cubicBezTo>
                          <a:pt x="149" y="33"/>
                          <a:pt x="149" y="33"/>
                          <a:pt x="149" y="33"/>
                        </a:cubicBezTo>
                        <a:cubicBezTo>
                          <a:pt x="149" y="33"/>
                          <a:pt x="149" y="33"/>
                          <a:pt x="149" y="33"/>
                        </a:cubicBezTo>
                        <a:cubicBezTo>
                          <a:pt x="149" y="33"/>
                          <a:pt x="149" y="33"/>
                          <a:pt x="149" y="33"/>
                        </a:cubicBezTo>
                        <a:cubicBezTo>
                          <a:pt x="150" y="33"/>
                          <a:pt x="149" y="33"/>
                          <a:pt x="149" y="33"/>
                        </a:cubicBezTo>
                        <a:cubicBezTo>
                          <a:pt x="149" y="33"/>
                          <a:pt x="149" y="33"/>
                          <a:pt x="149" y="33"/>
                        </a:cubicBezTo>
                        <a:cubicBezTo>
                          <a:pt x="149" y="33"/>
                          <a:pt x="148" y="33"/>
                          <a:pt x="148" y="33"/>
                        </a:cubicBezTo>
                        <a:cubicBezTo>
                          <a:pt x="148" y="33"/>
                          <a:pt x="148" y="33"/>
                          <a:pt x="148" y="33"/>
                        </a:cubicBezTo>
                        <a:cubicBezTo>
                          <a:pt x="148" y="33"/>
                          <a:pt x="148" y="33"/>
                          <a:pt x="148" y="33"/>
                        </a:cubicBezTo>
                        <a:cubicBezTo>
                          <a:pt x="147" y="33"/>
                          <a:pt x="147" y="33"/>
                          <a:pt x="147" y="33"/>
                        </a:cubicBezTo>
                        <a:cubicBezTo>
                          <a:pt x="148" y="33"/>
                          <a:pt x="148" y="33"/>
                          <a:pt x="148" y="33"/>
                        </a:cubicBezTo>
                        <a:cubicBezTo>
                          <a:pt x="147" y="33"/>
                          <a:pt x="147" y="33"/>
                          <a:pt x="147" y="33"/>
                        </a:cubicBezTo>
                        <a:cubicBezTo>
                          <a:pt x="147" y="33"/>
                          <a:pt x="147" y="33"/>
                          <a:pt x="147" y="33"/>
                        </a:cubicBezTo>
                        <a:cubicBezTo>
                          <a:pt x="147" y="33"/>
                          <a:pt x="146" y="33"/>
                          <a:pt x="146" y="33"/>
                        </a:cubicBezTo>
                        <a:cubicBezTo>
                          <a:pt x="146" y="33"/>
                          <a:pt x="146" y="33"/>
                          <a:pt x="146" y="33"/>
                        </a:cubicBezTo>
                        <a:cubicBezTo>
                          <a:pt x="146" y="33"/>
                          <a:pt x="146" y="33"/>
                          <a:pt x="146" y="33"/>
                        </a:cubicBezTo>
                        <a:cubicBezTo>
                          <a:pt x="146" y="33"/>
                          <a:pt x="146" y="33"/>
                          <a:pt x="146" y="33"/>
                        </a:cubicBezTo>
                        <a:cubicBezTo>
                          <a:pt x="147" y="33"/>
                          <a:pt x="146" y="33"/>
                          <a:pt x="146" y="33"/>
                        </a:cubicBezTo>
                        <a:cubicBezTo>
                          <a:pt x="146" y="33"/>
                          <a:pt x="147" y="33"/>
                          <a:pt x="147" y="32"/>
                        </a:cubicBezTo>
                        <a:cubicBezTo>
                          <a:pt x="147" y="32"/>
                          <a:pt x="147" y="32"/>
                          <a:pt x="147" y="32"/>
                        </a:cubicBezTo>
                        <a:cubicBezTo>
                          <a:pt x="146" y="33"/>
                          <a:pt x="146" y="33"/>
                          <a:pt x="146" y="33"/>
                        </a:cubicBezTo>
                        <a:cubicBezTo>
                          <a:pt x="146" y="33"/>
                          <a:pt x="146" y="32"/>
                          <a:pt x="146" y="33"/>
                        </a:cubicBezTo>
                        <a:cubicBezTo>
                          <a:pt x="147" y="32"/>
                          <a:pt x="147" y="32"/>
                          <a:pt x="147" y="32"/>
                        </a:cubicBezTo>
                        <a:cubicBezTo>
                          <a:pt x="147" y="32"/>
                          <a:pt x="146" y="32"/>
                          <a:pt x="146" y="32"/>
                        </a:cubicBezTo>
                        <a:cubicBezTo>
                          <a:pt x="146" y="32"/>
                          <a:pt x="146" y="32"/>
                          <a:pt x="146" y="32"/>
                        </a:cubicBezTo>
                        <a:cubicBezTo>
                          <a:pt x="146" y="32"/>
                          <a:pt x="146" y="32"/>
                          <a:pt x="146" y="32"/>
                        </a:cubicBezTo>
                        <a:cubicBezTo>
                          <a:pt x="146" y="32"/>
                          <a:pt x="146" y="32"/>
                          <a:pt x="146" y="32"/>
                        </a:cubicBezTo>
                        <a:cubicBezTo>
                          <a:pt x="147" y="32"/>
                          <a:pt x="147" y="32"/>
                          <a:pt x="147" y="32"/>
                        </a:cubicBezTo>
                        <a:cubicBezTo>
                          <a:pt x="147" y="32"/>
                          <a:pt x="146" y="32"/>
                          <a:pt x="146" y="32"/>
                        </a:cubicBezTo>
                        <a:cubicBezTo>
                          <a:pt x="146" y="32"/>
                          <a:pt x="146" y="32"/>
                          <a:pt x="146" y="32"/>
                        </a:cubicBezTo>
                        <a:cubicBezTo>
                          <a:pt x="146" y="32"/>
                          <a:pt x="146" y="32"/>
                          <a:pt x="146" y="32"/>
                        </a:cubicBezTo>
                        <a:cubicBezTo>
                          <a:pt x="146" y="32"/>
                          <a:pt x="146" y="32"/>
                          <a:pt x="146" y="32"/>
                        </a:cubicBezTo>
                        <a:cubicBezTo>
                          <a:pt x="145" y="32"/>
                          <a:pt x="145" y="32"/>
                          <a:pt x="146" y="32"/>
                        </a:cubicBezTo>
                        <a:cubicBezTo>
                          <a:pt x="146" y="32"/>
                          <a:pt x="145" y="32"/>
                          <a:pt x="145" y="32"/>
                        </a:cubicBezTo>
                        <a:cubicBezTo>
                          <a:pt x="145" y="32"/>
                          <a:pt x="145" y="32"/>
                          <a:pt x="145" y="32"/>
                        </a:cubicBezTo>
                        <a:cubicBezTo>
                          <a:pt x="145" y="32"/>
                          <a:pt x="145" y="32"/>
                          <a:pt x="146" y="32"/>
                        </a:cubicBezTo>
                        <a:cubicBezTo>
                          <a:pt x="146" y="32"/>
                          <a:pt x="146" y="32"/>
                          <a:pt x="146" y="32"/>
                        </a:cubicBezTo>
                        <a:cubicBezTo>
                          <a:pt x="145" y="32"/>
                          <a:pt x="145" y="32"/>
                          <a:pt x="145" y="32"/>
                        </a:cubicBezTo>
                        <a:cubicBezTo>
                          <a:pt x="145" y="32"/>
                          <a:pt x="146" y="32"/>
                          <a:pt x="145" y="32"/>
                        </a:cubicBezTo>
                        <a:cubicBezTo>
                          <a:pt x="145" y="32"/>
                          <a:pt x="145" y="32"/>
                          <a:pt x="145" y="32"/>
                        </a:cubicBezTo>
                        <a:cubicBezTo>
                          <a:pt x="145" y="32"/>
                          <a:pt x="145" y="32"/>
                          <a:pt x="145" y="32"/>
                        </a:cubicBezTo>
                        <a:cubicBezTo>
                          <a:pt x="145" y="32"/>
                          <a:pt x="145" y="32"/>
                          <a:pt x="145" y="33"/>
                        </a:cubicBezTo>
                        <a:cubicBezTo>
                          <a:pt x="145" y="32"/>
                          <a:pt x="145" y="32"/>
                          <a:pt x="145" y="32"/>
                        </a:cubicBezTo>
                        <a:cubicBezTo>
                          <a:pt x="144" y="33"/>
                          <a:pt x="144" y="33"/>
                          <a:pt x="144" y="33"/>
                        </a:cubicBezTo>
                        <a:cubicBezTo>
                          <a:pt x="143" y="33"/>
                          <a:pt x="144" y="33"/>
                          <a:pt x="144" y="33"/>
                        </a:cubicBezTo>
                        <a:cubicBezTo>
                          <a:pt x="143" y="33"/>
                          <a:pt x="143" y="33"/>
                          <a:pt x="143" y="33"/>
                        </a:cubicBezTo>
                        <a:cubicBezTo>
                          <a:pt x="143" y="33"/>
                          <a:pt x="143" y="33"/>
                          <a:pt x="143" y="32"/>
                        </a:cubicBezTo>
                        <a:cubicBezTo>
                          <a:pt x="143" y="33"/>
                          <a:pt x="143" y="33"/>
                          <a:pt x="142" y="33"/>
                        </a:cubicBezTo>
                        <a:cubicBezTo>
                          <a:pt x="143" y="32"/>
                          <a:pt x="143" y="32"/>
                          <a:pt x="142" y="32"/>
                        </a:cubicBezTo>
                        <a:cubicBezTo>
                          <a:pt x="143" y="32"/>
                          <a:pt x="143" y="32"/>
                          <a:pt x="142" y="32"/>
                        </a:cubicBezTo>
                        <a:cubicBezTo>
                          <a:pt x="143" y="32"/>
                          <a:pt x="143" y="32"/>
                          <a:pt x="143" y="32"/>
                        </a:cubicBezTo>
                        <a:cubicBezTo>
                          <a:pt x="143" y="32"/>
                          <a:pt x="143" y="32"/>
                          <a:pt x="144" y="32"/>
                        </a:cubicBezTo>
                        <a:cubicBezTo>
                          <a:pt x="144" y="32"/>
                          <a:pt x="143" y="32"/>
                          <a:pt x="143" y="32"/>
                        </a:cubicBezTo>
                        <a:cubicBezTo>
                          <a:pt x="143" y="33"/>
                          <a:pt x="144" y="32"/>
                          <a:pt x="145" y="32"/>
                        </a:cubicBezTo>
                        <a:cubicBezTo>
                          <a:pt x="145" y="32"/>
                          <a:pt x="144" y="32"/>
                          <a:pt x="144" y="32"/>
                        </a:cubicBezTo>
                        <a:cubicBezTo>
                          <a:pt x="144" y="32"/>
                          <a:pt x="144" y="32"/>
                          <a:pt x="144" y="32"/>
                        </a:cubicBezTo>
                        <a:cubicBezTo>
                          <a:pt x="144" y="32"/>
                          <a:pt x="145" y="32"/>
                          <a:pt x="145" y="32"/>
                        </a:cubicBezTo>
                        <a:cubicBezTo>
                          <a:pt x="145" y="31"/>
                          <a:pt x="146" y="32"/>
                          <a:pt x="146" y="31"/>
                        </a:cubicBezTo>
                        <a:cubicBezTo>
                          <a:pt x="146" y="31"/>
                          <a:pt x="146" y="31"/>
                          <a:pt x="146" y="31"/>
                        </a:cubicBezTo>
                        <a:cubicBezTo>
                          <a:pt x="146" y="31"/>
                          <a:pt x="147" y="31"/>
                          <a:pt x="147" y="31"/>
                        </a:cubicBezTo>
                        <a:cubicBezTo>
                          <a:pt x="148" y="31"/>
                          <a:pt x="148" y="31"/>
                          <a:pt x="148" y="31"/>
                        </a:cubicBezTo>
                        <a:cubicBezTo>
                          <a:pt x="148" y="31"/>
                          <a:pt x="147" y="31"/>
                          <a:pt x="148" y="31"/>
                        </a:cubicBezTo>
                        <a:cubicBezTo>
                          <a:pt x="148" y="31"/>
                          <a:pt x="148" y="31"/>
                          <a:pt x="148" y="31"/>
                        </a:cubicBezTo>
                        <a:cubicBezTo>
                          <a:pt x="148" y="31"/>
                          <a:pt x="148" y="31"/>
                          <a:pt x="149" y="31"/>
                        </a:cubicBezTo>
                        <a:cubicBezTo>
                          <a:pt x="148" y="31"/>
                          <a:pt x="149" y="31"/>
                          <a:pt x="150" y="31"/>
                        </a:cubicBezTo>
                        <a:cubicBezTo>
                          <a:pt x="150" y="31"/>
                          <a:pt x="149" y="31"/>
                          <a:pt x="149" y="31"/>
                        </a:cubicBezTo>
                        <a:cubicBezTo>
                          <a:pt x="149" y="31"/>
                          <a:pt x="149" y="31"/>
                          <a:pt x="149" y="31"/>
                        </a:cubicBezTo>
                        <a:cubicBezTo>
                          <a:pt x="149" y="31"/>
                          <a:pt x="149" y="31"/>
                          <a:pt x="148" y="31"/>
                        </a:cubicBezTo>
                        <a:cubicBezTo>
                          <a:pt x="148" y="31"/>
                          <a:pt x="149" y="31"/>
                          <a:pt x="149" y="31"/>
                        </a:cubicBezTo>
                        <a:cubicBezTo>
                          <a:pt x="149" y="31"/>
                          <a:pt x="149" y="31"/>
                          <a:pt x="149" y="31"/>
                        </a:cubicBezTo>
                        <a:cubicBezTo>
                          <a:pt x="149" y="31"/>
                          <a:pt x="149" y="31"/>
                          <a:pt x="149" y="31"/>
                        </a:cubicBezTo>
                        <a:cubicBezTo>
                          <a:pt x="149" y="31"/>
                          <a:pt x="149" y="31"/>
                          <a:pt x="149" y="31"/>
                        </a:cubicBezTo>
                        <a:cubicBezTo>
                          <a:pt x="149" y="31"/>
                          <a:pt x="150" y="30"/>
                          <a:pt x="150" y="31"/>
                        </a:cubicBezTo>
                        <a:cubicBezTo>
                          <a:pt x="150" y="31"/>
                          <a:pt x="150" y="31"/>
                          <a:pt x="150" y="31"/>
                        </a:cubicBezTo>
                        <a:cubicBezTo>
                          <a:pt x="150" y="30"/>
                          <a:pt x="150" y="30"/>
                          <a:pt x="150" y="30"/>
                        </a:cubicBezTo>
                        <a:cubicBezTo>
                          <a:pt x="150" y="30"/>
                          <a:pt x="151" y="30"/>
                          <a:pt x="151" y="30"/>
                        </a:cubicBezTo>
                        <a:cubicBezTo>
                          <a:pt x="151" y="30"/>
                          <a:pt x="151" y="30"/>
                          <a:pt x="151" y="30"/>
                        </a:cubicBezTo>
                        <a:cubicBezTo>
                          <a:pt x="151" y="30"/>
                          <a:pt x="150" y="30"/>
                          <a:pt x="150" y="30"/>
                        </a:cubicBezTo>
                        <a:cubicBezTo>
                          <a:pt x="150" y="30"/>
                          <a:pt x="150" y="30"/>
                          <a:pt x="150" y="30"/>
                        </a:cubicBezTo>
                        <a:cubicBezTo>
                          <a:pt x="150" y="30"/>
                          <a:pt x="150" y="30"/>
                          <a:pt x="150" y="30"/>
                        </a:cubicBezTo>
                        <a:cubicBezTo>
                          <a:pt x="149" y="30"/>
                          <a:pt x="150" y="30"/>
                          <a:pt x="150" y="30"/>
                        </a:cubicBezTo>
                        <a:cubicBezTo>
                          <a:pt x="149" y="31"/>
                          <a:pt x="150" y="30"/>
                          <a:pt x="149" y="30"/>
                        </a:cubicBezTo>
                        <a:cubicBezTo>
                          <a:pt x="149" y="30"/>
                          <a:pt x="149" y="30"/>
                          <a:pt x="149" y="30"/>
                        </a:cubicBezTo>
                        <a:cubicBezTo>
                          <a:pt x="149" y="30"/>
                          <a:pt x="149" y="30"/>
                          <a:pt x="149" y="30"/>
                        </a:cubicBezTo>
                        <a:cubicBezTo>
                          <a:pt x="149" y="30"/>
                          <a:pt x="149" y="30"/>
                          <a:pt x="149" y="30"/>
                        </a:cubicBezTo>
                        <a:cubicBezTo>
                          <a:pt x="147" y="30"/>
                          <a:pt x="147" y="31"/>
                          <a:pt x="145" y="31"/>
                        </a:cubicBezTo>
                        <a:cubicBezTo>
                          <a:pt x="145" y="31"/>
                          <a:pt x="145" y="31"/>
                          <a:pt x="144" y="31"/>
                        </a:cubicBezTo>
                        <a:cubicBezTo>
                          <a:pt x="144" y="31"/>
                          <a:pt x="144" y="31"/>
                          <a:pt x="144" y="31"/>
                        </a:cubicBezTo>
                        <a:cubicBezTo>
                          <a:pt x="143" y="31"/>
                          <a:pt x="143" y="31"/>
                          <a:pt x="143" y="31"/>
                        </a:cubicBezTo>
                        <a:cubicBezTo>
                          <a:pt x="143" y="31"/>
                          <a:pt x="144" y="31"/>
                          <a:pt x="144" y="31"/>
                        </a:cubicBezTo>
                        <a:cubicBezTo>
                          <a:pt x="143" y="31"/>
                          <a:pt x="143" y="31"/>
                          <a:pt x="143" y="31"/>
                        </a:cubicBezTo>
                        <a:cubicBezTo>
                          <a:pt x="143" y="31"/>
                          <a:pt x="143" y="31"/>
                          <a:pt x="142" y="31"/>
                        </a:cubicBezTo>
                        <a:cubicBezTo>
                          <a:pt x="143" y="31"/>
                          <a:pt x="143" y="31"/>
                          <a:pt x="144" y="31"/>
                        </a:cubicBezTo>
                        <a:cubicBezTo>
                          <a:pt x="144" y="31"/>
                          <a:pt x="144" y="31"/>
                          <a:pt x="144" y="31"/>
                        </a:cubicBezTo>
                        <a:cubicBezTo>
                          <a:pt x="144" y="31"/>
                          <a:pt x="145" y="31"/>
                          <a:pt x="145" y="31"/>
                        </a:cubicBezTo>
                        <a:cubicBezTo>
                          <a:pt x="145" y="31"/>
                          <a:pt x="145" y="31"/>
                          <a:pt x="145" y="30"/>
                        </a:cubicBezTo>
                        <a:cubicBezTo>
                          <a:pt x="147" y="30"/>
                          <a:pt x="149" y="30"/>
                          <a:pt x="151" y="29"/>
                        </a:cubicBezTo>
                        <a:cubicBezTo>
                          <a:pt x="151" y="29"/>
                          <a:pt x="151" y="29"/>
                          <a:pt x="151" y="29"/>
                        </a:cubicBezTo>
                        <a:cubicBezTo>
                          <a:pt x="152" y="29"/>
                          <a:pt x="152" y="29"/>
                          <a:pt x="152" y="28"/>
                        </a:cubicBezTo>
                        <a:cubicBezTo>
                          <a:pt x="152" y="29"/>
                          <a:pt x="151" y="29"/>
                          <a:pt x="151" y="29"/>
                        </a:cubicBezTo>
                        <a:cubicBezTo>
                          <a:pt x="150" y="29"/>
                          <a:pt x="150" y="29"/>
                          <a:pt x="150" y="29"/>
                        </a:cubicBezTo>
                        <a:cubicBezTo>
                          <a:pt x="150" y="29"/>
                          <a:pt x="151" y="28"/>
                          <a:pt x="151" y="29"/>
                        </a:cubicBezTo>
                        <a:cubicBezTo>
                          <a:pt x="151" y="29"/>
                          <a:pt x="151" y="28"/>
                          <a:pt x="151" y="28"/>
                        </a:cubicBezTo>
                        <a:cubicBezTo>
                          <a:pt x="150" y="29"/>
                          <a:pt x="150" y="29"/>
                          <a:pt x="149" y="29"/>
                        </a:cubicBezTo>
                        <a:cubicBezTo>
                          <a:pt x="149" y="29"/>
                          <a:pt x="148" y="29"/>
                          <a:pt x="149" y="29"/>
                        </a:cubicBezTo>
                        <a:cubicBezTo>
                          <a:pt x="149" y="29"/>
                          <a:pt x="148" y="28"/>
                          <a:pt x="148" y="29"/>
                        </a:cubicBezTo>
                        <a:cubicBezTo>
                          <a:pt x="148" y="29"/>
                          <a:pt x="149" y="28"/>
                          <a:pt x="149" y="29"/>
                        </a:cubicBezTo>
                        <a:cubicBezTo>
                          <a:pt x="149" y="28"/>
                          <a:pt x="150" y="28"/>
                          <a:pt x="149" y="28"/>
                        </a:cubicBezTo>
                        <a:cubicBezTo>
                          <a:pt x="150" y="28"/>
                          <a:pt x="150" y="28"/>
                          <a:pt x="150" y="28"/>
                        </a:cubicBezTo>
                        <a:cubicBezTo>
                          <a:pt x="150" y="28"/>
                          <a:pt x="150" y="28"/>
                          <a:pt x="150" y="28"/>
                        </a:cubicBezTo>
                        <a:cubicBezTo>
                          <a:pt x="150" y="28"/>
                          <a:pt x="151" y="28"/>
                          <a:pt x="151" y="28"/>
                        </a:cubicBezTo>
                        <a:cubicBezTo>
                          <a:pt x="151" y="28"/>
                          <a:pt x="151" y="28"/>
                          <a:pt x="151" y="28"/>
                        </a:cubicBezTo>
                        <a:cubicBezTo>
                          <a:pt x="151" y="28"/>
                          <a:pt x="151" y="28"/>
                          <a:pt x="150" y="28"/>
                        </a:cubicBezTo>
                        <a:cubicBezTo>
                          <a:pt x="151" y="28"/>
                          <a:pt x="151" y="27"/>
                          <a:pt x="152" y="27"/>
                        </a:cubicBezTo>
                        <a:cubicBezTo>
                          <a:pt x="152" y="27"/>
                          <a:pt x="152" y="27"/>
                          <a:pt x="151" y="27"/>
                        </a:cubicBezTo>
                        <a:cubicBezTo>
                          <a:pt x="151" y="27"/>
                          <a:pt x="152" y="27"/>
                          <a:pt x="152" y="27"/>
                        </a:cubicBezTo>
                        <a:cubicBezTo>
                          <a:pt x="151" y="27"/>
                          <a:pt x="151" y="27"/>
                          <a:pt x="151" y="27"/>
                        </a:cubicBezTo>
                        <a:cubicBezTo>
                          <a:pt x="151" y="27"/>
                          <a:pt x="150" y="27"/>
                          <a:pt x="150" y="27"/>
                        </a:cubicBezTo>
                        <a:cubicBezTo>
                          <a:pt x="150" y="27"/>
                          <a:pt x="150" y="27"/>
                          <a:pt x="150" y="27"/>
                        </a:cubicBezTo>
                        <a:cubicBezTo>
                          <a:pt x="150" y="27"/>
                          <a:pt x="150" y="27"/>
                          <a:pt x="150" y="27"/>
                        </a:cubicBezTo>
                        <a:cubicBezTo>
                          <a:pt x="150" y="27"/>
                          <a:pt x="150" y="27"/>
                          <a:pt x="150" y="27"/>
                        </a:cubicBezTo>
                        <a:cubicBezTo>
                          <a:pt x="150" y="27"/>
                          <a:pt x="150" y="27"/>
                          <a:pt x="150" y="27"/>
                        </a:cubicBezTo>
                        <a:cubicBezTo>
                          <a:pt x="150" y="27"/>
                          <a:pt x="150" y="27"/>
                          <a:pt x="150" y="27"/>
                        </a:cubicBezTo>
                        <a:cubicBezTo>
                          <a:pt x="150" y="27"/>
                          <a:pt x="150" y="27"/>
                          <a:pt x="150" y="27"/>
                        </a:cubicBezTo>
                        <a:cubicBezTo>
                          <a:pt x="150" y="26"/>
                          <a:pt x="151" y="26"/>
                          <a:pt x="151" y="26"/>
                        </a:cubicBezTo>
                        <a:cubicBezTo>
                          <a:pt x="152" y="26"/>
                          <a:pt x="151" y="26"/>
                          <a:pt x="151" y="26"/>
                        </a:cubicBezTo>
                        <a:cubicBezTo>
                          <a:pt x="152" y="26"/>
                          <a:pt x="152" y="26"/>
                          <a:pt x="152" y="26"/>
                        </a:cubicBezTo>
                        <a:cubicBezTo>
                          <a:pt x="152" y="26"/>
                          <a:pt x="152" y="25"/>
                          <a:pt x="152" y="25"/>
                        </a:cubicBezTo>
                        <a:cubicBezTo>
                          <a:pt x="152" y="25"/>
                          <a:pt x="152" y="25"/>
                          <a:pt x="152" y="25"/>
                        </a:cubicBezTo>
                        <a:cubicBezTo>
                          <a:pt x="153" y="25"/>
                          <a:pt x="153" y="26"/>
                          <a:pt x="153" y="26"/>
                        </a:cubicBezTo>
                        <a:cubicBezTo>
                          <a:pt x="153" y="26"/>
                          <a:pt x="153" y="26"/>
                          <a:pt x="153" y="26"/>
                        </a:cubicBezTo>
                        <a:cubicBezTo>
                          <a:pt x="153" y="26"/>
                          <a:pt x="153" y="26"/>
                          <a:pt x="153" y="26"/>
                        </a:cubicBezTo>
                        <a:cubicBezTo>
                          <a:pt x="154" y="26"/>
                          <a:pt x="152" y="26"/>
                          <a:pt x="153" y="26"/>
                        </a:cubicBezTo>
                        <a:cubicBezTo>
                          <a:pt x="153" y="26"/>
                          <a:pt x="153" y="26"/>
                          <a:pt x="153" y="26"/>
                        </a:cubicBezTo>
                        <a:cubicBezTo>
                          <a:pt x="153" y="26"/>
                          <a:pt x="153" y="26"/>
                          <a:pt x="154" y="26"/>
                        </a:cubicBezTo>
                        <a:cubicBezTo>
                          <a:pt x="153" y="26"/>
                          <a:pt x="154" y="26"/>
                          <a:pt x="154" y="26"/>
                        </a:cubicBezTo>
                        <a:cubicBezTo>
                          <a:pt x="154" y="26"/>
                          <a:pt x="154" y="26"/>
                          <a:pt x="154" y="26"/>
                        </a:cubicBezTo>
                        <a:cubicBezTo>
                          <a:pt x="154" y="27"/>
                          <a:pt x="155" y="26"/>
                          <a:pt x="155" y="26"/>
                        </a:cubicBezTo>
                        <a:cubicBezTo>
                          <a:pt x="155" y="27"/>
                          <a:pt x="155" y="27"/>
                          <a:pt x="155" y="27"/>
                        </a:cubicBezTo>
                        <a:cubicBezTo>
                          <a:pt x="155" y="27"/>
                          <a:pt x="156" y="26"/>
                          <a:pt x="156" y="27"/>
                        </a:cubicBezTo>
                        <a:cubicBezTo>
                          <a:pt x="155" y="27"/>
                          <a:pt x="156" y="27"/>
                          <a:pt x="155" y="27"/>
                        </a:cubicBezTo>
                        <a:cubicBezTo>
                          <a:pt x="155" y="27"/>
                          <a:pt x="155" y="27"/>
                          <a:pt x="155" y="27"/>
                        </a:cubicBezTo>
                        <a:cubicBezTo>
                          <a:pt x="155" y="27"/>
                          <a:pt x="155" y="27"/>
                          <a:pt x="155" y="27"/>
                        </a:cubicBezTo>
                        <a:cubicBezTo>
                          <a:pt x="155" y="27"/>
                          <a:pt x="155" y="27"/>
                          <a:pt x="155" y="27"/>
                        </a:cubicBezTo>
                        <a:cubicBezTo>
                          <a:pt x="155" y="27"/>
                          <a:pt x="154" y="28"/>
                          <a:pt x="154" y="28"/>
                        </a:cubicBezTo>
                        <a:cubicBezTo>
                          <a:pt x="154" y="28"/>
                          <a:pt x="154" y="28"/>
                          <a:pt x="154" y="28"/>
                        </a:cubicBezTo>
                        <a:cubicBezTo>
                          <a:pt x="153" y="28"/>
                          <a:pt x="153" y="28"/>
                          <a:pt x="153" y="28"/>
                        </a:cubicBezTo>
                        <a:cubicBezTo>
                          <a:pt x="153" y="28"/>
                          <a:pt x="153" y="28"/>
                          <a:pt x="153" y="28"/>
                        </a:cubicBezTo>
                        <a:cubicBezTo>
                          <a:pt x="153" y="28"/>
                          <a:pt x="153" y="28"/>
                          <a:pt x="154" y="28"/>
                        </a:cubicBezTo>
                        <a:cubicBezTo>
                          <a:pt x="154" y="28"/>
                          <a:pt x="153" y="28"/>
                          <a:pt x="153" y="28"/>
                        </a:cubicBezTo>
                        <a:cubicBezTo>
                          <a:pt x="153" y="28"/>
                          <a:pt x="155" y="28"/>
                          <a:pt x="154" y="28"/>
                        </a:cubicBezTo>
                        <a:cubicBezTo>
                          <a:pt x="155" y="28"/>
                          <a:pt x="155" y="28"/>
                          <a:pt x="156" y="28"/>
                        </a:cubicBezTo>
                        <a:cubicBezTo>
                          <a:pt x="156" y="28"/>
                          <a:pt x="156" y="28"/>
                          <a:pt x="155" y="28"/>
                        </a:cubicBezTo>
                        <a:cubicBezTo>
                          <a:pt x="155" y="28"/>
                          <a:pt x="155" y="27"/>
                          <a:pt x="156" y="27"/>
                        </a:cubicBezTo>
                        <a:cubicBezTo>
                          <a:pt x="155" y="27"/>
                          <a:pt x="156" y="28"/>
                          <a:pt x="156" y="27"/>
                        </a:cubicBezTo>
                        <a:cubicBezTo>
                          <a:pt x="156" y="27"/>
                          <a:pt x="156" y="28"/>
                          <a:pt x="156" y="28"/>
                        </a:cubicBezTo>
                        <a:cubicBezTo>
                          <a:pt x="156" y="28"/>
                          <a:pt x="155" y="28"/>
                          <a:pt x="155" y="28"/>
                        </a:cubicBezTo>
                        <a:cubicBezTo>
                          <a:pt x="155" y="28"/>
                          <a:pt x="154" y="28"/>
                          <a:pt x="154" y="28"/>
                        </a:cubicBezTo>
                        <a:cubicBezTo>
                          <a:pt x="154" y="28"/>
                          <a:pt x="154" y="28"/>
                          <a:pt x="154" y="28"/>
                        </a:cubicBezTo>
                        <a:cubicBezTo>
                          <a:pt x="153" y="28"/>
                          <a:pt x="154" y="28"/>
                          <a:pt x="153" y="28"/>
                        </a:cubicBezTo>
                        <a:cubicBezTo>
                          <a:pt x="153" y="29"/>
                          <a:pt x="154" y="28"/>
                          <a:pt x="154" y="28"/>
                        </a:cubicBezTo>
                        <a:cubicBezTo>
                          <a:pt x="154" y="28"/>
                          <a:pt x="153" y="29"/>
                          <a:pt x="153" y="29"/>
                        </a:cubicBezTo>
                        <a:cubicBezTo>
                          <a:pt x="153" y="29"/>
                          <a:pt x="153" y="29"/>
                          <a:pt x="153" y="29"/>
                        </a:cubicBezTo>
                        <a:close/>
                        <a:moveTo>
                          <a:pt x="152" y="26"/>
                        </a:moveTo>
                        <a:cubicBezTo>
                          <a:pt x="153" y="25"/>
                          <a:pt x="153" y="25"/>
                          <a:pt x="153" y="25"/>
                        </a:cubicBezTo>
                        <a:cubicBezTo>
                          <a:pt x="153" y="25"/>
                          <a:pt x="152" y="26"/>
                          <a:pt x="152" y="25"/>
                        </a:cubicBezTo>
                        <a:cubicBezTo>
                          <a:pt x="152" y="26"/>
                          <a:pt x="152" y="26"/>
                          <a:pt x="152" y="26"/>
                        </a:cubicBezTo>
                        <a:close/>
                        <a:moveTo>
                          <a:pt x="153" y="26"/>
                        </a:moveTo>
                        <a:cubicBezTo>
                          <a:pt x="152" y="26"/>
                          <a:pt x="153" y="26"/>
                          <a:pt x="153" y="26"/>
                        </a:cubicBezTo>
                        <a:cubicBezTo>
                          <a:pt x="152" y="26"/>
                          <a:pt x="152" y="26"/>
                          <a:pt x="152" y="26"/>
                        </a:cubicBezTo>
                        <a:cubicBezTo>
                          <a:pt x="151" y="26"/>
                          <a:pt x="151" y="26"/>
                          <a:pt x="150" y="26"/>
                        </a:cubicBezTo>
                        <a:cubicBezTo>
                          <a:pt x="150" y="27"/>
                          <a:pt x="151" y="26"/>
                          <a:pt x="151" y="27"/>
                        </a:cubicBezTo>
                        <a:cubicBezTo>
                          <a:pt x="151" y="26"/>
                          <a:pt x="152" y="26"/>
                          <a:pt x="152" y="26"/>
                        </a:cubicBezTo>
                        <a:cubicBezTo>
                          <a:pt x="152" y="26"/>
                          <a:pt x="152" y="26"/>
                          <a:pt x="152" y="26"/>
                        </a:cubicBezTo>
                        <a:cubicBezTo>
                          <a:pt x="153" y="26"/>
                          <a:pt x="152" y="26"/>
                          <a:pt x="153" y="26"/>
                        </a:cubicBezTo>
                        <a:close/>
                        <a:moveTo>
                          <a:pt x="152" y="27"/>
                        </a:moveTo>
                        <a:cubicBezTo>
                          <a:pt x="152" y="27"/>
                          <a:pt x="152" y="27"/>
                          <a:pt x="151" y="27"/>
                        </a:cubicBezTo>
                        <a:cubicBezTo>
                          <a:pt x="151" y="27"/>
                          <a:pt x="152" y="27"/>
                          <a:pt x="152" y="27"/>
                        </a:cubicBezTo>
                        <a:close/>
                        <a:moveTo>
                          <a:pt x="152" y="28"/>
                        </a:moveTo>
                        <a:cubicBezTo>
                          <a:pt x="153" y="28"/>
                          <a:pt x="152" y="28"/>
                          <a:pt x="153" y="28"/>
                        </a:cubicBezTo>
                        <a:cubicBezTo>
                          <a:pt x="152" y="28"/>
                          <a:pt x="152" y="28"/>
                          <a:pt x="152" y="28"/>
                        </a:cubicBezTo>
                        <a:cubicBezTo>
                          <a:pt x="152" y="28"/>
                          <a:pt x="152" y="28"/>
                          <a:pt x="152" y="28"/>
                        </a:cubicBezTo>
                        <a:close/>
                        <a:moveTo>
                          <a:pt x="145" y="32"/>
                        </a:moveTo>
                        <a:cubicBezTo>
                          <a:pt x="144" y="32"/>
                          <a:pt x="144" y="32"/>
                          <a:pt x="143" y="32"/>
                        </a:cubicBezTo>
                        <a:cubicBezTo>
                          <a:pt x="144" y="32"/>
                          <a:pt x="144" y="33"/>
                          <a:pt x="144" y="33"/>
                        </a:cubicBezTo>
                        <a:cubicBezTo>
                          <a:pt x="144" y="32"/>
                          <a:pt x="144" y="32"/>
                          <a:pt x="144" y="32"/>
                        </a:cubicBezTo>
                        <a:cubicBezTo>
                          <a:pt x="145" y="32"/>
                          <a:pt x="144" y="32"/>
                          <a:pt x="144" y="32"/>
                        </a:cubicBezTo>
                        <a:cubicBezTo>
                          <a:pt x="144" y="32"/>
                          <a:pt x="144" y="32"/>
                          <a:pt x="145" y="32"/>
                        </a:cubicBezTo>
                        <a:cubicBezTo>
                          <a:pt x="144" y="32"/>
                          <a:pt x="145" y="32"/>
                          <a:pt x="145" y="32"/>
                        </a:cubicBezTo>
                        <a:close/>
                        <a:moveTo>
                          <a:pt x="148" y="31"/>
                        </a:moveTo>
                        <a:cubicBezTo>
                          <a:pt x="148" y="31"/>
                          <a:pt x="148" y="31"/>
                          <a:pt x="148" y="31"/>
                        </a:cubicBezTo>
                        <a:cubicBezTo>
                          <a:pt x="148" y="31"/>
                          <a:pt x="148" y="31"/>
                          <a:pt x="148" y="31"/>
                        </a:cubicBezTo>
                        <a:cubicBezTo>
                          <a:pt x="148" y="31"/>
                          <a:pt x="148" y="31"/>
                          <a:pt x="148" y="31"/>
                        </a:cubicBezTo>
                        <a:close/>
                        <a:moveTo>
                          <a:pt x="147" y="31"/>
                        </a:moveTo>
                        <a:cubicBezTo>
                          <a:pt x="147" y="31"/>
                          <a:pt x="147" y="31"/>
                          <a:pt x="147" y="31"/>
                        </a:cubicBezTo>
                        <a:cubicBezTo>
                          <a:pt x="147" y="31"/>
                          <a:pt x="147" y="31"/>
                          <a:pt x="147" y="31"/>
                        </a:cubicBezTo>
                        <a:cubicBezTo>
                          <a:pt x="147" y="31"/>
                          <a:pt x="147" y="31"/>
                          <a:pt x="147" y="31"/>
                        </a:cubicBezTo>
                        <a:close/>
                        <a:moveTo>
                          <a:pt x="146" y="32"/>
                        </a:moveTo>
                        <a:cubicBezTo>
                          <a:pt x="147" y="32"/>
                          <a:pt x="147" y="31"/>
                          <a:pt x="148" y="31"/>
                        </a:cubicBezTo>
                        <a:cubicBezTo>
                          <a:pt x="148" y="31"/>
                          <a:pt x="147" y="31"/>
                          <a:pt x="147" y="31"/>
                        </a:cubicBezTo>
                        <a:cubicBezTo>
                          <a:pt x="147" y="31"/>
                          <a:pt x="147" y="31"/>
                          <a:pt x="147" y="31"/>
                        </a:cubicBezTo>
                        <a:cubicBezTo>
                          <a:pt x="147" y="31"/>
                          <a:pt x="146" y="32"/>
                          <a:pt x="146" y="32"/>
                        </a:cubicBezTo>
                        <a:close/>
                        <a:moveTo>
                          <a:pt x="153" y="31"/>
                        </a:moveTo>
                        <a:cubicBezTo>
                          <a:pt x="153" y="31"/>
                          <a:pt x="154" y="31"/>
                          <a:pt x="154" y="31"/>
                        </a:cubicBezTo>
                        <a:cubicBezTo>
                          <a:pt x="153" y="31"/>
                          <a:pt x="153" y="31"/>
                          <a:pt x="153" y="31"/>
                        </a:cubicBezTo>
                        <a:cubicBezTo>
                          <a:pt x="153" y="31"/>
                          <a:pt x="153" y="31"/>
                          <a:pt x="153" y="31"/>
                        </a:cubicBezTo>
                        <a:close/>
                        <a:moveTo>
                          <a:pt x="148" y="32"/>
                        </a:moveTo>
                        <a:cubicBezTo>
                          <a:pt x="148" y="32"/>
                          <a:pt x="148" y="32"/>
                          <a:pt x="149" y="32"/>
                        </a:cubicBezTo>
                        <a:cubicBezTo>
                          <a:pt x="148" y="32"/>
                          <a:pt x="149" y="32"/>
                          <a:pt x="149" y="32"/>
                        </a:cubicBezTo>
                        <a:cubicBezTo>
                          <a:pt x="148" y="32"/>
                          <a:pt x="148" y="32"/>
                          <a:pt x="147" y="32"/>
                        </a:cubicBezTo>
                        <a:cubicBezTo>
                          <a:pt x="147" y="32"/>
                          <a:pt x="147" y="32"/>
                          <a:pt x="148" y="32"/>
                        </a:cubicBezTo>
                        <a:cubicBezTo>
                          <a:pt x="148" y="32"/>
                          <a:pt x="147" y="32"/>
                          <a:pt x="147" y="32"/>
                        </a:cubicBezTo>
                        <a:cubicBezTo>
                          <a:pt x="148" y="32"/>
                          <a:pt x="148" y="32"/>
                          <a:pt x="148" y="32"/>
                        </a:cubicBezTo>
                        <a:close/>
                        <a:moveTo>
                          <a:pt x="149" y="31"/>
                        </a:moveTo>
                        <a:cubicBezTo>
                          <a:pt x="149" y="32"/>
                          <a:pt x="149" y="32"/>
                          <a:pt x="149" y="32"/>
                        </a:cubicBezTo>
                        <a:cubicBezTo>
                          <a:pt x="148" y="32"/>
                          <a:pt x="149" y="32"/>
                          <a:pt x="148" y="32"/>
                        </a:cubicBezTo>
                        <a:cubicBezTo>
                          <a:pt x="148" y="32"/>
                          <a:pt x="149" y="32"/>
                          <a:pt x="149" y="32"/>
                        </a:cubicBezTo>
                        <a:cubicBezTo>
                          <a:pt x="149" y="32"/>
                          <a:pt x="149" y="32"/>
                          <a:pt x="149" y="32"/>
                        </a:cubicBezTo>
                        <a:cubicBezTo>
                          <a:pt x="149" y="32"/>
                          <a:pt x="149" y="32"/>
                          <a:pt x="150" y="32"/>
                        </a:cubicBezTo>
                        <a:cubicBezTo>
                          <a:pt x="150" y="32"/>
                          <a:pt x="150" y="32"/>
                          <a:pt x="149" y="32"/>
                        </a:cubicBezTo>
                        <a:cubicBezTo>
                          <a:pt x="150" y="32"/>
                          <a:pt x="150" y="32"/>
                          <a:pt x="150" y="32"/>
                        </a:cubicBezTo>
                        <a:cubicBezTo>
                          <a:pt x="149" y="32"/>
                          <a:pt x="149" y="32"/>
                          <a:pt x="150" y="31"/>
                        </a:cubicBezTo>
                        <a:cubicBezTo>
                          <a:pt x="149" y="32"/>
                          <a:pt x="150" y="31"/>
                          <a:pt x="149" y="31"/>
                        </a:cubicBezTo>
                        <a:close/>
                        <a:moveTo>
                          <a:pt x="152" y="31"/>
                        </a:moveTo>
                        <a:cubicBezTo>
                          <a:pt x="153" y="30"/>
                          <a:pt x="153" y="30"/>
                          <a:pt x="153" y="30"/>
                        </a:cubicBezTo>
                        <a:cubicBezTo>
                          <a:pt x="153" y="30"/>
                          <a:pt x="153" y="30"/>
                          <a:pt x="152" y="31"/>
                        </a:cubicBezTo>
                        <a:close/>
                        <a:moveTo>
                          <a:pt x="150" y="30"/>
                        </a:moveTo>
                        <a:cubicBezTo>
                          <a:pt x="150" y="30"/>
                          <a:pt x="150" y="30"/>
                          <a:pt x="150" y="30"/>
                        </a:cubicBezTo>
                        <a:cubicBezTo>
                          <a:pt x="150" y="30"/>
                          <a:pt x="149" y="30"/>
                          <a:pt x="149" y="30"/>
                        </a:cubicBezTo>
                        <a:cubicBezTo>
                          <a:pt x="150" y="30"/>
                          <a:pt x="150" y="30"/>
                          <a:pt x="150" y="30"/>
                        </a:cubicBezTo>
                        <a:close/>
                        <a:moveTo>
                          <a:pt x="150" y="30"/>
                        </a:moveTo>
                        <a:cubicBezTo>
                          <a:pt x="151" y="30"/>
                          <a:pt x="151" y="30"/>
                          <a:pt x="151" y="29"/>
                        </a:cubicBezTo>
                        <a:cubicBezTo>
                          <a:pt x="151" y="29"/>
                          <a:pt x="151" y="29"/>
                          <a:pt x="151" y="29"/>
                        </a:cubicBezTo>
                        <a:cubicBezTo>
                          <a:pt x="151" y="29"/>
                          <a:pt x="151" y="29"/>
                          <a:pt x="151" y="29"/>
                        </a:cubicBezTo>
                        <a:cubicBezTo>
                          <a:pt x="151" y="29"/>
                          <a:pt x="151" y="29"/>
                          <a:pt x="151" y="29"/>
                        </a:cubicBezTo>
                        <a:cubicBezTo>
                          <a:pt x="151" y="29"/>
                          <a:pt x="150" y="30"/>
                          <a:pt x="150" y="30"/>
                        </a:cubicBezTo>
                        <a:cubicBezTo>
                          <a:pt x="150" y="30"/>
                          <a:pt x="151" y="29"/>
                          <a:pt x="151" y="30"/>
                        </a:cubicBezTo>
                        <a:cubicBezTo>
                          <a:pt x="151" y="30"/>
                          <a:pt x="150" y="30"/>
                          <a:pt x="150" y="30"/>
                        </a:cubicBezTo>
                        <a:cubicBezTo>
                          <a:pt x="150" y="30"/>
                          <a:pt x="150" y="30"/>
                          <a:pt x="150" y="30"/>
                        </a:cubicBezTo>
                        <a:close/>
                        <a:moveTo>
                          <a:pt x="153" y="29"/>
                        </a:moveTo>
                        <a:cubicBezTo>
                          <a:pt x="153" y="29"/>
                          <a:pt x="153" y="29"/>
                          <a:pt x="154" y="29"/>
                        </a:cubicBezTo>
                        <a:cubicBezTo>
                          <a:pt x="154" y="29"/>
                          <a:pt x="153" y="29"/>
                          <a:pt x="153" y="29"/>
                        </a:cubicBezTo>
                        <a:cubicBezTo>
                          <a:pt x="153" y="29"/>
                          <a:pt x="153" y="29"/>
                          <a:pt x="153" y="29"/>
                        </a:cubicBezTo>
                        <a:cubicBezTo>
                          <a:pt x="153" y="29"/>
                          <a:pt x="153" y="29"/>
                          <a:pt x="153" y="29"/>
                        </a:cubicBezTo>
                        <a:close/>
                        <a:moveTo>
                          <a:pt x="153" y="30"/>
                        </a:moveTo>
                        <a:cubicBezTo>
                          <a:pt x="152" y="30"/>
                          <a:pt x="153" y="30"/>
                          <a:pt x="153" y="29"/>
                        </a:cubicBezTo>
                        <a:cubicBezTo>
                          <a:pt x="153" y="29"/>
                          <a:pt x="153" y="30"/>
                          <a:pt x="152" y="30"/>
                        </a:cubicBezTo>
                        <a:cubicBezTo>
                          <a:pt x="152" y="29"/>
                          <a:pt x="152" y="30"/>
                          <a:pt x="152" y="30"/>
                        </a:cubicBezTo>
                        <a:cubicBezTo>
                          <a:pt x="152" y="30"/>
                          <a:pt x="152" y="30"/>
                          <a:pt x="153" y="30"/>
                        </a:cubicBezTo>
                        <a:cubicBezTo>
                          <a:pt x="153" y="30"/>
                          <a:pt x="152" y="30"/>
                          <a:pt x="152" y="30"/>
                        </a:cubicBezTo>
                        <a:cubicBezTo>
                          <a:pt x="152" y="30"/>
                          <a:pt x="152" y="30"/>
                          <a:pt x="153" y="30"/>
                        </a:cubicBezTo>
                        <a:close/>
                        <a:moveTo>
                          <a:pt x="153" y="30"/>
                        </a:moveTo>
                        <a:cubicBezTo>
                          <a:pt x="153" y="30"/>
                          <a:pt x="153" y="30"/>
                          <a:pt x="153" y="30"/>
                        </a:cubicBezTo>
                        <a:cubicBezTo>
                          <a:pt x="152" y="30"/>
                          <a:pt x="153" y="30"/>
                          <a:pt x="152" y="30"/>
                        </a:cubicBezTo>
                        <a:cubicBezTo>
                          <a:pt x="153" y="30"/>
                          <a:pt x="153" y="30"/>
                          <a:pt x="153" y="30"/>
                        </a:cubicBezTo>
                        <a:close/>
                        <a:moveTo>
                          <a:pt x="153" y="30"/>
                        </a:moveTo>
                        <a:cubicBezTo>
                          <a:pt x="153" y="30"/>
                          <a:pt x="154" y="30"/>
                          <a:pt x="154" y="30"/>
                        </a:cubicBezTo>
                        <a:cubicBezTo>
                          <a:pt x="154" y="30"/>
                          <a:pt x="154" y="30"/>
                          <a:pt x="154" y="30"/>
                        </a:cubicBezTo>
                        <a:cubicBezTo>
                          <a:pt x="153" y="30"/>
                          <a:pt x="153" y="30"/>
                          <a:pt x="153" y="30"/>
                        </a:cubicBezTo>
                        <a:cubicBezTo>
                          <a:pt x="153" y="30"/>
                          <a:pt x="153" y="30"/>
                          <a:pt x="153" y="30"/>
                        </a:cubicBezTo>
                        <a:cubicBezTo>
                          <a:pt x="154" y="30"/>
                          <a:pt x="154" y="30"/>
                          <a:pt x="154" y="30"/>
                        </a:cubicBezTo>
                        <a:cubicBezTo>
                          <a:pt x="154" y="30"/>
                          <a:pt x="154" y="30"/>
                          <a:pt x="154" y="30"/>
                        </a:cubicBezTo>
                        <a:cubicBezTo>
                          <a:pt x="154" y="29"/>
                          <a:pt x="155" y="29"/>
                          <a:pt x="155" y="29"/>
                        </a:cubicBezTo>
                        <a:cubicBezTo>
                          <a:pt x="155" y="29"/>
                          <a:pt x="154" y="29"/>
                          <a:pt x="154" y="29"/>
                        </a:cubicBezTo>
                        <a:cubicBezTo>
                          <a:pt x="154" y="29"/>
                          <a:pt x="155" y="29"/>
                          <a:pt x="155" y="29"/>
                        </a:cubicBezTo>
                        <a:cubicBezTo>
                          <a:pt x="154" y="29"/>
                          <a:pt x="154" y="29"/>
                          <a:pt x="153" y="30"/>
                        </a:cubicBezTo>
                        <a:close/>
                        <a:moveTo>
                          <a:pt x="154" y="29"/>
                        </a:moveTo>
                        <a:cubicBezTo>
                          <a:pt x="153" y="29"/>
                          <a:pt x="155" y="29"/>
                          <a:pt x="155" y="29"/>
                        </a:cubicBezTo>
                        <a:cubicBezTo>
                          <a:pt x="154" y="29"/>
                          <a:pt x="154" y="29"/>
                          <a:pt x="154" y="29"/>
                        </a:cubicBezTo>
                        <a:close/>
                        <a:moveTo>
                          <a:pt x="152" y="29"/>
                        </a:moveTo>
                        <a:cubicBezTo>
                          <a:pt x="152" y="29"/>
                          <a:pt x="152" y="29"/>
                          <a:pt x="152" y="29"/>
                        </a:cubicBezTo>
                        <a:cubicBezTo>
                          <a:pt x="151" y="29"/>
                          <a:pt x="152" y="29"/>
                          <a:pt x="151" y="29"/>
                        </a:cubicBezTo>
                        <a:cubicBezTo>
                          <a:pt x="151" y="29"/>
                          <a:pt x="152" y="29"/>
                          <a:pt x="152" y="30"/>
                        </a:cubicBezTo>
                        <a:cubicBezTo>
                          <a:pt x="152" y="29"/>
                          <a:pt x="152" y="29"/>
                          <a:pt x="152" y="29"/>
                        </a:cubicBezTo>
                        <a:close/>
                        <a:moveTo>
                          <a:pt x="146" y="31"/>
                        </a:moveTo>
                        <a:cubicBezTo>
                          <a:pt x="145" y="31"/>
                          <a:pt x="145" y="31"/>
                          <a:pt x="145" y="31"/>
                        </a:cubicBezTo>
                        <a:cubicBezTo>
                          <a:pt x="144" y="31"/>
                          <a:pt x="144" y="31"/>
                          <a:pt x="143" y="32"/>
                        </a:cubicBezTo>
                        <a:cubicBezTo>
                          <a:pt x="143" y="31"/>
                          <a:pt x="144" y="31"/>
                          <a:pt x="144" y="31"/>
                        </a:cubicBezTo>
                        <a:cubicBezTo>
                          <a:pt x="144" y="31"/>
                          <a:pt x="144" y="31"/>
                          <a:pt x="144" y="31"/>
                        </a:cubicBezTo>
                        <a:cubicBezTo>
                          <a:pt x="144" y="31"/>
                          <a:pt x="144" y="31"/>
                          <a:pt x="145" y="31"/>
                        </a:cubicBezTo>
                        <a:cubicBezTo>
                          <a:pt x="145" y="31"/>
                          <a:pt x="145" y="31"/>
                          <a:pt x="145" y="31"/>
                        </a:cubicBezTo>
                        <a:cubicBezTo>
                          <a:pt x="145" y="31"/>
                          <a:pt x="145" y="31"/>
                          <a:pt x="145" y="31"/>
                        </a:cubicBezTo>
                        <a:cubicBezTo>
                          <a:pt x="146" y="31"/>
                          <a:pt x="145" y="31"/>
                          <a:pt x="146" y="31"/>
                        </a:cubicBezTo>
                        <a:close/>
                        <a:moveTo>
                          <a:pt x="151" y="32"/>
                        </a:moveTo>
                        <a:cubicBezTo>
                          <a:pt x="151" y="31"/>
                          <a:pt x="151" y="31"/>
                          <a:pt x="151" y="31"/>
                        </a:cubicBezTo>
                        <a:cubicBezTo>
                          <a:pt x="151" y="32"/>
                          <a:pt x="151" y="31"/>
                          <a:pt x="151" y="32"/>
                        </a:cubicBezTo>
                        <a:close/>
                        <a:moveTo>
                          <a:pt x="157" y="26"/>
                        </a:moveTo>
                        <a:cubicBezTo>
                          <a:pt x="158" y="26"/>
                          <a:pt x="157" y="26"/>
                          <a:pt x="158" y="26"/>
                        </a:cubicBezTo>
                        <a:cubicBezTo>
                          <a:pt x="157" y="27"/>
                          <a:pt x="156" y="27"/>
                          <a:pt x="157" y="26"/>
                        </a:cubicBezTo>
                        <a:close/>
                        <a:moveTo>
                          <a:pt x="157" y="25"/>
                        </a:moveTo>
                        <a:cubicBezTo>
                          <a:pt x="157" y="25"/>
                          <a:pt x="156" y="25"/>
                          <a:pt x="156" y="25"/>
                        </a:cubicBezTo>
                        <a:cubicBezTo>
                          <a:pt x="156" y="25"/>
                          <a:pt x="156" y="25"/>
                          <a:pt x="156" y="25"/>
                        </a:cubicBezTo>
                        <a:cubicBezTo>
                          <a:pt x="156" y="25"/>
                          <a:pt x="156" y="25"/>
                          <a:pt x="156" y="25"/>
                        </a:cubicBezTo>
                        <a:cubicBezTo>
                          <a:pt x="156" y="25"/>
                          <a:pt x="156" y="25"/>
                          <a:pt x="156" y="25"/>
                        </a:cubicBezTo>
                        <a:cubicBezTo>
                          <a:pt x="156" y="25"/>
                          <a:pt x="157" y="25"/>
                          <a:pt x="157" y="25"/>
                        </a:cubicBezTo>
                        <a:cubicBezTo>
                          <a:pt x="157" y="25"/>
                          <a:pt x="157" y="25"/>
                          <a:pt x="157" y="25"/>
                        </a:cubicBezTo>
                        <a:close/>
                        <a:moveTo>
                          <a:pt x="156" y="26"/>
                        </a:moveTo>
                        <a:cubicBezTo>
                          <a:pt x="156" y="26"/>
                          <a:pt x="156" y="26"/>
                          <a:pt x="156" y="26"/>
                        </a:cubicBezTo>
                        <a:cubicBezTo>
                          <a:pt x="156" y="26"/>
                          <a:pt x="156" y="26"/>
                          <a:pt x="156" y="26"/>
                        </a:cubicBezTo>
                        <a:close/>
                        <a:moveTo>
                          <a:pt x="153" y="21"/>
                        </a:moveTo>
                        <a:cubicBezTo>
                          <a:pt x="154" y="21"/>
                          <a:pt x="154" y="21"/>
                          <a:pt x="154" y="21"/>
                        </a:cubicBezTo>
                        <a:cubicBezTo>
                          <a:pt x="154" y="21"/>
                          <a:pt x="154" y="21"/>
                          <a:pt x="154" y="21"/>
                        </a:cubicBezTo>
                        <a:cubicBezTo>
                          <a:pt x="154" y="21"/>
                          <a:pt x="154" y="21"/>
                          <a:pt x="153" y="21"/>
                        </a:cubicBezTo>
                        <a:cubicBezTo>
                          <a:pt x="153" y="21"/>
                          <a:pt x="153" y="21"/>
                          <a:pt x="153" y="21"/>
                        </a:cubicBezTo>
                        <a:cubicBezTo>
                          <a:pt x="153" y="21"/>
                          <a:pt x="153" y="21"/>
                          <a:pt x="153" y="21"/>
                        </a:cubicBezTo>
                        <a:cubicBezTo>
                          <a:pt x="153" y="21"/>
                          <a:pt x="154" y="21"/>
                          <a:pt x="153" y="21"/>
                        </a:cubicBezTo>
                        <a:close/>
                        <a:moveTo>
                          <a:pt x="155" y="24"/>
                        </a:moveTo>
                        <a:cubicBezTo>
                          <a:pt x="154" y="24"/>
                          <a:pt x="153" y="24"/>
                          <a:pt x="153" y="24"/>
                        </a:cubicBezTo>
                        <a:cubicBezTo>
                          <a:pt x="153" y="24"/>
                          <a:pt x="154" y="24"/>
                          <a:pt x="154" y="24"/>
                        </a:cubicBezTo>
                        <a:cubicBezTo>
                          <a:pt x="154" y="24"/>
                          <a:pt x="153" y="24"/>
                          <a:pt x="152" y="24"/>
                        </a:cubicBezTo>
                        <a:cubicBezTo>
                          <a:pt x="152" y="24"/>
                          <a:pt x="152" y="24"/>
                          <a:pt x="152" y="24"/>
                        </a:cubicBezTo>
                        <a:cubicBezTo>
                          <a:pt x="152" y="25"/>
                          <a:pt x="152" y="25"/>
                          <a:pt x="152" y="25"/>
                        </a:cubicBezTo>
                        <a:cubicBezTo>
                          <a:pt x="152" y="25"/>
                          <a:pt x="152" y="25"/>
                          <a:pt x="152" y="25"/>
                        </a:cubicBezTo>
                        <a:cubicBezTo>
                          <a:pt x="152" y="25"/>
                          <a:pt x="152" y="25"/>
                          <a:pt x="152" y="25"/>
                        </a:cubicBezTo>
                        <a:cubicBezTo>
                          <a:pt x="152" y="25"/>
                          <a:pt x="151" y="25"/>
                          <a:pt x="151" y="25"/>
                        </a:cubicBezTo>
                        <a:cubicBezTo>
                          <a:pt x="151" y="25"/>
                          <a:pt x="151" y="25"/>
                          <a:pt x="150" y="25"/>
                        </a:cubicBezTo>
                        <a:cubicBezTo>
                          <a:pt x="150" y="25"/>
                          <a:pt x="150" y="25"/>
                          <a:pt x="150" y="25"/>
                        </a:cubicBezTo>
                        <a:cubicBezTo>
                          <a:pt x="151" y="25"/>
                          <a:pt x="151" y="25"/>
                          <a:pt x="151" y="25"/>
                        </a:cubicBezTo>
                        <a:cubicBezTo>
                          <a:pt x="151" y="25"/>
                          <a:pt x="151" y="25"/>
                          <a:pt x="150" y="25"/>
                        </a:cubicBezTo>
                        <a:cubicBezTo>
                          <a:pt x="150" y="25"/>
                          <a:pt x="150" y="25"/>
                          <a:pt x="150" y="25"/>
                        </a:cubicBezTo>
                        <a:cubicBezTo>
                          <a:pt x="150" y="25"/>
                          <a:pt x="149" y="25"/>
                          <a:pt x="149" y="25"/>
                        </a:cubicBezTo>
                        <a:cubicBezTo>
                          <a:pt x="149" y="25"/>
                          <a:pt x="150" y="25"/>
                          <a:pt x="150" y="25"/>
                        </a:cubicBezTo>
                        <a:cubicBezTo>
                          <a:pt x="150" y="25"/>
                          <a:pt x="150" y="25"/>
                          <a:pt x="150" y="25"/>
                        </a:cubicBezTo>
                        <a:cubicBezTo>
                          <a:pt x="149" y="25"/>
                          <a:pt x="150" y="25"/>
                          <a:pt x="149" y="25"/>
                        </a:cubicBezTo>
                        <a:cubicBezTo>
                          <a:pt x="150" y="25"/>
                          <a:pt x="151" y="25"/>
                          <a:pt x="151" y="24"/>
                        </a:cubicBezTo>
                        <a:cubicBezTo>
                          <a:pt x="150" y="24"/>
                          <a:pt x="149" y="24"/>
                          <a:pt x="150" y="25"/>
                        </a:cubicBezTo>
                        <a:cubicBezTo>
                          <a:pt x="149" y="25"/>
                          <a:pt x="149" y="25"/>
                          <a:pt x="148" y="25"/>
                        </a:cubicBezTo>
                        <a:cubicBezTo>
                          <a:pt x="148" y="25"/>
                          <a:pt x="148" y="25"/>
                          <a:pt x="148" y="25"/>
                        </a:cubicBezTo>
                        <a:cubicBezTo>
                          <a:pt x="148" y="25"/>
                          <a:pt x="148" y="25"/>
                          <a:pt x="147" y="25"/>
                        </a:cubicBezTo>
                        <a:cubicBezTo>
                          <a:pt x="148" y="25"/>
                          <a:pt x="148" y="25"/>
                          <a:pt x="149" y="25"/>
                        </a:cubicBezTo>
                        <a:cubicBezTo>
                          <a:pt x="148" y="25"/>
                          <a:pt x="149" y="24"/>
                          <a:pt x="148" y="24"/>
                        </a:cubicBezTo>
                        <a:cubicBezTo>
                          <a:pt x="149" y="24"/>
                          <a:pt x="149" y="24"/>
                          <a:pt x="149" y="24"/>
                        </a:cubicBezTo>
                        <a:cubicBezTo>
                          <a:pt x="150" y="24"/>
                          <a:pt x="149" y="24"/>
                          <a:pt x="149" y="24"/>
                        </a:cubicBezTo>
                        <a:cubicBezTo>
                          <a:pt x="149" y="24"/>
                          <a:pt x="149" y="24"/>
                          <a:pt x="148" y="24"/>
                        </a:cubicBezTo>
                        <a:cubicBezTo>
                          <a:pt x="149" y="24"/>
                          <a:pt x="148" y="24"/>
                          <a:pt x="148" y="24"/>
                        </a:cubicBezTo>
                        <a:cubicBezTo>
                          <a:pt x="148" y="24"/>
                          <a:pt x="148" y="24"/>
                          <a:pt x="148" y="24"/>
                        </a:cubicBezTo>
                        <a:cubicBezTo>
                          <a:pt x="148" y="24"/>
                          <a:pt x="148" y="23"/>
                          <a:pt x="148" y="24"/>
                        </a:cubicBezTo>
                        <a:cubicBezTo>
                          <a:pt x="149" y="24"/>
                          <a:pt x="147" y="24"/>
                          <a:pt x="147" y="24"/>
                        </a:cubicBezTo>
                        <a:cubicBezTo>
                          <a:pt x="147" y="24"/>
                          <a:pt x="147" y="24"/>
                          <a:pt x="147" y="24"/>
                        </a:cubicBezTo>
                        <a:cubicBezTo>
                          <a:pt x="147" y="24"/>
                          <a:pt x="147" y="24"/>
                          <a:pt x="147" y="23"/>
                        </a:cubicBezTo>
                        <a:cubicBezTo>
                          <a:pt x="147" y="23"/>
                          <a:pt x="147" y="24"/>
                          <a:pt x="147" y="23"/>
                        </a:cubicBezTo>
                        <a:cubicBezTo>
                          <a:pt x="147" y="23"/>
                          <a:pt x="147" y="24"/>
                          <a:pt x="147" y="24"/>
                        </a:cubicBezTo>
                        <a:cubicBezTo>
                          <a:pt x="147" y="23"/>
                          <a:pt x="147" y="23"/>
                          <a:pt x="146" y="24"/>
                        </a:cubicBezTo>
                        <a:cubicBezTo>
                          <a:pt x="146" y="23"/>
                          <a:pt x="146" y="23"/>
                          <a:pt x="146" y="23"/>
                        </a:cubicBezTo>
                        <a:cubicBezTo>
                          <a:pt x="146" y="23"/>
                          <a:pt x="146" y="23"/>
                          <a:pt x="147" y="23"/>
                        </a:cubicBezTo>
                        <a:cubicBezTo>
                          <a:pt x="146" y="23"/>
                          <a:pt x="146" y="23"/>
                          <a:pt x="146" y="23"/>
                        </a:cubicBezTo>
                        <a:cubicBezTo>
                          <a:pt x="146" y="23"/>
                          <a:pt x="146" y="23"/>
                          <a:pt x="146" y="23"/>
                        </a:cubicBezTo>
                        <a:cubicBezTo>
                          <a:pt x="146" y="23"/>
                          <a:pt x="146" y="23"/>
                          <a:pt x="146" y="23"/>
                        </a:cubicBezTo>
                        <a:cubicBezTo>
                          <a:pt x="146" y="23"/>
                          <a:pt x="146" y="23"/>
                          <a:pt x="146" y="23"/>
                        </a:cubicBezTo>
                        <a:cubicBezTo>
                          <a:pt x="146" y="23"/>
                          <a:pt x="145" y="23"/>
                          <a:pt x="146" y="23"/>
                        </a:cubicBezTo>
                        <a:cubicBezTo>
                          <a:pt x="145" y="23"/>
                          <a:pt x="146" y="23"/>
                          <a:pt x="145" y="23"/>
                        </a:cubicBezTo>
                        <a:cubicBezTo>
                          <a:pt x="145" y="23"/>
                          <a:pt x="145" y="23"/>
                          <a:pt x="145" y="23"/>
                        </a:cubicBezTo>
                        <a:cubicBezTo>
                          <a:pt x="145" y="23"/>
                          <a:pt x="145" y="23"/>
                          <a:pt x="144" y="23"/>
                        </a:cubicBezTo>
                        <a:cubicBezTo>
                          <a:pt x="144" y="23"/>
                          <a:pt x="145" y="23"/>
                          <a:pt x="145" y="23"/>
                        </a:cubicBezTo>
                        <a:cubicBezTo>
                          <a:pt x="145" y="23"/>
                          <a:pt x="144" y="23"/>
                          <a:pt x="144" y="23"/>
                        </a:cubicBezTo>
                        <a:cubicBezTo>
                          <a:pt x="144" y="23"/>
                          <a:pt x="144" y="23"/>
                          <a:pt x="145" y="23"/>
                        </a:cubicBezTo>
                        <a:cubicBezTo>
                          <a:pt x="145" y="23"/>
                          <a:pt x="147" y="22"/>
                          <a:pt x="147" y="23"/>
                        </a:cubicBezTo>
                        <a:cubicBezTo>
                          <a:pt x="147" y="23"/>
                          <a:pt x="148" y="23"/>
                          <a:pt x="148" y="23"/>
                        </a:cubicBezTo>
                        <a:cubicBezTo>
                          <a:pt x="148" y="23"/>
                          <a:pt x="148" y="23"/>
                          <a:pt x="148" y="23"/>
                        </a:cubicBezTo>
                        <a:cubicBezTo>
                          <a:pt x="148" y="23"/>
                          <a:pt x="148" y="23"/>
                          <a:pt x="147" y="23"/>
                        </a:cubicBezTo>
                        <a:cubicBezTo>
                          <a:pt x="147" y="23"/>
                          <a:pt x="149" y="23"/>
                          <a:pt x="148" y="23"/>
                        </a:cubicBezTo>
                        <a:cubicBezTo>
                          <a:pt x="148" y="23"/>
                          <a:pt x="148" y="23"/>
                          <a:pt x="147" y="23"/>
                        </a:cubicBezTo>
                        <a:cubicBezTo>
                          <a:pt x="147" y="23"/>
                          <a:pt x="148" y="23"/>
                          <a:pt x="148" y="23"/>
                        </a:cubicBezTo>
                        <a:cubicBezTo>
                          <a:pt x="149" y="23"/>
                          <a:pt x="149" y="23"/>
                          <a:pt x="149" y="23"/>
                        </a:cubicBezTo>
                        <a:cubicBezTo>
                          <a:pt x="149" y="23"/>
                          <a:pt x="149" y="23"/>
                          <a:pt x="149" y="23"/>
                        </a:cubicBezTo>
                        <a:cubicBezTo>
                          <a:pt x="149" y="23"/>
                          <a:pt x="149" y="23"/>
                          <a:pt x="150" y="23"/>
                        </a:cubicBezTo>
                        <a:cubicBezTo>
                          <a:pt x="150" y="23"/>
                          <a:pt x="149" y="23"/>
                          <a:pt x="149" y="23"/>
                        </a:cubicBezTo>
                        <a:cubicBezTo>
                          <a:pt x="150" y="23"/>
                          <a:pt x="150" y="23"/>
                          <a:pt x="150" y="23"/>
                        </a:cubicBezTo>
                        <a:cubicBezTo>
                          <a:pt x="150" y="23"/>
                          <a:pt x="150" y="23"/>
                          <a:pt x="150" y="23"/>
                        </a:cubicBezTo>
                        <a:cubicBezTo>
                          <a:pt x="150" y="23"/>
                          <a:pt x="150" y="23"/>
                          <a:pt x="149" y="23"/>
                        </a:cubicBezTo>
                        <a:cubicBezTo>
                          <a:pt x="149" y="23"/>
                          <a:pt x="149" y="23"/>
                          <a:pt x="149" y="23"/>
                        </a:cubicBezTo>
                        <a:cubicBezTo>
                          <a:pt x="149" y="23"/>
                          <a:pt x="149" y="23"/>
                          <a:pt x="150" y="23"/>
                        </a:cubicBezTo>
                        <a:cubicBezTo>
                          <a:pt x="150" y="23"/>
                          <a:pt x="150" y="23"/>
                          <a:pt x="150" y="24"/>
                        </a:cubicBezTo>
                        <a:cubicBezTo>
                          <a:pt x="151" y="24"/>
                          <a:pt x="152" y="23"/>
                          <a:pt x="152" y="23"/>
                        </a:cubicBezTo>
                        <a:cubicBezTo>
                          <a:pt x="152" y="23"/>
                          <a:pt x="152" y="23"/>
                          <a:pt x="152" y="24"/>
                        </a:cubicBezTo>
                        <a:cubicBezTo>
                          <a:pt x="151" y="24"/>
                          <a:pt x="151" y="24"/>
                          <a:pt x="151" y="24"/>
                        </a:cubicBezTo>
                        <a:cubicBezTo>
                          <a:pt x="151" y="24"/>
                          <a:pt x="152" y="24"/>
                          <a:pt x="152" y="24"/>
                        </a:cubicBezTo>
                        <a:cubicBezTo>
                          <a:pt x="152" y="24"/>
                          <a:pt x="152" y="24"/>
                          <a:pt x="152" y="24"/>
                        </a:cubicBezTo>
                        <a:cubicBezTo>
                          <a:pt x="152" y="24"/>
                          <a:pt x="152" y="24"/>
                          <a:pt x="152" y="24"/>
                        </a:cubicBezTo>
                        <a:cubicBezTo>
                          <a:pt x="152" y="23"/>
                          <a:pt x="152" y="23"/>
                          <a:pt x="153" y="23"/>
                        </a:cubicBezTo>
                        <a:cubicBezTo>
                          <a:pt x="153" y="23"/>
                          <a:pt x="153" y="23"/>
                          <a:pt x="153" y="24"/>
                        </a:cubicBezTo>
                        <a:cubicBezTo>
                          <a:pt x="152" y="24"/>
                          <a:pt x="152" y="24"/>
                          <a:pt x="152" y="24"/>
                        </a:cubicBezTo>
                        <a:cubicBezTo>
                          <a:pt x="152" y="24"/>
                          <a:pt x="153" y="24"/>
                          <a:pt x="153" y="24"/>
                        </a:cubicBezTo>
                        <a:cubicBezTo>
                          <a:pt x="154" y="24"/>
                          <a:pt x="154" y="24"/>
                          <a:pt x="155" y="24"/>
                        </a:cubicBezTo>
                        <a:close/>
                        <a:moveTo>
                          <a:pt x="149" y="23"/>
                        </a:moveTo>
                        <a:cubicBezTo>
                          <a:pt x="148" y="24"/>
                          <a:pt x="148" y="23"/>
                          <a:pt x="148" y="23"/>
                        </a:cubicBezTo>
                        <a:cubicBezTo>
                          <a:pt x="148" y="23"/>
                          <a:pt x="148" y="24"/>
                          <a:pt x="148" y="24"/>
                        </a:cubicBezTo>
                        <a:cubicBezTo>
                          <a:pt x="149" y="24"/>
                          <a:pt x="149" y="23"/>
                          <a:pt x="149" y="23"/>
                        </a:cubicBezTo>
                        <a:close/>
                        <a:moveTo>
                          <a:pt x="149" y="24"/>
                        </a:moveTo>
                        <a:cubicBezTo>
                          <a:pt x="149" y="24"/>
                          <a:pt x="149" y="24"/>
                          <a:pt x="149" y="24"/>
                        </a:cubicBezTo>
                        <a:cubicBezTo>
                          <a:pt x="149" y="24"/>
                          <a:pt x="149" y="24"/>
                          <a:pt x="149" y="24"/>
                        </a:cubicBezTo>
                        <a:cubicBezTo>
                          <a:pt x="149" y="24"/>
                          <a:pt x="149" y="24"/>
                          <a:pt x="149" y="24"/>
                        </a:cubicBezTo>
                        <a:cubicBezTo>
                          <a:pt x="149" y="24"/>
                          <a:pt x="149" y="24"/>
                          <a:pt x="148" y="24"/>
                        </a:cubicBezTo>
                        <a:cubicBezTo>
                          <a:pt x="149" y="24"/>
                          <a:pt x="149" y="24"/>
                          <a:pt x="149" y="24"/>
                        </a:cubicBezTo>
                        <a:close/>
                        <a:moveTo>
                          <a:pt x="152" y="24"/>
                        </a:moveTo>
                        <a:cubicBezTo>
                          <a:pt x="152" y="24"/>
                          <a:pt x="151" y="24"/>
                          <a:pt x="151" y="24"/>
                        </a:cubicBezTo>
                        <a:cubicBezTo>
                          <a:pt x="151" y="24"/>
                          <a:pt x="152" y="24"/>
                          <a:pt x="152" y="24"/>
                        </a:cubicBezTo>
                        <a:close/>
                        <a:moveTo>
                          <a:pt x="152" y="24"/>
                        </a:moveTo>
                        <a:cubicBezTo>
                          <a:pt x="152" y="24"/>
                          <a:pt x="152" y="24"/>
                          <a:pt x="152" y="24"/>
                        </a:cubicBezTo>
                        <a:cubicBezTo>
                          <a:pt x="152" y="24"/>
                          <a:pt x="151" y="24"/>
                          <a:pt x="152" y="24"/>
                        </a:cubicBezTo>
                        <a:close/>
                        <a:moveTo>
                          <a:pt x="155" y="27"/>
                        </a:moveTo>
                        <a:cubicBezTo>
                          <a:pt x="155" y="28"/>
                          <a:pt x="155" y="27"/>
                          <a:pt x="154" y="28"/>
                        </a:cubicBezTo>
                        <a:cubicBezTo>
                          <a:pt x="154" y="27"/>
                          <a:pt x="155" y="28"/>
                          <a:pt x="155" y="27"/>
                        </a:cubicBezTo>
                        <a:close/>
                        <a:moveTo>
                          <a:pt x="153" y="20"/>
                        </a:moveTo>
                        <a:cubicBezTo>
                          <a:pt x="152" y="20"/>
                          <a:pt x="153" y="20"/>
                          <a:pt x="153" y="20"/>
                        </a:cubicBezTo>
                        <a:cubicBezTo>
                          <a:pt x="153" y="20"/>
                          <a:pt x="152" y="20"/>
                          <a:pt x="152" y="20"/>
                        </a:cubicBezTo>
                        <a:cubicBezTo>
                          <a:pt x="152" y="20"/>
                          <a:pt x="152" y="20"/>
                          <a:pt x="152" y="20"/>
                        </a:cubicBezTo>
                        <a:cubicBezTo>
                          <a:pt x="153" y="20"/>
                          <a:pt x="153" y="20"/>
                          <a:pt x="153" y="20"/>
                        </a:cubicBezTo>
                        <a:close/>
                        <a:moveTo>
                          <a:pt x="147" y="28"/>
                        </a:moveTo>
                        <a:cubicBezTo>
                          <a:pt x="148" y="28"/>
                          <a:pt x="149" y="28"/>
                          <a:pt x="150" y="27"/>
                        </a:cubicBezTo>
                        <a:cubicBezTo>
                          <a:pt x="150" y="27"/>
                          <a:pt x="150" y="28"/>
                          <a:pt x="150" y="27"/>
                        </a:cubicBezTo>
                        <a:cubicBezTo>
                          <a:pt x="149" y="28"/>
                          <a:pt x="149" y="28"/>
                          <a:pt x="149" y="28"/>
                        </a:cubicBezTo>
                        <a:cubicBezTo>
                          <a:pt x="149" y="28"/>
                          <a:pt x="148" y="28"/>
                          <a:pt x="148" y="28"/>
                        </a:cubicBezTo>
                        <a:cubicBezTo>
                          <a:pt x="148" y="28"/>
                          <a:pt x="148" y="28"/>
                          <a:pt x="148" y="28"/>
                        </a:cubicBezTo>
                        <a:cubicBezTo>
                          <a:pt x="148" y="28"/>
                          <a:pt x="148" y="28"/>
                          <a:pt x="148" y="28"/>
                        </a:cubicBezTo>
                        <a:cubicBezTo>
                          <a:pt x="148" y="28"/>
                          <a:pt x="148" y="28"/>
                          <a:pt x="148" y="28"/>
                        </a:cubicBezTo>
                        <a:cubicBezTo>
                          <a:pt x="148" y="28"/>
                          <a:pt x="147" y="28"/>
                          <a:pt x="147" y="28"/>
                        </a:cubicBezTo>
                        <a:cubicBezTo>
                          <a:pt x="147" y="28"/>
                          <a:pt x="147" y="28"/>
                          <a:pt x="147" y="28"/>
                        </a:cubicBezTo>
                        <a:cubicBezTo>
                          <a:pt x="147" y="28"/>
                          <a:pt x="147" y="28"/>
                          <a:pt x="147" y="28"/>
                        </a:cubicBezTo>
                        <a:close/>
                        <a:moveTo>
                          <a:pt x="148" y="29"/>
                        </a:moveTo>
                        <a:cubicBezTo>
                          <a:pt x="148" y="29"/>
                          <a:pt x="148" y="29"/>
                          <a:pt x="148" y="29"/>
                        </a:cubicBezTo>
                        <a:cubicBezTo>
                          <a:pt x="148" y="29"/>
                          <a:pt x="148" y="29"/>
                          <a:pt x="148" y="29"/>
                        </a:cubicBezTo>
                        <a:cubicBezTo>
                          <a:pt x="148" y="29"/>
                          <a:pt x="149" y="29"/>
                          <a:pt x="149" y="29"/>
                        </a:cubicBezTo>
                        <a:cubicBezTo>
                          <a:pt x="149" y="29"/>
                          <a:pt x="148" y="29"/>
                          <a:pt x="148" y="29"/>
                        </a:cubicBezTo>
                        <a:close/>
                        <a:moveTo>
                          <a:pt x="99" y="40"/>
                        </a:moveTo>
                        <a:cubicBezTo>
                          <a:pt x="99" y="40"/>
                          <a:pt x="98" y="40"/>
                          <a:pt x="97" y="40"/>
                        </a:cubicBezTo>
                        <a:cubicBezTo>
                          <a:pt x="97" y="40"/>
                          <a:pt x="97" y="40"/>
                          <a:pt x="98" y="40"/>
                        </a:cubicBezTo>
                        <a:cubicBezTo>
                          <a:pt x="97" y="40"/>
                          <a:pt x="96" y="40"/>
                          <a:pt x="96" y="40"/>
                        </a:cubicBezTo>
                        <a:cubicBezTo>
                          <a:pt x="96" y="40"/>
                          <a:pt x="96" y="40"/>
                          <a:pt x="96" y="40"/>
                        </a:cubicBezTo>
                        <a:cubicBezTo>
                          <a:pt x="96" y="41"/>
                          <a:pt x="95" y="41"/>
                          <a:pt x="95" y="41"/>
                        </a:cubicBezTo>
                        <a:cubicBezTo>
                          <a:pt x="95" y="41"/>
                          <a:pt x="96" y="41"/>
                          <a:pt x="95" y="40"/>
                        </a:cubicBezTo>
                        <a:cubicBezTo>
                          <a:pt x="95" y="40"/>
                          <a:pt x="95" y="40"/>
                          <a:pt x="95" y="40"/>
                        </a:cubicBezTo>
                        <a:cubicBezTo>
                          <a:pt x="94" y="41"/>
                          <a:pt x="93" y="41"/>
                          <a:pt x="91" y="41"/>
                        </a:cubicBezTo>
                        <a:cubicBezTo>
                          <a:pt x="92" y="41"/>
                          <a:pt x="94" y="41"/>
                          <a:pt x="94" y="40"/>
                        </a:cubicBezTo>
                        <a:cubicBezTo>
                          <a:pt x="94" y="40"/>
                          <a:pt x="95" y="40"/>
                          <a:pt x="95" y="40"/>
                        </a:cubicBezTo>
                        <a:cubicBezTo>
                          <a:pt x="95" y="40"/>
                          <a:pt x="95" y="40"/>
                          <a:pt x="95" y="40"/>
                        </a:cubicBezTo>
                        <a:cubicBezTo>
                          <a:pt x="95" y="40"/>
                          <a:pt x="92" y="40"/>
                          <a:pt x="93" y="41"/>
                        </a:cubicBezTo>
                        <a:cubicBezTo>
                          <a:pt x="93" y="41"/>
                          <a:pt x="93" y="40"/>
                          <a:pt x="94" y="40"/>
                        </a:cubicBezTo>
                        <a:cubicBezTo>
                          <a:pt x="93" y="40"/>
                          <a:pt x="93" y="40"/>
                          <a:pt x="93" y="40"/>
                        </a:cubicBezTo>
                        <a:cubicBezTo>
                          <a:pt x="94" y="40"/>
                          <a:pt x="94" y="40"/>
                          <a:pt x="95" y="40"/>
                        </a:cubicBezTo>
                        <a:cubicBezTo>
                          <a:pt x="95" y="40"/>
                          <a:pt x="95" y="40"/>
                          <a:pt x="95" y="40"/>
                        </a:cubicBezTo>
                        <a:cubicBezTo>
                          <a:pt x="94" y="40"/>
                          <a:pt x="93" y="40"/>
                          <a:pt x="93" y="41"/>
                        </a:cubicBezTo>
                        <a:cubicBezTo>
                          <a:pt x="93" y="41"/>
                          <a:pt x="93" y="41"/>
                          <a:pt x="92" y="41"/>
                        </a:cubicBezTo>
                        <a:cubicBezTo>
                          <a:pt x="92" y="41"/>
                          <a:pt x="92" y="41"/>
                          <a:pt x="92" y="41"/>
                        </a:cubicBezTo>
                        <a:cubicBezTo>
                          <a:pt x="92" y="41"/>
                          <a:pt x="92" y="41"/>
                          <a:pt x="92" y="41"/>
                        </a:cubicBezTo>
                        <a:cubicBezTo>
                          <a:pt x="93" y="41"/>
                          <a:pt x="92" y="41"/>
                          <a:pt x="92" y="41"/>
                        </a:cubicBezTo>
                        <a:cubicBezTo>
                          <a:pt x="92" y="40"/>
                          <a:pt x="92" y="41"/>
                          <a:pt x="92" y="40"/>
                        </a:cubicBezTo>
                        <a:cubicBezTo>
                          <a:pt x="92" y="41"/>
                          <a:pt x="92" y="41"/>
                          <a:pt x="91" y="41"/>
                        </a:cubicBezTo>
                        <a:cubicBezTo>
                          <a:pt x="92" y="40"/>
                          <a:pt x="91" y="41"/>
                          <a:pt x="91" y="41"/>
                        </a:cubicBezTo>
                        <a:cubicBezTo>
                          <a:pt x="91" y="40"/>
                          <a:pt x="92" y="40"/>
                          <a:pt x="92" y="40"/>
                        </a:cubicBezTo>
                        <a:cubicBezTo>
                          <a:pt x="93" y="40"/>
                          <a:pt x="94" y="40"/>
                          <a:pt x="95" y="39"/>
                        </a:cubicBezTo>
                        <a:cubicBezTo>
                          <a:pt x="95" y="39"/>
                          <a:pt x="95" y="39"/>
                          <a:pt x="95" y="39"/>
                        </a:cubicBezTo>
                        <a:cubicBezTo>
                          <a:pt x="96" y="39"/>
                          <a:pt x="96" y="39"/>
                          <a:pt x="97" y="39"/>
                        </a:cubicBezTo>
                        <a:cubicBezTo>
                          <a:pt x="97" y="39"/>
                          <a:pt x="95" y="39"/>
                          <a:pt x="95" y="40"/>
                        </a:cubicBezTo>
                        <a:cubicBezTo>
                          <a:pt x="95" y="40"/>
                          <a:pt x="95" y="40"/>
                          <a:pt x="96" y="40"/>
                        </a:cubicBezTo>
                        <a:cubicBezTo>
                          <a:pt x="96" y="40"/>
                          <a:pt x="96" y="40"/>
                          <a:pt x="95" y="40"/>
                        </a:cubicBezTo>
                        <a:cubicBezTo>
                          <a:pt x="95" y="40"/>
                          <a:pt x="96" y="40"/>
                          <a:pt x="96" y="40"/>
                        </a:cubicBezTo>
                        <a:cubicBezTo>
                          <a:pt x="96" y="40"/>
                          <a:pt x="96" y="40"/>
                          <a:pt x="96" y="40"/>
                        </a:cubicBezTo>
                        <a:cubicBezTo>
                          <a:pt x="96" y="40"/>
                          <a:pt x="96" y="40"/>
                          <a:pt x="96" y="40"/>
                        </a:cubicBezTo>
                        <a:cubicBezTo>
                          <a:pt x="96" y="40"/>
                          <a:pt x="96" y="40"/>
                          <a:pt x="97" y="40"/>
                        </a:cubicBezTo>
                        <a:cubicBezTo>
                          <a:pt x="97" y="40"/>
                          <a:pt x="97" y="40"/>
                          <a:pt x="96" y="40"/>
                        </a:cubicBezTo>
                        <a:cubicBezTo>
                          <a:pt x="96" y="40"/>
                          <a:pt x="96" y="40"/>
                          <a:pt x="96" y="40"/>
                        </a:cubicBezTo>
                        <a:cubicBezTo>
                          <a:pt x="96" y="40"/>
                          <a:pt x="96" y="40"/>
                          <a:pt x="95" y="40"/>
                        </a:cubicBezTo>
                        <a:cubicBezTo>
                          <a:pt x="96" y="39"/>
                          <a:pt x="97" y="40"/>
                          <a:pt x="97" y="39"/>
                        </a:cubicBezTo>
                        <a:cubicBezTo>
                          <a:pt x="97" y="39"/>
                          <a:pt x="97" y="39"/>
                          <a:pt x="97" y="39"/>
                        </a:cubicBezTo>
                        <a:cubicBezTo>
                          <a:pt x="97" y="39"/>
                          <a:pt x="97" y="39"/>
                          <a:pt x="97" y="39"/>
                        </a:cubicBezTo>
                        <a:cubicBezTo>
                          <a:pt x="97" y="39"/>
                          <a:pt x="97" y="39"/>
                          <a:pt x="98" y="39"/>
                        </a:cubicBezTo>
                        <a:cubicBezTo>
                          <a:pt x="97" y="39"/>
                          <a:pt x="97" y="39"/>
                          <a:pt x="97" y="39"/>
                        </a:cubicBezTo>
                        <a:cubicBezTo>
                          <a:pt x="97" y="39"/>
                          <a:pt x="95" y="39"/>
                          <a:pt x="96" y="39"/>
                        </a:cubicBezTo>
                        <a:cubicBezTo>
                          <a:pt x="95" y="39"/>
                          <a:pt x="95" y="39"/>
                          <a:pt x="95" y="39"/>
                        </a:cubicBezTo>
                        <a:cubicBezTo>
                          <a:pt x="95" y="39"/>
                          <a:pt x="94" y="40"/>
                          <a:pt x="94" y="40"/>
                        </a:cubicBezTo>
                        <a:cubicBezTo>
                          <a:pt x="94" y="40"/>
                          <a:pt x="94" y="39"/>
                          <a:pt x="94" y="39"/>
                        </a:cubicBezTo>
                        <a:cubicBezTo>
                          <a:pt x="95" y="39"/>
                          <a:pt x="96" y="39"/>
                          <a:pt x="97" y="39"/>
                        </a:cubicBezTo>
                        <a:cubicBezTo>
                          <a:pt x="97" y="39"/>
                          <a:pt x="98" y="38"/>
                          <a:pt x="99" y="38"/>
                        </a:cubicBezTo>
                        <a:cubicBezTo>
                          <a:pt x="99" y="38"/>
                          <a:pt x="98" y="38"/>
                          <a:pt x="98" y="39"/>
                        </a:cubicBezTo>
                        <a:cubicBezTo>
                          <a:pt x="98" y="39"/>
                          <a:pt x="98" y="38"/>
                          <a:pt x="99" y="38"/>
                        </a:cubicBezTo>
                        <a:cubicBezTo>
                          <a:pt x="99" y="39"/>
                          <a:pt x="98" y="39"/>
                          <a:pt x="98" y="39"/>
                        </a:cubicBezTo>
                        <a:cubicBezTo>
                          <a:pt x="98" y="39"/>
                          <a:pt x="98" y="39"/>
                          <a:pt x="98" y="39"/>
                        </a:cubicBezTo>
                        <a:cubicBezTo>
                          <a:pt x="98" y="39"/>
                          <a:pt x="98" y="39"/>
                          <a:pt x="99" y="39"/>
                        </a:cubicBezTo>
                        <a:cubicBezTo>
                          <a:pt x="98" y="39"/>
                          <a:pt x="98" y="39"/>
                          <a:pt x="98" y="39"/>
                        </a:cubicBezTo>
                        <a:cubicBezTo>
                          <a:pt x="99" y="39"/>
                          <a:pt x="99" y="39"/>
                          <a:pt x="99" y="39"/>
                        </a:cubicBezTo>
                        <a:cubicBezTo>
                          <a:pt x="99" y="39"/>
                          <a:pt x="99" y="39"/>
                          <a:pt x="99" y="39"/>
                        </a:cubicBezTo>
                        <a:cubicBezTo>
                          <a:pt x="100" y="38"/>
                          <a:pt x="100" y="39"/>
                          <a:pt x="100" y="39"/>
                        </a:cubicBezTo>
                        <a:cubicBezTo>
                          <a:pt x="100" y="39"/>
                          <a:pt x="100" y="39"/>
                          <a:pt x="100" y="39"/>
                        </a:cubicBezTo>
                        <a:cubicBezTo>
                          <a:pt x="100" y="39"/>
                          <a:pt x="100" y="39"/>
                          <a:pt x="100" y="39"/>
                        </a:cubicBezTo>
                        <a:cubicBezTo>
                          <a:pt x="100" y="39"/>
                          <a:pt x="100" y="39"/>
                          <a:pt x="100" y="39"/>
                        </a:cubicBezTo>
                        <a:cubicBezTo>
                          <a:pt x="99" y="39"/>
                          <a:pt x="100" y="39"/>
                          <a:pt x="100" y="39"/>
                        </a:cubicBezTo>
                        <a:cubicBezTo>
                          <a:pt x="99" y="39"/>
                          <a:pt x="99" y="39"/>
                          <a:pt x="99" y="39"/>
                        </a:cubicBezTo>
                        <a:cubicBezTo>
                          <a:pt x="99" y="39"/>
                          <a:pt x="100" y="39"/>
                          <a:pt x="100" y="39"/>
                        </a:cubicBezTo>
                        <a:cubicBezTo>
                          <a:pt x="98" y="39"/>
                          <a:pt x="98" y="39"/>
                          <a:pt x="97" y="40"/>
                        </a:cubicBezTo>
                        <a:cubicBezTo>
                          <a:pt x="97" y="40"/>
                          <a:pt x="97" y="40"/>
                          <a:pt x="97" y="40"/>
                        </a:cubicBezTo>
                        <a:cubicBezTo>
                          <a:pt x="97" y="39"/>
                          <a:pt x="97" y="40"/>
                          <a:pt x="97" y="40"/>
                        </a:cubicBezTo>
                        <a:cubicBezTo>
                          <a:pt x="97" y="40"/>
                          <a:pt x="97" y="40"/>
                          <a:pt x="97" y="40"/>
                        </a:cubicBezTo>
                        <a:cubicBezTo>
                          <a:pt x="97" y="40"/>
                          <a:pt x="97" y="40"/>
                          <a:pt x="97" y="40"/>
                        </a:cubicBezTo>
                        <a:cubicBezTo>
                          <a:pt x="97" y="40"/>
                          <a:pt x="97" y="40"/>
                          <a:pt x="97" y="40"/>
                        </a:cubicBezTo>
                        <a:cubicBezTo>
                          <a:pt x="97" y="40"/>
                          <a:pt x="98" y="40"/>
                          <a:pt x="98" y="40"/>
                        </a:cubicBezTo>
                        <a:cubicBezTo>
                          <a:pt x="98" y="40"/>
                          <a:pt x="98" y="40"/>
                          <a:pt x="98" y="40"/>
                        </a:cubicBezTo>
                        <a:cubicBezTo>
                          <a:pt x="98" y="40"/>
                          <a:pt x="98" y="40"/>
                          <a:pt x="99" y="40"/>
                        </a:cubicBezTo>
                        <a:cubicBezTo>
                          <a:pt x="99" y="39"/>
                          <a:pt x="98" y="40"/>
                          <a:pt x="98" y="39"/>
                        </a:cubicBezTo>
                        <a:cubicBezTo>
                          <a:pt x="98" y="39"/>
                          <a:pt x="98" y="39"/>
                          <a:pt x="98" y="39"/>
                        </a:cubicBezTo>
                        <a:cubicBezTo>
                          <a:pt x="98" y="39"/>
                          <a:pt x="99" y="39"/>
                          <a:pt x="99" y="39"/>
                        </a:cubicBezTo>
                        <a:cubicBezTo>
                          <a:pt x="99" y="39"/>
                          <a:pt x="99" y="39"/>
                          <a:pt x="99" y="39"/>
                        </a:cubicBezTo>
                        <a:cubicBezTo>
                          <a:pt x="99" y="39"/>
                          <a:pt x="99" y="39"/>
                          <a:pt x="99" y="39"/>
                        </a:cubicBezTo>
                        <a:cubicBezTo>
                          <a:pt x="100" y="39"/>
                          <a:pt x="100" y="39"/>
                          <a:pt x="101" y="39"/>
                        </a:cubicBezTo>
                        <a:cubicBezTo>
                          <a:pt x="101" y="39"/>
                          <a:pt x="101" y="39"/>
                          <a:pt x="103" y="39"/>
                        </a:cubicBezTo>
                        <a:cubicBezTo>
                          <a:pt x="103" y="39"/>
                          <a:pt x="102" y="39"/>
                          <a:pt x="102" y="39"/>
                        </a:cubicBezTo>
                        <a:cubicBezTo>
                          <a:pt x="103" y="39"/>
                          <a:pt x="103" y="39"/>
                          <a:pt x="103" y="39"/>
                        </a:cubicBezTo>
                        <a:cubicBezTo>
                          <a:pt x="103" y="39"/>
                          <a:pt x="103" y="39"/>
                          <a:pt x="103" y="39"/>
                        </a:cubicBezTo>
                        <a:cubicBezTo>
                          <a:pt x="103" y="39"/>
                          <a:pt x="103" y="39"/>
                          <a:pt x="104" y="39"/>
                        </a:cubicBezTo>
                        <a:cubicBezTo>
                          <a:pt x="104" y="39"/>
                          <a:pt x="104" y="39"/>
                          <a:pt x="104" y="39"/>
                        </a:cubicBezTo>
                        <a:cubicBezTo>
                          <a:pt x="104" y="38"/>
                          <a:pt x="103" y="39"/>
                          <a:pt x="103" y="39"/>
                        </a:cubicBezTo>
                        <a:cubicBezTo>
                          <a:pt x="104" y="38"/>
                          <a:pt x="104" y="38"/>
                          <a:pt x="104" y="38"/>
                        </a:cubicBezTo>
                        <a:cubicBezTo>
                          <a:pt x="104" y="39"/>
                          <a:pt x="104" y="38"/>
                          <a:pt x="104" y="39"/>
                        </a:cubicBezTo>
                        <a:cubicBezTo>
                          <a:pt x="104" y="39"/>
                          <a:pt x="104" y="39"/>
                          <a:pt x="104" y="39"/>
                        </a:cubicBezTo>
                        <a:cubicBezTo>
                          <a:pt x="104" y="39"/>
                          <a:pt x="105" y="39"/>
                          <a:pt x="105" y="38"/>
                        </a:cubicBezTo>
                        <a:cubicBezTo>
                          <a:pt x="105" y="38"/>
                          <a:pt x="104" y="39"/>
                          <a:pt x="104" y="39"/>
                        </a:cubicBezTo>
                        <a:cubicBezTo>
                          <a:pt x="105" y="38"/>
                          <a:pt x="106" y="38"/>
                          <a:pt x="107" y="38"/>
                        </a:cubicBezTo>
                        <a:cubicBezTo>
                          <a:pt x="107" y="38"/>
                          <a:pt x="107" y="38"/>
                          <a:pt x="107" y="38"/>
                        </a:cubicBezTo>
                        <a:cubicBezTo>
                          <a:pt x="107" y="38"/>
                          <a:pt x="107" y="38"/>
                          <a:pt x="107" y="38"/>
                        </a:cubicBezTo>
                        <a:cubicBezTo>
                          <a:pt x="106" y="38"/>
                          <a:pt x="106" y="38"/>
                          <a:pt x="106" y="38"/>
                        </a:cubicBezTo>
                        <a:cubicBezTo>
                          <a:pt x="106" y="38"/>
                          <a:pt x="106" y="38"/>
                          <a:pt x="106" y="38"/>
                        </a:cubicBezTo>
                        <a:cubicBezTo>
                          <a:pt x="106" y="38"/>
                          <a:pt x="105" y="38"/>
                          <a:pt x="105" y="38"/>
                        </a:cubicBezTo>
                        <a:cubicBezTo>
                          <a:pt x="106" y="38"/>
                          <a:pt x="107" y="38"/>
                          <a:pt x="108" y="38"/>
                        </a:cubicBezTo>
                        <a:cubicBezTo>
                          <a:pt x="108" y="38"/>
                          <a:pt x="107" y="38"/>
                          <a:pt x="107" y="38"/>
                        </a:cubicBezTo>
                        <a:cubicBezTo>
                          <a:pt x="107" y="38"/>
                          <a:pt x="107" y="38"/>
                          <a:pt x="107" y="38"/>
                        </a:cubicBezTo>
                        <a:cubicBezTo>
                          <a:pt x="107" y="38"/>
                          <a:pt x="107" y="38"/>
                          <a:pt x="107" y="38"/>
                        </a:cubicBezTo>
                        <a:cubicBezTo>
                          <a:pt x="107" y="38"/>
                          <a:pt x="107" y="38"/>
                          <a:pt x="107" y="38"/>
                        </a:cubicBezTo>
                        <a:cubicBezTo>
                          <a:pt x="107" y="38"/>
                          <a:pt x="108" y="38"/>
                          <a:pt x="109" y="37"/>
                        </a:cubicBezTo>
                        <a:cubicBezTo>
                          <a:pt x="109" y="37"/>
                          <a:pt x="108" y="37"/>
                          <a:pt x="108" y="37"/>
                        </a:cubicBezTo>
                        <a:cubicBezTo>
                          <a:pt x="108" y="37"/>
                          <a:pt x="109" y="37"/>
                          <a:pt x="109" y="37"/>
                        </a:cubicBezTo>
                        <a:cubicBezTo>
                          <a:pt x="109" y="37"/>
                          <a:pt x="109" y="37"/>
                          <a:pt x="109" y="37"/>
                        </a:cubicBezTo>
                        <a:cubicBezTo>
                          <a:pt x="109" y="37"/>
                          <a:pt x="109" y="37"/>
                          <a:pt x="109" y="37"/>
                        </a:cubicBezTo>
                        <a:cubicBezTo>
                          <a:pt x="109" y="37"/>
                          <a:pt x="110" y="37"/>
                          <a:pt x="110" y="37"/>
                        </a:cubicBezTo>
                        <a:cubicBezTo>
                          <a:pt x="110" y="37"/>
                          <a:pt x="111" y="37"/>
                          <a:pt x="111" y="37"/>
                        </a:cubicBezTo>
                        <a:cubicBezTo>
                          <a:pt x="111" y="37"/>
                          <a:pt x="111" y="37"/>
                          <a:pt x="111" y="37"/>
                        </a:cubicBezTo>
                        <a:cubicBezTo>
                          <a:pt x="111" y="37"/>
                          <a:pt x="111" y="37"/>
                          <a:pt x="111" y="37"/>
                        </a:cubicBezTo>
                        <a:cubicBezTo>
                          <a:pt x="111" y="37"/>
                          <a:pt x="111" y="37"/>
                          <a:pt x="112" y="37"/>
                        </a:cubicBezTo>
                        <a:cubicBezTo>
                          <a:pt x="113" y="37"/>
                          <a:pt x="114" y="36"/>
                          <a:pt x="115" y="36"/>
                        </a:cubicBezTo>
                        <a:cubicBezTo>
                          <a:pt x="115" y="36"/>
                          <a:pt x="114" y="36"/>
                          <a:pt x="114" y="36"/>
                        </a:cubicBezTo>
                        <a:cubicBezTo>
                          <a:pt x="115" y="36"/>
                          <a:pt x="115" y="36"/>
                          <a:pt x="116" y="36"/>
                        </a:cubicBezTo>
                        <a:cubicBezTo>
                          <a:pt x="115" y="36"/>
                          <a:pt x="115" y="36"/>
                          <a:pt x="115" y="36"/>
                        </a:cubicBezTo>
                        <a:cubicBezTo>
                          <a:pt x="115" y="36"/>
                          <a:pt x="115" y="37"/>
                          <a:pt x="115" y="37"/>
                        </a:cubicBezTo>
                        <a:cubicBezTo>
                          <a:pt x="115" y="37"/>
                          <a:pt x="114" y="37"/>
                          <a:pt x="114" y="37"/>
                        </a:cubicBezTo>
                        <a:cubicBezTo>
                          <a:pt x="114" y="37"/>
                          <a:pt x="114" y="37"/>
                          <a:pt x="114" y="37"/>
                        </a:cubicBezTo>
                        <a:cubicBezTo>
                          <a:pt x="114" y="36"/>
                          <a:pt x="114" y="37"/>
                          <a:pt x="114" y="37"/>
                        </a:cubicBezTo>
                        <a:cubicBezTo>
                          <a:pt x="114" y="37"/>
                          <a:pt x="114" y="37"/>
                          <a:pt x="114" y="37"/>
                        </a:cubicBezTo>
                        <a:cubicBezTo>
                          <a:pt x="114" y="37"/>
                          <a:pt x="114" y="37"/>
                          <a:pt x="113" y="37"/>
                        </a:cubicBezTo>
                        <a:cubicBezTo>
                          <a:pt x="113" y="37"/>
                          <a:pt x="111" y="37"/>
                          <a:pt x="110" y="37"/>
                        </a:cubicBezTo>
                        <a:cubicBezTo>
                          <a:pt x="110" y="37"/>
                          <a:pt x="111" y="37"/>
                          <a:pt x="111" y="37"/>
                        </a:cubicBezTo>
                        <a:cubicBezTo>
                          <a:pt x="111" y="38"/>
                          <a:pt x="110" y="38"/>
                          <a:pt x="110" y="38"/>
                        </a:cubicBezTo>
                        <a:cubicBezTo>
                          <a:pt x="110" y="38"/>
                          <a:pt x="111" y="38"/>
                          <a:pt x="110" y="38"/>
                        </a:cubicBezTo>
                        <a:cubicBezTo>
                          <a:pt x="111" y="38"/>
                          <a:pt x="111" y="37"/>
                          <a:pt x="112" y="37"/>
                        </a:cubicBezTo>
                        <a:cubicBezTo>
                          <a:pt x="112" y="37"/>
                          <a:pt x="112" y="37"/>
                          <a:pt x="112" y="37"/>
                        </a:cubicBezTo>
                        <a:cubicBezTo>
                          <a:pt x="112" y="38"/>
                          <a:pt x="112" y="37"/>
                          <a:pt x="111" y="38"/>
                        </a:cubicBezTo>
                        <a:cubicBezTo>
                          <a:pt x="112" y="38"/>
                          <a:pt x="113" y="37"/>
                          <a:pt x="113" y="37"/>
                        </a:cubicBezTo>
                        <a:cubicBezTo>
                          <a:pt x="113" y="37"/>
                          <a:pt x="113" y="37"/>
                          <a:pt x="113" y="37"/>
                        </a:cubicBezTo>
                        <a:cubicBezTo>
                          <a:pt x="114" y="37"/>
                          <a:pt x="113" y="37"/>
                          <a:pt x="113" y="37"/>
                        </a:cubicBezTo>
                        <a:cubicBezTo>
                          <a:pt x="113" y="37"/>
                          <a:pt x="114" y="37"/>
                          <a:pt x="114" y="37"/>
                        </a:cubicBezTo>
                        <a:cubicBezTo>
                          <a:pt x="114" y="37"/>
                          <a:pt x="114" y="37"/>
                          <a:pt x="114" y="37"/>
                        </a:cubicBezTo>
                        <a:cubicBezTo>
                          <a:pt x="114" y="37"/>
                          <a:pt x="114" y="37"/>
                          <a:pt x="114" y="37"/>
                        </a:cubicBezTo>
                        <a:cubicBezTo>
                          <a:pt x="115" y="37"/>
                          <a:pt x="116" y="37"/>
                          <a:pt x="117" y="36"/>
                        </a:cubicBezTo>
                        <a:cubicBezTo>
                          <a:pt x="117" y="36"/>
                          <a:pt x="116" y="36"/>
                          <a:pt x="116" y="36"/>
                        </a:cubicBezTo>
                        <a:cubicBezTo>
                          <a:pt x="117" y="36"/>
                          <a:pt x="116" y="36"/>
                          <a:pt x="117" y="36"/>
                        </a:cubicBezTo>
                        <a:cubicBezTo>
                          <a:pt x="117" y="36"/>
                          <a:pt x="116" y="36"/>
                          <a:pt x="117" y="36"/>
                        </a:cubicBezTo>
                        <a:cubicBezTo>
                          <a:pt x="117" y="36"/>
                          <a:pt x="116" y="36"/>
                          <a:pt x="116" y="36"/>
                        </a:cubicBezTo>
                        <a:cubicBezTo>
                          <a:pt x="116" y="36"/>
                          <a:pt x="116" y="36"/>
                          <a:pt x="117" y="36"/>
                        </a:cubicBezTo>
                        <a:cubicBezTo>
                          <a:pt x="117" y="36"/>
                          <a:pt x="116" y="36"/>
                          <a:pt x="116" y="36"/>
                        </a:cubicBezTo>
                        <a:cubicBezTo>
                          <a:pt x="116" y="36"/>
                          <a:pt x="116" y="36"/>
                          <a:pt x="116" y="36"/>
                        </a:cubicBezTo>
                        <a:cubicBezTo>
                          <a:pt x="116" y="35"/>
                          <a:pt x="115" y="36"/>
                          <a:pt x="115" y="35"/>
                        </a:cubicBezTo>
                        <a:cubicBezTo>
                          <a:pt x="115" y="36"/>
                          <a:pt x="116" y="36"/>
                          <a:pt x="116" y="35"/>
                        </a:cubicBezTo>
                        <a:cubicBezTo>
                          <a:pt x="116" y="35"/>
                          <a:pt x="115" y="35"/>
                          <a:pt x="115" y="36"/>
                        </a:cubicBezTo>
                        <a:cubicBezTo>
                          <a:pt x="115" y="36"/>
                          <a:pt x="115" y="35"/>
                          <a:pt x="115" y="35"/>
                        </a:cubicBezTo>
                        <a:cubicBezTo>
                          <a:pt x="114" y="35"/>
                          <a:pt x="115" y="36"/>
                          <a:pt x="114" y="36"/>
                        </a:cubicBezTo>
                        <a:cubicBezTo>
                          <a:pt x="114" y="36"/>
                          <a:pt x="114" y="36"/>
                          <a:pt x="114" y="36"/>
                        </a:cubicBezTo>
                        <a:cubicBezTo>
                          <a:pt x="114" y="36"/>
                          <a:pt x="114" y="36"/>
                          <a:pt x="113" y="36"/>
                        </a:cubicBezTo>
                        <a:cubicBezTo>
                          <a:pt x="113" y="36"/>
                          <a:pt x="114" y="36"/>
                          <a:pt x="114" y="36"/>
                        </a:cubicBezTo>
                        <a:cubicBezTo>
                          <a:pt x="114" y="36"/>
                          <a:pt x="114" y="36"/>
                          <a:pt x="113" y="36"/>
                        </a:cubicBezTo>
                        <a:cubicBezTo>
                          <a:pt x="113" y="36"/>
                          <a:pt x="113" y="36"/>
                          <a:pt x="113" y="36"/>
                        </a:cubicBezTo>
                        <a:cubicBezTo>
                          <a:pt x="113" y="36"/>
                          <a:pt x="113" y="36"/>
                          <a:pt x="113" y="36"/>
                        </a:cubicBezTo>
                        <a:cubicBezTo>
                          <a:pt x="113" y="36"/>
                          <a:pt x="113" y="36"/>
                          <a:pt x="113" y="36"/>
                        </a:cubicBezTo>
                        <a:cubicBezTo>
                          <a:pt x="112" y="36"/>
                          <a:pt x="112" y="36"/>
                          <a:pt x="112" y="36"/>
                        </a:cubicBezTo>
                        <a:cubicBezTo>
                          <a:pt x="112" y="36"/>
                          <a:pt x="111" y="37"/>
                          <a:pt x="111" y="36"/>
                        </a:cubicBezTo>
                        <a:cubicBezTo>
                          <a:pt x="111" y="36"/>
                          <a:pt x="112" y="36"/>
                          <a:pt x="112" y="36"/>
                        </a:cubicBezTo>
                        <a:cubicBezTo>
                          <a:pt x="112" y="36"/>
                          <a:pt x="112" y="36"/>
                          <a:pt x="112" y="36"/>
                        </a:cubicBezTo>
                        <a:cubicBezTo>
                          <a:pt x="112" y="36"/>
                          <a:pt x="112" y="36"/>
                          <a:pt x="112" y="36"/>
                        </a:cubicBezTo>
                        <a:cubicBezTo>
                          <a:pt x="112" y="36"/>
                          <a:pt x="111" y="36"/>
                          <a:pt x="111" y="36"/>
                        </a:cubicBezTo>
                        <a:cubicBezTo>
                          <a:pt x="111" y="36"/>
                          <a:pt x="111" y="36"/>
                          <a:pt x="110" y="36"/>
                        </a:cubicBezTo>
                        <a:cubicBezTo>
                          <a:pt x="111" y="36"/>
                          <a:pt x="111" y="36"/>
                          <a:pt x="110" y="36"/>
                        </a:cubicBezTo>
                        <a:cubicBezTo>
                          <a:pt x="110" y="36"/>
                          <a:pt x="110" y="36"/>
                          <a:pt x="110" y="36"/>
                        </a:cubicBezTo>
                        <a:cubicBezTo>
                          <a:pt x="110" y="36"/>
                          <a:pt x="111" y="36"/>
                          <a:pt x="111" y="36"/>
                        </a:cubicBezTo>
                        <a:cubicBezTo>
                          <a:pt x="111" y="36"/>
                          <a:pt x="111" y="36"/>
                          <a:pt x="111" y="36"/>
                        </a:cubicBezTo>
                        <a:cubicBezTo>
                          <a:pt x="111" y="36"/>
                          <a:pt x="111" y="36"/>
                          <a:pt x="112" y="36"/>
                        </a:cubicBezTo>
                        <a:cubicBezTo>
                          <a:pt x="112" y="36"/>
                          <a:pt x="111" y="36"/>
                          <a:pt x="111" y="35"/>
                        </a:cubicBezTo>
                        <a:cubicBezTo>
                          <a:pt x="111" y="36"/>
                          <a:pt x="110" y="35"/>
                          <a:pt x="110" y="36"/>
                        </a:cubicBezTo>
                        <a:cubicBezTo>
                          <a:pt x="110" y="36"/>
                          <a:pt x="110" y="36"/>
                          <a:pt x="110" y="36"/>
                        </a:cubicBezTo>
                        <a:cubicBezTo>
                          <a:pt x="110" y="36"/>
                          <a:pt x="109" y="36"/>
                          <a:pt x="109" y="36"/>
                        </a:cubicBezTo>
                        <a:cubicBezTo>
                          <a:pt x="109" y="36"/>
                          <a:pt x="110" y="36"/>
                          <a:pt x="110" y="36"/>
                        </a:cubicBezTo>
                        <a:cubicBezTo>
                          <a:pt x="110" y="36"/>
                          <a:pt x="109" y="36"/>
                          <a:pt x="110" y="36"/>
                        </a:cubicBezTo>
                        <a:cubicBezTo>
                          <a:pt x="110" y="36"/>
                          <a:pt x="109" y="36"/>
                          <a:pt x="109" y="36"/>
                        </a:cubicBezTo>
                        <a:cubicBezTo>
                          <a:pt x="109" y="36"/>
                          <a:pt x="109" y="36"/>
                          <a:pt x="109" y="36"/>
                        </a:cubicBezTo>
                        <a:cubicBezTo>
                          <a:pt x="110" y="36"/>
                          <a:pt x="108" y="36"/>
                          <a:pt x="108" y="36"/>
                        </a:cubicBezTo>
                        <a:cubicBezTo>
                          <a:pt x="107" y="36"/>
                          <a:pt x="106" y="37"/>
                          <a:pt x="106" y="37"/>
                        </a:cubicBezTo>
                        <a:cubicBezTo>
                          <a:pt x="106" y="37"/>
                          <a:pt x="105" y="37"/>
                          <a:pt x="104" y="37"/>
                        </a:cubicBezTo>
                        <a:cubicBezTo>
                          <a:pt x="104" y="37"/>
                          <a:pt x="105" y="37"/>
                          <a:pt x="105" y="37"/>
                        </a:cubicBezTo>
                        <a:cubicBezTo>
                          <a:pt x="105" y="37"/>
                          <a:pt x="105" y="37"/>
                          <a:pt x="105" y="37"/>
                        </a:cubicBezTo>
                        <a:cubicBezTo>
                          <a:pt x="106" y="37"/>
                          <a:pt x="106" y="37"/>
                          <a:pt x="106" y="36"/>
                        </a:cubicBezTo>
                        <a:cubicBezTo>
                          <a:pt x="106" y="36"/>
                          <a:pt x="106" y="37"/>
                          <a:pt x="106" y="37"/>
                        </a:cubicBezTo>
                        <a:cubicBezTo>
                          <a:pt x="106" y="37"/>
                          <a:pt x="106" y="36"/>
                          <a:pt x="106" y="36"/>
                        </a:cubicBezTo>
                        <a:cubicBezTo>
                          <a:pt x="107" y="36"/>
                          <a:pt x="107" y="36"/>
                          <a:pt x="107" y="36"/>
                        </a:cubicBezTo>
                        <a:cubicBezTo>
                          <a:pt x="107" y="36"/>
                          <a:pt x="106" y="36"/>
                          <a:pt x="107" y="36"/>
                        </a:cubicBezTo>
                        <a:cubicBezTo>
                          <a:pt x="107" y="36"/>
                          <a:pt x="107" y="36"/>
                          <a:pt x="107" y="36"/>
                        </a:cubicBezTo>
                        <a:cubicBezTo>
                          <a:pt x="107" y="36"/>
                          <a:pt x="107" y="36"/>
                          <a:pt x="107" y="36"/>
                        </a:cubicBezTo>
                        <a:cubicBezTo>
                          <a:pt x="107" y="36"/>
                          <a:pt x="107" y="36"/>
                          <a:pt x="107" y="36"/>
                        </a:cubicBezTo>
                        <a:cubicBezTo>
                          <a:pt x="108" y="36"/>
                          <a:pt x="108" y="36"/>
                          <a:pt x="108" y="36"/>
                        </a:cubicBezTo>
                        <a:cubicBezTo>
                          <a:pt x="108" y="36"/>
                          <a:pt x="107" y="36"/>
                          <a:pt x="107" y="36"/>
                        </a:cubicBezTo>
                        <a:cubicBezTo>
                          <a:pt x="108" y="36"/>
                          <a:pt x="108" y="36"/>
                          <a:pt x="108" y="36"/>
                        </a:cubicBezTo>
                        <a:cubicBezTo>
                          <a:pt x="108" y="36"/>
                          <a:pt x="108" y="36"/>
                          <a:pt x="108" y="36"/>
                        </a:cubicBezTo>
                        <a:cubicBezTo>
                          <a:pt x="109" y="36"/>
                          <a:pt x="109" y="36"/>
                          <a:pt x="109" y="35"/>
                        </a:cubicBezTo>
                        <a:cubicBezTo>
                          <a:pt x="109" y="35"/>
                          <a:pt x="109" y="36"/>
                          <a:pt x="108" y="36"/>
                        </a:cubicBezTo>
                        <a:cubicBezTo>
                          <a:pt x="108" y="36"/>
                          <a:pt x="108" y="36"/>
                          <a:pt x="108" y="36"/>
                        </a:cubicBezTo>
                        <a:cubicBezTo>
                          <a:pt x="108" y="36"/>
                          <a:pt x="108" y="36"/>
                          <a:pt x="108" y="36"/>
                        </a:cubicBezTo>
                        <a:cubicBezTo>
                          <a:pt x="108" y="36"/>
                          <a:pt x="108" y="35"/>
                          <a:pt x="109" y="35"/>
                        </a:cubicBezTo>
                        <a:cubicBezTo>
                          <a:pt x="108" y="35"/>
                          <a:pt x="107" y="35"/>
                          <a:pt x="107" y="36"/>
                        </a:cubicBezTo>
                        <a:cubicBezTo>
                          <a:pt x="107" y="36"/>
                          <a:pt x="107" y="36"/>
                          <a:pt x="107" y="36"/>
                        </a:cubicBezTo>
                        <a:cubicBezTo>
                          <a:pt x="107" y="36"/>
                          <a:pt x="107" y="36"/>
                          <a:pt x="107" y="36"/>
                        </a:cubicBezTo>
                        <a:cubicBezTo>
                          <a:pt x="106" y="36"/>
                          <a:pt x="107" y="36"/>
                          <a:pt x="107" y="36"/>
                        </a:cubicBezTo>
                        <a:cubicBezTo>
                          <a:pt x="106" y="36"/>
                          <a:pt x="106" y="36"/>
                          <a:pt x="106" y="36"/>
                        </a:cubicBezTo>
                        <a:cubicBezTo>
                          <a:pt x="106" y="36"/>
                          <a:pt x="106" y="36"/>
                          <a:pt x="106" y="36"/>
                        </a:cubicBezTo>
                        <a:cubicBezTo>
                          <a:pt x="106" y="36"/>
                          <a:pt x="106" y="36"/>
                          <a:pt x="106" y="36"/>
                        </a:cubicBezTo>
                        <a:cubicBezTo>
                          <a:pt x="106" y="36"/>
                          <a:pt x="106" y="36"/>
                          <a:pt x="106" y="36"/>
                        </a:cubicBezTo>
                        <a:cubicBezTo>
                          <a:pt x="106" y="36"/>
                          <a:pt x="106" y="36"/>
                          <a:pt x="106" y="36"/>
                        </a:cubicBezTo>
                        <a:cubicBezTo>
                          <a:pt x="106" y="35"/>
                          <a:pt x="106" y="35"/>
                          <a:pt x="106" y="35"/>
                        </a:cubicBezTo>
                        <a:cubicBezTo>
                          <a:pt x="106" y="35"/>
                          <a:pt x="106" y="35"/>
                          <a:pt x="105" y="35"/>
                        </a:cubicBezTo>
                        <a:cubicBezTo>
                          <a:pt x="106" y="35"/>
                          <a:pt x="107" y="35"/>
                          <a:pt x="108" y="35"/>
                        </a:cubicBezTo>
                        <a:cubicBezTo>
                          <a:pt x="108" y="35"/>
                          <a:pt x="108" y="35"/>
                          <a:pt x="108" y="35"/>
                        </a:cubicBezTo>
                        <a:cubicBezTo>
                          <a:pt x="109" y="35"/>
                          <a:pt x="109" y="34"/>
                          <a:pt x="110" y="34"/>
                        </a:cubicBezTo>
                        <a:cubicBezTo>
                          <a:pt x="110" y="34"/>
                          <a:pt x="110" y="34"/>
                          <a:pt x="110" y="34"/>
                        </a:cubicBezTo>
                        <a:cubicBezTo>
                          <a:pt x="110" y="34"/>
                          <a:pt x="110" y="34"/>
                          <a:pt x="110" y="34"/>
                        </a:cubicBezTo>
                        <a:cubicBezTo>
                          <a:pt x="110" y="35"/>
                          <a:pt x="110" y="35"/>
                          <a:pt x="109" y="35"/>
                        </a:cubicBezTo>
                        <a:cubicBezTo>
                          <a:pt x="109" y="35"/>
                          <a:pt x="110" y="35"/>
                          <a:pt x="110" y="35"/>
                        </a:cubicBezTo>
                        <a:cubicBezTo>
                          <a:pt x="110" y="35"/>
                          <a:pt x="110" y="35"/>
                          <a:pt x="110" y="35"/>
                        </a:cubicBezTo>
                        <a:cubicBezTo>
                          <a:pt x="111" y="35"/>
                          <a:pt x="111" y="35"/>
                          <a:pt x="111" y="35"/>
                        </a:cubicBezTo>
                        <a:cubicBezTo>
                          <a:pt x="112" y="35"/>
                          <a:pt x="111" y="34"/>
                          <a:pt x="112" y="34"/>
                        </a:cubicBezTo>
                        <a:cubicBezTo>
                          <a:pt x="112" y="34"/>
                          <a:pt x="112" y="35"/>
                          <a:pt x="113" y="34"/>
                        </a:cubicBezTo>
                        <a:cubicBezTo>
                          <a:pt x="113" y="34"/>
                          <a:pt x="113" y="34"/>
                          <a:pt x="113" y="34"/>
                        </a:cubicBezTo>
                        <a:cubicBezTo>
                          <a:pt x="113" y="34"/>
                          <a:pt x="113" y="34"/>
                          <a:pt x="113" y="34"/>
                        </a:cubicBezTo>
                        <a:cubicBezTo>
                          <a:pt x="113" y="34"/>
                          <a:pt x="113" y="34"/>
                          <a:pt x="114" y="34"/>
                        </a:cubicBezTo>
                        <a:cubicBezTo>
                          <a:pt x="114" y="34"/>
                          <a:pt x="113" y="34"/>
                          <a:pt x="113" y="34"/>
                        </a:cubicBezTo>
                        <a:cubicBezTo>
                          <a:pt x="113" y="34"/>
                          <a:pt x="113" y="34"/>
                          <a:pt x="113" y="34"/>
                        </a:cubicBezTo>
                        <a:cubicBezTo>
                          <a:pt x="114" y="34"/>
                          <a:pt x="114" y="34"/>
                          <a:pt x="114" y="34"/>
                        </a:cubicBezTo>
                        <a:cubicBezTo>
                          <a:pt x="114" y="34"/>
                          <a:pt x="114" y="34"/>
                          <a:pt x="114" y="34"/>
                        </a:cubicBezTo>
                        <a:cubicBezTo>
                          <a:pt x="113" y="34"/>
                          <a:pt x="112" y="35"/>
                          <a:pt x="112" y="35"/>
                        </a:cubicBezTo>
                        <a:cubicBezTo>
                          <a:pt x="112" y="35"/>
                          <a:pt x="112" y="35"/>
                          <a:pt x="111" y="35"/>
                        </a:cubicBezTo>
                        <a:cubicBezTo>
                          <a:pt x="111" y="35"/>
                          <a:pt x="112" y="35"/>
                          <a:pt x="112" y="35"/>
                        </a:cubicBezTo>
                        <a:cubicBezTo>
                          <a:pt x="112" y="35"/>
                          <a:pt x="111" y="35"/>
                          <a:pt x="111" y="35"/>
                        </a:cubicBezTo>
                        <a:cubicBezTo>
                          <a:pt x="111" y="35"/>
                          <a:pt x="111" y="35"/>
                          <a:pt x="111" y="35"/>
                        </a:cubicBezTo>
                        <a:cubicBezTo>
                          <a:pt x="111" y="35"/>
                          <a:pt x="111" y="35"/>
                          <a:pt x="112" y="35"/>
                        </a:cubicBezTo>
                        <a:cubicBezTo>
                          <a:pt x="112" y="35"/>
                          <a:pt x="112" y="35"/>
                          <a:pt x="111" y="35"/>
                        </a:cubicBezTo>
                        <a:cubicBezTo>
                          <a:pt x="112" y="36"/>
                          <a:pt x="112" y="35"/>
                          <a:pt x="112" y="36"/>
                        </a:cubicBezTo>
                        <a:cubicBezTo>
                          <a:pt x="112" y="36"/>
                          <a:pt x="112" y="35"/>
                          <a:pt x="112" y="35"/>
                        </a:cubicBezTo>
                        <a:cubicBezTo>
                          <a:pt x="112" y="35"/>
                          <a:pt x="112" y="35"/>
                          <a:pt x="112" y="35"/>
                        </a:cubicBezTo>
                        <a:cubicBezTo>
                          <a:pt x="113" y="35"/>
                          <a:pt x="112" y="35"/>
                          <a:pt x="113" y="35"/>
                        </a:cubicBezTo>
                        <a:cubicBezTo>
                          <a:pt x="113" y="35"/>
                          <a:pt x="113" y="35"/>
                          <a:pt x="112" y="35"/>
                        </a:cubicBezTo>
                        <a:cubicBezTo>
                          <a:pt x="113" y="35"/>
                          <a:pt x="113" y="35"/>
                          <a:pt x="113" y="35"/>
                        </a:cubicBezTo>
                        <a:cubicBezTo>
                          <a:pt x="113" y="35"/>
                          <a:pt x="113" y="35"/>
                          <a:pt x="113" y="35"/>
                        </a:cubicBezTo>
                        <a:cubicBezTo>
                          <a:pt x="113" y="35"/>
                          <a:pt x="113" y="35"/>
                          <a:pt x="113" y="35"/>
                        </a:cubicBezTo>
                        <a:cubicBezTo>
                          <a:pt x="113" y="35"/>
                          <a:pt x="114" y="35"/>
                          <a:pt x="114" y="35"/>
                        </a:cubicBezTo>
                        <a:cubicBezTo>
                          <a:pt x="114" y="35"/>
                          <a:pt x="114" y="35"/>
                          <a:pt x="114" y="35"/>
                        </a:cubicBezTo>
                        <a:cubicBezTo>
                          <a:pt x="114" y="35"/>
                          <a:pt x="114" y="35"/>
                          <a:pt x="114" y="35"/>
                        </a:cubicBezTo>
                        <a:cubicBezTo>
                          <a:pt x="114" y="35"/>
                          <a:pt x="114" y="34"/>
                          <a:pt x="115" y="34"/>
                        </a:cubicBezTo>
                        <a:cubicBezTo>
                          <a:pt x="114" y="34"/>
                          <a:pt x="114" y="34"/>
                          <a:pt x="114" y="34"/>
                        </a:cubicBezTo>
                        <a:cubicBezTo>
                          <a:pt x="115" y="34"/>
                          <a:pt x="116" y="34"/>
                          <a:pt x="116" y="34"/>
                        </a:cubicBezTo>
                        <a:cubicBezTo>
                          <a:pt x="117" y="34"/>
                          <a:pt x="118" y="34"/>
                          <a:pt x="118" y="33"/>
                        </a:cubicBezTo>
                        <a:cubicBezTo>
                          <a:pt x="118" y="34"/>
                          <a:pt x="118" y="33"/>
                          <a:pt x="117" y="34"/>
                        </a:cubicBezTo>
                        <a:cubicBezTo>
                          <a:pt x="117" y="34"/>
                          <a:pt x="118" y="34"/>
                          <a:pt x="118" y="34"/>
                        </a:cubicBezTo>
                        <a:cubicBezTo>
                          <a:pt x="117" y="34"/>
                          <a:pt x="117" y="34"/>
                          <a:pt x="117" y="34"/>
                        </a:cubicBezTo>
                        <a:cubicBezTo>
                          <a:pt x="117" y="34"/>
                          <a:pt x="117" y="34"/>
                          <a:pt x="117" y="34"/>
                        </a:cubicBezTo>
                        <a:cubicBezTo>
                          <a:pt x="117" y="34"/>
                          <a:pt x="117" y="34"/>
                          <a:pt x="117" y="34"/>
                        </a:cubicBezTo>
                        <a:cubicBezTo>
                          <a:pt x="117" y="34"/>
                          <a:pt x="117" y="34"/>
                          <a:pt x="117" y="34"/>
                        </a:cubicBezTo>
                        <a:cubicBezTo>
                          <a:pt x="117" y="34"/>
                          <a:pt x="117" y="34"/>
                          <a:pt x="116" y="34"/>
                        </a:cubicBezTo>
                        <a:cubicBezTo>
                          <a:pt x="116" y="34"/>
                          <a:pt x="117" y="34"/>
                          <a:pt x="117" y="34"/>
                        </a:cubicBezTo>
                        <a:cubicBezTo>
                          <a:pt x="117" y="34"/>
                          <a:pt x="116" y="34"/>
                          <a:pt x="115" y="34"/>
                        </a:cubicBezTo>
                        <a:cubicBezTo>
                          <a:pt x="115" y="34"/>
                          <a:pt x="115" y="35"/>
                          <a:pt x="114" y="35"/>
                        </a:cubicBezTo>
                        <a:cubicBezTo>
                          <a:pt x="114" y="35"/>
                          <a:pt x="114" y="35"/>
                          <a:pt x="114" y="35"/>
                        </a:cubicBezTo>
                        <a:cubicBezTo>
                          <a:pt x="115" y="35"/>
                          <a:pt x="115" y="35"/>
                          <a:pt x="115" y="34"/>
                        </a:cubicBezTo>
                        <a:cubicBezTo>
                          <a:pt x="115" y="35"/>
                          <a:pt x="115" y="34"/>
                          <a:pt x="116" y="34"/>
                        </a:cubicBezTo>
                        <a:cubicBezTo>
                          <a:pt x="116" y="34"/>
                          <a:pt x="115" y="35"/>
                          <a:pt x="115" y="35"/>
                        </a:cubicBezTo>
                        <a:cubicBezTo>
                          <a:pt x="115" y="35"/>
                          <a:pt x="116" y="34"/>
                          <a:pt x="116" y="35"/>
                        </a:cubicBezTo>
                        <a:cubicBezTo>
                          <a:pt x="116" y="35"/>
                          <a:pt x="116" y="35"/>
                          <a:pt x="117" y="35"/>
                        </a:cubicBezTo>
                        <a:cubicBezTo>
                          <a:pt x="117" y="34"/>
                          <a:pt x="116" y="34"/>
                          <a:pt x="116" y="34"/>
                        </a:cubicBezTo>
                        <a:cubicBezTo>
                          <a:pt x="117" y="34"/>
                          <a:pt x="117" y="34"/>
                          <a:pt x="118" y="34"/>
                        </a:cubicBezTo>
                        <a:cubicBezTo>
                          <a:pt x="118" y="34"/>
                          <a:pt x="117" y="34"/>
                          <a:pt x="117" y="34"/>
                        </a:cubicBezTo>
                        <a:cubicBezTo>
                          <a:pt x="117" y="35"/>
                          <a:pt x="118" y="34"/>
                          <a:pt x="118" y="34"/>
                        </a:cubicBezTo>
                        <a:cubicBezTo>
                          <a:pt x="118" y="34"/>
                          <a:pt x="118" y="34"/>
                          <a:pt x="118" y="34"/>
                        </a:cubicBezTo>
                        <a:cubicBezTo>
                          <a:pt x="118" y="34"/>
                          <a:pt x="118" y="34"/>
                          <a:pt x="119" y="34"/>
                        </a:cubicBezTo>
                        <a:cubicBezTo>
                          <a:pt x="119" y="34"/>
                          <a:pt x="118" y="34"/>
                          <a:pt x="118" y="34"/>
                        </a:cubicBezTo>
                        <a:cubicBezTo>
                          <a:pt x="118" y="34"/>
                          <a:pt x="119" y="34"/>
                          <a:pt x="119" y="34"/>
                        </a:cubicBezTo>
                        <a:cubicBezTo>
                          <a:pt x="118" y="35"/>
                          <a:pt x="117" y="35"/>
                          <a:pt x="117" y="35"/>
                        </a:cubicBezTo>
                        <a:cubicBezTo>
                          <a:pt x="116" y="35"/>
                          <a:pt x="116" y="35"/>
                          <a:pt x="116" y="35"/>
                        </a:cubicBezTo>
                        <a:cubicBezTo>
                          <a:pt x="116" y="35"/>
                          <a:pt x="116" y="35"/>
                          <a:pt x="116" y="35"/>
                        </a:cubicBezTo>
                        <a:cubicBezTo>
                          <a:pt x="116" y="35"/>
                          <a:pt x="116" y="35"/>
                          <a:pt x="116" y="35"/>
                        </a:cubicBezTo>
                        <a:cubicBezTo>
                          <a:pt x="116" y="35"/>
                          <a:pt x="115" y="35"/>
                          <a:pt x="115" y="35"/>
                        </a:cubicBezTo>
                        <a:cubicBezTo>
                          <a:pt x="116" y="35"/>
                          <a:pt x="117" y="35"/>
                          <a:pt x="118" y="35"/>
                        </a:cubicBezTo>
                        <a:cubicBezTo>
                          <a:pt x="118" y="34"/>
                          <a:pt x="118" y="35"/>
                          <a:pt x="119" y="35"/>
                        </a:cubicBezTo>
                        <a:cubicBezTo>
                          <a:pt x="119" y="35"/>
                          <a:pt x="119" y="35"/>
                          <a:pt x="118" y="35"/>
                        </a:cubicBezTo>
                        <a:cubicBezTo>
                          <a:pt x="119" y="35"/>
                          <a:pt x="119" y="35"/>
                          <a:pt x="119" y="35"/>
                        </a:cubicBezTo>
                        <a:cubicBezTo>
                          <a:pt x="119" y="35"/>
                          <a:pt x="119" y="35"/>
                          <a:pt x="119" y="35"/>
                        </a:cubicBezTo>
                        <a:cubicBezTo>
                          <a:pt x="119" y="35"/>
                          <a:pt x="119" y="35"/>
                          <a:pt x="120" y="35"/>
                        </a:cubicBezTo>
                        <a:cubicBezTo>
                          <a:pt x="120" y="35"/>
                          <a:pt x="120" y="35"/>
                          <a:pt x="120" y="35"/>
                        </a:cubicBezTo>
                        <a:cubicBezTo>
                          <a:pt x="120" y="35"/>
                          <a:pt x="120" y="35"/>
                          <a:pt x="120" y="34"/>
                        </a:cubicBezTo>
                        <a:cubicBezTo>
                          <a:pt x="121" y="34"/>
                          <a:pt x="121" y="34"/>
                          <a:pt x="121" y="35"/>
                        </a:cubicBezTo>
                        <a:cubicBezTo>
                          <a:pt x="121" y="35"/>
                          <a:pt x="121" y="34"/>
                          <a:pt x="121" y="34"/>
                        </a:cubicBezTo>
                        <a:cubicBezTo>
                          <a:pt x="121" y="35"/>
                          <a:pt x="121" y="35"/>
                          <a:pt x="121" y="35"/>
                        </a:cubicBezTo>
                        <a:cubicBezTo>
                          <a:pt x="122" y="35"/>
                          <a:pt x="122" y="35"/>
                          <a:pt x="122" y="34"/>
                        </a:cubicBezTo>
                        <a:cubicBezTo>
                          <a:pt x="122" y="34"/>
                          <a:pt x="122" y="34"/>
                          <a:pt x="122" y="34"/>
                        </a:cubicBezTo>
                        <a:cubicBezTo>
                          <a:pt x="122" y="34"/>
                          <a:pt x="122" y="34"/>
                          <a:pt x="123" y="34"/>
                        </a:cubicBezTo>
                        <a:cubicBezTo>
                          <a:pt x="123" y="34"/>
                          <a:pt x="123" y="34"/>
                          <a:pt x="123" y="34"/>
                        </a:cubicBezTo>
                        <a:cubicBezTo>
                          <a:pt x="123" y="34"/>
                          <a:pt x="123" y="34"/>
                          <a:pt x="122" y="34"/>
                        </a:cubicBezTo>
                        <a:cubicBezTo>
                          <a:pt x="122" y="34"/>
                          <a:pt x="122" y="34"/>
                          <a:pt x="122" y="34"/>
                        </a:cubicBezTo>
                        <a:cubicBezTo>
                          <a:pt x="122" y="35"/>
                          <a:pt x="122" y="35"/>
                          <a:pt x="121" y="35"/>
                        </a:cubicBezTo>
                        <a:cubicBezTo>
                          <a:pt x="121" y="35"/>
                          <a:pt x="122" y="35"/>
                          <a:pt x="122" y="35"/>
                        </a:cubicBezTo>
                        <a:cubicBezTo>
                          <a:pt x="122" y="35"/>
                          <a:pt x="121" y="35"/>
                          <a:pt x="121" y="35"/>
                        </a:cubicBezTo>
                        <a:cubicBezTo>
                          <a:pt x="121" y="35"/>
                          <a:pt x="121" y="35"/>
                          <a:pt x="121" y="35"/>
                        </a:cubicBezTo>
                        <a:cubicBezTo>
                          <a:pt x="120" y="35"/>
                          <a:pt x="120" y="35"/>
                          <a:pt x="121" y="35"/>
                        </a:cubicBezTo>
                        <a:cubicBezTo>
                          <a:pt x="120" y="35"/>
                          <a:pt x="120" y="35"/>
                          <a:pt x="120" y="35"/>
                        </a:cubicBezTo>
                        <a:cubicBezTo>
                          <a:pt x="120" y="35"/>
                          <a:pt x="120" y="36"/>
                          <a:pt x="120" y="36"/>
                        </a:cubicBezTo>
                        <a:cubicBezTo>
                          <a:pt x="121" y="36"/>
                          <a:pt x="121" y="36"/>
                          <a:pt x="121" y="36"/>
                        </a:cubicBezTo>
                        <a:cubicBezTo>
                          <a:pt x="121" y="36"/>
                          <a:pt x="121" y="36"/>
                          <a:pt x="120" y="36"/>
                        </a:cubicBezTo>
                        <a:cubicBezTo>
                          <a:pt x="120" y="36"/>
                          <a:pt x="120" y="35"/>
                          <a:pt x="120" y="36"/>
                        </a:cubicBezTo>
                        <a:cubicBezTo>
                          <a:pt x="120" y="35"/>
                          <a:pt x="121" y="35"/>
                          <a:pt x="122" y="35"/>
                        </a:cubicBezTo>
                        <a:cubicBezTo>
                          <a:pt x="122" y="35"/>
                          <a:pt x="121" y="35"/>
                          <a:pt x="121" y="35"/>
                        </a:cubicBezTo>
                        <a:cubicBezTo>
                          <a:pt x="122" y="36"/>
                          <a:pt x="122" y="35"/>
                          <a:pt x="123" y="35"/>
                        </a:cubicBezTo>
                        <a:cubicBezTo>
                          <a:pt x="123" y="35"/>
                          <a:pt x="123" y="35"/>
                          <a:pt x="123" y="35"/>
                        </a:cubicBezTo>
                        <a:cubicBezTo>
                          <a:pt x="123" y="36"/>
                          <a:pt x="123" y="36"/>
                          <a:pt x="122" y="36"/>
                        </a:cubicBezTo>
                        <a:cubicBezTo>
                          <a:pt x="123" y="35"/>
                          <a:pt x="122" y="35"/>
                          <a:pt x="122" y="36"/>
                        </a:cubicBezTo>
                        <a:cubicBezTo>
                          <a:pt x="122" y="36"/>
                          <a:pt x="122" y="36"/>
                          <a:pt x="123" y="36"/>
                        </a:cubicBezTo>
                        <a:cubicBezTo>
                          <a:pt x="123" y="36"/>
                          <a:pt x="123" y="35"/>
                          <a:pt x="123" y="35"/>
                        </a:cubicBezTo>
                        <a:cubicBezTo>
                          <a:pt x="123" y="35"/>
                          <a:pt x="124" y="35"/>
                          <a:pt x="124" y="35"/>
                        </a:cubicBezTo>
                        <a:cubicBezTo>
                          <a:pt x="123" y="35"/>
                          <a:pt x="124" y="35"/>
                          <a:pt x="123" y="36"/>
                        </a:cubicBezTo>
                        <a:cubicBezTo>
                          <a:pt x="123" y="36"/>
                          <a:pt x="124" y="36"/>
                          <a:pt x="124" y="35"/>
                        </a:cubicBezTo>
                        <a:cubicBezTo>
                          <a:pt x="124" y="35"/>
                          <a:pt x="124" y="35"/>
                          <a:pt x="124" y="35"/>
                        </a:cubicBezTo>
                        <a:cubicBezTo>
                          <a:pt x="124" y="35"/>
                          <a:pt x="124" y="35"/>
                          <a:pt x="124" y="35"/>
                        </a:cubicBezTo>
                        <a:cubicBezTo>
                          <a:pt x="124" y="35"/>
                          <a:pt x="124" y="35"/>
                          <a:pt x="124" y="35"/>
                        </a:cubicBezTo>
                        <a:cubicBezTo>
                          <a:pt x="125" y="35"/>
                          <a:pt x="125" y="35"/>
                          <a:pt x="125" y="35"/>
                        </a:cubicBezTo>
                        <a:cubicBezTo>
                          <a:pt x="125" y="35"/>
                          <a:pt x="125" y="35"/>
                          <a:pt x="125" y="35"/>
                        </a:cubicBezTo>
                        <a:cubicBezTo>
                          <a:pt x="125" y="35"/>
                          <a:pt x="125" y="35"/>
                          <a:pt x="126" y="35"/>
                        </a:cubicBezTo>
                        <a:cubicBezTo>
                          <a:pt x="126" y="35"/>
                          <a:pt x="125" y="35"/>
                          <a:pt x="126" y="35"/>
                        </a:cubicBezTo>
                        <a:cubicBezTo>
                          <a:pt x="126" y="35"/>
                          <a:pt x="126" y="35"/>
                          <a:pt x="126" y="35"/>
                        </a:cubicBezTo>
                        <a:cubicBezTo>
                          <a:pt x="126" y="35"/>
                          <a:pt x="126" y="35"/>
                          <a:pt x="126" y="35"/>
                        </a:cubicBezTo>
                        <a:cubicBezTo>
                          <a:pt x="126" y="35"/>
                          <a:pt x="126" y="35"/>
                          <a:pt x="126" y="35"/>
                        </a:cubicBezTo>
                        <a:cubicBezTo>
                          <a:pt x="126" y="35"/>
                          <a:pt x="127" y="35"/>
                          <a:pt x="127" y="35"/>
                        </a:cubicBezTo>
                        <a:cubicBezTo>
                          <a:pt x="127" y="35"/>
                          <a:pt x="127" y="35"/>
                          <a:pt x="127" y="35"/>
                        </a:cubicBezTo>
                        <a:cubicBezTo>
                          <a:pt x="126" y="35"/>
                          <a:pt x="127" y="35"/>
                          <a:pt x="126" y="35"/>
                        </a:cubicBezTo>
                        <a:cubicBezTo>
                          <a:pt x="127" y="35"/>
                          <a:pt x="127" y="34"/>
                          <a:pt x="127" y="34"/>
                        </a:cubicBezTo>
                        <a:cubicBezTo>
                          <a:pt x="127" y="34"/>
                          <a:pt x="127" y="34"/>
                          <a:pt x="127" y="34"/>
                        </a:cubicBezTo>
                        <a:cubicBezTo>
                          <a:pt x="127" y="34"/>
                          <a:pt x="127" y="34"/>
                          <a:pt x="128" y="34"/>
                        </a:cubicBezTo>
                        <a:cubicBezTo>
                          <a:pt x="128" y="34"/>
                          <a:pt x="127" y="34"/>
                          <a:pt x="127" y="34"/>
                        </a:cubicBezTo>
                        <a:cubicBezTo>
                          <a:pt x="128" y="34"/>
                          <a:pt x="128" y="34"/>
                          <a:pt x="128" y="34"/>
                        </a:cubicBezTo>
                        <a:cubicBezTo>
                          <a:pt x="128" y="34"/>
                          <a:pt x="128" y="34"/>
                          <a:pt x="128" y="34"/>
                        </a:cubicBezTo>
                        <a:cubicBezTo>
                          <a:pt x="128" y="34"/>
                          <a:pt x="129" y="34"/>
                          <a:pt x="129" y="34"/>
                        </a:cubicBezTo>
                        <a:cubicBezTo>
                          <a:pt x="130" y="33"/>
                          <a:pt x="130" y="34"/>
                          <a:pt x="131" y="33"/>
                        </a:cubicBezTo>
                        <a:cubicBezTo>
                          <a:pt x="131" y="33"/>
                          <a:pt x="131" y="34"/>
                          <a:pt x="131" y="34"/>
                        </a:cubicBezTo>
                        <a:cubicBezTo>
                          <a:pt x="131" y="34"/>
                          <a:pt x="130" y="34"/>
                          <a:pt x="130" y="34"/>
                        </a:cubicBezTo>
                        <a:cubicBezTo>
                          <a:pt x="130" y="34"/>
                          <a:pt x="130" y="34"/>
                          <a:pt x="130" y="34"/>
                        </a:cubicBezTo>
                        <a:cubicBezTo>
                          <a:pt x="130" y="34"/>
                          <a:pt x="130" y="34"/>
                          <a:pt x="130" y="34"/>
                        </a:cubicBezTo>
                        <a:cubicBezTo>
                          <a:pt x="130" y="34"/>
                          <a:pt x="130" y="34"/>
                          <a:pt x="129" y="34"/>
                        </a:cubicBezTo>
                        <a:cubicBezTo>
                          <a:pt x="129" y="34"/>
                          <a:pt x="128" y="34"/>
                          <a:pt x="128" y="34"/>
                        </a:cubicBezTo>
                        <a:cubicBezTo>
                          <a:pt x="128" y="34"/>
                          <a:pt x="127" y="35"/>
                          <a:pt x="127" y="35"/>
                        </a:cubicBezTo>
                        <a:cubicBezTo>
                          <a:pt x="127" y="35"/>
                          <a:pt x="128" y="35"/>
                          <a:pt x="128" y="35"/>
                        </a:cubicBezTo>
                        <a:cubicBezTo>
                          <a:pt x="128" y="35"/>
                          <a:pt x="128" y="34"/>
                          <a:pt x="129" y="35"/>
                        </a:cubicBezTo>
                        <a:cubicBezTo>
                          <a:pt x="128" y="35"/>
                          <a:pt x="128" y="35"/>
                          <a:pt x="128" y="35"/>
                        </a:cubicBezTo>
                        <a:cubicBezTo>
                          <a:pt x="128" y="35"/>
                          <a:pt x="129" y="35"/>
                          <a:pt x="129" y="35"/>
                        </a:cubicBezTo>
                        <a:cubicBezTo>
                          <a:pt x="129" y="35"/>
                          <a:pt x="129" y="35"/>
                          <a:pt x="129" y="35"/>
                        </a:cubicBezTo>
                        <a:cubicBezTo>
                          <a:pt x="129" y="34"/>
                          <a:pt x="130" y="35"/>
                          <a:pt x="130" y="35"/>
                        </a:cubicBezTo>
                        <a:cubicBezTo>
                          <a:pt x="131" y="34"/>
                          <a:pt x="131" y="34"/>
                          <a:pt x="131" y="34"/>
                        </a:cubicBezTo>
                        <a:cubicBezTo>
                          <a:pt x="131" y="34"/>
                          <a:pt x="131" y="34"/>
                          <a:pt x="131" y="34"/>
                        </a:cubicBezTo>
                        <a:cubicBezTo>
                          <a:pt x="131" y="34"/>
                          <a:pt x="131" y="34"/>
                          <a:pt x="130" y="34"/>
                        </a:cubicBezTo>
                        <a:cubicBezTo>
                          <a:pt x="131" y="35"/>
                          <a:pt x="131" y="34"/>
                          <a:pt x="132" y="34"/>
                        </a:cubicBezTo>
                        <a:cubicBezTo>
                          <a:pt x="132" y="34"/>
                          <a:pt x="132" y="34"/>
                          <a:pt x="132" y="34"/>
                        </a:cubicBezTo>
                        <a:cubicBezTo>
                          <a:pt x="133" y="34"/>
                          <a:pt x="133" y="33"/>
                          <a:pt x="133" y="33"/>
                        </a:cubicBezTo>
                        <a:cubicBezTo>
                          <a:pt x="133" y="33"/>
                          <a:pt x="133" y="34"/>
                          <a:pt x="133" y="34"/>
                        </a:cubicBezTo>
                        <a:cubicBezTo>
                          <a:pt x="134" y="34"/>
                          <a:pt x="133" y="34"/>
                          <a:pt x="133" y="34"/>
                        </a:cubicBezTo>
                        <a:cubicBezTo>
                          <a:pt x="133" y="34"/>
                          <a:pt x="134" y="34"/>
                          <a:pt x="134" y="33"/>
                        </a:cubicBezTo>
                        <a:cubicBezTo>
                          <a:pt x="134" y="33"/>
                          <a:pt x="134" y="33"/>
                          <a:pt x="133" y="33"/>
                        </a:cubicBezTo>
                        <a:cubicBezTo>
                          <a:pt x="133" y="33"/>
                          <a:pt x="133" y="33"/>
                          <a:pt x="133" y="33"/>
                        </a:cubicBezTo>
                        <a:cubicBezTo>
                          <a:pt x="133" y="33"/>
                          <a:pt x="134" y="33"/>
                          <a:pt x="133" y="33"/>
                        </a:cubicBezTo>
                        <a:cubicBezTo>
                          <a:pt x="133" y="33"/>
                          <a:pt x="134" y="33"/>
                          <a:pt x="134" y="32"/>
                        </a:cubicBezTo>
                        <a:cubicBezTo>
                          <a:pt x="134" y="32"/>
                          <a:pt x="134" y="32"/>
                          <a:pt x="134" y="32"/>
                        </a:cubicBezTo>
                        <a:cubicBezTo>
                          <a:pt x="134" y="32"/>
                          <a:pt x="134" y="32"/>
                          <a:pt x="134" y="33"/>
                        </a:cubicBezTo>
                        <a:cubicBezTo>
                          <a:pt x="134" y="33"/>
                          <a:pt x="134" y="33"/>
                          <a:pt x="134" y="33"/>
                        </a:cubicBezTo>
                        <a:cubicBezTo>
                          <a:pt x="134" y="33"/>
                          <a:pt x="134" y="33"/>
                          <a:pt x="134" y="33"/>
                        </a:cubicBezTo>
                        <a:cubicBezTo>
                          <a:pt x="134" y="33"/>
                          <a:pt x="134" y="33"/>
                          <a:pt x="135" y="33"/>
                        </a:cubicBezTo>
                        <a:cubicBezTo>
                          <a:pt x="135" y="33"/>
                          <a:pt x="134" y="33"/>
                          <a:pt x="134" y="33"/>
                        </a:cubicBezTo>
                        <a:cubicBezTo>
                          <a:pt x="134" y="33"/>
                          <a:pt x="134" y="33"/>
                          <a:pt x="134" y="33"/>
                        </a:cubicBezTo>
                        <a:cubicBezTo>
                          <a:pt x="134" y="33"/>
                          <a:pt x="135" y="33"/>
                          <a:pt x="135" y="33"/>
                        </a:cubicBezTo>
                        <a:cubicBezTo>
                          <a:pt x="135" y="33"/>
                          <a:pt x="135" y="33"/>
                          <a:pt x="134" y="33"/>
                        </a:cubicBezTo>
                        <a:cubicBezTo>
                          <a:pt x="135" y="33"/>
                          <a:pt x="135" y="33"/>
                          <a:pt x="135" y="33"/>
                        </a:cubicBezTo>
                        <a:cubicBezTo>
                          <a:pt x="136" y="33"/>
                          <a:pt x="135" y="33"/>
                          <a:pt x="136" y="33"/>
                        </a:cubicBezTo>
                        <a:cubicBezTo>
                          <a:pt x="136" y="33"/>
                          <a:pt x="136" y="33"/>
                          <a:pt x="136" y="33"/>
                        </a:cubicBezTo>
                        <a:cubicBezTo>
                          <a:pt x="136" y="33"/>
                          <a:pt x="137" y="33"/>
                          <a:pt x="137" y="33"/>
                        </a:cubicBezTo>
                        <a:cubicBezTo>
                          <a:pt x="136" y="33"/>
                          <a:pt x="137" y="33"/>
                          <a:pt x="138" y="33"/>
                        </a:cubicBezTo>
                        <a:cubicBezTo>
                          <a:pt x="138" y="33"/>
                          <a:pt x="137" y="33"/>
                          <a:pt x="138" y="33"/>
                        </a:cubicBezTo>
                        <a:cubicBezTo>
                          <a:pt x="137" y="33"/>
                          <a:pt x="137" y="33"/>
                          <a:pt x="137" y="33"/>
                        </a:cubicBezTo>
                        <a:cubicBezTo>
                          <a:pt x="137" y="33"/>
                          <a:pt x="137" y="33"/>
                          <a:pt x="136" y="33"/>
                        </a:cubicBezTo>
                        <a:cubicBezTo>
                          <a:pt x="137" y="33"/>
                          <a:pt x="137" y="33"/>
                          <a:pt x="137" y="33"/>
                        </a:cubicBezTo>
                        <a:cubicBezTo>
                          <a:pt x="136" y="33"/>
                          <a:pt x="136" y="34"/>
                          <a:pt x="136" y="34"/>
                        </a:cubicBezTo>
                        <a:cubicBezTo>
                          <a:pt x="135" y="34"/>
                          <a:pt x="134" y="34"/>
                          <a:pt x="133" y="34"/>
                        </a:cubicBezTo>
                        <a:cubicBezTo>
                          <a:pt x="133" y="34"/>
                          <a:pt x="133" y="34"/>
                          <a:pt x="133" y="34"/>
                        </a:cubicBezTo>
                        <a:cubicBezTo>
                          <a:pt x="133" y="34"/>
                          <a:pt x="133" y="34"/>
                          <a:pt x="133" y="34"/>
                        </a:cubicBezTo>
                        <a:cubicBezTo>
                          <a:pt x="133" y="34"/>
                          <a:pt x="132" y="34"/>
                          <a:pt x="132" y="34"/>
                        </a:cubicBezTo>
                        <a:cubicBezTo>
                          <a:pt x="132" y="35"/>
                          <a:pt x="132" y="35"/>
                          <a:pt x="132" y="35"/>
                        </a:cubicBezTo>
                        <a:cubicBezTo>
                          <a:pt x="132" y="35"/>
                          <a:pt x="132" y="35"/>
                          <a:pt x="132" y="35"/>
                        </a:cubicBezTo>
                        <a:cubicBezTo>
                          <a:pt x="132" y="35"/>
                          <a:pt x="132" y="35"/>
                          <a:pt x="132" y="35"/>
                        </a:cubicBezTo>
                        <a:cubicBezTo>
                          <a:pt x="131" y="35"/>
                          <a:pt x="131" y="35"/>
                          <a:pt x="130" y="35"/>
                        </a:cubicBezTo>
                        <a:cubicBezTo>
                          <a:pt x="131" y="35"/>
                          <a:pt x="131" y="35"/>
                          <a:pt x="131" y="35"/>
                        </a:cubicBezTo>
                        <a:cubicBezTo>
                          <a:pt x="131" y="35"/>
                          <a:pt x="131" y="35"/>
                          <a:pt x="131" y="35"/>
                        </a:cubicBezTo>
                        <a:cubicBezTo>
                          <a:pt x="132" y="35"/>
                          <a:pt x="132" y="35"/>
                          <a:pt x="132" y="35"/>
                        </a:cubicBezTo>
                        <a:cubicBezTo>
                          <a:pt x="132" y="35"/>
                          <a:pt x="132" y="35"/>
                          <a:pt x="131" y="35"/>
                        </a:cubicBezTo>
                        <a:cubicBezTo>
                          <a:pt x="132" y="35"/>
                          <a:pt x="132" y="35"/>
                          <a:pt x="133" y="35"/>
                        </a:cubicBezTo>
                        <a:cubicBezTo>
                          <a:pt x="133" y="35"/>
                          <a:pt x="133" y="35"/>
                          <a:pt x="133" y="35"/>
                        </a:cubicBezTo>
                        <a:cubicBezTo>
                          <a:pt x="134" y="35"/>
                          <a:pt x="134" y="35"/>
                          <a:pt x="134" y="35"/>
                        </a:cubicBezTo>
                        <a:cubicBezTo>
                          <a:pt x="134" y="35"/>
                          <a:pt x="133" y="35"/>
                          <a:pt x="133" y="35"/>
                        </a:cubicBezTo>
                        <a:cubicBezTo>
                          <a:pt x="133" y="35"/>
                          <a:pt x="134" y="35"/>
                          <a:pt x="134" y="34"/>
                        </a:cubicBezTo>
                        <a:cubicBezTo>
                          <a:pt x="134" y="34"/>
                          <a:pt x="134" y="34"/>
                          <a:pt x="135" y="34"/>
                        </a:cubicBezTo>
                        <a:cubicBezTo>
                          <a:pt x="135" y="34"/>
                          <a:pt x="135" y="34"/>
                          <a:pt x="136" y="34"/>
                        </a:cubicBezTo>
                        <a:cubicBezTo>
                          <a:pt x="136" y="34"/>
                          <a:pt x="136" y="34"/>
                          <a:pt x="136" y="34"/>
                        </a:cubicBezTo>
                        <a:cubicBezTo>
                          <a:pt x="136" y="34"/>
                          <a:pt x="136" y="34"/>
                          <a:pt x="135" y="34"/>
                        </a:cubicBezTo>
                        <a:cubicBezTo>
                          <a:pt x="136" y="34"/>
                          <a:pt x="136" y="34"/>
                          <a:pt x="136" y="34"/>
                        </a:cubicBezTo>
                        <a:cubicBezTo>
                          <a:pt x="136" y="34"/>
                          <a:pt x="136" y="34"/>
                          <a:pt x="136" y="34"/>
                        </a:cubicBezTo>
                        <a:cubicBezTo>
                          <a:pt x="136" y="34"/>
                          <a:pt x="136" y="34"/>
                          <a:pt x="136" y="34"/>
                        </a:cubicBezTo>
                        <a:cubicBezTo>
                          <a:pt x="136" y="34"/>
                          <a:pt x="137" y="34"/>
                          <a:pt x="137" y="34"/>
                        </a:cubicBezTo>
                        <a:cubicBezTo>
                          <a:pt x="137" y="34"/>
                          <a:pt x="137" y="34"/>
                          <a:pt x="137" y="34"/>
                        </a:cubicBezTo>
                        <a:cubicBezTo>
                          <a:pt x="137" y="34"/>
                          <a:pt x="137" y="34"/>
                          <a:pt x="137" y="34"/>
                        </a:cubicBezTo>
                        <a:cubicBezTo>
                          <a:pt x="136" y="34"/>
                          <a:pt x="137" y="34"/>
                          <a:pt x="137" y="34"/>
                        </a:cubicBezTo>
                        <a:cubicBezTo>
                          <a:pt x="137" y="34"/>
                          <a:pt x="137" y="34"/>
                          <a:pt x="137" y="34"/>
                        </a:cubicBezTo>
                        <a:cubicBezTo>
                          <a:pt x="136" y="34"/>
                          <a:pt x="136" y="34"/>
                          <a:pt x="136" y="34"/>
                        </a:cubicBezTo>
                        <a:cubicBezTo>
                          <a:pt x="136" y="34"/>
                          <a:pt x="135" y="34"/>
                          <a:pt x="136" y="35"/>
                        </a:cubicBezTo>
                        <a:cubicBezTo>
                          <a:pt x="136" y="35"/>
                          <a:pt x="136" y="34"/>
                          <a:pt x="136" y="34"/>
                        </a:cubicBezTo>
                        <a:cubicBezTo>
                          <a:pt x="136" y="34"/>
                          <a:pt x="136" y="34"/>
                          <a:pt x="136" y="34"/>
                        </a:cubicBezTo>
                        <a:cubicBezTo>
                          <a:pt x="137" y="34"/>
                          <a:pt x="137" y="34"/>
                          <a:pt x="138" y="34"/>
                        </a:cubicBezTo>
                        <a:cubicBezTo>
                          <a:pt x="138" y="34"/>
                          <a:pt x="137" y="34"/>
                          <a:pt x="137" y="34"/>
                        </a:cubicBezTo>
                        <a:cubicBezTo>
                          <a:pt x="137" y="34"/>
                          <a:pt x="137" y="34"/>
                          <a:pt x="137" y="34"/>
                        </a:cubicBezTo>
                        <a:cubicBezTo>
                          <a:pt x="137" y="34"/>
                          <a:pt x="137" y="34"/>
                          <a:pt x="137" y="34"/>
                        </a:cubicBezTo>
                        <a:cubicBezTo>
                          <a:pt x="137" y="34"/>
                          <a:pt x="137" y="34"/>
                          <a:pt x="137" y="33"/>
                        </a:cubicBezTo>
                        <a:cubicBezTo>
                          <a:pt x="138" y="33"/>
                          <a:pt x="137" y="34"/>
                          <a:pt x="138" y="34"/>
                        </a:cubicBezTo>
                        <a:cubicBezTo>
                          <a:pt x="138" y="33"/>
                          <a:pt x="139" y="33"/>
                          <a:pt x="140" y="33"/>
                        </a:cubicBezTo>
                        <a:cubicBezTo>
                          <a:pt x="140" y="33"/>
                          <a:pt x="140" y="33"/>
                          <a:pt x="140" y="33"/>
                        </a:cubicBezTo>
                        <a:cubicBezTo>
                          <a:pt x="140" y="33"/>
                          <a:pt x="140" y="33"/>
                          <a:pt x="140" y="33"/>
                        </a:cubicBezTo>
                        <a:cubicBezTo>
                          <a:pt x="140" y="33"/>
                          <a:pt x="140" y="33"/>
                          <a:pt x="140" y="33"/>
                        </a:cubicBezTo>
                        <a:cubicBezTo>
                          <a:pt x="141" y="33"/>
                          <a:pt x="140" y="33"/>
                          <a:pt x="140" y="33"/>
                        </a:cubicBezTo>
                        <a:cubicBezTo>
                          <a:pt x="140" y="33"/>
                          <a:pt x="141" y="33"/>
                          <a:pt x="140" y="33"/>
                        </a:cubicBezTo>
                        <a:cubicBezTo>
                          <a:pt x="140" y="33"/>
                          <a:pt x="140" y="33"/>
                          <a:pt x="141" y="33"/>
                        </a:cubicBezTo>
                        <a:cubicBezTo>
                          <a:pt x="141" y="33"/>
                          <a:pt x="141" y="33"/>
                          <a:pt x="141" y="33"/>
                        </a:cubicBezTo>
                        <a:cubicBezTo>
                          <a:pt x="141" y="33"/>
                          <a:pt x="141" y="33"/>
                          <a:pt x="141" y="33"/>
                        </a:cubicBezTo>
                        <a:cubicBezTo>
                          <a:pt x="141" y="33"/>
                          <a:pt x="141" y="33"/>
                          <a:pt x="141" y="33"/>
                        </a:cubicBezTo>
                        <a:cubicBezTo>
                          <a:pt x="141" y="34"/>
                          <a:pt x="141" y="33"/>
                          <a:pt x="141" y="33"/>
                        </a:cubicBezTo>
                        <a:cubicBezTo>
                          <a:pt x="140" y="34"/>
                          <a:pt x="141" y="34"/>
                          <a:pt x="142" y="34"/>
                        </a:cubicBezTo>
                        <a:cubicBezTo>
                          <a:pt x="142" y="34"/>
                          <a:pt x="142" y="34"/>
                          <a:pt x="142" y="33"/>
                        </a:cubicBezTo>
                        <a:cubicBezTo>
                          <a:pt x="142" y="33"/>
                          <a:pt x="141" y="33"/>
                          <a:pt x="142" y="33"/>
                        </a:cubicBezTo>
                        <a:cubicBezTo>
                          <a:pt x="142" y="33"/>
                          <a:pt x="141" y="33"/>
                          <a:pt x="141" y="34"/>
                        </a:cubicBezTo>
                        <a:cubicBezTo>
                          <a:pt x="141" y="34"/>
                          <a:pt x="141" y="33"/>
                          <a:pt x="142" y="33"/>
                        </a:cubicBezTo>
                        <a:cubicBezTo>
                          <a:pt x="142" y="33"/>
                          <a:pt x="142" y="33"/>
                          <a:pt x="142" y="33"/>
                        </a:cubicBezTo>
                        <a:cubicBezTo>
                          <a:pt x="142" y="33"/>
                          <a:pt x="142" y="33"/>
                          <a:pt x="142" y="33"/>
                        </a:cubicBezTo>
                        <a:cubicBezTo>
                          <a:pt x="142" y="33"/>
                          <a:pt x="142" y="33"/>
                          <a:pt x="143" y="33"/>
                        </a:cubicBezTo>
                        <a:cubicBezTo>
                          <a:pt x="142" y="33"/>
                          <a:pt x="142" y="33"/>
                          <a:pt x="142" y="33"/>
                        </a:cubicBezTo>
                        <a:cubicBezTo>
                          <a:pt x="142" y="33"/>
                          <a:pt x="142" y="33"/>
                          <a:pt x="142" y="33"/>
                        </a:cubicBezTo>
                        <a:cubicBezTo>
                          <a:pt x="142" y="33"/>
                          <a:pt x="142" y="33"/>
                          <a:pt x="142" y="34"/>
                        </a:cubicBezTo>
                        <a:cubicBezTo>
                          <a:pt x="142" y="34"/>
                          <a:pt x="143" y="34"/>
                          <a:pt x="143" y="34"/>
                        </a:cubicBezTo>
                        <a:cubicBezTo>
                          <a:pt x="143" y="34"/>
                          <a:pt x="143" y="34"/>
                          <a:pt x="143" y="33"/>
                        </a:cubicBezTo>
                        <a:cubicBezTo>
                          <a:pt x="143" y="33"/>
                          <a:pt x="143" y="33"/>
                          <a:pt x="143" y="33"/>
                        </a:cubicBezTo>
                        <a:cubicBezTo>
                          <a:pt x="143" y="33"/>
                          <a:pt x="143" y="33"/>
                          <a:pt x="144" y="33"/>
                        </a:cubicBezTo>
                        <a:cubicBezTo>
                          <a:pt x="144" y="34"/>
                          <a:pt x="144" y="34"/>
                          <a:pt x="144" y="34"/>
                        </a:cubicBezTo>
                        <a:cubicBezTo>
                          <a:pt x="144" y="34"/>
                          <a:pt x="144" y="34"/>
                          <a:pt x="144" y="34"/>
                        </a:cubicBezTo>
                        <a:cubicBezTo>
                          <a:pt x="144" y="33"/>
                          <a:pt x="144" y="33"/>
                          <a:pt x="144" y="33"/>
                        </a:cubicBezTo>
                        <a:cubicBezTo>
                          <a:pt x="144" y="33"/>
                          <a:pt x="144" y="33"/>
                          <a:pt x="145" y="33"/>
                        </a:cubicBezTo>
                        <a:cubicBezTo>
                          <a:pt x="145" y="33"/>
                          <a:pt x="144" y="33"/>
                          <a:pt x="144" y="34"/>
                        </a:cubicBezTo>
                        <a:cubicBezTo>
                          <a:pt x="144" y="34"/>
                          <a:pt x="145" y="33"/>
                          <a:pt x="145" y="34"/>
                        </a:cubicBezTo>
                        <a:cubicBezTo>
                          <a:pt x="145" y="34"/>
                          <a:pt x="145" y="33"/>
                          <a:pt x="146" y="33"/>
                        </a:cubicBezTo>
                        <a:cubicBezTo>
                          <a:pt x="146" y="33"/>
                          <a:pt x="146" y="33"/>
                          <a:pt x="145" y="33"/>
                        </a:cubicBezTo>
                        <a:cubicBezTo>
                          <a:pt x="145" y="33"/>
                          <a:pt x="146" y="33"/>
                          <a:pt x="146" y="33"/>
                        </a:cubicBezTo>
                        <a:cubicBezTo>
                          <a:pt x="147" y="33"/>
                          <a:pt x="147" y="33"/>
                          <a:pt x="148" y="33"/>
                        </a:cubicBezTo>
                        <a:cubicBezTo>
                          <a:pt x="148" y="33"/>
                          <a:pt x="147" y="33"/>
                          <a:pt x="147" y="34"/>
                        </a:cubicBezTo>
                        <a:cubicBezTo>
                          <a:pt x="146" y="34"/>
                          <a:pt x="146" y="34"/>
                          <a:pt x="146" y="34"/>
                        </a:cubicBezTo>
                        <a:cubicBezTo>
                          <a:pt x="146" y="34"/>
                          <a:pt x="146" y="34"/>
                          <a:pt x="146" y="34"/>
                        </a:cubicBezTo>
                        <a:cubicBezTo>
                          <a:pt x="146" y="34"/>
                          <a:pt x="146" y="34"/>
                          <a:pt x="146" y="34"/>
                        </a:cubicBezTo>
                        <a:cubicBezTo>
                          <a:pt x="146" y="34"/>
                          <a:pt x="146" y="34"/>
                          <a:pt x="146" y="34"/>
                        </a:cubicBezTo>
                        <a:cubicBezTo>
                          <a:pt x="146" y="34"/>
                          <a:pt x="146" y="34"/>
                          <a:pt x="145" y="34"/>
                        </a:cubicBezTo>
                        <a:cubicBezTo>
                          <a:pt x="145" y="34"/>
                          <a:pt x="145" y="34"/>
                          <a:pt x="145" y="34"/>
                        </a:cubicBezTo>
                        <a:cubicBezTo>
                          <a:pt x="145" y="34"/>
                          <a:pt x="145" y="34"/>
                          <a:pt x="145" y="34"/>
                        </a:cubicBezTo>
                        <a:cubicBezTo>
                          <a:pt x="145" y="34"/>
                          <a:pt x="145" y="34"/>
                          <a:pt x="145" y="34"/>
                        </a:cubicBezTo>
                        <a:cubicBezTo>
                          <a:pt x="144" y="34"/>
                          <a:pt x="143" y="35"/>
                          <a:pt x="142" y="35"/>
                        </a:cubicBezTo>
                        <a:cubicBezTo>
                          <a:pt x="142" y="35"/>
                          <a:pt x="142" y="35"/>
                          <a:pt x="142" y="35"/>
                        </a:cubicBezTo>
                        <a:cubicBezTo>
                          <a:pt x="142" y="35"/>
                          <a:pt x="142" y="35"/>
                          <a:pt x="141" y="35"/>
                        </a:cubicBezTo>
                        <a:cubicBezTo>
                          <a:pt x="141" y="35"/>
                          <a:pt x="141" y="35"/>
                          <a:pt x="141" y="35"/>
                        </a:cubicBezTo>
                        <a:cubicBezTo>
                          <a:pt x="141" y="35"/>
                          <a:pt x="141" y="35"/>
                          <a:pt x="141" y="36"/>
                        </a:cubicBezTo>
                        <a:cubicBezTo>
                          <a:pt x="141" y="36"/>
                          <a:pt x="141" y="35"/>
                          <a:pt x="141" y="35"/>
                        </a:cubicBezTo>
                        <a:cubicBezTo>
                          <a:pt x="140" y="36"/>
                          <a:pt x="140" y="36"/>
                          <a:pt x="139" y="36"/>
                        </a:cubicBezTo>
                        <a:cubicBezTo>
                          <a:pt x="139" y="36"/>
                          <a:pt x="138" y="36"/>
                          <a:pt x="138" y="36"/>
                        </a:cubicBezTo>
                        <a:cubicBezTo>
                          <a:pt x="137" y="36"/>
                          <a:pt x="136" y="37"/>
                          <a:pt x="136" y="36"/>
                        </a:cubicBezTo>
                        <a:cubicBezTo>
                          <a:pt x="136" y="36"/>
                          <a:pt x="137" y="36"/>
                          <a:pt x="137" y="36"/>
                        </a:cubicBezTo>
                        <a:cubicBezTo>
                          <a:pt x="137" y="36"/>
                          <a:pt x="137" y="36"/>
                          <a:pt x="137" y="36"/>
                        </a:cubicBezTo>
                        <a:cubicBezTo>
                          <a:pt x="137" y="36"/>
                          <a:pt x="137" y="36"/>
                          <a:pt x="136" y="36"/>
                        </a:cubicBezTo>
                        <a:cubicBezTo>
                          <a:pt x="137" y="36"/>
                          <a:pt x="134" y="37"/>
                          <a:pt x="134" y="36"/>
                        </a:cubicBezTo>
                        <a:cubicBezTo>
                          <a:pt x="134" y="37"/>
                          <a:pt x="134" y="37"/>
                          <a:pt x="134" y="37"/>
                        </a:cubicBezTo>
                        <a:cubicBezTo>
                          <a:pt x="133" y="37"/>
                          <a:pt x="133" y="37"/>
                          <a:pt x="132" y="37"/>
                        </a:cubicBezTo>
                        <a:cubicBezTo>
                          <a:pt x="132" y="37"/>
                          <a:pt x="133" y="37"/>
                          <a:pt x="133" y="37"/>
                        </a:cubicBezTo>
                        <a:cubicBezTo>
                          <a:pt x="131" y="37"/>
                          <a:pt x="129" y="38"/>
                          <a:pt x="127" y="38"/>
                        </a:cubicBezTo>
                        <a:cubicBezTo>
                          <a:pt x="127" y="38"/>
                          <a:pt x="127" y="39"/>
                          <a:pt x="126" y="39"/>
                        </a:cubicBezTo>
                        <a:cubicBezTo>
                          <a:pt x="126" y="39"/>
                          <a:pt x="126" y="38"/>
                          <a:pt x="126" y="38"/>
                        </a:cubicBez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6" y="39"/>
                          <a:pt x="126" y="38"/>
                          <a:pt x="126" y="39"/>
                        </a:cubicBezTo>
                        <a:cubicBezTo>
                          <a:pt x="126" y="39"/>
                          <a:pt x="126" y="39"/>
                          <a:pt x="126" y="38"/>
                        </a:cubicBezTo>
                        <a:cubicBezTo>
                          <a:pt x="125" y="39"/>
                          <a:pt x="126" y="39"/>
                          <a:pt x="126" y="39"/>
                        </a:cubicBezTo>
                        <a:cubicBezTo>
                          <a:pt x="125" y="39"/>
                          <a:pt x="125" y="39"/>
                          <a:pt x="125" y="39"/>
                        </a:cubicBezTo>
                        <a:cubicBezTo>
                          <a:pt x="125" y="39"/>
                          <a:pt x="125" y="39"/>
                          <a:pt x="125" y="39"/>
                        </a:cubicBezTo>
                        <a:cubicBezTo>
                          <a:pt x="124" y="39"/>
                          <a:pt x="124" y="39"/>
                          <a:pt x="124" y="39"/>
                        </a:cubicBezTo>
                        <a:cubicBezTo>
                          <a:pt x="124" y="39"/>
                          <a:pt x="123" y="39"/>
                          <a:pt x="123" y="39"/>
                        </a:cubicBezTo>
                        <a:cubicBezTo>
                          <a:pt x="123" y="39"/>
                          <a:pt x="123" y="39"/>
                          <a:pt x="123" y="39"/>
                        </a:cubicBezTo>
                        <a:cubicBezTo>
                          <a:pt x="122" y="39"/>
                          <a:pt x="123" y="39"/>
                          <a:pt x="122" y="39"/>
                        </a:cubicBezTo>
                        <a:cubicBezTo>
                          <a:pt x="122" y="39"/>
                          <a:pt x="123" y="39"/>
                          <a:pt x="123" y="39"/>
                        </a:cubicBezTo>
                        <a:cubicBezTo>
                          <a:pt x="122" y="39"/>
                          <a:pt x="122" y="40"/>
                          <a:pt x="121" y="40"/>
                        </a:cubicBezTo>
                        <a:cubicBezTo>
                          <a:pt x="121" y="40"/>
                          <a:pt x="121" y="40"/>
                          <a:pt x="120" y="40"/>
                        </a:cubicBezTo>
                        <a:cubicBezTo>
                          <a:pt x="120" y="40"/>
                          <a:pt x="119" y="40"/>
                          <a:pt x="119" y="40"/>
                        </a:cubicBezTo>
                        <a:cubicBezTo>
                          <a:pt x="119" y="40"/>
                          <a:pt x="119" y="40"/>
                          <a:pt x="118" y="40"/>
                        </a:cubicBezTo>
                        <a:cubicBezTo>
                          <a:pt x="118" y="40"/>
                          <a:pt x="117" y="40"/>
                          <a:pt x="117" y="40"/>
                        </a:cubicBezTo>
                        <a:cubicBezTo>
                          <a:pt x="117" y="40"/>
                          <a:pt x="117" y="40"/>
                          <a:pt x="118" y="40"/>
                        </a:cubicBezTo>
                        <a:cubicBezTo>
                          <a:pt x="117" y="40"/>
                          <a:pt x="117" y="40"/>
                          <a:pt x="117" y="40"/>
                        </a:cubicBezTo>
                        <a:cubicBezTo>
                          <a:pt x="116" y="40"/>
                          <a:pt x="118" y="40"/>
                          <a:pt x="118" y="40"/>
                        </a:cubicBezTo>
                        <a:cubicBezTo>
                          <a:pt x="118" y="40"/>
                          <a:pt x="118" y="40"/>
                          <a:pt x="118" y="40"/>
                        </a:cubicBezTo>
                        <a:cubicBezTo>
                          <a:pt x="118" y="40"/>
                          <a:pt x="118" y="40"/>
                          <a:pt x="118" y="40"/>
                        </a:cubicBezTo>
                        <a:cubicBezTo>
                          <a:pt x="120" y="40"/>
                          <a:pt x="120" y="40"/>
                          <a:pt x="122" y="39"/>
                        </a:cubicBezTo>
                        <a:cubicBezTo>
                          <a:pt x="122" y="39"/>
                          <a:pt x="122" y="39"/>
                          <a:pt x="122" y="39"/>
                        </a:cubicBezTo>
                        <a:cubicBezTo>
                          <a:pt x="123" y="39"/>
                          <a:pt x="126" y="38"/>
                          <a:pt x="127" y="38"/>
                        </a:cubicBezTo>
                        <a:cubicBezTo>
                          <a:pt x="127" y="38"/>
                          <a:pt x="127" y="38"/>
                          <a:pt x="127" y="38"/>
                        </a:cubicBezTo>
                        <a:cubicBezTo>
                          <a:pt x="128" y="38"/>
                          <a:pt x="128" y="38"/>
                          <a:pt x="128" y="38"/>
                        </a:cubicBezTo>
                        <a:cubicBezTo>
                          <a:pt x="128" y="38"/>
                          <a:pt x="129" y="37"/>
                          <a:pt x="130" y="37"/>
                        </a:cubicBezTo>
                        <a:cubicBezTo>
                          <a:pt x="130" y="37"/>
                          <a:pt x="130" y="37"/>
                          <a:pt x="130" y="37"/>
                        </a:cubicBezTo>
                        <a:cubicBezTo>
                          <a:pt x="130" y="37"/>
                          <a:pt x="131" y="37"/>
                          <a:pt x="131" y="37"/>
                        </a:cubicBezTo>
                        <a:cubicBezTo>
                          <a:pt x="131" y="37"/>
                          <a:pt x="131" y="37"/>
                          <a:pt x="131" y="37"/>
                        </a:cubicBezTo>
                        <a:cubicBezTo>
                          <a:pt x="131" y="37"/>
                          <a:pt x="131" y="37"/>
                          <a:pt x="131" y="37"/>
                        </a:cubicBezTo>
                        <a:cubicBezTo>
                          <a:pt x="132" y="37"/>
                          <a:pt x="132" y="37"/>
                          <a:pt x="132" y="37"/>
                        </a:cubicBezTo>
                        <a:cubicBezTo>
                          <a:pt x="131" y="37"/>
                          <a:pt x="130" y="37"/>
                          <a:pt x="129" y="37"/>
                        </a:cubicBezTo>
                        <a:cubicBezTo>
                          <a:pt x="129" y="37"/>
                          <a:pt x="130" y="37"/>
                          <a:pt x="129" y="37"/>
                        </a:cubicBezTo>
                        <a:cubicBezTo>
                          <a:pt x="129" y="37"/>
                          <a:pt x="129" y="37"/>
                          <a:pt x="129" y="37"/>
                        </a:cubicBezTo>
                        <a:cubicBezTo>
                          <a:pt x="129" y="37"/>
                          <a:pt x="128" y="37"/>
                          <a:pt x="128" y="37"/>
                        </a:cubicBezTo>
                        <a:cubicBezTo>
                          <a:pt x="128" y="37"/>
                          <a:pt x="127" y="37"/>
                          <a:pt x="127" y="37"/>
                        </a:cubicBezTo>
                        <a:cubicBezTo>
                          <a:pt x="127" y="38"/>
                          <a:pt x="127" y="37"/>
                          <a:pt x="127" y="37"/>
                        </a:cubicBezTo>
                        <a:cubicBezTo>
                          <a:pt x="127" y="37"/>
                          <a:pt x="126" y="37"/>
                          <a:pt x="126" y="37"/>
                        </a:cubicBezTo>
                        <a:cubicBezTo>
                          <a:pt x="127" y="37"/>
                          <a:pt x="127" y="37"/>
                          <a:pt x="127" y="37"/>
                        </a:cubicBezTo>
                        <a:cubicBezTo>
                          <a:pt x="127" y="37"/>
                          <a:pt x="128" y="37"/>
                          <a:pt x="128" y="37"/>
                        </a:cubicBezTo>
                        <a:cubicBezTo>
                          <a:pt x="128" y="37"/>
                          <a:pt x="128" y="37"/>
                          <a:pt x="129" y="37"/>
                        </a:cubicBezTo>
                        <a:cubicBezTo>
                          <a:pt x="129" y="37"/>
                          <a:pt x="130" y="37"/>
                          <a:pt x="130" y="37"/>
                        </a:cubicBezTo>
                        <a:cubicBezTo>
                          <a:pt x="130" y="37"/>
                          <a:pt x="130" y="37"/>
                          <a:pt x="130" y="36"/>
                        </a:cubicBezTo>
                        <a:cubicBezTo>
                          <a:pt x="129" y="37"/>
                          <a:pt x="129" y="37"/>
                          <a:pt x="129" y="37"/>
                        </a:cubicBezTo>
                        <a:cubicBezTo>
                          <a:pt x="129" y="37"/>
                          <a:pt x="128" y="37"/>
                          <a:pt x="128" y="37"/>
                        </a:cubicBezTo>
                        <a:cubicBezTo>
                          <a:pt x="128" y="37"/>
                          <a:pt x="128" y="37"/>
                          <a:pt x="128" y="36"/>
                        </a:cubicBezTo>
                        <a:cubicBezTo>
                          <a:pt x="128" y="36"/>
                          <a:pt x="127" y="37"/>
                          <a:pt x="127" y="37"/>
                        </a:cubicBezTo>
                        <a:cubicBezTo>
                          <a:pt x="127" y="37"/>
                          <a:pt x="127" y="36"/>
                          <a:pt x="127" y="37"/>
                        </a:cubicBezTo>
                        <a:cubicBezTo>
                          <a:pt x="127" y="37"/>
                          <a:pt x="127" y="37"/>
                          <a:pt x="127" y="37"/>
                        </a:cubicBezTo>
                        <a:cubicBezTo>
                          <a:pt x="127" y="36"/>
                          <a:pt x="127" y="36"/>
                          <a:pt x="127" y="36"/>
                        </a:cubicBezTo>
                        <a:cubicBezTo>
                          <a:pt x="128" y="36"/>
                          <a:pt x="127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7"/>
                          <a:pt x="125" y="36"/>
                          <a:pt x="125" y="37"/>
                        </a:cubicBezTo>
                        <a:cubicBezTo>
                          <a:pt x="125" y="37"/>
                          <a:pt x="125" y="37"/>
                          <a:pt x="126" y="37"/>
                        </a:cubicBezTo>
                        <a:cubicBezTo>
                          <a:pt x="125" y="37"/>
                          <a:pt x="125" y="37"/>
                          <a:pt x="124" y="37"/>
                        </a:cubicBezTo>
                        <a:cubicBezTo>
                          <a:pt x="124" y="37"/>
                          <a:pt x="124" y="37"/>
                          <a:pt x="123" y="37"/>
                        </a:cubicBezTo>
                        <a:cubicBezTo>
                          <a:pt x="123" y="37"/>
                          <a:pt x="123" y="37"/>
                          <a:pt x="123" y="37"/>
                        </a:cubicBezTo>
                        <a:cubicBezTo>
                          <a:pt x="122" y="37"/>
                          <a:pt x="121" y="38"/>
                          <a:pt x="120" y="38"/>
                        </a:cubicBezTo>
                        <a:cubicBezTo>
                          <a:pt x="120" y="38"/>
                          <a:pt x="120" y="38"/>
                          <a:pt x="120" y="38"/>
                        </a:cubicBezTo>
                        <a:cubicBezTo>
                          <a:pt x="120" y="38"/>
                          <a:pt x="121" y="38"/>
                          <a:pt x="122" y="37"/>
                        </a:cubicBezTo>
                        <a:cubicBezTo>
                          <a:pt x="122" y="37"/>
                          <a:pt x="123" y="37"/>
                          <a:pt x="123" y="37"/>
                        </a:cubicBezTo>
                        <a:cubicBezTo>
                          <a:pt x="123" y="37"/>
                          <a:pt x="123" y="37"/>
                          <a:pt x="123" y="37"/>
                        </a:cubicBezTo>
                        <a:cubicBezTo>
                          <a:pt x="123" y="37"/>
                          <a:pt x="122" y="38"/>
                          <a:pt x="121" y="38"/>
                        </a:cubicBezTo>
                        <a:cubicBezTo>
                          <a:pt x="121" y="38"/>
                          <a:pt x="121" y="38"/>
                          <a:pt x="121" y="38"/>
                        </a:cubicBezTo>
                        <a:cubicBezTo>
                          <a:pt x="121" y="38"/>
                          <a:pt x="122" y="38"/>
                          <a:pt x="122" y="38"/>
                        </a:cubicBezTo>
                        <a:cubicBezTo>
                          <a:pt x="122" y="38"/>
                          <a:pt x="122" y="38"/>
                          <a:pt x="122" y="38"/>
                        </a:cubicBezTo>
                        <a:cubicBezTo>
                          <a:pt x="122" y="38"/>
                          <a:pt x="121" y="38"/>
                          <a:pt x="121" y="38"/>
                        </a:cubicBezTo>
                        <a:cubicBezTo>
                          <a:pt x="121" y="38"/>
                          <a:pt x="120" y="38"/>
                          <a:pt x="120" y="38"/>
                        </a:cubicBezTo>
                        <a:cubicBezTo>
                          <a:pt x="120" y="38"/>
                          <a:pt x="120" y="38"/>
                          <a:pt x="120" y="38"/>
                        </a:cubicBezTo>
                        <a:cubicBezTo>
                          <a:pt x="121" y="38"/>
                          <a:pt x="121" y="38"/>
                          <a:pt x="121" y="38"/>
                        </a:cubicBezTo>
                        <a:cubicBezTo>
                          <a:pt x="120" y="38"/>
                          <a:pt x="120" y="38"/>
                          <a:pt x="120" y="38"/>
                        </a:cubicBezTo>
                        <a:cubicBezTo>
                          <a:pt x="119" y="38"/>
                          <a:pt x="120" y="38"/>
                          <a:pt x="120" y="38"/>
                        </a:cubicBezTo>
                        <a:cubicBezTo>
                          <a:pt x="119" y="39"/>
                          <a:pt x="119" y="39"/>
                          <a:pt x="119" y="39"/>
                        </a:cubicBezTo>
                        <a:cubicBezTo>
                          <a:pt x="119" y="39"/>
                          <a:pt x="118" y="39"/>
                          <a:pt x="118" y="39"/>
                        </a:cubicBezTo>
                        <a:cubicBezTo>
                          <a:pt x="118" y="39"/>
                          <a:pt x="118" y="39"/>
                          <a:pt x="118" y="39"/>
                        </a:cubicBezTo>
                        <a:cubicBezTo>
                          <a:pt x="118" y="39"/>
                          <a:pt x="118" y="39"/>
                          <a:pt x="117" y="39"/>
                        </a:cubicBezTo>
                        <a:cubicBezTo>
                          <a:pt x="118" y="39"/>
                          <a:pt x="118" y="39"/>
                          <a:pt x="117" y="39"/>
                        </a:cubicBezTo>
                        <a:cubicBezTo>
                          <a:pt x="117" y="39"/>
                          <a:pt x="117" y="39"/>
                          <a:pt x="117" y="39"/>
                        </a:cubicBezTo>
                        <a:cubicBezTo>
                          <a:pt x="117" y="39"/>
                          <a:pt x="117" y="39"/>
                          <a:pt x="117" y="39"/>
                        </a:cubicBezTo>
                        <a:cubicBezTo>
                          <a:pt x="117" y="39"/>
                          <a:pt x="116" y="39"/>
                          <a:pt x="116" y="39"/>
                        </a:cubicBezTo>
                        <a:cubicBezTo>
                          <a:pt x="116" y="39"/>
                          <a:pt x="117" y="39"/>
                          <a:pt x="117" y="39"/>
                        </a:cubicBezTo>
                        <a:cubicBezTo>
                          <a:pt x="117" y="39"/>
                          <a:pt x="116" y="40"/>
                          <a:pt x="116" y="40"/>
                        </a:cubicBezTo>
                        <a:cubicBezTo>
                          <a:pt x="116" y="40"/>
                          <a:pt x="116" y="40"/>
                          <a:pt x="116" y="39"/>
                        </a:cubicBezTo>
                        <a:cubicBezTo>
                          <a:pt x="116" y="40"/>
                          <a:pt x="116" y="40"/>
                          <a:pt x="115" y="40"/>
                        </a:cubicBezTo>
                        <a:cubicBezTo>
                          <a:pt x="116" y="40"/>
                          <a:pt x="116" y="40"/>
                          <a:pt x="116" y="40"/>
                        </a:cubicBezTo>
                        <a:cubicBezTo>
                          <a:pt x="116" y="40"/>
                          <a:pt x="115" y="40"/>
                          <a:pt x="115" y="40"/>
                        </a:cubicBezTo>
                        <a:cubicBezTo>
                          <a:pt x="115" y="40"/>
                          <a:pt x="115" y="40"/>
                          <a:pt x="115" y="40"/>
                        </a:cubicBezTo>
                        <a:cubicBezTo>
                          <a:pt x="115" y="40"/>
                          <a:pt x="115" y="40"/>
                          <a:pt x="115" y="40"/>
                        </a:cubicBezTo>
                        <a:cubicBezTo>
                          <a:pt x="115" y="40"/>
                          <a:pt x="114" y="40"/>
                          <a:pt x="113" y="41"/>
                        </a:cubicBezTo>
                        <a:cubicBezTo>
                          <a:pt x="112" y="41"/>
                          <a:pt x="111" y="41"/>
                          <a:pt x="110" y="41"/>
                        </a:cubicBezTo>
                        <a:cubicBezTo>
                          <a:pt x="110" y="41"/>
                          <a:pt x="110" y="41"/>
                          <a:pt x="109" y="41"/>
                        </a:cubicBezTo>
                        <a:cubicBezTo>
                          <a:pt x="110" y="41"/>
                          <a:pt x="110" y="41"/>
                          <a:pt x="110" y="41"/>
                        </a:cubicBezTo>
                        <a:cubicBezTo>
                          <a:pt x="110" y="41"/>
                          <a:pt x="110" y="41"/>
                          <a:pt x="110" y="41"/>
                        </a:cubicBezTo>
                        <a:cubicBezTo>
                          <a:pt x="110" y="41"/>
                          <a:pt x="110" y="41"/>
                          <a:pt x="110" y="41"/>
                        </a:cubicBezTo>
                        <a:cubicBezTo>
                          <a:pt x="110" y="41"/>
                          <a:pt x="110" y="41"/>
                          <a:pt x="111" y="41"/>
                        </a:cubicBezTo>
                        <a:cubicBezTo>
                          <a:pt x="111" y="41"/>
                          <a:pt x="110" y="41"/>
                          <a:pt x="110" y="41"/>
                        </a:cubicBezTo>
                        <a:cubicBezTo>
                          <a:pt x="111" y="41"/>
                          <a:pt x="112" y="41"/>
                          <a:pt x="112" y="40"/>
                        </a:cubicBezTo>
                        <a:cubicBezTo>
                          <a:pt x="112" y="40"/>
                          <a:pt x="111" y="40"/>
                          <a:pt x="111" y="40"/>
                        </a:cubicBezTo>
                        <a:cubicBezTo>
                          <a:pt x="111" y="40"/>
                          <a:pt x="111" y="40"/>
                          <a:pt x="111" y="41"/>
                        </a:cubicBezTo>
                        <a:cubicBezTo>
                          <a:pt x="111" y="41"/>
                          <a:pt x="111" y="40"/>
                          <a:pt x="112" y="40"/>
                        </a:cubicBezTo>
                        <a:cubicBezTo>
                          <a:pt x="111" y="41"/>
                          <a:pt x="111" y="41"/>
                          <a:pt x="111" y="41"/>
                        </a:cubicBezTo>
                        <a:cubicBezTo>
                          <a:pt x="111" y="41"/>
                          <a:pt x="111" y="41"/>
                          <a:pt x="111" y="41"/>
                        </a:cubicBezTo>
                        <a:cubicBezTo>
                          <a:pt x="111" y="41"/>
                          <a:pt x="111" y="41"/>
                          <a:pt x="111" y="41"/>
                        </a:cubicBezTo>
                        <a:cubicBezTo>
                          <a:pt x="111" y="41"/>
                          <a:pt x="110" y="41"/>
                          <a:pt x="110" y="41"/>
                        </a:cubicBezTo>
                        <a:cubicBezTo>
                          <a:pt x="110" y="41"/>
                          <a:pt x="110" y="41"/>
                          <a:pt x="110" y="41"/>
                        </a:cubicBezTo>
                        <a:cubicBezTo>
                          <a:pt x="110" y="41"/>
                          <a:pt x="109" y="41"/>
                          <a:pt x="108" y="41"/>
                        </a:cubicBezTo>
                        <a:cubicBezTo>
                          <a:pt x="108" y="41"/>
                          <a:pt x="108" y="41"/>
                          <a:pt x="108" y="41"/>
                        </a:cubicBezTo>
                        <a:cubicBezTo>
                          <a:pt x="108" y="41"/>
                          <a:pt x="107" y="41"/>
                          <a:pt x="107" y="41"/>
                        </a:cubicBezTo>
                        <a:cubicBezTo>
                          <a:pt x="107" y="41"/>
                          <a:pt x="107" y="41"/>
                          <a:pt x="107" y="41"/>
                        </a:cubicBezTo>
                        <a:cubicBezTo>
                          <a:pt x="106" y="42"/>
                          <a:pt x="107" y="41"/>
                          <a:pt x="108" y="41"/>
                        </a:cubicBezTo>
                        <a:cubicBezTo>
                          <a:pt x="108" y="42"/>
                          <a:pt x="107" y="42"/>
                          <a:pt x="106" y="42"/>
                        </a:cubicBezTo>
                        <a:cubicBezTo>
                          <a:pt x="106" y="42"/>
                          <a:pt x="106" y="42"/>
                          <a:pt x="106" y="42"/>
                        </a:cubicBezTo>
                        <a:cubicBezTo>
                          <a:pt x="106" y="42"/>
                          <a:pt x="105" y="42"/>
                          <a:pt x="106" y="42"/>
                        </a:cubicBezTo>
                        <a:cubicBezTo>
                          <a:pt x="105" y="42"/>
                          <a:pt x="105" y="42"/>
                          <a:pt x="105" y="42"/>
                        </a:cubicBezTo>
                        <a:cubicBezTo>
                          <a:pt x="105" y="42"/>
                          <a:pt x="105" y="42"/>
                          <a:pt x="105" y="42"/>
                        </a:cubicBezTo>
                        <a:cubicBezTo>
                          <a:pt x="105" y="42"/>
                          <a:pt x="105" y="42"/>
                          <a:pt x="105" y="42"/>
                        </a:cubicBezTo>
                        <a:cubicBezTo>
                          <a:pt x="105" y="42"/>
                          <a:pt x="105" y="42"/>
                          <a:pt x="106" y="42"/>
                        </a:cubicBezTo>
                        <a:cubicBezTo>
                          <a:pt x="106" y="43"/>
                          <a:pt x="105" y="43"/>
                          <a:pt x="104" y="43"/>
                        </a:cubicBezTo>
                        <a:cubicBezTo>
                          <a:pt x="104" y="43"/>
                          <a:pt x="103" y="43"/>
                          <a:pt x="103" y="43"/>
                        </a:cubicBezTo>
                        <a:cubicBezTo>
                          <a:pt x="103" y="43"/>
                          <a:pt x="101" y="44"/>
                          <a:pt x="101" y="44"/>
                        </a:cubicBezTo>
                        <a:cubicBezTo>
                          <a:pt x="101" y="43"/>
                          <a:pt x="101" y="43"/>
                          <a:pt x="101" y="43"/>
                        </a:cubicBezTo>
                        <a:cubicBezTo>
                          <a:pt x="101" y="43"/>
                          <a:pt x="100" y="44"/>
                          <a:pt x="101" y="44"/>
                        </a:cubicBezTo>
                        <a:cubicBezTo>
                          <a:pt x="101" y="44"/>
                          <a:pt x="100" y="44"/>
                          <a:pt x="100" y="44"/>
                        </a:cubicBezTo>
                        <a:cubicBezTo>
                          <a:pt x="101" y="44"/>
                          <a:pt x="100" y="44"/>
                          <a:pt x="100" y="44"/>
                        </a:cubicBezTo>
                        <a:cubicBezTo>
                          <a:pt x="100" y="44"/>
                          <a:pt x="99" y="44"/>
                          <a:pt x="99" y="44"/>
                        </a:cubicBezTo>
                        <a:cubicBezTo>
                          <a:pt x="99" y="44"/>
                          <a:pt x="99" y="44"/>
                          <a:pt x="99" y="44"/>
                        </a:cubicBezTo>
                        <a:cubicBezTo>
                          <a:pt x="99" y="44"/>
                          <a:pt x="100" y="44"/>
                          <a:pt x="100" y="44"/>
                        </a:cubicBezTo>
                        <a:cubicBezTo>
                          <a:pt x="100" y="44"/>
                          <a:pt x="102" y="43"/>
                          <a:pt x="103" y="43"/>
                        </a:cubicBezTo>
                        <a:cubicBezTo>
                          <a:pt x="103" y="43"/>
                          <a:pt x="103" y="43"/>
                          <a:pt x="103" y="43"/>
                        </a:cubicBezTo>
                        <a:cubicBezTo>
                          <a:pt x="103" y="43"/>
                          <a:pt x="103" y="43"/>
                          <a:pt x="103" y="43"/>
                        </a:cubicBezTo>
                        <a:cubicBezTo>
                          <a:pt x="103" y="43"/>
                          <a:pt x="103" y="43"/>
                          <a:pt x="103" y="43"/>
                        </a:cubicBezTo>
                        <a:cubicBezTo>
                          <a:pt x="103" y="43"/>
                          <a:pt x="104" y="43"/>
                          <a:pt x="105" y="43"/>
                        </a:cubicBezTo>
                        <a:cubicBezTo>
                          <a:pt x="105" y="43"/>
                          <a:pt x="105" y="43"/>
                          <a:pt x="105" y="43"/>
                        </a:cubicBezTo>
                        <a:cubicBezTo>
                          <a:pt x="109" y="42"/>
                          <a:pt x="112" y="41"/>
                          <a:pt x="115" y="40"/>
                        </a:cubicBezTo>
                        <a:cubicBezTo>
                          <a:pt x="116" y="41"/>
                          <a:pt x="115" y="41"/>
                          <a:pt x="115" y="41"/>
                        </a:cubicBezTo>
                        <a:cubicBezTo>
                          <a:pt x="115" y="41"/>
                          <a:pt x="116" y="41"/>
                          <a:pt x="116" y="41"/>
                        </a:cubicBezTo>
                        <a:cubicBezTo>
                          <a:pt x="116" y="41"/>
                          <a:pt x="116" y="41"/>
                          <a:pt x="116" y="41"/>
                        </a:cubicBezTo>
                        <a:cubicBezTo>
                          <a:pt x="116" y="41"/>
                          <a:pt x="115" y="41"/>
                          <a:pt x="115" y="41"/>
                        </a:cubicBezTo>
                        <a:cubicBezTo>
                          <a:pt x="115" y="41"/>
                          <a:pt x="115" y="41"/>
                          <a:pt x="115" y="41"/>
                        </a:cubicBezTo>
                        <a:cubicBezTo>
                          <a:pt x="114" y="41"/>
                          <a:pt x="114" y="41"/>
                          <a:pt x="113" y="41"/>
                        </a:cubicBezTo>
                        <a:cubicBezTo>
                          <a:pt x="113" y="41"/>
                          <a:pt x="113" y="41"/>
                          <a:pt x="113" y="41"/>
                        </a:cubicBezTo>
                        <a:cubicBezTo>
                          <a:pt x="113" y="41"/>
                          <a:pt x="113" y="41"/>
                          <a:pt x="113" y="41"/>
                        </a:cubicBezTo>
                        <a:cubicBezTo>
                          <a:pt x="113" y="41"/>
                          <a:pt x="113" y="41"/>
                          <a:pt x="113" y="41"/>
                        </a:cubicBezTo>
                        <a:cubicBezTo>
                          <a:pt x="113" y="41"/>
                          <a:pt x="112" y="42"/>
                          <a:pt x="112" y="42"/>
                        </a:cubicBezTo>
                        <a:cubicBezTo>
                          <a:pt x="112" y="42"/>
                          <a:pt x="112" y="42"/>
                          <a:pt x="112" y="42"/>
                        </a:cubicBezTo>
                        <a:cubicBezTo>
                          <a:pt x="112" y="41"/>
                          <a:pt x="112" y="42"/>
                          <a:pt x="112" y="41"/>
                        </a:cubicBezTo>
                        <a:cubicBezTo>
                          <a:pt x="112" y="42"/>
                          <a:pt x="112" y="42"/>
                          <a:pt x="111" y="42"/>
                        </a:cubicBezTo>
                        <a:cubicBezTo>
                          <a:pt x="111" y="42"/>
                          <a:pt x="111" y="42"/>
                          <a:pt x="111" y="42"/>
                        </a:cubicBezTo>
                        <a:cubicBezTo>
                          <a:pt x="111" y="42"/>
                          <a:pt x="111" y="42"/>
                          <a:pt x="110" y="42"/>
                        </a:cubicBezTo>
                        <a:cubicBezTo>
                          <a:pt x="110" y="42"/>
                          <a:pt x="110" y="42"/>
                          <a:pt x="110" y="42"/>
                        </a:cubicBezTo>
                        <a:cubicBezTo>
                          <a:pt x="109" y="42"/>
                          <a:pt x="109" y="42"/>
                          <a:pt x="109" y="42"/>
                        </a:cubicBezTo>
                        <a:cubicBezTo>
                          <a:pt x="109" y="42"/>
                          <a:pt x="109" y="42"/>
                          <a:pt x="109" y="42"/>
                        </a:cubicBezTo>
                        <a:cubicBezTo>
                          <a:pt x="109" y="42"/>
                          <a:pt x="109" y="42"/>
                          <a:pt x="109" y="42"/>
                        </a:cubicBezTo>
                        <a:cubicBezTo>
                          <a:pt x="108" y="42"/>
                          <a:pt x="107" y="42"/>
                          <a:pt x="108" y="42"/>
                        </a:cubicBezTo>
                        <a:cubicBezTo>
                          <a:pt x="105" y="43"/>
                          <a:pt x="102" y="44"/>
                          <a:pt x="100" y="44"/>
                        </a:cubicBezTo>
                        <a:cubicBezTo>
                          <a:pt x="99" y="44"/>
                          <a:pt x="100" y="44"/>
                          <a:pt x="100" y="44"/>
                        </a:cubicBezTo>
                        <a:cubicBezTo>
                          <a:pt x="99" y="44"/>
                          <a:pt x="98" y="45"/>
                          <a:pt x="97" y="45"/>
                        </a:cubicBezTo>
                        <a:cubicBezTo>
                          <a:pt x="97" y="45"/>
                          <a:pt x="97" y="45"/>
                          <a:pt x="97" y="45"/>
                        </a:cubicBezTo>
                        <a:cubicBezTo>
                          <a:pt x="97" y="45"/>
                          <a:pt x="97" y="45"/>
                          <a:pt x="96" y="45"/>
                        </a:cubicBezTo>
                        <a:cubicBezTo>
                          <a:pt x="96" y="45"/>
                          <a:pt x="97" y="45"/>
                          <a:pt x="96" y="45"/>
                        </a:cubicBezTo>
                        <a:cubicBezTo>
                          <a:pt x="97" y="44"/>
                          <a:pt x="98" y="45"/>
                          <a:pt x="99" y="44"/>
                        </a:cubicBezTo>
                        <a:cubicBezTo>
                          <a:pt x="99" y="44"/>
                          <a:pt x="99" y="44"/>
                          <a:pt x="99" y="44"/>
                        </a:cubicBezTo>
                        <a:cubicBezTo>
                          <a:pt x="99" y="44"/>
                          <a:pt x="99" y="44"/>
                          <a:pt x="98" y="44"/>
                        </a:cubicBezTo>
                        <a:cubicBezTo>
                          <a:pt x="98" y="44"/>
                          <a:pt x="99" y="44"/>
                          <a:pt x="99" y="44"/>
                        </a:cubicBezTo>
                        <a:cubicBezTo>
                          <a:pt x="99" y="44"/>
                          <a:pt x="99" y="44"/>
                          <a:pt x="98" y="44"/>
                        </a:cubicBezTo>
                        <a:cubicBezTo>
                          <a:pt x="98" y="44"/>
                          <a:pt x="98" y="44"/>
                          <a:pt x="98" y="44"/>
                        </a:cubicBezTo>
                        <a:cubicBezTo>
                          <a:pt x="98" y="44"/>
                          <a:pt x="98" y="44"/>
                          <a:pt x="98" y="44"/>
                        </a:cubicBezTo>
                        <a:cubicBezTo>
                          <a:pt x="98" y="44"/>
                          <a:pt x="98" y="44"/>
                          <a:pt x="98" y="44"/>
                        </a:cubicBezTo>
                        <a:cubicBezTo>
                          <a:pt x="97" y="44"/>
                          <a:pt x="97" y="44"/>
                          <a:pt x="97" y="44"/>
                        </a:cubicBezTo>
                        <a:cubicBezTo>
                          <a:pt x="97" y="44"/>
                          <a:pt x="96" y="45"/>
                          <a:pt x="96" y="44"/>
                        </a:cubicBezTo>
                        <a:cubicBezTo>
                          <a:pt x="97" y="44"/>
                          <a:pt x="97" y="44"/>
                          <a:pt x="97" y="44"/>
                        </a:cubicBezTo>
                        <a:cubicBezTo>
                          <a:pt x="97" y="44"/>
                          <a:pt x="97" y="44"/>
                          <a:pt x="97" y="44"/>
                        </a:cubicBezTo>
                        <a:cubicBezTo>
                          <a:pt x="96" y="44"/>
                          <a:pt x="95" y="44"/>
                          <a:pt x="95" y="44"/>
                        </a:cubicBezTo>
                        <a:cubicBezTo>
                          <a:pt x="95" y="45"/>
                          <a:pt x="94" y="45"/>
                          <a:pt x="94" y="45"/>
                        </a:cubicBezTo>
                        <a:cubicBezTo>
                          <a:pt x="94" y="45"/>
                          <a:pt x="94" y="45"/>
                          <a:pt x="93" y="45"/>
                        </a:cubicBezTo>
                        <a:cubicBezTo>
                          <a:pt x="93" y="45"/>
                          <a:pt x="94" y="45"/>
                          <a:pt x="94" y="45"/>
                        </a:cubicBezTo>
                        <a:cubicBezTo>
                          <a:pt x="94" y="45"/>
                          <a:pt x="94" y="44"/>
                          <a:pt x="94" y="44"/>
                        </a:cubicBezTo>
                        <a:cubicBezTo>
                          <a:pt x="94" y="44"/>
                          <a:pt x="94" y="44"/>
                          <a:pt x="94" y="44"/>
                        </a:cubicBezTo>
                        <a:cubicBezTo>
                          <a:pt x="94" y="44"/>
                          <a:pt x="94" y="44"/>
                          <a:pt x="93" y="44"/>
                        </a:cubicBezTo>
                        <a:cubicBezTo>
                          <a:pt x="93" y="44"/>
                          <a:pt x="93" y="44"/>
                          <a:pt x="93" y="44"/>
                        </a:cubicBezTo>
                        <a:cubicBezTo>
                          <a:pt x="93" y="45"/>
                          <a:pt x="94" y="44"/>
                          <a:pt x="94" y="44"/>
                        </a:cubicBezTo>
                        <a:cubicBezTo>
                          <a:pt x="93" y="45"/>
                          <a:pt x="93" y="44"/>
                          <a:pt x="93" y="44"/>
                        </a:cubicBezTo>
                        <a:cubicBezTo>
                          <a:pt x="94" y="44"/>
                          <a:pt x="94" y="44"/>
                          <a:pt x="95" y="44"/>
                        </a:cubicBezTo>
                        <a:cubicBezTo>
                          <a:pt x="95" y="44"/>
                          <a:pt x="95" y="44"/>
                          <a:pt x="95" y="44"/>
                        </a:cubicBezTo>
                        <a:cubicBezTo>
                          <a:pt x="95" y="44"/>
                          <a:pt x="96" y="44"/>
                          <a:pt x="95" y="44"/>
                        </a:cubicBezTo>
                        <a:cubicBezTo>
                          <a:pt x="95" y="44"/>
                          <a:pt x="96" y="44"/>
                          <a:pt x="96" y="44"/>
                        </a:cubicBezTo>
                        <a:cubicBezTo>
                          <a:pt x="95" y="44"/>
                          <a:pt x="95" y="44"/>
                          <a:pt x="95" y="44"/>
                        </a:cubicBezTo>
                        <a:cubicBezTo>
                          <a:pt x="96" y="44"/>
                          <a:pt x="97" y="44"/>
                          <a:pt x="98" y="43"/>
                        </a:cubicBezTo>
                        <a:cubicBezTo>
                          <a:pt x="98" y="43"/>
                          <a:pt x="97" y="44"/>
                          <a:pt x="97" y="43"/>
                        </a:cubicBezTo>
                        <a:cubicBezTo>
                          <a:pt x="97" y="44"/>
                          <a:pt x="98" y="43"/>
                          <a:pt x="98" y="43"/>
                        </a:cubicBezTo>
                        <a:cubicBezTo>
                          <a:pt x="98" y="43"/>
                          <a:pt x="98" y="43"/>
                          <a:pt x="98" y="43"/>
                        </a:cubicBezTo>
                        <a:cubicBezTo>
                          <a:pt x="98" y="43"/>
                          <a:pt x="98" y="43"/>
                          <a:pt x="98" y="43"/>
                        </a:cubicBezTo>
                        <a:cubicBezTo>
                          <a:pt x="98" y="43"/>
                          <a:pt x="98" y="43"/>
                          <a:pt x="98" y="43"/>
                        </a:cubicBezTo>
                        <a:cubicBezTo>
                          <a:pt x="99" y="43"/>
                          <a:pt x="99" y="43"/>
                          <a:pt x="100" y="43"/>
                        </a:cubicBezTo>
                        <a:cubicBezTo>
                          <a:pt x="100" y="43"/>
                          <a:pt x="100" y="43"/>
                          <a:pt x="100" y="43"/>
                        </a:cubicBezTo>
                        <a:cubicBezTo>
                          <a:pt x="100" y="42"/>
                          <a:pt x="101" y="43"/>
                          <a:pt x="102" y="42"/>
                        </a:cubicBezTo>
                        <a:cubicBezTo>
                          <a:pt x="101" y="42"/>
                          <a:pt x="101" y="42"/>
                          <a:pt x="101" y="42"/>
                        </a:cubicBezTo>
                        <a:cubicBezTo>
                          <a:pt x="101" y="42"/>
                          <a:pt x="101" y="42"/>
                          <a:pt x="101" y="42"/>
                        </a:cubicBezTo>
                        <a:cubicBezTo>
                          <a:pt x="101" y="42"/>
                          <a:pt x="101" y="42"/>
                          <a:pt x="100" y="42"/>
                        </a:cubicBezTo>
                        <a:cubicBezTo>
                          <a:pt x="100" y="43"/>
                          <a:pt x="100" y="42"/>
                          <a:pt x="100" y="42"/>
                        </a:cubicBezTo>
                        <a:cubicBezTo>
                          <a:pt x="100" y="42"/>
                          <a:pt x="100" y="42"/>
                          <a:pt x="100" y="42"/>
                        </a:cubicBezTo>
                        <a:cubicBezTo>
                          <a:pt x="100" y="42"/>
                          <a:pt x="100" y="42"/>
                          <a:pt x="100" y="43"/>
                        </a:cubicBezTo>
                        <a:cubicBezTo>
                          <a:pt x="99" y="43"/>
                          <a:pt x="100" y="43"/>
                          <a:pt x="100" y="42"/>
                        </a:cubicBezTo>
                        <a:cubicBezTo>
                          <a:pt x="99" y="42"/>
                          <a:pt x="99" y="42"/>
                          <a:pt x="99" y="43"/>
                        </a:cubicBezTo>
                        <a:cubicBezTo>
                          <a:pt x="99" y="42"/>
                          <a:pt x="100" y="42"/>
                          <a:pt x="100" y="42"/>
                        </a:cubicBezTo>
                        <a:cubicBezTo>
                          <a:pt x="100" y="42"/>
                          <a:pt x="99" y="42"/>
                          <a:pt x="99" y="42"/>
                        </a:cubicBezTo>
                        <a:cubicBezTo>
                          <a:pt x="99" y="42"/>
                          <a:pt x="99" y="42"/>
                          <a:pt x="99" y="42"/>
                        </a:cubicBezTo>
                        <a:cubicBezTo>
                          <a:pt x="99" y="43"/>
                          <a:pt x="98" y="42"/>
                          <a:pt x="98" y="43"/>
                        </a:cubicBezTo>
                        <a:cubicBezTo>
                          <a:pt x="98" y="43"/>
                          <a:pt x="97" y="43"/>
                          <a:pt x="97" y="43"/>
                        </a:cubicBezTo>
                        <a:cubicBezTo>
                          <a:pt x="97" y="43"/>
                          <a:pt x="97" y="43"/>
                          <a:pt x="97" y="43"/>
                        </a:cubicBezTo>
                        <a:cubicBezTo>
                          <a:pt x="97" y="43"/>
                          <a:pt x="98" y="43"/>
                          <a:pt x="98" y="43"/>
                        </a:cubicBezTo>
                        <a:cubicBezTo>
                          <a:pt x="98" y="43"/>
                          <a:pt x="98" y="42"/>
                          <a:pt x="97" y="42"/>
                        </a:cubicBezTo>
                        <a:cubicBezTo>
                          <a:pt x="98" y="42"/>
                          <a:pt x="98" y="42"/>
                          <a:pt x="99" y="42"/>
                        </a:cubicBezTo>
                        <a:cubicBezTo>
                          <a:pt x="99" y="42"/>
                          <a:pt x="99" y="42"/>
                          <a:pt x="99" y="42"/>
                        </a:cubicBezTo>
                        <a:cubicBezTo>
                          <a:pt x="99" y="42"/>
                          <a:pt x="99" y="42"/>
                          <a:pt x="99" y="42"/>
                        </a:cubicBezTo>
                        <a:cubicBezTo>
                          <a:pt x="99" y="42"/>
                          <a:pt x="99" y="42"/>
                          <a:pt x="99" y="42"/>
                        </a:cubicBezTo>
                        <a:cubicBezTo>
                          <a:pt x="99" y="42"/>
                          <a:pt x="98" y="42"/>
                          <a:pt x="98" y="42"/>
                        </a:cubicBezTo>
                        <a:cubicBezTo>
                          <a:pt x="98" y="42"/>
                          <a:pt x="98" y="42"/>
                          <a:pt x="98" y="42"/>
                        </a:cubicBezTo>
                        <a:cubicBezTo>
                          <a:pt x="98" y="42"/>
                          <a:pt x="97" y="42"/>
                          <a:pt x="97" y="42"/>
                        </a:cubicBezTo>
                        <a:cubicBezTo>
                          <a:pt x="97" y="42"/>
                          <a:pt x="97" y="42"/>
                          <a:pt x="98" y="42"/>
                        </a:cubicBezTo>
                        <a:cubicBezTo>
                          <a:pt x="97" y="42"/>
                          <a:pt x="96" y="42"/>
                          <a:pt x="96" y="42"/>
                        </a:cubicBezTo>
                        <a:cubicBezTo>
                          <a:pt x="96" y="41"/>
                          <a:pt x="97" y="42"/>
                          <a:pt x="98" y="41"/>
                        </a:cubicBezTo>
                        <a:cubicBezTo>
                          <a:pt x="98" y="41"/>
                          <a:pt x="98" y="42"/>
                          <a:pt x="97" y="42"/>
                        </a:cubicBezTo>
                        <a:cubicBezTo>
                          <a:pt x="98" y="42"/>
                          <a:pt x="98" y="41"/>
                          <a:pt x="98" y="41"/>
                        </a:cubicBezTo>
                        <a:cubicBezTo>
                          <a:pt x="99" y="42"/>
                          <a:pt x="99" y="42"/>
                          <a:pt x="99" y="42"/>
                        </a:cubicBezTo>
                        <a:cubicBezTo>
                          <a:pt x="99" y="42"/>
                          <a:pt x="99" y="42"/>
                          <a:pt x="99" y="42"/>
                        </a:cubicBezTo>
                        <a:cubicBezTo>
                          <a:pt x="99" y="42"/>
                          <a:pt x="99" y="42"/>
                          <a:pt x="99" y="42"/>
                        </a:cubicBezTo>
                        <a:cubicBezTo>
                          <a:pt x="99" y="42"/>
                          <a:pt x="99" y="42"/>
                          <a:pt x="99" y="41"/>
                        </a:cubicBezTo>
                        <a:cubicBezTo>
                          <a:pt x="100" y="41"/>
                          <a:pt x="100" y="41"/>
                          <a:pt x="100" y="41"/>
                        </a:cubicBezTo>
                        <a:cubicBezTo>
                          <a:pt x="100" y="41"/>
                          <a:pt x="100" y="41"/>
                          <a:pt x="100" y="41"/>
                        </a:cubicBezTo>
                        <a:cubicBezTo>
                          <a:pt x="100" y="41"/>
                          <a:pt x="101" y="41"/>
                          <a:pt x="101" y="41"/>
                        </a:cubicBezTo>
                        <a:cubicBezTo>
                          <a:pt x="101" y="41"/>
                          <a:pt x="102" y="41"/>
                          <a:pt x="102" y="41"/>
                        </a:cubicBezTo>
                        <a:cubicBezTo>
                          <a:pt x="102" y="41"/>
                          <a:pt x="102" y="41"/>
                          <a:pt x="103" y="41"/>
                        </a:cubicBezTo>
                        <a:cubicBezTo>
                          <a:pt x="103" y="41"/>
                          <a:pt x="103" y="40"/>
                          <a:pt x="103" y="40"/>
                        </a:cubicBezTo>
                        <a:cubicBezTo>
                          <a:pt x="103" y="40"/>
                          <a:pt x="103" y="40"/>
                          <a:pt x="103" y="40"/>
                        </a:cubicBezTo>
                        <a:cubicBezTo>
                          <a:pt x="103" y="41"/>
                          <a:pt x="103" y="40"/>
                          <a:pt x="103" y="40"/>
                        </a:cubicBezTo>
                        <a:cubicBezTo>
                          <a:pt x="104" y="40"/>
                          <a:pt x="105" y="40"/>
                          <a:pt x="106" y="40"/>
                        </a:cubicBezTo>
                        <a:cubicBezTo>
                          <a:pt x="106" y="40"/>
                          <a:pt x="106" y="40"/>
                          <a:pt x="106" y="40"/>
                        </a:cubicBezTo>
                        <a:cubicBezTo>
                          <a:pt x="106" y="40"/>
                          <a:pt x="106" y="40"/>
                          <a:pt x="106" y="40"/>
                        </a:cubicBezTo>
                        <a:cubicBezTo>
                          <a:pt x="106" y="40"/>
                          <a:pt x="106" y="40"/>
                          <a:pt x="107" y="40"/>
                        </a:cubicBezTo>
                        <a:cubicBezTo>
                          <a:pt x="106" y="40"/>
                          <a:pt x="106" y="40"/>
                          <a:pt x="106" y="40"/>
                        </a:cubicBezTo>
                        <a:cubicBezTo>
                          <a:pt x="106" y="40"/>
                          <a:pt x="106" y="40"/>
                          <a:pt x="106" y="40"/>
                        </a:cubicBezTo>
                        <a:cubicBezTo>
                          <a:pt x="107" y="39"/>
                          <a:pt x="106" y="39"/>
                          <a:pt x="105" y="40"/>
                        </a:cubicBezTo>
                        <a:cubicBezTo>
                          <a:pt x="106" y="40"/>
                          <a:pt x="105" y="40"/>
                          <a:pt x="105" y="40"/>
                        </a:cubicBezTo>
                        <a:cubicBezTo>
                          <a:pt x="104" y="40"/>
                          <a:pt x="105" y="40"/>
                          <a:pt x="104" y="40"/>
                        </a:cubicBezTo>
                        <a:cubicBezTo>
                          <a:pt x="104" y="40"/>
                          <a:pt x="105" y="40"/>
                          <a:pt x="105" y="40"/>
                        </a:cubicBezTo>
                        <a:cubicBezTo>
                          <a:pt x="104" y="40"/>
                          <a:pt x="103" y="40"/>
                          <a:pt x="102" y="40"/>
                        </a:cubicBezTo>
                        <a:cubicBezTo>
                          <a:pt x="102" y="40"/>
                          <a:pt x="102" y="40"/>
                          <a:pt x="102" y="40"/>
                        </a:cubicBezTo>
                        <a:cubicBezTo>
                          <a:pt x="101" y="40"/>
                          <a:pt x="101" y="40"/>
                          <a:pt x="101" y="40"/>
                        </a:cubicBezTo>
                        <a:cubicBezTo>
                          <a:pt x="101" y="41"/>
                          <a:pt x="101" y="40"/>
                          <a:pt x="101" y="40"/>
                        </a:cubicBezTo>
                        <a:cubicBezTo>
                          <a:pt x="101" y="41"/>
                          <a:pt x="101" y="41"/>
                          <a:pt x="101" y="41"/>
                        </a:cubicBezTo>
                        <a:cubicBezTo>
                          <a:pt x="101" y="41"/>
                          <a:pt x="101" y="41"/>
                          <a:pt x="101" y="40"/>
                        </a:cubicBezTo>
                        <a:cubicBezTo>
                          <a:pt x="100" y="41"/>
                          <a:pt x="100" y="41"/>
                          <a:pt x="100" y="41"/>
                        </a:cubicBezTo>
                        <a:cubicBezTo>
                          <a:pt x="100" y="41"/>
                          <a:pt x="99" y="41"/>
                          <a:pt x="99" y="41"/>
                        </a:cubicBezTo>
                        <a:cubicBezTo>
                          <a:pt x="99" y="41"/>
                          <a:pt x="100" y="40"/>
                          <a:pt x="99" y="40"/>
                        </a:cubicBezTo>
                        <a:cubicBezTo>
                          <a:pt x="100" y="40"/>
                          <a:pt x="101" y="40"/>
                          <a:pt x="102" y="40"/>
                        </a:cubicBezTo>
                        <a:cubicBezTo>
                          <a:pt x="102" y="39"/>
                          <a:pt x="102" y="40"/>
                          <a:pt x="101" y="40"/>
                        </a:cubicBezTo>
                        <a:cubicBezTo>
                          <a:pt x="101" y="39"/>
                          <a:pt x="102" y="39"/>
                          <a:pt x="102" y="39"/>
                        </a:cubicBezTo>
                        <a:cubicBezTo>
                          <a:pt x="102" y="39"/>
                          <a:pt x="102" y="39"/>
                          <a:pt x="103" y="39"/>
                        </a:cubicBezTo>
                        <a:cubicBezTo>
                          <a:pt x="102" y="39"/>
                          <a:pt x="102" y="39"/>
                          <a:pt x="101" y="39"/>
                        </a:cubicBezTo>
                        <a:cubicBezTo>
                          <a:pt x="101" y="39"/>
                          <a:pt x="101" y="39"/>
                          <a:pt x="101" y="39"/>
                        </a:cubicBezTo>
                        <a:cubicBezTo>
                          <a:pt x="100" y="39"/>
                          <a:pt x="99" y="40"/>
                          <a:pt x="98" y="40"/>
                        </a:cubicBezTo>
                        <a:cubicBezTo>
                          <a:pt x="99" y="40"/>
                          <a:pt x="101" y="39"/>
                          <a:pt x="101" y="39"/>
                        </a:cubicBezTo>
                        <a:cubicBezTo>
                          <a:pt x="101" y="40"/>
                          <a:pt x="99" y="40"/>
                          <a:pt x="98" y="40"/>
                        </a:cubicBezTo>
                        <a:cubicBezTo>
                          <a:pt x="98" y="40"/>
                          <a:pt x="98" y="40"/>
                          <a:pt x="98" y="40"/>
                        </a:cubicBezTo>
                        <a:cubicBezTo>
                          <a:pt x="98" y="40"/>
                          <a:pt x="98" y="40"/>
                          <a:pt x="98" y="41"/>
                        </a:cubicBezTo>
                        <a:cubicBezTo>
                          <a:pt x="98" y="41"/>
                          <a:pt x="98" y="41"/>
                          <a:pt x="98" y="41"/>
                        </a:cubicBezTo>
                        <a:cubicBezTo>
                          <a:pt x="98" y="40"/>
                          <a:pt x="98" y="40"/>
                          <a:pt x="98" y="40"/>
                        </a:cubicBezTo>
                        <a:cubicBezTo>
                          <a:pt x="98" y="40"/>
                          <a:pt x="99" y="40"/>
                          <a:pt x="99" y="40"/>
                        </a:cubicBezTo>
                        <a:close/>
                        <a:moveTo>
                          <a:pt x="137" y="36"/>
                        </a:moveTo>
                        <a:cubicBezTo>
                          <a:pt x="137" y="36"/>
                          <a:pt x="138" y="36"/>
                          <a:pt x="138" y="36"/>
                        </a:cubicBezTo>
                        <a:cubicBezTo>
                          <a:pt x="138" y="36"/>
                          <a:pt x="138" y="36"/>
                          <a:pt x="138" y="36"/>
                        </a:cubicBezTo>
                        <a:cubicBezTo>
                          <a:pt x="138" y="36"/>
                          <a:pt x="138" y="36"/>
                          <a:pt x="137" y="36"/>
                        </a:cubicBezTo>
                        <a:close/>
                        <a:moveTo>
                          <a:pt x="124" y="39"/>
                        </a:moveTo>
                        <a:cubicBezTo>
                          <a:pt x="124" y="39"/>
                          <a:pt x="124" y="39"/>
                          <a:pt x="124" y="39"/>
                        </a:cubicBezTo>
                        <a:cubicBezTo>
                          <a:pt x="124" y="39"/>
                          <a:pt x="124" y="39"/>
                          <a:pt x="124" y="39"/>
                        </a:cubicBezTo>
                        <a:cubicBezTo>
                          <a:pt x="124" y="39"/>
                          <a:pt x="124" y="39"/>
                          <a:pt x="124" y="39"/>
                        </a:cubicBezTo>
                        <a:close/>
                        <a:moveTo>
                          <a:pt x="128" y="36"/>
                        </a:moveTo>
                        <a:cubicBezTo>
                          <a:pt x="128" y="36"/>
                          <a:pt x="128" y="36"/>
                          <a:pt x="128" y="36"/>
                        </a:cubicBezTo>
                        <a:cubicBezTo>
                          <a:pt x="128" y="36"/>
                          <a:pt x="128" y="36"/>
                          <a:pt x="128" y="36"/>
                        </a:cubicBezTo>
                        <a:cubicBezTo>
                          <a:pt x="128" y="36"/>
                          <a:pt x="128" y="36"/>
                          <a:pt x="128" y="36"/>
                        </a:cubicBezTo>
                        <a:close/>
                        <a:moveTo>
                          <a:pt x="131" y="36"/>
                        </a:moveTo>
                        <a:cubicBezTo>
                          <a:pt x="131" y="36"/>
                          <a:pt x="131" y="36"/>
                          <a:pt x="131" y="36"/>
                        </a:cubicBezTo>
                        <a:cubicBezTo>
                          <a:pt x="131" y="36"/>
                          <a:pt x="132" y="36"/>
                          <a:pt x="131" y="36"/>
                        </a:cubicBezTo>
                        <a:cubicBezTo>
                          <a:pt x="131" y="36"/>
                          <a:pt x="132" y="36"/>
                          <a:pt x="131" y="36"/>
                        </a:cubicBezTo>
                        <a:cubicBezTo>
                          <a:pt x="131" y="36"/>
                          <a:pt x="131" y="36"/>
                          <a:pt x="130" y="36"/>
                        </a:cubicBezTo>
                        <a:cubicBezTo>
                          <a:pt x="130" y="37"/>
                          <a:pt x="131" y="36"/>
                          <a:pt x="131" y="36"/>
                        </a:cubicBezTo>
                        <a:close/>
                        <a:moveTo>
                          <a:pt x="131" y="37"/>
                        </a:moveTo>
                        <a:cubicBezTo>
                          <a:pt x="130" y="37"/>
                          <a:pt x="130" y="37"/>
                          <a:pt x="130" y="37"/>
                        </a:cubicBezTo>
                        <a:cubicBezTo>
                          <a:pt x="131" y="37"/>
                          <a:pt x="131" y="37"/>
                          <a:pt x="131" y="37"/>
                        </a:cubicBezTo>
                        <a:close/>
                        <a:moveTo>
                          <a:pt x="132" y="37"/>
                        </a:moveTo>
                        <a:cubicBezTo>
                          <a:pt x="132" y="37"/>
                          <a:pt x="132" y="37"/>
                          <a:pt x="132" y="36"/>
                        </a:cubicBezTo>
                        <a:cubicBezTo>
                          <a:pt x="132" y="36"/>
                          <a:pt x="132" y="36"/>
                          <a:pt x="132" y="36"/>
                        </a:cubicBezTo>
                        <a:cubicBezTo>
                          <a:pt x="132" y="36"/>
                          <a:pt x="132" y="36"/>
                          <a:pt x="132" y="36"/>
                        </a:cubicBezTo>
                        <a:cubicBezTo>
                          <a:pt x="132" y="36"/>
                          <a:pt x="132" y="36"/>
                          <a:pt x="131" y="36"/>
                        </a:cubicBezTo>
                        <a:cubicBezTo>
                          <a:pt x="131" y="37"/>
                          <a:pt x="131" y="37"/>
                          <a:pt x="132" y="37"/>
                        </a:cubicBezTo>
                        <a:close/>
                        <a:moveTo>
                          <a:pt x="132" y="37"/>
                        </a:moveTo>
                        <a:cubicBezTo>
                          <a:pt x="132" y="37"/>
                          <a:pt x="132" y="37"/>
                          <a:pt x="133" y="37"/>
                        </a:cubicBezTo>
                        <a:cubicBezTo>
                          <a:pt x="133" y="37"/>
                          <a:pt x="133" y="37"/>
                          <a:pt x="133" y="37"/>
                        </a:cubicBezTo>
                        <a:cubicBezTo>
                          <a:pt x="133" y="37"/>
                          <a:pt x="133" y="37"/>
                          <a:pt x="133" y="36"/>
                        </a:cubicBezTo>
                        <a:cubicBezTo>
                          <a:pt x="133" y="36"/>
                          <a:pt x="132" y="37"/>
                          <a:pt x="132" y="37"/>
                        </a:cubicBezTo>
                        <a:close/>
                        <a:moveTo>
                          <a:pt x="140" y="35"/>
                        </a:moveTo>
                        <a:cubicBezTo>
                          <a:pt x="140" y="35"/>
                          <a:pt x="140" y="35"/>
                          <a:pt x="139" y="35"/>
                        </a:cubicBezTo>
                        <a:cubicBezTo>
                          <a:pt x="140" y="35"/>
                          <a:pt x="140" y="35"/>
                          <a:pt x="140" y="35"/>
                        </a:cubicBezTo>
                        <a:cubicBezTo>
                          <a:pt x="140" y="35"/>
                          <a:pt x="140" y="35"/>
                          <a:pt x="140" y="35"/>
                        </a:cubicBezTo>
                        <a:close/>
                        <a:moveTo>
                          <a:pt x="138" y="35"/>
                        </a:moveTo>
                        <a:cubicBezTo>
                          <a:pt x="138" y="35"/>
                          <a:pt x="139" y="35"/>
                          <a:pt x="139" y="35"/>
                        </a:cubicBezTo>
                        <a:cubicBezTo>
                          <a:pt x="139" y="35"/>
                          <a:pt x="138" y="35"/>
                          <a:pt x="138" y="35"/>
                        </a:cubicBezTo>
                        <a:close/>
                        <a:moveTo>
                          <a:pt x="134" y="36"/>
                        </a:moveTo>
                        <a:cubicBezTo>
                          <a:pt x="133" y="36"/>
                          <a:pt x="133" y="36"/>
                          <a:pt x="132" y="36"/>
                        </a:cubicBezTo>
                        <a:cubicBezTo>
                          <a:pt x="132" y="36"/>
                          <a:pt x="132" y="36"/>
                          <a:pt x="132" y="36"/>
                        </a:cubicBezTo>
                        <a:cubicBezTo>
                          <a:pt x="132" y="36"/>
                          <a:pt x="132" y="36"/>
                          <a:pt x="132" y="36"/>
                        </a:cubicBezTo>
                        <a:cubicBezTo>
                          <a:pt x="132" y="36"/>
                          <a:pt x="132" y="36"/>
                          <a:pt x="132" y="36"/>
                        </a:cubicBezTo>
                        <a:cubicBezTo>
                          <a:pt x="133" y="36"/>
                          <a:pt x="133" y="36"/>
                          <a:pt x="133" y="36"/>
                        </a:cubicBezTo>
                        <a:cubicBezTo>
                          <a:pt x="133" y="36"/>
                          <a:pt x="133" y="36"/>
                          <a:pt x="133" y="36"/>
                        </a:cubicBezTo>
                        <a:cubicBezTo>
                          <a:pt x="134" y="36"/>
                          <a:pt x="133" y="36"/>
                          <a:pt x="134" y="36"/>
                        </a:cubicBezTo>
                        <a:cubicBezTo>
                          <a:pt x="134" y="36"/>
                          <a:pt x="134" y="36"/>
                          <a:pt x="134" y="36"/>
                        </a:cubicBezTo>
                        <a:cubicBezTo>
                          <a:pt x="134" y="36"/>
                          <a:pt x="136" y="36"/>
                          <a:pt x="138" y="35"/>
                        </a:cubicBezTo>
                        <a:cubicBezTo>
                          <a:pt x="136" y="35"/>
                          <a:pt x="135" y="36"/>
                          <a:pt x="134" y="36"/>
                        </a:cubicBezTo>
                        <a:cubicBezTo>
                          <a:pt x="134" y="36"/>
                          <a:pt x="134" y="36"/>
                          <a:pt x="134" y="36"/>
                        </a:cubicBezTo>
                        <a:close/>
                        <a:moveTo>
                          <a:pt x="141" y="34"/>
                        </a:moveTo>
                        <a:cubicBezTo>
                          <a:pt x="141" y="34"/>
                          <a:pt x="141" y="34"/>
                          <a:pt x="141" y="34"/>
                        </a:cubicBezTo>
                        <a:cubicBezTo>
                          <a:pt x="142" y="34"/>
                          <a:pt x="142" y="34"/>
                          <a:pt x="142" y="34"/>
                        </a:cubicBezTo>
                        <a:cubicBezTo>
                          <a:pt x="142" y="34"/>
                          <a:pt x="142" y="34"/>
                          <a:pt x="141" y="34"/>
                        </a:cubicBezTo>
                        <a:close/>
                        <a:moveTo>
                          <a:pt x="141" y="34"/>
                        </a:moveTo>
                        <a:cubicBezTo>
                          <a:pt x="141" y="34"/>
                          <a:pt x="141" y="34"/>
                          <a:pt x="140" y="34"/>
                        </a:cubicBezTo>
                        <a:cubicBezTo>
                          <a:pt x="141" y="34"/>
                          <a:pt x="141" y="34"/>
                          <a:pt x="141" y="34"/>
                        </a:cubicBezTo>
                        <a:cubicBezTo>
                          <a:pt x="141" y="34"/>
                          <a:pt x="141" y="34"/>
                          <a:pt x="141" y="34"/>
                        </a:cubicBezTo>
                        <a:close/>
                        <a:moveTo>
                          <a:pt x="141" y="34"/>
                        </a:moveTo>
                        <a:cubicBezTo>
                          <a:pt x="141" y="34"/>
                          <a:pt x="140" y="34"/>
                          <a:pt x="140" y="34"/>
                        </a:cubicBezTo>
                        <a:cubicBezTo>
                          <a:pt x="140" y="34"/>
                          <a:pt x="141" y="34"/>
                          <a:pt x="141" y="34"/>
                        </a:cubicBezTo>
                        <a:close/>
                        <a:moveTo>
                          <a:pt x="136" y="35"/>
                        </a:moveTo>
                        <a:cubicBezTo>
                          <a:pt x="136" y="35"/>
                          <a:pt x="137" y="35"/>
                          <a:pt x="137" y="35"/>
                        </a:cubicBezTo>
                        <a:cubicBezTo>
                          <a:pt x="136" y="35"/>
                          <a:pt x="136" y="35"/>
                          <a:pt x="136" y="35"/>
                        </a:cubicBezTo>
                        <a:close/>
                        <a:moveTo>
                          <a:pt x="140" y="34"/>
                        </a:moveTo>
                        <a:cubicBezTo>
                          <a:pt x="140" y="34"/>
                          <a:pt x="140" y="34"/>
                          <a:pt x="140" y="34"/>
                        </a:cubicBezTo>
                        <a:cubicBezTo>
                          <a:pt x="140" y="34"/>
                          <a:pt x="140" y="33"/>
                          <a:pt x="140" y="34"/>
                        </a:cubicBezTo>
                        <a:close/>
                        <a:moveTo>
                          <a:pt x="140" y="33"/>
                        </a:moveTo>
                        <a:cubicBezTo>
                          <a:pt x="139" y="33"/>
                          <a:pt x="139" y="33"/>
                          <a:pt x="139" y="34"/>
                        </a:cubicBezTo>
                        <a:cubicBezTo>
                          <a:pt x="139" y="34"/>
                          <a:pt x="139" y="34"/>
                          <a:pt x="139" y="34"/>
                        </a:cubicBezTo>
                        <a:cubicBezTo>
                          <a:pt x="139" y="34"/>
                          <a:pt x="140" y="33"/>
                          <a:pt x="140" y="33"/>
                        </a:cubicBezTo>
                        <a:cubicBezTo>
                          <a:pt x="140" y="33"/>
                          <a:pt x="140" y="33"/>
                          <a:pt x="140" y="33"/>
                        </a:cubicBezTo>
                        <a:cubicBezTo>
                          <a:pt x="140" y="33"/>
                          <a:pt x="140" y="33"/>
                          <a:pt x="140" y="33"/>
                        </a:cubicBezTo>
                        <a:cubicBezTo>
                          <a:pt x="139" y="33"/>
                          <a:pt x="140" y="33"/>
                          <a:pt x="140" y="33"/>
                        </a:cubicBezTo>
                        <a:close/>
                        <a:moveTo>
                          <a:pt x="138" y="34"/>
                        </a:moveTo>
                        <a:cubicBezTo>
                          <a:pt x="138" y="34"/>
                          <a:pt x="138" y="34"/>
                          <a:pt x="139" y="34"/>
                        </a:cubicBezTo>
                        <a:cubicBezTo>
                          <a:pt x="139" y="33"/>
                          <a:pt x="139" y="33"/>
                          <a:pt x="139" y="33"/>
                        </a:cubicBezTo>
                        <a:cubicBezTo>
                          <a:pt x="138" y="34"/>
                          <a:pt x="138" y="33"/>
                          <a:pt x="138" y="33"/>
                        </a:cubicBezTo>
                        <a:cubicBezTo>
                          <a:pt x="138" y="34"/>
                          <a:pt x="137" y="34"/>
                          <a:pt x="138" y="34"/>
                        </a:cubicBezTo>
                        <a:cubicBezTo>
                          <a:pt x="138" y="34"/>
                          <a:pt x="138" y="34"/>
                          <a:pt x="138" y="34"/>
                        </a:cubicBezTo>
                        <a:cubicBezTo>
                          <a:pt x="138" y="34"/>
                          <a:pt x="138" y="34"/>
                          <a:pt x="138" y="34"/>
                        </a:cubicBezTo>
                        <a:close/>
                        <a:moveTo>
                          <a:pt x="139" y="34"/>
                        </a:moveTo>
                        <a:cubicBezTo>
                          <a:pt x="139" y="34"/>
                          <a:pt x="139" y="34"/>
                          <a:pt x="138" y="34"/>
                        </a:cubicBezTo>
                        <a:cubicBezTo>
                          <a:pt x="138" y="34"/>
                          <a:pt x="139" y="34"/>
                          <a:pt x="139" y="34"/>
                        </a:cubicBezTo>
                        <a:cubicBezTo>
                          <a:pt x="138" y="34"/>
                          <a:pt x="138" y="34"/>
                          <a:pt x="138" y="34"/>
                        </a:cubicBezTo>
                        <a:cubicBezTo>
                          <a:pt x="138" y="34"/>
                          <a:pt x="139" y="34"/>
                          <a:pt x="139" y="34"/>
                        </a:cubicBezTo>
                        <a:close/>
                        <a:moveTo>
                          <a:pt x="130" y="36"/>
                        </a:moveTo>
                        <a:cubicBezTo>
                          <a:pt x="130" y="35"/>
                          <a:pt x="129" y="36"/>
                          <a:pt x="128" y="36"/>
                        </a:cubicBezTo>
                        <a:cubicBezTo>
                          <a:pt x="128" y="36"/>
                          <a:pt x="129" y="36"/>
                          <a:pt x="129" y="36"/>
                        </a:cubicBezTo>
                        <a:cubicBezTo>
                          <a:pt x="129" y="36"/>
                          <a:pt x="130" y="36"/>
                          <a:pt x="130" y="36"/>
                        </a:cubicBezTo>
                        <a:cubicBezTo>
                          <a:pt x="130" y="36"/>
                          <a:pt x="130" y="36"/>
                          <a:pt x="130" y="36"/>
                        </a:cubicBezTo>
                        <a:cubicBezTo>
                          <a:pt x="130" y="36"/>
                          <a:pt x="130" y="36"/>
                          <a:pt x="130" y="36"/>
                        </a:cubicBezTo>
                        <a:cubicBezTo>
                          <a:pt x="130" y="36"/>
                          <a:pt x="130" y="36"/>
                          <a:pt x="130" y="36"/>
                        </a:cubicBezTo>
                        <a:cubicBezTo>
                          <a:pt x="131" y="36"/>
                          <a:pt x="131" y="36"/>
                          <a:pt x="131" y="36"/>
                        </a:cubicBezTo>
                        <a:cubicBezTo>
                          <a:pt x="131" y="36"/>
                          <a:pt x="131" y="36"/>
                          <a:pt x="132" y="36"/>
                        </a:cubicBezTo>
                        <a:cubicBezTo>
                          <a:pt x="132" y="36"/>
                          <a:pt x="132" y="36"/>
                          <a:pt x="132" y="36"/>
                        </a:cubicBezTo>
                        <a:cubicBezTo>
                          <a:pt x="132" y="36"/>
                          <a:pt x="132" y="36"/>
                          <a:pt x="132" y="36"/>
                        </a:cubicBezTo>
                        <a:cubicBezTo>
                          <a:pt x="132" y="36"/>
                          <a:pt x="133" y="36"/>
                          <a:pt x="133" y="35"/>
                        </a:cubicBezTo>
                        <a:cubicBezTo>
                          <a:pt x="133" y="35"/>
                          <a:pt x="133" y="36"/>
                          <a:pt x="133" y="36"/>
                        </a:cubicBezTo>
                        <a:cubicBezTo>
                          <a:pt x="133" y="36"/>
                          <a:pt x="132" y="36"/>
                          <a:pt x="132" y="36"/>
                        </a:cubicBezTo>
                        <a:cubicBezTo>
                          <a:pt x="132" y="36"/>
                          <a:pt x="132" y="36"/>
                          <a:pt x="132" y="36"/>
                        </a:cubicBezTo>
                        <a:cubicBezTo>
                          <a:pt x="132" y="36"/>
                          <a:pt x="132" y="36"/>
                          <a:pt x="133" y="36"/>
                        </a:cubicBezTo>
                        <a:cubicBezTo>
                          <a:pt x="133" y="36"/>
                          <a:pt x="133" y="36"/>
                          <a:pt x="133" y="36"/>
                        </a:cubicBezTo>
                        <a:cubicBezTo>
                          <a:pt x="133" y="36"/>
                          <a:pt x="133" y="36"/>
                          <a:pt x="133" y="36"/>
                        </a:cubicBezTo>
                        <a:cubicBezTo>
                          <a:pt x="134" y="36"/>
                          <a:pt x="133" y="36"/>
                          <a:pt x="134" y="36"/>
                        </a:cubicBezTo>
                        <a:cubicBezTo>
                          <a:pt x="134" y="36"/>
                          <a:pt x="134" y="36"/>
                          <a:pt x="134" y="35"/>
                        </a:cubicBezTo>
                        <a:cubicBezTo>
                          <a:pt x="134" y="35"/>
                          <a:pt x="134" y="36"/>
                          <a:pt x="134" y="35"/>
                        </a:cubicBezTo>
                        <a:cubicBezTo>
                          <a:pt x="134" y="35"/>
                          <a:pt x="134" y="35"/>
                          <a:pt x="134" y="35"/>
                        </a:cubicBezTo>
                        <a:cubicBezTo>
                          <a:pt x="134" y="35"/>
                          <a:pt x="134" y="36"/>
                          <a:pt x="133" y="35"/>
                        </a:cubicBezTo>
                        <a:cubicBezTo>
                          <a:pt x="134" y="35"/>
                          <a:pt x="135" y="35"/>
                          <a:pt x="134" y="35"/>
                        </a:cubicBezTo>
                        <a:cubicBezTo>
                          <a:pt x="134" y="35"/>
                          <a:pt x="133" y="35"/>
                          <a:pt x="133" y="35"/>
                        </a:cubicBezTo>
                        <a:cubicBezTo>
                          <a:pt x="132" y="36"/>
                          <a:pt x="132" y="35"/>
                          <a:pt x="132" y="36"/>
                        </a:cubicBezTo>
                        <a:cubicBezTo>
                          <a:pt x="131" y="36"/>
                          <a:pt x="131" y="36"/>
                          <a:pt x="131" y="35"/>
                        </a:cubicBezTo>
                        <a:cubicBezTo>
                          <a:pt x="131" y="35"/>
                          <a:pt x="132" y="35"/>
                          <a:pt x="132" y="35"/>
                        </a:cubicBezTo>
                        <a:cubicBezTo>
                          <a:pt x="131" y="35"/>
                          <a:pt x="130" y="35"/>
                          <a:pt x="130" y="36"/>
                        </a:cubicBezTo>
                        <a:close/>
                        <a:moveTo>
                          <a:pt x="131" y="35"/>
                        </a:moveTo>
                        <a:cubicBezTo>
                          <a:pt x="131" y="35"/>
                          <a:pt x="130" y="35"/>
                          <a:pt x="130" y="35"/>
                        </a:cubicBezTo>
                        <a:cubicBezTo>
                          <a:pt x="131" y="35"/>
                          <a:pt x="131" y="35"/>
                          <a:pt x="131" y="35"/>
                        </a:cubicBezTo>
                        <a:cubicBezTo>
                          <a:pt x="131" y="35"/>
                          <a:pt x="131" y="35"/>
                          <a:pt x="131" y="35"/>
                        </a:cubicBezTo>
                        <a:close/>
                        <a:moveTo>
                          <a:pt x="110" y="35"/>
                        </a:moveTo>
                        <a:cubicBezTo>
                          <a:pt x="110" y="35"/>
                          <a:pt x="110" y="35"/>
                          <a:pt x="110" y="35"/>
                        </a:cubicBezTo>
                        <a:cubicBezTo>
                          <a:pt x="110" y="35"/>
                          <a:pt x="110" y="35"/>
                          <a:pt x="109" y="35"/>
                        </a:cubicBezTo>
                        <a:cubicBezTo>
                          <a:pt x="109" y="35"/>
                          <a:pt x="110" y="35"/>
                          <a:pt x="110" y="35"/>
                        </a:cubicBezTo>
                        <a:close/>
                        <a:moveTo>
                          <a:pt x="108" y="35"/>
                        </a:moveTo>
                        <a:cubicBezTo>
                          <a:pt x="107" y="35"/>
                          <a:pt x="107" y="36"/>
                          <a:pt x="107" y="36"/>
                        </a:cubicBezTo>
                        <a:cubicBezTo>
                          <a:pt x="107" y="36"/>
                          <a:pt x="108" y="36"/>
                          <a:pt x="108" y="35"/>
                        </a:cubicBezTo>
                        <a:close/>
                        <a:moveTo>
                          <a:pt x="111" y="35"/>
                        </a:moveTo>
                        <a:cubicBezTo>
                          <a:pt x="111" y="35"/>
                          <a:pt x="111" y="35"/>
                          <a:pt x="111" y="35"/>
                        </a:cubicBezTo>
                        <a:cubicBezTo>
                          <a:pt x="111" y="35"/>
                          <a:pt x="111" y="35"/>
                          <a:pt x="111" y="35"/>
                        </a:cubicBezTo>
                        <a:cubicBezTo>
                          <a:pt x="111" y="35"/>
                          <a:pt x="111" y="35"/>
                          <a:pt x="111" y="35"/>
                        </a:cubicBezTo>
                        <a:cubicBezTo>
                          <a:pt x="111" y="35"/>
                          <a:pt x="111" y="35"/>
                          <a:pt x="112" y="35"/>
                        </a:cubicBezTo>
                        <a:cubicBezTo>
                          <a:pt x="111" y="35"/>
                          <a:pt x="110" y="35"/>
                          <a:pt x="111" y="35"/>
                        </a:cubicBezTo>
                        <a:cubicBezTo>
                          <a:pt x="110" y="35"/>
                          <a:pt x="110" y="35"/>
                          <a:pt x="110" y="35"/>
                        </a:cubicBezTo>
                        <a:cubicBezTo>
                          <a:pt x="110" y="35"/>
                          <a:pt x="111" y="35"/>
                          <a:pt x="111" y="35"/>
                        </a:cubicBezTo>
                        <a:close/>
                        <a:moveTo>
                          <a:pt x="110" y="35"/>
                        </a:moveTo>
                        <a:cubicBezTo>
                          <a:pt x="110" y="35"/>
                          <a:pt x="109" y="35"/>
                          <a:pt x="109" y="36"/>
                        </a:cubicBezTo>
                        <a:cubicBezTo>
                          <a:pt x="110" y="36"/>
                          <a:pt x="110" y="35"/>
                          <a:pt x="110" y="35"/>
                        </a:cubicBezTo>
                        <a:close/>
                        <a:moveTo>
                          <a:pt x="113" y="36"/>
                        </a:moveTo>
                        <a:cubicBezTo>
                          <a:pt x="114" y="36"/>
                          <a:pt x="114" y="35"/>
                          <a:pt x="113" y="35"/>
                        </a:cubicBezTo>
                        <a:cubicBezTo>
                          <a:pt x="113" y="35"/>
                          <a:pt x="114" y="35"/>
                          <a:pt x="114" y="35"/>
                        </a:cubicBezTo>
                        <a:cubicBezTo>
                          <a:pt x="114" y="35"/>
                          <a:pt x="113" y="36"/>
                          <a:pt x="114" y="35"/>
                        </a:cubicBezTo>
                        <a:cubicBezTo>
                          <a:pt x="114" y="35"/>
                          <a:pt x="114" y="35"/>
                          <a:pt x="115" y="35"/>
                        </a:cubicBezTo>
                        <a:cubicBezTo>
                          <a:pt x="114" y="35"/>
                          <a:pt x="114" y="35"/>
                          <a:pt x="114" y="35"/>
                        </a:cubicBezTo>
                        <a:cubicBezTo>
                          <a:pt x="114" y="35"/>
                          <a:pt x="113" y="35"/>
                          <a:pt x="113" y="35"/>
                        </a:cubicBezTo>
                        <a:cubicBezTo>
                          <a:pt x="113" y="35"/>
                          <a:pt x="113" y="35"/>
                          <a:pt x="113" y="36"/>
                        </a:cubicBezTo>
                        <a:cubicBezTo>
                          <a:pt x="113" y="35"/>
                          <a:pt x="112" y="36"/>
                          <a:pt x="113" y="35"/>
                        </a:cubicBezTo>
                        <a:cubicBezTo>
                          <a:pt x="112" y="35"/>
                          <a:pt x="112" y="36"/>
                          <a:pt x="112" y="36"/>
                        </a:cubicBezTo>
                        <a:cubicBezTo>
                          <a:pt x="112" y="36"/>
                          <a:pt x="112" y="36"/>
                          <a:pt x="112" y="36"/>
                        </a:cubicBezTo>
                        <a:cubicBezTo>
                          <a:pt x="112" y="36"/>
                          <a:pt x="112" y="35"/>
                          <a:pt x="112" y="36"/>
                        </a:cubicBezTo>
                        <a:cubicBezTo>
                          <a:pt x="112" y="36"/>
                          <a:pt x="112" y="36"/>
                          <a:pt x="112" y="36"/>
                        </a:cubicBezTo>
                        <a:cubicBezTo>
                          <a:pt x="113" y="36"/>
                          <a:pt x="112" y="36"/>
                          <a:pt x="113" y="36"/>
                        </a:cubicBezTo>
                        <a:cubicBezTo>
                          <a:pt x="113" y="36"/>
                          <a:pt x="113" y="36"/>
                          <a:pt x="113" y="36"/>
                        </a:cubicBezTo>
                        <a:cubicBezTo>
                          <a:pt x="113" y="36"/>
                          <a:pt x="113" y="36"/>
                          <a:pt x="113" y="36"/>
                        </a:cubicBezTo>
                        <a:close/>
                        <a:moveTo>
                          <a:pt x="120" y="35"/>
                        </a:moveTo>
                        <a:cubicBezTo>
                          <a:pt x="120" y="35"/>
                          <a:pt x="120" y="35"/>
                          <a:pt x="120" y="35"/>
                        </a:cubicBezTo>
                        <a:cubicBezTo>
                          <a:pt x="120" y="35"/>
                          <a:pt x="120" y="35"/>
                          <a:pt x="121" y="35"/>
                        </a:cubicBezTo>
                        <a:cubicBezTo>
                          <a:pt x="121" y="35"/>
                          <a:pt x="120" y="35"/>
                          <a:pt x="120" y="35"/>
                        </a:cubicBezTo>
                        <a:close/>
                        <a:moveTo>
                          <a:pt x="117" y="36"/>
                        </a:moveTo>
                        <a:cubicBezTo>
                          <a:pt x="118" y="35"/>
                          <a:pt x="118" y="35"/>
                          <a:pt x="118" y="35"/>
                        </a:cubicBezTo>
                        <a:cubicBezTo>
                          <a:pt x="118" y="35"/>
                          <a:pt x="118" y="35"/>
                          <a:pt x="118" y="35"/>
                        </a:cubicBezTo>
                        <a:cubicBezTo>
                          <a:pt x="118" y="35"/>
                          <a:pt x="117" y="35"/>
                          <a:pt x="117" y="36"/>
                        </a:cubicBezTo>
                        <a:close/>
                        <a:moveTo>
                          <a:pt x="119" y="36"/>
                        </a:moveTo>
                        <a:cubicBezTo>
                          <a:pt x="118" y="36"/>
                          <a:pt x="118" y="35"/>
                          <a:pt x="118" y="36"/>
                        </a:cubicBezTo>
                        <a:cubicBezTo>
                          <a:pt x="118" y="36"/>
                          <a:pt x="119" y="36"/>
                          <a:pt x="119" y="35"/>
                        </a:cubicBezTo>
                        <a:cubicBezTo>
                          <a:pt x="119" y="35"/>
                          <a:pt x="119" y="35"/>
                          <a:pt x="119" y="35"/>
                        </a:cubicBezTo>
                        <a:cubicBezTo>
                          <a:pt x="119" y="35"/>
                          <a:pt x="119" y="35"/>
                          <a:pt x="119" y="35"/>
                        </a:cubicBezTo>
                        <a:cubicBezTo>
                          <a:pt x="119" y="35"/>
                          <a:pt x="119" y="35"/>
                          <a:pt x="119" y="35"/>
                        </a:cubicBezTo>
                        <a:cubicBezTo>
                          <a:pt x="119" y="35"/>
                          <a:pt x="119" y="35"/>
                          <a:pt x="119" y="35"/>
                        </a:cubicBezTo>
                        <a:cubicBezTo>
                          <a:pt x="119" y="35"/>
                          <a:pt x="119" y="35"/>
                          <a:pt x="118" y="35"/>
                        </a:cubicBezTo>
                        <a:cubicBezTo>
                          <a:pt x="118" y="35"/>
                          <a:pt x="118" y="35"/>
                          <a:pt x="118" y="35"/>
                        </a:cubicBezTo>
                        <a:cubicBezTo>
                          <a:pt x="118" y="35"/>
                          <a:pt x="119" y="35"/>
                          <a:pt x="119" y="36"/>
                        </a:cubicBezTo>
                        <a:close/>
                        <a:moveTo>
                          <a:pt x="118" y="36"/>
                        </a:moveTo>
                        <a:cubicBezTo>
                          <a:pt x="118" y="36"/>
                          <a:pt x="118" y="36"/>
                          <a:pt x="118" y="36"/>
                        </a:cubicBezTo>
                        <a:cubicBezTo>
                          <a:pt x="118" y="36"/>
                          <a:pt x="118" y="36"/>
                          <a:pt x="118" y="36"/>
                        </a:cubicBezTo>
                        <a:cubicBezTo>
                          <a:pt x="118" y="36"/>
                          <a:pt x="117" y="36"/>
                          <a:pt x="117" y="36"/>
                        </a:cubicBezTo>
                        <a:cubicBezTo>
                          <a:pt x="117" y="36"/>
                          <a:pt x="117" y="36"/>
                          <a:pt x="118" y="36"/>
                        </a:cubicBezTo>
                        <a:cubicBezTo>
                          <a:pt x="118" y="36"/>
                          <a:pt x="117" y="36"/>
                          <a:pt x="118" y="36"/>
                        </a:cubicBezTo>
                        <a:close/>
                        <a:moveTo>
                          <a:pt x="118" y="36"/>
                        </a:moveTo>
                        <a:cubicBezTo>
                          <a:pt x="119" y="36"/>
                          <a:pt x="119" y="36"/>
                          <a:pt x="120" y="35"/>
                        </a:cubicBezTo>
                        <a:cubicBezTo>
                          <a:pt x="120" y="35"/>
                          <a:pt x="120" y="35"/>
                          <a:pt x="120" y="35"/>
                        </a:cubicBezTo>
                        <a:cubicBezTo>
                          <a:pt x="119" y="36"/>
                          <a:pt x="119" y="36"/>
                          <a:pt x="118" y="36"/>
                        </a:cubicBezTo>
                        <a:close/>
                        <a:moveTo>
                          <a:pt x="101" y="40"/>
                        </a:moveTo>
                        <a:cubicBezTo>
                          <a:pt x="102" y="40"/>
                          <a:pt x="101" y="40"/>
                          <a:pt x="101" y="40"/>
                        </a:cubicBezTo>
                        <a:cubicBezTo>
                          <a:pt x="102" y="40"/>
                          <a:pt x="100" y="40"/>
                          <a:pt x="100" y="40"/>
                        </a:cubicBezTo>
                        <a:cubicBezTo>
                          <a:pt x="101" y="40"/>
                          <a:pt x="101" y="40"/>
                          <a:pt x="101" y="40"/>
                        </a:cubicBezTo>
                        <a:close/>
                        <a:moveTo>
                          <a:pt x="105" y="39"/>
                        </a:moveTo>
                        <a:cubicBezTo>
                          <a:pt x="105" y="39"/>
                          <a:pt x="105" y="39"/>
                          <a:pt x="105" y="39"/>
                        </a:cubicBezTo>
                        <a:cubicBezTo>
                          <a:pt x="105" y="39"/>
                          <a:pt x="105" y="39"/>
                          <a:pt x="105" y="39"/>
                        </a:cubicBezTo>
                        <a:close/>
                        <a:moveTo>
                          <a:pt x="107" y="39"/>
                        </a:moveTo>
                        <a:cubicBezTo>
                          <a:pt x="106" y="39"/>
                          <a:pt x="107" y="39"/>
                          <a:pt x="106" y="39"/>
                        </a:cubicBezTo>
                        <a:cubicBezTo>
                          <a:pt x="106" y="39"/>
                          <a:pt x="106" y="39"/>
                          <a:pt x="106" y="39"/>
                        </a:cubicBezTo>
                        <a:cubicBezTo>
                          <a:pt x="106" y="39"/>
                          <a:pt x="106" y="39"/>
                          <a:pt x="106" y="39"/>
                        </a:cubicBezTo>
                        <a:cubicBezTo>
                          <a:pt x="106" y="39"/>
                          <a:pt x="106" y="39"/>
                          <a:pt x="107" y="39"/>
                        </a:cubicBezTo>
                        <a:cubicBezTo>
                          <a:pt x="106" y="38"/>
                          <a:pt x="106" y="39"/>
                          <a:pt x="106" y="39"/>
                        </a:cubicBezTo>
                        <a:cubicBezTo>
                          <a:pt x="106" y="39"/>
                          <a:pt x="106" y="39"/>
                          <a:pt x="106" y="39"/>
                        </a:cubicBezTo>
                        <a:cubicBezTo>
                          <a:pt x="106" y="39"/>
                          <a:pt x="106" y="39"/>
                          <a:pt x="105" y="39"/>
                        </a:cubicBezTo>
                        <a:cubicBezTo>
                          <a:pt x="105" y="39"/>
                          <a:pt x="106" y="39"/>
                          <a:pt x="106" y="39"/>
                        </a:cubicBezTo>
                        <a:cubicBezTo>
                          <a:pt x="106" y="39"/>
                          <a:pt x="106" y="39"/>
                          <a:pt x="106" y="39"/>
                        </a:cubicBezTo>
                        <a:cubicBezTo>
                          <a:pt x="106" y="39"/>
                          <a:pt x="106" y="39"/>
                          <a:pt x="107" y="39"/>
                        </a:cubicBezTo>
                        <a:close/>
                        <a:moveTo>
                          <a:pt x="109" y="38"/>
                        </a:moveTo>
                        <a:cubicBezTo>
                          <a:pt x="109" y="38"/>
                          <a:pt x="108" y="38"/>
                          <a:pt x="108" y="38"/>
                        </a:cubicBezTo>
                        <a:cubicBezTo>
                          <a:pt x="108" y="38"/>
                          <a:pt x="107" y="38"/>
                          <a:pt x="107" y="39"/>
                        </a:cubicBezTo>
                        <a:cubicBezTo>
                          <a:pt x="108" y="39"/>
                          <a:pt x="108" y="38"/>
                          <a:pt x="108" y="38"/>
                        </a:cubicBezTo>
                        <a:cubicBezTo>
                          <a:pt x="108" y="39"/>
                          <a:pt x="108" y="39"/>
                          <a:pt x="108" y="39"/>
                        </a:cubicBezTo>
                        <a:cubicBezTo>
                          <a:pt x="108" y="38"/>
                          <a:pt x="109" y="39"/>
                          <a:pt x="109" y="38"/>
                        </a:cubicBezTo>
                        <a:close/>
                        <a:moveTo>
                          <a:pt x="113" y="38"/>
                        </a:moveTo>
                        <a:cubicBezTo>
                          <a:pt x="114" y="38"/>
                          <a:pt x="114" y="37"/>
                          <a:pt x="114" y="37"/>
                        </a:cubicBezTo>
                        <a:cubicBezTo>
                          <a:pt x="114" y="38"/>
                          <a:pt x="114" y="37"/>
                          <a:pt x="114" y="37"/>
                        </a:cubicBezTo>
                        <a:cubicBezTo>
                          <a:pt x="114" y="38"/>
                          <a:pt x="114" y="38"/>
                          <a:pt x="114" y="38"/>
                        </a:cubicBezTo>
                        <a:cubicBezTo>
                          <a:pt x="114" y="38"/>
                          <a:pt x="114" y="37"/>
                          <a:pt x="114" y="38"/>
                        </a:cubicBezTo>
                        <a:cubicBezTo>
                          <a:pt x="114" y="38"/>
                          <a:pt x="113" y="38"/>
                          <a:pt x="114" y="38"/>
                        </a:cubicBezTo>
                        <a:cubicBezTo>
                          <a:pt x="114" y="38"/>
                          <a:pt x="114" y="38"/>
                          <a:pt x="115" y="38"/>
                        </a:cubicBezTo>
                        <a:cubicBezTo>
                          <a:pt x="114" y="38"/>
                          <a:pt x="114" y="37"/>
                          <a:pt x="115" y="37"/>
                        </a:cubicBezTo>
                        <a:cubicBezTo>
                          <a:pt x="115" y="37"/>
                          <a:pt x="115" y="38"/>
                          <a:pt x="115" y="38"/>
                        </a:cubicBezTo>
                        <a:cubicBezTo>
                          <a:pt x="115" y="37"/>
                          <a:pt x="115" y="37"/>
                          <a:pt x="114" y="37"/>
                        </a:cubicBezTo>
                        <a:cubicBezTo>
                          <a:pt x="114" y="37"/>
                          <a:pt x="113" y="37"/>
                          <a:pt x="113" y="38"/>
                        </a:cubicBezTo>
                        <a:close/>
                        <a:moveTo>
                          <a:pt x="112" y="38"/>
                        </a:moveTo>
                        <a:cubicBezTo>
                          <a:pt x="112" y="38"/>
                          <a:pt x="113" y="38"/>
                          <a:pt x="113" y="38"/>
                        </a:cubicBezTo>
                        <a:cubicBezTo>
                          <a:pt x="112" y="38"/>
                          <a:pt x="112" y="38"/>
                          <a:pt x="112" y="38"/>
                        </a:cubicBezTo>
                        <a:close/>
                        <a:moveTo>
                          <a:pt x="111" y="38"/>
                        </a:moveTo>
                        <a:cubicBezTo>
                          <a:pt x="111" y="38"/>
                          <a:pt x="111" y="38"/>
                          <a:pt x="111" y="38"/>
                        </a:cubicBezTo>
                        <a:cubicBezTo>
                          <a:pt x="111" y="38"/>
                          <a:pt x="111" y="38"/>
                          <a:pt x="111" y="38"/>
                        </a:cubicBezTo>
                        <a:cubicBezTo>
                          <a:pt x="111" y="38"/>
                          <a:pt x="111" y="38"/>
                          <a:pt x="111" y="38"/>
                        </a:cubicBezTo>
                        <a:close/>
                        <a:moveTo>
                          <a:pt x="107" y="40"/>
                        </a:moveTo>
                        <a:cubicBezTo>
                          <a:pt x="107" y="40"/>
                          <a:pt x="107" y="39"/>
                          <a:pt x="107" y="39"/>
                        </a:cubicBezTo>
                        <a:cubicBezTo>
                          <a:pt x="107" y="39"/>
                          <a:pt x="107" y="39"/>
                          <a:pt x="107" y="39"/>
                        </a:cubicBezTo>
                        <a:cubicBezTo>
                          <a:pt x="107" y="39"/>
                          <a:pt x="108" y="40"/>
                          <a:pt x="108" y="39"/>
                        </a:cubicBezTo>
                        <a:cubicBezTo>
                          <a:pt x="108" y="39"/>
                          <a:pt x="108" y="39"/>
                          <a:pt x="108" y="39"/>
                        </a:cubicBezTo>
                        <a:cubicBezTo>
                          <a:pt x="108" y="39"/>
                          <a:pt x="108" y="39"/>
                          <a:pt x="108" y="39"/>
                        </a:cubicBezTo>
                        <a:cubicBezTo>
                          <a:pt x="108" y="39"/>
                          <a:pt x="108" y="39"/>
                          <a:pt x="108" y="39"/>
                        </a:cubicBezTo>
                        <a:cubicBezTo>
                          <a:pt x="108" y="39"/>
                          <a:pt x="108" y="39"/>
                          <a:pt x="108" y="39"/>
                        </a:cubicBezTo>
                        <a:cubicBezTo>
                          <a:pt x="108" y="39"/>
                          <a:pt x="107" y="39"/>
                          <a:pt x="107" y="39"/>
                        </a:cubicBezTo>
                        <a:cubicBezTo>
                          <a:pt x="107" y="39"/>
                          <a:pt x="107" y="39"/>
                          <a:pt x="107" y="40"/>
                        </a:cubicBezTo>
                        <a:close/>
                        <a:moveTo>
                          <a:pt x="110" y="39"/>
                        </a:moveTo>
                        <a:cubicBezTo>
                          <a:pt x="110" y="39"/>
                          <a:pt x="109" y="39"/>
                          <a:pt x="109" y="39"/>
                        </a:cubicBezTo>
                        <a:cubicBezTo>
                          <a:pt x="109" y="39"/>
                          <a:pt x="109" y="39"/>
                          <a:pt x="109" y="39"/>
                        </a:cubicBezTo>
                        <a:cubicBezTo>
                          <a:pt x="109" y="39"/>
                          <a:pt x="109" y="39"/>
                          <a:pt x="110" y="39"/>
                        </a:cubicBezTo>
                        <a:close/>
                        <a:moveTo>
                          <a:pt x="108" y="39"/>
                        </a:moveTo>
                        <a:cubicBezTo>
                          <a:pt x="108" y="39"/>
                          <a:pt x="108" y="39"/>
                          <a:pt x="108" y="39"/>
                        </a:cubicBezTo>
                        <a:cubicBezTo>
                          <a:pt x="108" y="39"/>
                          <a:pt x="109" y="39"/>
                          <a:pt x="108" y="39"/>
                        </a:cubicBezTo>
                        <a:close/>
                        <a:moveTo>
                          <a:pt x="111" y="39"/>
                        </a:moveTo>
                        <a:cubicBezTo>
                          <a:pt x="111" y="39"/>
                          <a:pt x="111" y="39"/>
                          <a:pt x="111" y="39"/>
                        </a:cubicBezTo>
                        <a:cubicBezTo>
                          <a:pt x="111" y="39"/>
                          <a:pt x="111" y="39"/>
                          <a:pt x="112" y="39"/>
                        </a:cubicBezTo>
                        <a:cubicBezTo>
                          <a:pt x="112" y="39"/>
                          <a:pt x="111" y="39"/>
                          <a:pt x="111" y="39"/>
                        </a:cubicBezTo>
                        <a:cubicBezTo>
                          <a:pt x="112" y="39"/>
                          <a:pt x="113" y="39"/>
                          <a:pt x="113" y="38"/>
                        </a:cubicBezTo>
                        <a:cubicBezTo>
                          <a:pt x="112" y="38"/>
                          <a:pt x="111" y="39"/>
                          <a:pt x="111" y="39"/>
                        </a:cubicBezTo>
                        <a:cubicBezTo>
                          <a:pt x="111" y="39"/>
                          <a:pt x="110" y="39"/>
                          <a:pt x="110" y="39"/>
                        </a:cubicBezTo>
                        <a:cubicBezTo>
                          <a:pt x="110" y="39"/>
                          <a:pt x="110" y="39"/>
                          <a:pt x="110" y="39"/>
                        </a:cubicBezTo>
                        <a:cubicBezTo>
                          <a:pt x="110" y="38"/>
                          <a:pt x="110" y="39"/>
                          <a:pt x="111" y="38"/>
                        </a:cubicBezTo>
                        <a:cubicBezTo>
                          <a:pt x="110" y="38"/>
                          <a:pt x="110" y="38"/>
                          <a:pt x="110" y="38"/>
                        </a:cubicBezTo>
                        <a:cubicBezTo>
                          <a:pt x="110" y="38"/>
                          <a:pt x="110" y="38"/>
                          <a:pt x="110" y="38"/>
                        </a:cubicBezTo>
                        <a:cubicBezTo>
                          <a:pt x="110" y="39"/>
                          <a:pt x="110" y="39"/>
                          <a:pt x="110" y="39"/>
                        </a:cubicBezTo>
                        <a:cubicBezTo>
                          <a:pt x="110" y="39"/>
                          <a:pt x="109" y="39"/>
                          <a:pt x="110" y="39"/>
                        </a:cubicBezTo>
                        <a:cubicBezTo>
                          <a:pt x="110" y="39"/>
                          <a:pt x="111" y="39"/>
                          <a:pt x="111" y="39"/>
                        </a:cubicBezTo>
                        <a:cubicBezTo>
                          <a:pt x="111" y="39"/>
                          <a:pt x="111" y="39"/>
                          <a:pt x="111" y="39"/>
                        </a:cubicBezTo>
                        <a:close/>
                        <a:moveTo>
                          <a:pt x="113" y="38"/>
                        </a:moveTo>
                        <a:cubicBezTo>
                          <a:pt x="113" y="38"/>
                          <a:pt x="113" y="38"/>
                          <a:pt x="113" y="38"/>
                        </a:cubicBezTo>
                        <a:cubicBezTo>
                          <a:pt x="113" y="38"/>
                          <a:pt x="113" y="38"/>
                          <a:pt x="113" y="38"/>
                        </a:cubicBezTo>
                        <a:cubicBezTo>
                          <a:pt x="113" y="38"/>
                          <a:pt x="114" y="39"/>
                          <a:pt x="114" y="38"/>
                        </a:cubicBezTo>
                        <a:cubicBezTo>
                          <a:pt x="114" y="38"/>
                          <a:pt x="115" y="38"/>
                          <a:pt x="115" y="38"/>
                        </a:cubicBezTo>
                        <a:cubicBezTo>
                          <a:pt x="115" y="38"/>
                          <a:pt x="114" y="38"/>
                          <a:pt x="114" y="38"/>
                        </a:cubicBezTo>
                        <a:cubicBezTo>
                          <a:pt x="114" y="38"/>
                          <a:pt x="114" y="38"/>
                          <a:pt x="114" y="38"/>
                        </a:cubicBezTo>
                        <a:cubicBezTo>
                          <a:pt x="114" y="38"/>
                          <a:pt x="113" y="38"/>
                          <a:pt x="113" y="38"/>
                        </a:cubicBezTo>
                        <a:close/>
                        <a:moveTo>
                          <a:pt x="117" y="37"/>
                        </a:moveTo>
                        <a:cubicBezTo>
                          <a:pt x="116" y="38"/>
                          <a:pt x="116" y="38"/>
                          <a:pt x="116" y="38"/>
                        </a:cubicBezTo>
                        <a:cubicBezTo>
                          <a:pt x="116" y="38"/>
                          <a:pt x="117" y="38"/>
                          <a:pt x="117" y="37"/>
                        </a:cubicBezTo>
                        <a:close/>
                        <a:moveTo>
                          <a:pt x="118" y="37"/>
                        </a:moveTo>
                        <a:cubicBezTo>
                          <a:pt x="118" y="37"/>
                          <a:pt x="118" y="37"/>
                          <a:pt x="118" y="37"/>
                        </a:cubicBezTo>
                        <a:cubicBezTo>
                          <a:pt x="118" y="37"/>
                          <a:pt x="119" y="37"/>
                          <a:pt x="119" y="37"/>
                        </a:cubicBezTo>
                        <a:cubicBezTo>
                          <a:pt x="119" y="37"/>
                          <a:pt x="119" y="37"/>
                          <a:pt x="118" y="37"/>
                        </a:cubicBezTo>
                        <a:close/>
                        <a:moveTo>
                          <a:pt x="120" y="37"/>
                        </a:moveTo>
                        <a:cubicBezTo>
                          <a:pt x="120" y="37"/>
                          <a:pt x="120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7"/>
                        </a:cubicBezTo>
                        <a:close/>
                        <a:moveTo>
                          <a:pt x="110" y="39"/>
                        </a:moveTo>
                        <a:cubicBezTo>
                          <a:pt x="110" y="40"/>
                          <a:pt x="110" y="40"/>
                          <a:pt x="111" y="39"/>
                        </a:cubicBezTo>
                        <a:cubicBezTo>
                          <a:pt x="110" y="39"/>
                          <a:pt x="110" y="39"/>
                          <a:pt x="110" y="39"/>
                        </a:cubicBezTo>
                        <a:cubicBezTo>
                          <a:pt x="109" y="39"/>
                          <a:pt x="109" y="39"/>
                          <a:pt x="108" y="39"/>
                        </a:cubicBezTo>
                        <a:cubicBezTo>
                          <a:pt x="109" y="39"/>
                          <a:pt x="110" y="39"/>
                          <a:pt x="110" y="39"/>
                        </a:cubicBezTo>
                        <a:close/>
                        <a:moveTo>
                          <a:pt x="113" y="39"/>
                        </a:move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1" y="39"/>
                        </a:cubicBezTo>
                        <a:cubicBezTo>
                          <a:pt x="111" y="39"/>
                          <a:pt x="111" y="39"/>
                          <a:pt x="111" y="39"/>
                        </a:cubicBezTo>
                        <a:cubicBezTo>
                          <a:pt x="111" y="40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3" y="39"/>
                          <a:pt x="113" y="39"/>
                          <a:pt x="113" y="39"/>
                        </a:cubicBezTo>
                        <a:cubicBezTo>
                          <a:pt x="113" y="39"/>
                          <a:pt x="113" y="39"/>
                          <a:pt x="113" y="39"/>
                        </a:cubicBezTo>
                        <a:cubicBezTo>
                          <a:pt x="113" y="39"/>
                          <a:pt x="113" y="39"/>
                          <a:pt x="113" y="39"/>
                        </a:cubicBezTo>
                        <a:cubicBezTo>
                          <a:pt x="113" y="39"/>
                          <a:pt x="113" y="39"/>
                          <a:pt x="113" y="39"/>
                        </a:cubicBezTo>
                        <a:cubicBezTo>
                          <a:pt x="113" y="39"/>
                          <a:pt x="113" y="39"/>
                          <a:pt x="113" y="39"/>
                        </a:cubicBezTo>
                        <a:close/>
                        <a:moveTo>
                          <a:pt x="105" y="41"/>
                        </a:moveTo>
                        <a:cubicBezTo>
                          <a:pt x="105" y="41"/>
                          <a:pt x="105" y="41"/>
                          <a:pt x="104" y="41"/>
                        </a:cubicBezTo>
                        <a:cubicBezTo>
                          <a:pt x="104" y="41"/>
                          <a:pt x="105" y="41"/>
                          <a:pt x="105" y="41"/>
                        </a:cubicBezTo>
                        <a:cubicBezTo>
                          <a:pt x="105" y="41"/>
                          <a:pt x="105" y="41"/>
                          <a:pt x="105" y="41"/>
                        </a:cubicBezTo>
                        <a:close/>
                        <a:moveTo>
                          <a:pt x="106" y="41"/>
                        </a:moveTo>
                        <a:cubicBezTo>
                          <a:pt x="106" y="41"/>
                          <a:pt x="105" y="41"/>
                          <a:pt x="106" y="41"/>
                        </a:cubicBezTo>
                        <a:cubicBezTo>
                          <a:pt x="105" y="41"/>
                          <a:pt x="105" y="41"/>
                          <a:pt x="105" y="41"/>
                        </a:cubicBezTo>
                        <a:cubicBezTo>
                          <a:pt x="105" y="41"/>
                          <a:pt x="105" y="41"/>
                          <a:pt x="106" y="41"/>
                        </a:cubicBezTo>
                        <a:close/>
                        <a:moveTo>
                          <a:pt x="108" y="40"/>
                        </a:moveTo>
                        <a:cubicBezTo>
                          <a:pt x="107" y="40"/>
                          <a:pt x="107" y="40"/>
                          <a:pt x="107" y="40"/>
                        </a:cubicBezTo>
                        <a:cubicBezTo>
                          <a:pt x="107" y="40"/>
                          <a:pt x="107" y="40"/>
                          <a:pt x="107" y="40"/>
                        </a:cubicBezTo>
                        <a:cubicBezTo>
                          <a:pt x="107" y="40"/>
                          <a:pt x="108" y="40"/>
                          <a:pt x="108" y="40"/>
                        </a:cubicBezTo>
                        <a:close/>
                        <a:moveTo>
                          <a:pt x="107" y="40"/>
                        </a:moveTo>
                        <a:cubicBezTo>
                          <a:pt x="107" y="40"/>
                          <a:pt x="106" y="40"/>
                          <a:pt x="106" y="40"/>
                        </a:cubicBezTo>
                        <a:cubicBezTo>
                          <a:pt x="107" y="40"/>
                          <a:pt x="107" y="40"/>
                          <a:pt x="107" y="40"/>
                        </a:cubicBezTo>
                        <a:close/>
                        <a:moveTo>
                          <a:pt x="102" y="41"/>
                        </a:moveTo>
                        <a:cubicBezTo>
                          <a:pt x="102" y="41"/>
                          <a:pt x="102" y="41"/>
                          <a:pt x="102" y="41"/>
                        </a:cubicBezTo>
                        <a:cubicBezTo>
                          <a:pt x="103" y="41"/>
                          <a:pt x="103" y="41"/>
                          <a:pt x="103" y="41"/>
                        </a:cubicBezTo>
                        <a:cubicBezTo>
                          <a:pt x="103" y="41"/>
                          <a:pt x="102" y="41"/>
                          <a:pt x="102" y="41"/>
                        </a:cubicBezTo>
                        <a:close/>
                        <a:moveTo>
                          <a:pt x="104" y="40"/>
                        </a:moveTo>
                        <a:cubicBezTo>
                          <a:pt x="104" y="41"/>
                          <a:pt x="105" y="40"/>
                          <a:pt x="105" y="40"/>
                        </a:cubicBezTo>
                        <a:cubicBezTo>
                          <a:pt x="105" y="40"/>
                          <a:pt x="105" y="40"/>
                          <a:pt x="104" y="40"/>
                        </a:cubicBezTo>
                        <a:close/>
                        <a:moveTo>
                          <a:pt x="103" y="41"/>
                        </a:moveTo>
                        <a:cubicBezTo>
                          <a:pt x="104" y="41"/>
                          <a:pt x="104" y="41"/>
                          <a:pt x="104" y="41"/>
                        </a:cubicBezTo>
                        <a:cubicBezTo>
                          <a:pt x="104" y="41"/>
                          <a:pt x="103" y="41"/>
                          <a:pt x="103" y="41"/>
                        </a:cubicBezTo>
                        <a:close/>
                        <a:moveTo>
                          <a:pt x="107" y="40"/>
                        </a:moveTo>
                        <a:cubicBezTo>
                          <a:pt x="106" y="40"/>
                          <a:pt x="106" y="40"/>
                          <a:pt x="106" y="40"/>
                        </a:cubicBezTo>
                        <a:cubicBezTo>
                          <a:pt x="107" y="40"/>
                          <a:pt x="107" y="40"/>
                          <a:pt x="107" y="40"/>
                        </a:cubicBezTo>
                        <a:cubicBezTo>
                          <a:pt x="107" y="40"/>
                          <a:pt x="107" y="40"/>
                          <a:pt x="107" y="40"/>
                        </a:cubicBezTo>
                        <a:cubicBezTo>
                          <a:pt x="107" y="40"/>
                          <a:pt x="107" y="40"/>
                          <a:pt x="107" y="40"/>
                        </a:cubicBezTo>
                        <a:close/>
                        <a:moveTo>
                          <a:pt x="102" y="41"/>
                        </a:moveTo>
                        <a:cubicBezTo>
                          <a:pt x="102" y="41"/>
                          <a:pt x="102" y="41"/>
                          <a:pt x="102" y="41"/>
                        </a:cubicBezTo>
                        <a:cubicBezTo>
                          <a:pt x="101" y="41"/>
                          <a:pt x="102" y="41"/>
                          <a:pt x="101" y="41"/>
                        </a:cubicBezTo>
                        <a:cubicBezTo>
                          <a:pt x="101" y="41"/>
                          <a:pt x="102" y="41"/>
                          <a:pt x="102" y="41"/>
                        </a:cubicBezTo>
                        <a:close/>
                        <a:moveTo>
                          <a:pt x="99" y="42"/>
                        </a:moveTo>
                        <a:cubicBezTo>
                          <a:pt x="100" y="42"/>
                          <a:pt x="101" y="42"/>
                          <a:pt x="101" y="41"/>
                        </a:cubicBezTo>
                        <a:cubicBezTo>
                          <a:pt x="101" y="41"/>
                          <a:pt x="101" y="41"/>
                          <a:pt x="101" y="41"/>
                        </a:cubicBezTo>
                        <a:cubicBezTo>
                          <a:pt x="101" y="42"/>
                          <a:pt x="101" y="41"/>
                          <a:pt x="101" y="41"/>
                        </a:cubicBezTo>
                        <a:cubicBezTo>
                          <a:pt x="100" y="41"/>
                          <a:pt x="101" y="42"/>
                          <a:pt x="100" y="42"/>
                        </a:cubicBezTo>
                        <a:cubicBezTo>
                          <a:pt x="100" y="42"/>
                          <a:pt x="99" y="42"/>
                          <a:pt x="99" y="42"/>
                        </a:cubicBezTo>
                        <a:close/>
                        <a:moveTo>
                          <a:pt x="99" y="42"/>
                        </a:moveTo>
                        <a:cubicBezTo>
                          <a:pt x="98" y="42"/>
                          <a:pt x="98" y="42"/>
                          <a:pt x="98" y="43"/>
                        </a:cubicBezTo>
                        <a:cubicBezTo>
                          <a:pt x="98" y="42"/>
                          <a:pt x="98" y="43"/>
                          <a:pt x="99" y="42"/>
                        </a:cubicBezTo>
                        <a:close/>
                        <a:moveTo>
                          <a:pt x="104" y="41"/>
                        </a:moveTo>
                        <a:cubicBezTo>
                          <a:pt x="104" y="41"/>
                          <a:pt x="104" y="41"/>
                          <a:pt x="104" y="41"/>
                        </a:cubicBezTo>
                        <a:cubicBezTo>
                          <a:pt x="104" y="41"/>
                          <a:pt x="104" y="41"/>
                          <a:pt x="104" y="41"/>
                        </a:cubicBezTo>
                        <a:cubicBezTo>
                          <a:pt x="103" y="41"/>
                          <a:pt x="103" y="41"/>
                          <a:pt x="103" y="41"/>
                        </a:cubicBezTo>
                        <a:cubicBezTo>
                          <a:pt x="102" y="41"/>
                          <a:pt x="102" y="41"/>
                          <a:pt x="102" y="41"/>
                        </a:cubicBezTo>
                        <a:cubicBezTo>
                          <a:pt x="103" y="41"/>
                          <a:pt x="103" y="41"/>
                          <a:pt x="104" y="41"/>
                        </a:cubicBezTo>
                        <a:close/>
                        <a:moveTo>
                          <a:pt x="102" y="42"/>
                        </a:moveTo>
                        <a:cubicBezTo>
                          <a:pt x="102" y="42"/>
                          <a:pt x="102" y="42"/>
                          <a:pt x="102" y="42"/>
                        </a:cubicBezTo>
                        <a:cubicBezTo>
                          <a:pt x="102" y="42"/>
                          <a:pt x="102" y="42"/>
                          <a:pt x="102" y="42"/>
                        </a:cubicBezTo>
                        <a:cubicBezTo>
                          <a:pt x="102" y="42"/>
                          <a:pt x="102" y="42"/>
                          <a:pt x="102" y="42"/>
                        </a:cubicBezTo>
                        <a:close/>
                        <a:moveTo>
                          <a:pt x="102" y="42"/>
                        </a:moveTo>
                        <a:cubicBezTo>
                          <a:pt x="102" y="42"/>
                          <a:pt x="101" y="42"/>
                          <a:pt x="101" y="43"/>
                        </a:cubicBezTo>
                        <a:cubicBezTo>
                          <a:pt x="102" y="42"/>
                          <a:pt x="102" y="43"/>
                          <a:pt x="102" y="42"/>
                        </a:cubicBezTo>
                        <a:close/>
                        <a:moveTo>
                          <a:pt x="101" y="43"/>
                        </a:moveTo>
                        <a:cubicBezTo>
                          <a:pt x="101" y="43"/>
                          <a:pt x="100" y="43"/>
                          <a:pt x="101" y="43"/>
                        </a:cubicBezTo>
                        <a:cubicBezTo>
                          <a:pt x="101" y="43"/>
                          <a:pt x="101" y="43"/>
                          <a:pt x="101" y="43"/>
                        </a:cubicBezTo>
                        <a:close/>
                        <a:moveTo>
                          <a:pt x="98" y="44"/>
                        </a:moveTo>
                        <a:cubicBezTo>
                          <a:pt x="98" y="44"/>
                          <a:pt x="98" y="44"/>
                          <a:pt x="98" y="44"/>
                        </a:cubicBezTo>
                        <a:cubicBezTo>
                          <a:pt x="98" y="44"/>
                          <a:pt x="97" y="44"/>
                          <a:pt x="97" y="44"/>
                        </a:cubicBezTo>
                        <a:cubicBezTo>
                          <a:pt x="98" y="44"/>
                          <a:pt x="98" y="44"/>
                          <a:pt x="98" y="44"/>
                        </a:cubicBezTo>
                        <a:close/>
                        <a:moveTo>
                          <a:pt x="98" y="44"/>
                        </a:moveTo>
                        <a:cubicBezTo>
                          <a:pt x="98" y="44"/>
                          <a:pt x="99" y="43"/>
                          <a:pt x="99" y="43"/>
                        </a:cubicBezTo>
                        <a:cubicBezTo>
                          <a:pt x="99" y="43"/>
                          <a:pt x="98" y="43"/>
                          <a:pt x="98" y="44"/>
                        </a:cubicBezTo>
                        <a:close/>
                        <a:moveTo>
                          <a:pt x="100" y="43"/>
                        </a:moveTo>
                        <a:cubicBezTo>
                          <a:pt x="100" y="43"/>
                          <a:pt x="100" y="43"/>
                          <a:pt x="99" y="43"/>
                        </a:cubicBezTo>
                        <a:cubicBezTo>
                          <a:pt x="99" y="43"/>
                          <a:pt x="99" y="43"/>
                          <a:pt x="99" y="44"/>
                        </a:cubicBezTo>
                        <a:cubicBezTo>
                          <a:pt x="99" y="44"/>
                          <a:pt x="98" y="44"/>
                          <a:pt x="98" y="44"/>
                        </a:cubicBezTo>
                        <a:cubicBezTo>
                          <a:pt x="98" y="44"/>
                          <a:pt x="99" y="44"/>
                          <a:pt x="100" y="43"/>
                        </a:cubicBezTo>
                        <a:cubicBezTo>
                          <a:pt x="99" y="44"/>
                          <a:pt x="99" y="44"/>
                          <a:pt x="99" y="43"/>
                        </a:cubicBezTo>
                        <a:cubicBezTo>
                          <a:pt x="100" y="43"/>
                          <a:pt x="100" y="43"/>
                          <a:pt x="100" y="43"/>
                        </a:cubicBezTo>
                        <a:close/>
                        <a:moveTo>
                          <a:pt x="104" y="42"/>
                        </a:moveTo>
                        <a:cubicBezTo>
                          <a:pt x="103" y="42"/>
                          <a:pt x="103" y="42"/>
                          <a:pt x="103" y="42"/>
                        </a:cubicBezTo>
                        <a:cubicBezTo>
                          <a:pt x="102" y="43"/>
                          <a:pt x="103" y="42"/>
                          <a:pt x="103" y="43"/>
                        </a:cubicBezTo>
                        <a:cubicBezTo>
                          <a:pt x="103" y="42"/>
                          <a:pt x="103" y="42"/>
                          <a:pt x="104" y="42"/>
                        </a:cubicBezTo>
                        <a:close/>
                        <a:moveTo>
                          <a:pt x="105" y="42"/>
                        </a:moveTo>
                        <a:cubicBezTo>
                          <a:pt x="105" y="41"/>
                          <a:pt x="105" y="41"/>
                          <a:pt x="105" y="41"/>
                        </a:cubicBezTo>
                        <a:cubicBezTo>
                          <a:pt x="105" y="41"/>
                          <a:pt x="105" y="41"/>
                          <a:pt x="105" y="41"/>
                        </a:cubicBezTo>
                        <a:cubicBezTo>
                          <a:pt x="105" y="41"/>
                          <a:pt x="105" y="41"/>
                          <a:pt x="104" y="41"/>
                        </a:cubicBezTo>
                        <a:cubicBezTo>
                          <a:pt x="104" y="41"/>
                          <a:pt x="105" y="41"/>
                          <a:pt x="104" y="41"/>
                        </a:cubicBezTo>
                        <a:cubicBezTo>
                          <a:pt x="104" y="41"/>
                          <a:pt x="103" y="41"/>
                          <a:pt x="103" y="42"/>
                        </a:cubicBezTo>
                        <a:cubicBezTo>
                          <a:pt x="103" y="42"/>
                          <a:pt x="103" y="42"/>
                          <a:pt x="103" y="42"/>
                        </a:cubicBezTo>
                        <a:cubicBezTo>
                          <a:pt x="103" y="42"/>
                          <a:pt x="103" y="42"/>
                          <a:pt x="103" y="41"/>
                        </a:cubicBezTo>
                        <a:cubicBezTo>
                          <a:pt x="103" y="42"/>
                          <a:pt x="103" y="42"/>
                          <a:pt x="102" y="42"/>
                        </a:cubicBezTo>
                        <a:cubicBezTo>
                          <a:pt x="102" y="42"/>
                          <a:pt x="102" y="42"/>
                          <a:pt x="102" y="42"/>
                        </a:cubicBezTo>
                        <a:cubicBezTo>
                          <a:pt x="103" y="42"/>
                          <a:pt x="103" y="42"/>
                          <a:pt x="104" y="42"/>
                        </a:cubicBezTo>
                        <a:cubicBezTo>
                          <a:pt x="104" y="42"/>
                          <a:pt x="104" y="42"/>
                          <a:pt x="104" y="42"/>
                        </a:cubicBezTo>
                        <a:cubicBezTo>
                          <a:pt x="105" y="42"/>
                          <a:pt x="105" y="42"/>
                          <a:pt x="106" y="42"/>
                        </a:cubicBezTo>
                        <a:cubicBezTo>
                          <a:pt x="106" y="42"/>
                          <a:pt x="106" y="41"/>
                          <a:pt x="106" y="41"/>
                        </a:cubicBezTo>
                        <a:cubicBezTo>
                          <a:pt x="106" y="42"/>
                          <a:pt x="106" y="41"/>
                          <a:pt x="106" y="41"/>
                        </a:cubicBezTo>
                        <a:cubicBezTo>
                          <a:pt x="106" y="41"/>
                          <a:pt x="106" y="41"/>
                          <a:pt x="105" y="42"/>
                        </a:cubicBezTo>
                        <a:close/>
                        <a:moveTo>
                          <a:pt x="107" y="41"/>
                        </a:moveTo>
                        <a:cubicBezTo>
                          <a:pt x="107" y="41"/>
                          <a:pt x="106" y="41"/>
                          <a:pt x="107" y="41"/>
                        </a:cubicBezTo>
                        <a:cubicBezTo>
                          <a:pt x="107" y="41"/>
                          <a:pt x="106" y="41"/>
                          <a:pt x="107" y="41"/>
                        </a:cubicBezTo>
                        <a:cubicBezTo>
                          <a:pt x="106" y="41"/>
                          <a:pt x="106" y="41"/>
                          <a:pt x="105" y="41"/>
                        </a:cubicBezTo>
                        <a:cubicBezTo>
                          <a:pt x="106" y="41"/>
                          <a:pt x="106" y="41"/>
                          <a:pt x="106" y="41"/>
                        </a:cubicBezTo>
                        <a:cubicBezTo>
                          <a:pt x="106" y="41"/>
                          <a:pt x="106" y="41"/>
                          <a:pt x="106" y="41"/>
                        </a:cubicBezTo>
                        <a:cubicBezTo>
                          <a:pt x="106" y="41"/>
                          <a:pt x="106" y="41"/>
                          <a:pt x="106" y="41"/>
                        </a:cubicBezTo>
                        <a:cubicBezTo>
                          <a:pt x="106" y="41"/>
                          <a:pt x="107" y="41"/>
                          <a:pt x="107" y="41"/>
                        </a:cubicBezTo>
                        <a:close/>
                        <a:moveTo>
                          <a:pt x="107" y="41"/>
                        </a:moveTo>
                        <a:cubicBezTo>
                          <a:pt x="108" y="40"/>
                          <a:pt x="108" y="40"/>
                          <a:pt x="108" y="40"/>
                        </a:cubicBezTo>
                        <a:cubicBezTo>
                          <a:pt x="108" y="40"/>
                          <a:pt x="108" y="40"/>
                          <a:pt x="107" y="41"/>
                        </a:cubicBezTo>
                        <a:close/>
                        <a:moveTo>
                          <a:pt x="108" y="41"/>
                        </a:moveTo>
                        <a:cubicBezTo>
                          <a:pt x="108" y="41"/>
                          <a:pt x="108" y="41"/>
                          <a:pt x="108" y="41"/>
                        </a:cubicBezTo>
                        <a:cubicBezTo>
                          <a:pt x="108" y="41"/>
                          <a:pt x="107" y="41"/>
                          <a:pt x="107" y="41"/>
                        </a:cubicBezTo>
                        <a:cubicBezTo>
                          <a:pt x="107" y="41"/>
                          <a:pt x="107" y="41"/>
                          <a:pt x="107" y="41"/>
                        </a:cubicBezTo>
                        <a:cubicBezTo>
                          <a:pt x="108" y="41"/>
                          <a:pt x="108" y="41"/>
                          <a:pt x="108" y="41"/>
                        </a:cubicBezTo>
                        <a:close/>
                        <a:moveTo>
                          <a:pt x="113" y="40"/>
                        </a:moveTo>
                        <a:cubicBezTo>
                          <a:pt x="112" y="40"/>
                          <a:pt x="112" y="40"/>
                          <a:pt x="112" y="40"/>
                        </a:cubicBezTo>
                        <a:cubicBezTo>
                          <a:pt x="112" y="40"/>
                          <a:pt x="113" y="40"/>
                          <a:pt x="113" y="40"/>
                        </a:cubicBezTo>
                        <a:close/>
                        <a:moveTo>
                          <a:pt x="113" y="40"/>
                        </a:move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3" y="40"/>
                          <a:pt x="114" y="40"/>
                          <a:pt x="114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lose/>
                        <a:moveTo>
                          <a:pt x="115" y="40"/>
                        </a:moveTo>
                        <a:cubicBezTo>
                          <a:pt x="115" y="40"/>
                          <a:pt x="114" y="40"/>
                          <a:pt x="114" y="40"/>
                        </a:cubicBezTo>
                        <a:cubicBezTo>
                          <a:pt x="114" y="40"/>
                          <a:pt x="113" y="40"/>
                          <a:pt x="113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2" y="40"/>
                          <a:pt x="112" y="40"/>
                          <a:pt x="112" y="40"/>
                        </a:cubicBezTo>
                        <a:cubicBezTo>
                          <a:pt x="112" y="41"/>
                          <a:pt x="113" y="40"/>
                          <a:pt x="113" y="40"/>
                        </a:cubicBezTo>
                        <a:cubicBezTo>
                          <a:pt x="112" y="40"/>
                          <a:pt x="113" y="41"/>
                          <a:pt x="112" y="41"/>
                        </a:cubicBezTo>
                        <a:cubicBezTo>
                          <a:pt x="113" y="41"/>
                          <a:pt x="113" y="41"/>
                          <a:pt x="113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3" y="40"/>
                          <a:pt x="113" y="40"/>
                          <a:pt x="114" y="40"/>
                        </a:cubicBez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4" y="40"/>
                          <a:pt x="114" y="40"/>
                          <a:pt x="115" y="40"/>
                        </a:cubicBez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4" y="40"/>
                          <a:pt x="113" y="40"/>
                          <a:pt x="114" y="41"/>
                        </a:cubicBezTo>
                        <a:cubicBezTo>
                          <a:pt x="114" y="40"/>
                          <a:pt x="115" y="40"/>
                          <a:pt x="115" y="40"/>
                        </a:cubicBezTo>
                        <a:close/>
                        <a:moveTo>
                          <a:pt x="114" y="40"/>
                        </a:move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4" y="40"/>
                          <a:pt x="115" y="40"/>
                          <a:pt x="114" y="40"/>
                        </a:cubicBezTo>
                        <a:close/>
                        <a:moveTo>
                          <a:pt x="114" y="39"/>
                        </a:moveTo>
                        <a:cubicBezTo>
                          <a:pt x="114" y="39"/>
                          <a:pt x="115" y="40"/>
                          <a:pt x="115" y="39"/>
                        </a:cubicBezTo>
                        <a:cubicBezTo>
                          <a:pt x="115" y="39"/>
                          <a:pt x="115" y="39"/>
                          <a:pt x="115" y="39"/>
                        </a:cubicBezTo>
                        <a:cubicBezTo>
                          <a:pt x="115" y="39"/>
                          <a:pt x="115" y="39"/>
                          <a:pt x="115" y="39"/>
                        </a:cubicBezTo>
                        <a:cubicBezTo>
                          <a:pt x="115" y="39"/>
                          <a:pt x="114" y="39"/>
                          <a:pt x="114" y="39"/>
                        </a:cubicBezTo>
                        <a:close/>
                        <a:moveTo>
                          <a:pt x="115" y="39"/>
                        </a:moveTo>
                        <a:cubicBezTo>
                          <a:pt x="115" y="39"/>
                          <a:pt x="115" y="39"/>
                          <a:pt x="115" y="39"/>
                        </a:cubicBezTo>
                        <a:cubicBezTo>
                          <a:pt x="115" y="39"/>
                          <a:pt x="114" y="39"/>
                          <a:pt x="114" y="39"/>
                        </a:cubicBezTo>
                        <a:cubicBezTo>
                          <a:pt x="115" y="39"/>
                          <a:pt x="115" y="39"/>
                          <a:pt x="115" y="39"/>
                        </a:cubicBezTo>
                        <a:cubicBezTo>
                          <a:pt x="115" y="39"/>
                          <a:pt x="117" y="38"/>
                          <a:pt x="116" y="38"/>
                        </a:cubicBezTo>
                        <a:cubicBezTo>
                          <a:pt x="117" y="38"/>
                          <a:pt x="117" y="38"/>
                          <a:pt x="117" y="38"/>
                        </a:cubicBezTo>
                        <a:cubicBezTo>
                          <a:pt x="117" y="38"/>
                          <a:pt x="117" y="38"/>
                          <a:pt x="117" y="38"/>
                        </a:cubicBezTo>
                        <a:cubicBezTo>
                          <a:pt x="116" y="38"/>
                          <a:pt x="116" y="38"/>
                          <a:pt x="116" y="38"/>
                        </a:cubicBezTo>
                        <a:cubicBezTo>
                          <a:pt x="116" y="38"/>
                          <a:pt x="115" y="38"/>
                          <a:pt x="115" y="38"/>
                        </a:cubicBezTo>
                        <a:cubicBezTo>
                          <a:pt x="115" y="38"/>
                          <a:pt x="116" y="38"/>
                          <a:pt x="116" y="38"/>
                        </a:cubicBezTo>
                        <a:cubicBezTo>
                          <a:pt x="116" y="38"/>
                          <a:pt x="115" y="38"/>
                          <a:pt x="115" y="38"/>
                        </a:cubicBezTo>
                        <a:cubicBezTo>
                          <a:pt x="115" y="38"/>
                          <a:pt x="116" y="38"/>
                          <a:pt x="115" y="38"/>
                        </a:cubicBezTo>
                        <a:cubicBezTo>
                          <a:pt x="115" y="38"/>
                          <a:pt x="115" y="38"/>
                          <a:pt x="114" y="38"/>
                        </a:cubicBezTo>
                        <a:cubicBezTo>
                          <a:pt x="115" y="38"/>
                          <a:pt x="115" y="38"/>
                          <a:pt x="115" y="38"/>
                        </a:cubicBezTo>
                        <a:cubicBezTo>
                          <a:pt x="114" y="38"/>
                          <a:pt x="114" y="38"/>
                          <a:pt x="114" y="39"/>
                        </a:cubicBezTo>
                        <a:cubicBezTo>
                          <a:pt x="114" y="39"/>
                          <a:pt x="115" y="38"/>
                          <a:pt x="115" y="39"/>
                        </a:cubicBezTo>
                        <a:cubicBezTo>
                          <a:pt x="114" y="39"/>
                          <a:pt x="113" y="39"/>
                          <a:pt x="114" y="39"/>
                        </a:cubicBezTo>
                        <a:cubicBezTo>
                          <a:pt x="114" y="39"/>
                          <a:pt x="114" y="39"/>
                          <a:pt x="115" y="39"/>
                        </a:cubicBezTo>
                        <a:cubicBezTo>
                          <a:pt x="114" y="39"/>
                          <a:pt x="114" y="39"/>
                          <a:pt x="114" y="39"/>
                        </a:cubicBezTo>
                        <a:cubicBezTo>
                          <a:pt x="114" y="39"/>
                          <a:pt x="114" y="39"/>
                          <a:pt x="114" y="39"/>
                        </a:cubicBezTo>
                        <a:cubicBezTo>
                          <a:pt x="114" y="39"/>
                          <a:pt x="113" y="39"/>
                          <a:pt x="113" y="39"/>
                        </a:cubicBezTo>
                        <a:cubicBezTo>
                          <a:pt x="113" y="39"/>
                          <a:pt x="113" y="39"/>
                          <a:pt x="113" y="39"/>
                        </a:cubicBezTo>
                        <a:cubicBezTo>
                          <a:pt x="113" y="39"/>
                          <a:pt x="113" y="40"/>
                          <a:pt x="113" y="39"/>
                        </a:cubicBezTo>
                        <a:cubicBezTo>
                          <a:pt x="113" y="39"/>
                          <a:pt x="113" y="39"/>
                          <a:pt x="113" y="39"/>
                        </a:cubicBezTo>
                        <a:cubicBezTo>
                          <a:pt x="113" y="39"/>
                          <a:pt x="113" y="40"/>
                          <a:pt x="112" y="40"/>
                        </a:cubicBezTo>
                        <a:cubicBezTo>
                          <a:pt x="112" y="40"/>
                          <a:pt x="112" y="40"/>
                          <a:pt x="112" y="39"/>
                        </a:cubicBezTo>
                        <a:cubicBezTo>
                          <a:pt x="112" y="40"/>
                          <a:pt x="111" y="40"/>
                          <a:pt x="110" y="40"/>
                        </a:cubicBezTo>
                        <a:cubicBezTo>
                          <a:pt x="111" y="40"/>
                          <a:pt x="112" y="40"/>
                          <a:pt x="113" y="40"/>
                        </a:cubicBezTo>
                        <a:cubicBezTo>
                          <a:pt x="114" y="39"/>
                          <a:pt x="114" y="39"/>
                          <a:pt x="115" y="39"/>
                        </a:cubicBezTo>
                        <a:cubicBezTo>
                          <a:pt x="115" y="39"/>
                          <a:pt x="115" y="39"/>
                          <a:pt x="116" y="39"/>
                        </a:cubicBezTo>
                        <a:cubicBezTo>
                          <a:pt x="116" y="39"/>
                          <a:pt x="116" y="39"/>
                          <a:pt x="116" y="39"/>
                        </a:cubicBezTo>
                        <a:cubicBezTo>
                          <a:pt x="116" y="39"/>
                          <a:pt x="116" y="39"/>
                          <a:pt x="116" y="39"/>
                        </a:cubicBezTo>
                        <a:cubicBezTo>
                          <a:pt x="116" y="39"/>
                          <a:pt x="116" y="39"/>
                          <a:pt x="116" y="39"/>
                        </a:cubicBezTo>
                        <a:cubicBezTo>
                          <a:pt x="116" y="39"/>
                          <a:pt x="117" y="39"/>
                          <a:pt x="117" y="39"/>
                        </a:cubicBezTo>
                        <a:cubicBezTo>
                          <a:pt x="117" y="39"/>
                          <a:pt x="118" y="39"/>
                          <a:pt x="117" y="39"/>
                        </a:cubicBezTo>
                        <a:cubicBezTo>
                          <a:pt x="116" y="39"/>
                          <a:pt x="115" y="39"/>
                          <a:pt x="115" y="39"/>
                        </a:cubicBezTo>
                        <a:close/>
                        <a:moveTo>
                          <a:pt x="122" y="37"/>
                        </a:moveTo>
                        <a:cubicBezTo>
                          <a:pt x="122" y="37"/>
                          <a:pt x="122" y="37"/>
                          <a:pt x="122" y="36"/>
                        </a:cubicBezTo>
                        <a:cubicBezTo>
                          <a:pt x="122" y="37"/>
                          <a:pt x="122" y="37"/>
                          <a:pt x="122" y="37"/>
                        </a:cubicBezTo>
                        <a:cubicBezTo>
                          <a:pt x="122" y="37"/>
                          <a:pt x="122" y="37"/>
                          <a:pt x="122" y="37"/>
                        </a:cubicBezTo>
                        <a:cubicBezTo>
                          <a:pt x="122" y="36"/>
                          <a:pt x="121" y="37"/>
                          <a:pt x="121" y="37"/>
                        </a:cubicBezTo>
                        <a:cubicBezTo>
                          <a:pt x="122" y="37"/>
                          <a:pt x="122" y="37"/>
                          <a:pt x="122" y="37"/>
                        </a:cubicBezTo>
                        <a:close/>
                        <a:moveTo>
                          <a:pt x="119" y="37"/>
                        </a:moveTo>
                        <a:cubicBezTo>
                          <a:pt x="119" y="37"/>
                          <a:pt x="118" y="37"/>
                          <a:pt x="118" y="38"/>
                        </a:cubicBezTo>
                        <a:cubicBezTo>
                          <a:pt x="118" y="38"/>
                          <a:pt x="118" y="38"/>
                          <a:pt x="117" y="38"/>
                        </a:cubicBezTo>
                        <a:cubicBezTo>
                          <a:pt x="117" y="38"/>
                          <a:pt x="118" y="38"/>
                          <a:pt x="118" y="38"/>
                        </a:cubicBezTo>
                        <a:cubicBezTo>
                          <a:pt x="118" y="38"/>
                          <a:pt x="118" y="38"/>
                          <a:pt x="118" y="38"/>
                        </a:cubicBezTo>
                        <a:cubicBezTo>
                          <a:pt x="118" y="37"/>
                          <a:pt x="118" y="37"/>
                          <a:pt x="118" y="37"/>
                        </a:cubicBezTo>
                        <a:cubicBezTo>
                          <a:pt x="118" y="37"/>
                          <a:pt x="119" y="38"/>
                          <a:pt x="119" y="37"/>
                        </a:cubicBezTo>
                        <a:cubicBezTo>
                          <a:pt x="119" y="37"/>
                          <a:pt x="119" y="37"/>
                          <a:pt x="119" y="37"/>
                        </a:cubicBezTo>
                        <a:cubicBezTo>
                          <a:pt x="119" y="37"/>
                          <a:pt x="119" y="37"/>
                          <a:pt x="119" y="37"/>
                        </a:cubicBezTo>
                        <a:close/>
                        <a:moveTo>
                          <a:pt x="118" y="38"/>
                        </a:moveTo>
                        <a:cubicBezTo>
                          <a:pt x="118" y="38"/>
                          <a:pt x="119" y="38"/>
                          <a:pt x="119" y="38"/>
                        </a:cubicBezTo>
                        <a:cubicBezTo>
                          <a:pt x="119" y="38"/>
                          <a:pt x="119" y="38"/>
                          <a:pt x="119" y="38"/>
                        </a:cubicBezTo>
                        <a:cubicBezTo>
                          <a:pt x="119" y="38"/>
                          <a:pt x="118" y="38"/>
                          <a:pt x="118" y="38"/>
                        </a:cubicBezTo>
                        <a:close/>
                        <a:moveTo>
                          <a:pt x="120" y="37"/>
                        </a:moveTo>
                        <a:cubicBezTo>
                          <a:pt x="121" y="37"/>
                          <a:pt x="122" y="37"/>
                          <a:pt x="123" y="37"/>
                        </a:cubicBezTo>
                        <a:cubicBezTo>
                          <a:pt x="123" y="37"/>
                          <a:pt x="123" y="37"/>
                          <a:pt x="122" y="37"/>
                        </a:cubicBezTo>
                        <a:cubicBezTo>
                          <a:pt x="122" y="37"/>
                          <a:pt x="122" y="37"/>
                          <a:pt x="122" y="37"/>
                        </a:cubicBezTo>
                        <a:cubicBezTo>
                          <a:pt x="122" y="37"/>
                          <a:pt x="122" y="37"/>
                          <a:pt x="122" y="37"/>
                        </a:cubicBezTo>
                        <a:cubicBezTo>
                          <a:pt x="122" y="37"/>
                          <a:pt x="122" y="37"/>
                          <a:pt x="121" y="37"/>
                        </a:cubicBezTo>
                        <a:cubicBezTo>
                          <a:pt x="121" y="37"/>
                          <a:pt x="121" y="37"/>
                          <a:pt x="121" y="37"/>
                        </a:cubicBezTo>
                        <a:cubicBezTo>
                          <a:pt x="121" y="37"/>
                          <a:pt x="120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8"/>
                        </a:cubicBezTo>
                        <a:cubicBezTo>
                          <a:pt x="120" y="37"/>
                          <a:pt x="120" y="37"/>
                          <a:pt x="120" y="37"/>
                        </a:cubicBezTo>
                        <a:close/>
                        <a:moveTo>
                          <a:pt x="123" y="37"/>
                        </a:moveTo>
                        <a:cubicBezTo>
                          <a:pt x="123" y="37"/>
                          <a:pt x="124" y="37"/>
                          <a:pt x="124" y="36"/>
                        </a:cubicBezTo>
                        <a:cubicBezTo>
                          <a:pt x="124" y="37"/>
                          <a:pt x="123" y="37"/>
                          <a:pt x="123" y="37"/>
                        </a:cubicBezTo>
                        <a:close/>
                        <a:moveTo>
                          <a:pt x="129" y="36"/>
                        </a:moveTo>
                        <a:cubicBezTo>
                          <a:pt x="129" y="35"/>
                          <a:pt x="129" y="35"/>
                          <a:pt x="130" y="35"/>
                        </a:cubicBezTo>
                        <a:cubicBezTo>
                          <a:pt x="130" y="35"/>
                          <a:pt x="130" y="35"/>
                          <a:pt x="130" y="35"/>
                        </a:cubicBezTo>
                        <a:cubicBezTo>
                          <a:pt x="130" y="35"/>
                          <a:pt x="130" y="35"/>
                          <a:pt x="130" y="35"/>
                        </a:cubicBezTo>
                        <a:cubicBezTo>
                          <a:pt x="129" y="35"/>
                          <a:pt x="130" y="35"/>
                          <a:pt x="129" y="35"/>
                        </a:cubicBezTo>
                        <a:cubicBezTo>
                          <a:pt x="129" y="35"/>
                          <a:pt x="129" y="36"/>
                          <a:pt x="129" y="36"/>
                        </a:cubicBezTo>
                        <a:close/>
                        <a:moveTo>
                          <a:pt x="130" y="35"/>
                        </a:moveTo>
                        <a:cubicBezTo>
                          <a:pt x="130" y="35"/>
                          <a:pt x="131" y="35"/>
                          <a:pt x="130" y="35"/>
                        </a:cubicBezTo>
                        <a:cubicBezTo>
                          <a:pt x="131" y="35"/>
                          <a:pt x="131" y="35"/>
                          <a:pt x="131" y="35"/>
                        </a:cubicBezTo>
                        <a:cubicBezTo>
                          <a:pt x="131" y="35"/>
                          <a:pt x="131" y="35"/>
                          <a:pt x="131" y="35"/>
                        </a:cubicBezTo>
                        <a:cubicBezTo>
                          <a:pt x="130" y="35"/>
                          <a:pt x="130" y="35"/>
                          <a:pt x="130" y="35"/>
                        </a:cubicBezTo>
                        <a:close/>
                        <a:moveTo>
                          <a:pt x="134" y="34"/>
                        </a:moveTo>
                        <a:cubicBezTo>
                          <a:pt x="134" y="34"/>
                          <a:pt x="134" y="34"/>
                          <a:pt x="134" y="34"/>
                        </a:cubicBezTo>
                        <a:cubicBezTo>
                          <a:pt x="134" y="34"/>
                          <a:pt x="133" y="34"/>
                          <a:pt x="133" y="34"/>
                        </a:cubicBezTo>
                        <a:cubicBezTo>
                          <a:pt x="134" y="34"/>
                          <a:pt x="134" y="34"/>
                          <a:pt x="133" y="34"/>
                        </a:cubicBezTo>
                        <a:cubicBezTo>
                          <a:pt x="133" y="34"/>
                          <a:pt x="133" y="34"/>
                          <a:pt x="134" y="34"/>
                        </a:cubicBezTo>
                        <a:close/>
                        <a:moveTo>
                          <a:pt x="130" y="35"/>
                        </a:moveTo>
                        <a:cubicBezTo>
                          <a:pt x="130" y="35"/>
                          <a:pt x="129" y="35"/>
                          <a:pt x="129" y="35"/>
                        </a:cubicBezTo>
                        <a:cubicBezTo>
                          <a:pt x="130" y="35"/>
                          <a:pt x="130" y="35"/>
                          <a:pt x="130" y="35"/>
                        </a:cubicBezTo>
                        <a:close/>
                        <a:moveTo>
                          <a:pt x="135" y="34"/>
                        </a:moveTo>
                        <a:cubicBezTo>
                          <a:pt x="134" y="34"/>
                          <a:pt x="134" y="34"/>
                          <a:pt x="134" y="34"/>
                        </a:cubicBezTo>
                        <a:cubicBezTo>
                          <a:pt x="134" y="34"/>
                          <a:pt x="135" y="34"/>
                          <a:pt x="135" y="34"/>
                        </a:cubicBezTo>
                        <a:cubicBezTo>
                          <a:pt x="135" y="34"/>
                          <a:pt x="135" y="34"/>
                          <a:pt x="135" y="34"/>
                        </a:cubicBezTo>
                        <a:cubicBezTo>
                          <a:pt x="135" y="34"/>
                          <a:pt x="135" y="34"/>
                          <a:pt x="135" y="34"/>
                        </a:cubicBezTo>
                        <a:close/>
                        <a:moveTo>
                          <a:pt x="135" y="34"/>
                        </a:moveTo>
                        <a:cubicBezTo>
                          <a:pt x="135" y="34"/>
                          <a:pt x="135" y="34"/>
                          <a:pt x="135" y="34"/>
                        </a:cubicBezTo>
                        <a:cubicBezTo>
                          <a:pt x="136" y="34"/>
                          <a:pt x="136" y="34"/>
                          <a:pt x="136" y="34"/>
                        </a:cubicBezTo>
                        <a:cubicBezTo>
                          <a:pt x="135" y="34"/>
                          <a:pt x="136" y="33"/>
                          <a:pt x="136" y="33"/>
                        </a:cubicBezTo>
                        <a:cubicBezTo>
                          <a:pt x="136" y="33"/>
                          <a:pt x="136" y="33"/>
                          <a:pt x="136" y="33"/>
                        </a:cubicBezTo>
                        <a:cubicBezTo>
                          <a:pt x="136" y="33"/>
                          <a:pt x="136" y="33"/>
                          <a:pt x="136" y="33"/>
                        </a:cubicBezTo>
                        <a:cubicBezTo>
                          <a:pt x="136" y="33"/>
                          <a:pt x="135" y="34"/>
                          <a:pt x="135" y="34"/>
                        </a:cubicBezTo>
                        <a:close/>
                        <a:moveTo>
                          <a:pt x="133" y="34"/>
                        </a:moveTo>
                        <a:cubicBezTo>
                          <a:pt x="133" y="34"/>
                          <a:pt x="133" y="34"/>
                          <a:pt x="133" y="34"/>
                        </a:cubicBezTo>
                        <a:cubicBezTo>
                          <a:pt x="133" y="34"/>
                          <a:pt x="133" y="34"/>
                          <a:pt x="133" y="34"/>
                        </a:cubicBezTo>
                        <a:close/>
                        <a:moveTo>
                          <a:pt x="128" y="35"/>
                        </a:moveTo>
                        <a:cubicBezTo>
                          <a:pt x="128" y="35"/>
                          <a:pt x="128" y="35"/>
                          <a:pt x="128" y="35"/>
                        </a:cubicBezTo>
                        <a:cubicBezTo>
                          <a:pt x="128" y="35"/>
                          <a:pt x="128" y="35"/>
                          <a:pt x="128" y="35"/>
                        </a:cubicBezTo>
                        <a:close/>
                        <a:moveTo>
                          <a:pt x="123" y="36"/>
                        </a:moveTo>
                        <a:cubicBezTo>
                          <a:pt x="123" y="36"/>
                          <a:pt x="123" y="36"/>
                          <a:pt x="123" y="36"/>
                        </a:cubicBezTo>
                        <a:cubicBezTo>
                          <a:pt x="122" y="36"/>
                          <a:pt x="122" y="36"/>
                          <a:pt x="123" y="36"/>
                        </a:cubicBezTo>
                        <a:cubicBezTo>
                          <a:pt x="123" y="36"/>
                          <a:pt x="122" y="36"/>
                          <a:pt x="123" y="36"/>
                        </a:cubicBezTo>
                        <a:cubicBezTo>
                          <a:pt x="123" y="36"/>
                          <a:pt x="123" y="36"/>
                          <a:pt x="123" y="36"/>
                        </a:cubicBezTo>
                        <a:cubicBezTo>
                          <a:pt x="124" y="36"/>
                          <a:pt x="124" y="36"/>
                          <a:pt x="125" y="36"/>
                        </a:cubicBezTo>
                        <a:cubicBezTo>
                          <a:pt x="124" y="36"/>
                          <a:pt x="124" y="36"/>
                          <a:pt x="124" y="36"/>
                        </a:cubicBezTo>
                        <a:cubicBezTo>
                          <a:pt x="124" y="36"/>
                          <a:pt x="125" y="36"/>
                          <a:pt x="126" y="36"/>
                        </a:cubicBezTo>
                        <a:cubicBezTo>
                          <a:pt x="125" y="36"/>
                          <a:pt x="126" y="36"/>
                          <a:pt x="125" y="36"/>
                        </a:cubicBezTo>
                        <a:cubicBezTo>
                          <a:pt x="125" y="36"/>
                          <a:pt x="125" y="36"/>
                          <a:pt x="125" y="36"/>
                        </a:cubicBezTo>
                        <a:cubicBezTo>
                          <a:pt x="125" y="36"/>
                          <a:pt x="125" y="36"/>
                          <a:pt x="126" y="36"/>
                        </a:cubicBezTo>
                        <a:cubicBezTo>
                          <a:pt x="126" y="36"/>
                          <a:pt x="126" y="36"/>
                          <a:pt x="125" y="36"/>
                        </a:cubicBezTo>
                        <a:cubicBezTo>
                          <a:pt x="125" y="36"/>
                          <a:pt x="125" y="36"/>
                          <a:pt x="125" y="36"/>
                        </a:cubicBezTo>
                        <a:cubicBezTo>
                          <a:pt x="125" y="36"/>
                          <a:pt x="125" y="36"/>
                          <a:pt x="125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7" y="36"/>
                          <a:pt x="127" y="36"/>
                        </a:cubicBezTo>
                        <a:cubicBezTo>
                          <a:pt x="127" y="36"/>
                          <a:pt x="127" y="36"/>
                          <a:pt x="127" y="36"/>
                        </a:cubicBezTo>
                        <a:cubicBezTo>
                          <a:pt x="127" y="36"/>
                          <a:pt x="126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5"/>
                        </a:cubicBezTo>
                        <a:cubicBezTo>
                          <a:pt x="126" y="35"/>
                          <a:pt x="127" y="35"/>
                          <a:pt x="128" y="35"/>
                        </a:cubicBezTo>
                        <a:cubicBezTo>
                          <a:pt x="127" y="35"/>
                          <a:pt x="127" y="35"/>
                          <a:pt x="127" y="35"/>
                        </a:cubicBezTo>
                        <a:cubicBezTo>
                          <a:pt x="127" y="35"/>
                          <a:pt x="128" y="35"/>
                          <a:pt x="128" y="35"/>
                        </a:cubicBezTo>
                        <a:cubicBezTo>
                          <a:pt x="127" y="35"/>
                          <a:pt x="126" y="35"/>
                          <a:pt x="126" y="35"/>
                        </a:cubicBezTo>
                        <a:cubicBezTo>
                          <a:pt x="126" y="36"/>
                          <a:pt x="124" y="35"/>
                          <a:pt x="123" y="36"/>
                        </a:cubicBezTo>
                        <a:close/>
                        <a:moveTo>
                          <a:pt x="121" y="36"/>
                        </a:moveTo>
                        <a:cubicBezTo>
                          <a:pt x="121" y="36"/>
                          <a:pt x="121" y="36"/>
                          <a:pt x="121" y="37"/>
                        </a:cubicBezTo>
                        <a:cubicBezTo>
                          <a:pt x="121" y="36"/>
                          <a:pt x="122" y="36"/>
                          <a:pt x="122" y="36"/>
                        </a:cubicBezTo>
                        <a:cubicBezTo>
                          <a:pt x="121" y="36"/>
                          <a:pt x="122" y="36"/>
                          <a:pt x="121" y="36"/>
                        </a:cubicBezTo>
                        <a:cubicBezTo>
                          <a:pt x="121" y="36"/>
                          <a:pt x="121" y="36"/>
                          <a:pt x="121" y="36"/>
                        </a:cubicBezTo>
                        <a:close/>
                        <a:moveTo>
                          <a:pt x="119" y="37"/>
                        </a:moveTo>
                        <a:cubicBezTo>
                          <a:pt x="119" y="37"/>
                          <a:pt x="119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6"/>
                        </a:cubicBezTo>
                        <a:cubicBezTo>
                          <a:pt x="120" y="37"/>
                          <a:pt x="119" y="36"/>
                          <a:pt x="119" y="37"/>
                        </a:cubicBezTo>
                        <a:close/>
                        <a:moveTo>
                          <a:pt x="116" y="37"/>
                        </a:moveTo>
                        <a:cubicBezTo>
                          <a:pt x="115" y="37"/>
                          <a:pt x="115" y="37"/>
                          <a:pt x="115" y="38"/>
                        </a:cubicBezTo>
                        <a:cubicBezTo>
                          <a:pt x="115" y="38"/>
                          <a:pt x="116" y="38"/>
                          <a:pt x="116" y="37"/>
                        </a:cubicBezTo>
                        <a:close/>
                        <a:moveTo>
                          <a:pt x="116" y="37"/>
                        </a:moveTo>
                        <a:cubicBezTo>
                          <a:pt x="116" y="37"/>
                          <a:pt x="116" y="37"/>
                          <a:pt x="116" y="37"/>
                        </a:cubicBezTo>
                        <a:cubicBezTo>
                          <a:pt x="116" y="37"/>
                          <a:pt x="116" y="37"/>
                          <a:pt x="116" y="37"/>
                        </a:cubicBezTo>
                        <a:cubicBezTo>
                          <a:pt x="116" y="37"/>
                          <a:pt x="117" y="37"/>
                          <a:pt x="117" y="37"/>
                        </a:cubicBezTo>
                        <a:cubicBezTo>
                          <a:pt x="116" y="37"/>
                          <a:pt x="116" y="37"/>
                          <a:pt x="115" y="37"/>
                        </a:cubicBezTo>
                        <a:cubicBezTo>
                          <a:pt x="115" y="37"/>
                          <a:pt x="114" y="37"/>
                          <a:pt x="115" y="37"/>
                        </a:cubicBezTo>
                        <a:cubicBezTo>
                          <a:pt x="115" y="37"/>
                          <a:pt x="115" y="37"/>
                          <a:pt x="116" y="37"/>
                        </a:cubicBezTo>
                        <a:cubicBezTo>
                          <a:pt x="116" y="37"/>
                          <a:pt x="116" y="37"/>
                          <a:pt x="116" y="37"/>
                        </a:cubicBezTo>
                        <a:cubicBezTo>
                          <a:pt x="116" y="37"/>
                          <a:pt x="116" y="37"/>
                          <a:pt x="116" y="37"/>
                        </a:cubicBezTo>
                        <a:close/>
                        <a:moveTo>
                          <a:pt x="122" y="36"/>
                        </a:moveTo>
                        <a:cubicBezTo>
                          <a:pt x="122" y="36"/>
                          <a:pt x="121" y="36"/>
                          <a:pt x="121" y="36"/>
                        </a:cubicBezTo>
                        <a:cubicBezTo>
                          <a:pt x="121" y="36"/>
                          <a:pt x="122" y="36"/>
                          <a:pt x="122" y="36"/>
                        </a:cubicBezTo>
                        <a:cubicBezTo>
                          <a:pt x="122" y="36"/>
                          <a:pt x="122" y="36"/>
                          <a:pt x="122" y="36"/>
                        </a:cubicBezTo>
                        <a:cubicBezTo>
                          <a:pt x="122" y="36"/>
                          <a:pt x="122" y="36"/>
                          <a:pt x="122" y="36"/>
                        </a:cubicBezTo>
                        <a:close/>
                        <a:moveTo>
                          <a:pt x="117" y="36"/>
                        </a:moveTo>
                        <a:cubicBezTo>
                          <a:pt x="117" y="37"/>
                          <a:pt x="117" y="37"/>
                          <a:pt x="117" y="37"/>
                        </a:cubicBezTo>
                        <a:cubicBezTo>
                          <a:pt x="117" y="37"/>
                          <a:pt x="118" y="37"/>
                          <a:pt x="118" y="37"/>
                        </a:cubicBezTo>
                        <a:cubicBezTo>
                          <a:pt x="118" y="37"/>
                          <a:pt x="118" y="37"/>
                          <a:pt x="118" y="37"/>
                        </a:cubicBezTo>
                        <a:cubicBezTo>
                          <a:pt x="117" y="37"/>
                          <a:pt x="118" y="36"/>
                          <a:pt x="117" y="36"/>
                        </a:cubicBezTo>
                        <a:close/>
                        <a:moveTo>
                          <a:pt x="119" y="36"/>
                        </a:moveTo>
                        <a:cubicBezTo>
                          <a:pt x="119" y="36"/>
                          <a:pt x="119" y="36"/>
                          <a:pt x="119" y="36"/>
                        </a:cubicBezTo>
                        <a:cubicBezTo>
                          <a:pt x="119" y="36"/>
                          <a:pt x="119" y="36"/>
                          <a:pt x="119" y="36"/>
                        </a:cubicBezTo>
                        <a:close/>
                        <a:moveTo>
                          <a:pt x="118" y="36"/>
                        </a:moveTo>
                        <a:cubicBezTo>
                          <a:pt x="118" y="36"/>
                          <a:pt x="118" y="36"/>
                          <a:pt x="118" y="36"/>
                        </a:cubicBezTo>
                        <a:cubicBezTo>
                          <a:pt x="118" y="36"/>
                          <a:pt x="117" y="36"/>
                          <a:pt x="117" y="36"/>
                        </a:cubicBezTo>
                        <a:cubicBezTo>
                          <a:pt x="117" y="36"/>
                          <a:pt x="117" y="36"/>
                          <a:pt x="118" y="36"/>
                        </a:cubicBezTo>
                        <a:close/>
                        <a:moveTo>
                          <a:pt x="112" y="38"/>
                        </a:moveTo>
                        <a:cubicBezTo>
                          <a:pt x="112" y="38"/>
                          <a:pt x="112" y="38"/>
                          <a:pt x="111" y="38"/>
                        </a:cubicBezTo>
                        <a:cubicBezTo>
                          <a:pt x="111" y="38"/>
                          <a:pt x="113" y="38"/>
                          <a:pt x="112" y="38"/>
                        </a:cubicBezTo>
                        <a:close/>
                        <a:moveTo>
                          <a:pt x="109" y="38"/>
                        </a:moveTo>
                        <a:cubicBezTo>
                          <a:pt x="109" y="38"/>
                          <a:pt x="109" y="38"/>
                          <a:pt x="109" y="38"/>
                        </a:cubicBezTo>
                        <a:cubicBezTo>
                          <a:pt x="109" y="38"/>
                          <a:pt x="109" y="38"/>
                          <a:pt x="109" y="38"/>
                        </a:cubicBezTo>
                        <a:cubicBezTo>
                          <a:pt x="109" y="38"/>
                          <a:pt x="109" y="38"/>
                          <a:pt x="109" y="38"/>
                        </a:cubicBezTo>
                        <a:cubicBezTo>
                          <a:pt x="109" y="38"/>
                          <a:pt x="109" y="38"/>
                          <a:pt x="109" y="38"/>
                        </a:cubicBezTo>
                        <a:cubicBezTo>
                          <a:pt x="109" y="38"/>
                          <a:pt x="109" y="38"/>
                          <a:pt x="109" y="38"/>
                        </a:cubicBezTo>
                        <a:cubicBezTo>
                          <a:pt x="109" y="38"/>
                          <a:pt x="109" y="38"/>
                          <a:pt x="109" y="38"/>
                        </a:cubicBezTo>
                        <a:close/>
                        <a:moveTo>
                          <a:pt x="108" y="38"/>
                        </a:moveTo>
                        <a:cubicBezTo>
                          <a:pt x="108" y="38"/>
                          <a:pt x="108" y="38"/>
                          <a:pt x="108" y="38"/>
                        </a:cubicBezTo>
                        <a:cubicBezTo>
                          <a:pt x="108" y="38"/>
                          <a:pt x="109" y="38"/>
                          <a:pt x="108" y="38"/>
                        </a:cubicBezTo>
                        <a:cubicBezTo>
                          <a:pt x="108" y="38"/>
                          <a:pt x="108" y="38"/>
                          <a:pt x="108" y="38"/>
                        </a:cubicBezTo>
                        <a:cubicBezTo>
                          <a:pt x="108" y="38"/>
                          <a:pt x="108" y="38"/>
                          <a:pt x="108" y="38"/>
                        </a:cubicBezTo>
                        <a:close/>
                        <a:moveTo>
                          <a:pt x="107" y="38"/>
                        </a:moveTo>
                        <a:cubicBezTo>
                          <a:pt x="107" y="38"/>
                          <a:pt x="107" y="38"/>
                          <a:pt x="107" y="39"/>
                        </a:cubicBezTo>
                        <a:cubicBezTo>
                          <a:pt x="107" y="38"/>
                          <a:pt x="107" y="38"/>
                          <a:pt x="108" y="38"/>
                        </a:cubicBezTo>
                        <a:cubicBezTo>
                          <a:pt x="107" y="38"/>
                          <a:pt x="107" y="38"/>
                          <a:pt x="107" y="38"/>
                        </a:cubicBezTo>
                        <a:close/>
                        <a:moveTo>
                          <a:pt x="109" y="38"/>
                        </a:moveTo>
                        <a:cubicBezTo>
                          <a:pt x="109" y="38"/>
                          <a:pt x="110" y="38"/>
                          <a:pt x="110" y="37"/>
                        </a:cubicBezTo>
                        <a:cubicBezTo>
                          <a:pt x="110" y="37"/>
                          <a:pt x="109" y="38"/>
                          <a:pt x="109" y="38"/>
                        </a:cubicBezTo>
                        <a:close/>
                        <a:moveTo>
                          <a:pt x="102" y="39"/>
                        </a:moveTo>
                        <a:cubicBezTo>
                          <a:pt x="102" y="39"/>
                          <a:pt x="102" y="39"/>
                          <a:pt x="102" y="40"/>
                        </a:cubicBezTo>
                        <a:cubicBezTo>
                          <a:pt x="102" y="40"/>
                          <a:pt x="102" y="39"/>
                          <a:pt x="102" y="40"/>
                        </a:cubicBezTo>
                        <a:cubicBezTo>
                          <a:pt x="102" y="40"/>
                          <a:pt x="102" y="40"/>
                          <a:pt x="102" y="40"/>
                        </a:cubicBezTo>
                        <a:cubicBezTo>
                          <a:pt x="102" y="40"/>
                          <a:pt x="102" y="40"/>
                          <a:pt x="102" y="40"/>
                        </a:cubicBezTo>
                        <a:cubicBezTo>
                          <a:pt x="102" y="40"/>
                          <a:pt x="102" y="40"/>
                          <a:pt x="103" y="40"/>
                        </a:cubicBezTo>
                        <a:cubicBezTo>
                          <a:pt x="102" y="40"/>
                          <a:pt x="102" y="40"/>
                          <a:pt x="102" y="40"/>
                        </a:cubicBezTo>
                        <a:cubicBezTo>
                          <a:pt x="102" y="40"/>
                          <a:pt x="103" y="39"/>
                          <a:pt x="103" y="39"/>
                        </a:cubicBezTo>
                        <a:cubicBezTo>
                          <a:pt x="103" y="39"/>
                          <a:pt x="103" y="40"/>
                          <a:pt x="103" y="40"/>
                        </a:cubicBezTo>
                        <a:cubicBezTo>
                          <a:pt x="103" y="39"/>
                          <a:pt x="104" y="39"/>
                          <a:pt x="104" y="39"/>
                        </a:cubicBezTo>
                        <a:cubicBezTo>
                          <a:pt x="104" y="39"/>
                          <a:pt x="104" y="39"/>
                          <a:pt x="104" y="39"/>
                        </a:cubicBezTo>
                        <a:cubicBezTo>
                          <a:pt x="104" y="39"/>
                          <a:pt x="104" y="39"/>
                          <a:pt x="104" y="39"/>
                        </a:cubicBezTo>
                        <a:cubicBezTo>
                          <a:pt x="104" y="39"/>
                          <a:pt x="103" y="39"/>
                          <a:pt x="103" y="39"/>
                        </a:cubicBezTo>
                        <a:cubicBezTo>
                          <a:pt x="103" y="39"/>
                          <a:pt x="103" y="39"/>
                          <a:pt x="103" y="39"/>
                        </a:cubicBezTo>
                        <a:cubicBezTo>
                          <a:pt x="103" y="39"/>
                          <a:pt x="103" y="39"/>
                          <a:pt x="102" y="39"/>
                        </a:cubicBezTo>
                        <a:cubicBezTo>
                          <a:pt x="102" y="39"/>
                          <a:pt x="102" y="39"/>
                          <a:pt x="102" y="39"/>
                        </a:cubicBezTo>
                        <a:close/>
                        <a:moveTo>
                          <a:pt x="97" y="40"/>
                        </a:moveTo>
                        <a:cubicBezTo>
                          <a:pt x="97" y="40"/>
                          <a:pt x="97" y="40"/>
                          <a:pt x="97" y="40"/>
                        </a:cubicBezTo>
                        <a:cubicBezTo>
                          <a:pt x="97" y="40"/>
                          <a:pt x="96" y="40"/>
                          <a:pt x="96" y="40"/>
                        </a:cubicBezTo>
                        <a:cubicBezTo>
                          <a:pt x="97" y="40"/>
                          <a:pt x="96" y="40"/>
                          <a:pt x="97" y="40"/>
                        </a:cubicBezTo>
                        <a:cubicBezTo>
                          <a:pt x="97" y="40"/>
                          <a:pt x="97" y="40"/>
                          <a:pt x="97" y="40"/>
                        </a:cubicBezTo>
                        <a:close/>
                        <a:moveTo>
                          <a:pt x="120" y="34"/>
                        </a:moveTo>
                        <a:cubicBezTo>
                          <a:pt x="121" y="34"/>
                          <a:pt x="121" y="34"/>
                          <a:pt x="122" y="34"/>
                        </a:cubicBezTo>
                        <a:cubicBezTo>
                          <a:pt x="121" y="34"/>
                          <a:pt x="121" y="34"/>
                          <a:pt x="120" y="34"/>
                        </a:cubicBezTo>
                        <a:close/>
                        <a:moveTo>
                          <a:pt x="145" y="27"/>
                        </a:moveTo>
                        <a:cubicBezTo>
                          <a:pt x="146" y="27"/>
                          <a:pt x="144" y="27"/>
                          <a:pt x="144" y="27"/>
                        </a:cubicBezTo>
                        <a:cubicBezTo>
                          <a:pt x="144" y="27"/>
                          <a:pt x="145" y="27"/>
                          <a:pt x="145" y="27"/>
                        </a:cubicBezTo>
                        <a:cubicBezTo>
                          <a:pt x="145" y="27"/>
                          <a:pt x="145" y="27"/>
                          <a:pt x="146" y="27"/>
                        </a:cubicBezTo>
                        <a:cubicBezTo>
                          <a:pt x="146" y="27"/>
                          <a:pt x="145" y="27"/>
                          <a:pt x="145" y="27"/>
                        </a:cubicBezTo>
                        <a:close/>
                        <a:moveTo>
                          <a:pt x="143" y="23"/>
                        </a:moveTo>
                        <a:cubicBezTo>
                          <a:pt x="143" y="23"/>
                          <a:pt x="144" y="23"/>
                          <a:pt x="144" y="23"/>
                        </a:cubicBezTo>
                        <a:cubicBezTo>
                          <a:pt x="143" y="23"/>
                          <a:pt x="143" y="23"/>
                          <a:pt x="143" y="23"/>
                        </a:cubicBezTo>
                        <a:cubicBezTo>
                          <a:pt x="143" y="23"/>
                          <a:pt x="144" y="23"/>
                          <a:pt x="144" y="23"/>
                        </a:cubicBezTo>
                        <a:cubicBezTo>
                          <a:pt x="144" y="23"/>
                          <a:pt x="144" y="23"/>
                          <a:pt x="143" y="23"/>
                        </a:cubicBezTo>
                        <a:close/>
                        <a:moveTo>
                          <a:pt x="145" y="29"/>
                        </a:moveTo>
                        <a:cubicBezTo>
                          <a:pt x="145" y="29"/>
                          <a:pt x="145" y="29"/>
                          <a:pt x="145" y="29"/>
                        </a:cubicBezTo>
                        <a:cubicBezTo>
                          <a:pt x="145" y="29"/>
                          <a:pt x="145" y="29"/>
                          <a:pt x="145" y="28"/>
                        </a:cubicBezTo>
                        <a:cubicBezTo>
                          <a:pt x="145" y="28"/>
                          <a:pt x="145" y="29"/>
                          <a:pt x="145" y="29"/>
                        </a:cubicBezTo>
                        <a:cubicBezTo>
                          <a:pt x="145" y="29"/>
                          <a:pt x="145" y="29"/>
                          <a:pt x="145" y="29"/>
                        </a:cubicBezTo>
                        <a:cubicBezTo>
                          <a:pt x="145" y="29"/>
                          <a:pt x="145" y="29"/>
                          <a:pt x="145" y="29"/>
                        </a:cubicBezTo>
                        <a:cubicBezTo>
                          <a:pt x="145" y="29"/>
                          <a:pt x="145" y="29"/>
                          <a:pt x="145" y="29"/>
                        </a:cubicBezTo>
                        <a:cubicBezTo>
                          <a:pt x="145" y="29"/>
                          <a:pt x="145" y="29"/>
                          <a:pt x="145" y="29"/>
                        </a:cubicBezTo>
                        <a:close/>
                        <a:moveTo>
                          <a:pt x="143" y="28"/>
                        </a:moveTo>
                        <a:cubicBezTo>
                          <a:pt x="144" y="28"/>
                          <a:pt x="144" y="28"/>
                          <a:pt x="145" y="27"/>
                        </a:cubicBezTo>
                        <a:cubicBezTo>
                          <a:pt x="145" y="28"/>
                          <a:pt x="145" y="28"/>
                          <a:pt x="145" y="28"/>
                        </a:cubicBezTo>
                        <a:cubicBezTo>
                          <a:pt x="145" y="28"/>
                          <a:pt x="145" y="28"/>
                          <a:pt x="145" y="28"/>
                        </a:cubicBezTo>
                        <a:cubicBezTo>
                          <a:pt x="145" y="28"/>
                          <a:pt x="144" y="29"/>
                          <a:pt x="144" y="28"/>
                        </a:cubicBezTo>
                        <a:cubicBezTo>
                          <a:pt x="145" y="28"/>
                          <a:pt x="145" y="28"/>
                          <a:pt x="145" y="28"/>
                        </a:cubicBezTo>
                        <a:cubicBezTo>
                          <a:pt x="145" y="28"/>
                          <a:pt x="145" y="28"/>
                          <a:pt x="145" y="28"/>
                        </a:cubicBezTo>
                        <a:cubicBezTo>
                          <a:pt x="145" y="28"/>
                          <a:pt x="144" y="28"/>
                          <a:pt x="144" y="28"/>
                        </a:cubicBezTo>
                        <a:cubicBezTo>
                          <a:pt x="144" y="28"/>
                          <a:pt x="144" y="28"/>
                          <a:pt x="144" y="28"/>
                        </a:cubicBezTo>
                        <a:cubicBezTo>
                          <a:pt x="144" y="28"/>
                          <a:pt x="144" y="28"/>
                          <a:pt x="144" y="28"/>
                        </a:cubicBezTo>
                        <a:cubicBezTo>
                          <a:pt x="143" y="28"/>
                          <a:pt x="143" y="28"/>
                          <a:pt x="143" y="28"/>
                        </a:cubicBezTo>
                        <a:cubicBezTo>
                          <a:pt x="143" y="28"/>
                          <a:pt x="143" y="28"/>
                          <a:pt x="142" y="29"/>
                        </a:cubicBezTo>
                        <a:cubicBezTo>
                          <a:pt x="142" y="28"/>
                          <a:pt x="142" y="28"/>
                          <a:pt x="142" y="28"/>
                        </a:cubicBezTo>
                        <a:cubicBezTo>
                          <a:pt x="143" y="28"/>
                          <a:pt x="143" y="28"/>
                          <a:pt x="143" y="28"/>
                        </a:cubicBezTo>
                        <a:close/>
                        <a:moveTo>
                          <a:pt x="145" y="30"/>
                        </a:moveTo>
                        <a:cubicBezTo>
                          <a:pt x="145" y="30"/>
                          <a:pt x="145" y="30"/>
                          <a:pt x="145" y="30"/>
                        </a:cubicBezTo>
                        <a:cubicBezTo>
                          <a:pt x="145" y="30"/>
                          <a:pt x="145" y="30"/>
                          <a:pt x="145" y="30"/>
                        </a:cubicBezTo>
                        <a:cubicBezTo>
                          <a:pt x="146" y="30"/>
                          <a:pt x="145" y="30"/>
                          <a:pt x="145" y="30"/>
                        </a:cubicBezTo>
                        <a:close/>
                        <a:moveTo>
                          <a:pt x="143" y="23"/>
                        </a:moveTo>
                        <a:cubicBezTo>
                          <a:pt x="143" y="23"/>
                          <a:pt x="143" y="23"/>
                          <a:pt x="143" y="23"/>
                        </a:cubicBezTo>
                        <a:cubicBezTo>
                          <a:pt x="143" y="23"/>
                          <a:pt x="143" y="23"/>
                          <a:pt x="143" y="23"/>
                        </a:cubicBezTo>
                        <a:cubicBezTo>
                          <a:pt x="143" y="23"/>
                          <a:pt x="143" y="23"/>
                          <a:pt x="143" y="23"/>
                        </a:cubicBezTo>
                        <a:cubicBezTo>
                          <a:pt x="143" y="23"/>
                          <a:pt x="143" y="23"/>
                          <a:pt x="143" y="23"/>
                        </a:cubicBezTo>
                        <a:close/>
                        <a:moveTo>
                          <a:pt x="138" y="31"/>
                        </a:moveTo>
                        <a:cubicBezTo>
                          <a:pt x="138" y="31"/>
                          <a:pt x="138" y="32"/>
                          <a:pt x="138" y="32"/>
                        </a:cubicBezTo>
                        <a:cubicBezTo>
                          <a:pt x="139" y="31"/>
                          <a:pt x="139" y="32"/>
                          <a:pt x="139" y="31"/>
                        </a:cubicBezTo>
                        <a:cubicBezTo>
                          <a:pt x="138" y="32"/>
                          <a:pt x="139" y="31"/>
                          <a:pt x="139" y="31"/>
                        </a:cubicBezTo>
                        <a:cubicBezTo>
                          <a:pt x="138" y="31"/>
                          <a:pt x="137" y="31"/>
                          <a:pt x="136" y="31"/>
                        </a:cubicBezTo>
                        <a:cubicBezTo>
                          <a:pt x="136" y="31"/>
                          <a:pt x="136" y="31"/>
                          <a:pt x="136" y="31"/>
                        </a:cubicBezTo>
                        <a:cubicBezTo>
                          <a:pt x="136" y="31"/>
                          <a:pt x="137" y="31"/>
                          <a:pt x="137" y="31"/>
                        </a:cubicBezTo>
                        <a:cubicBezTo>
                          <a:pt x="138" y="31"/>
                          <a:pt x="138" y="31"/>
                          <a:pt x="138" y="31"/>
                        </a:cubicBezTo>
                        <a:cubicBezTo>
                          <a:pt x="138" y="31"/>
                          <a:pt x="138" y="31"/>
                          <a:pt x="138" y="31"/>
                        </a:cubicBezTo>
                        <a:cubicBezTo>
                          <a:pt x="139" y="31"/>
                          <a:pt x="139" y="31"/>
                          <a:pt x="139" y="31"/>
                        </a:cubicBezTo>
                        <a:cubicBezTo>
                          <a:pt x="139" y="31"/>
                          <a:pt x="139" y="31"/>
                          <a:pt x="139" y="31"/>
                        </a:cubicBezTo>
                        <a:cubicBezTo>
                          <a:pt x="139" y="31"/>
                          <a:pt x="139" y="30"/>
                          <a:pt x="140" y="30"/>
                        </a:cubicBezTo>
                        <a:cubicBezTo>
                          <a:pt x="140" y="30"/>
                          <a:pt x="140" y="30"/>
                          <a:pt x="140" y="30"/>
                        </a:cubicBezTo>
                        <a:cubicBezTo>
                          <a:pt x="140" y="31"/>
                          <a:pt x="139" y="31"/>
                          <a:pt x="139" y="31"/>
                        </a:cubicBezTo>
                        <a:cubicBezTo>
                          <a:pt x="140" y="31"/>
                          <a:pt x="141" y="31"/>
                          <a:pt x="141" y="31"/>
                        </a:cubicBezTo>
                        <a:cubicBezTo>
                          <a:pt x="141" y="31"/>
                          <a:pt x="141" y="30"/>
                          <a:pt x="142" y="31"/>
                        </a:cubicBezTo>
                        <a:cubicBezTo>
                          <a:pt x="142" y="30"/>
                          <a:pt x="143" y="30"/>
                          <a:pt x="143" y="30"/>
                        </a:cubicBezTo>
                        <a:cubicBezTo>
                          <a:pt x="143" y="30"/>
                          <a:pt x="143" y="30"/>
                          <a:pt x="143" y="30"/>
                        </a:cubicBezTo>
                        <a:cubicBezTo>
                          <a:pt x="144" y="30"/>
                          <a:pt x="144" y="30"/>
                          <a:pt x="145" y="30"/>
                        </a:cubicBezTo>
                        <a:cubicBezTo>
                          <a:pt x="145" y="30"/>
                          <a:pt x="145" y="30"/>
                          <a:pt x="145" y="30"/>
                        </a:cubicBezTo>
                        <a:cubicBezTo>
                          <a:pt x="145" y="30"/>
                          <a:pt x="145" y="30"/>
                          <a:pt x="145" y="30"/>
                        </a:cubicBezTo>
                        <a:cubicBezTo>
                          <a:pt x="144" y="30"/>
                          <a:pt x="144" y="30"/>
                          <a:pt x="144" y="30"/>
                        </a:cubicBezTo>
                        <a:cubicBezTo>
                          <a:pt x="144" y="30"/>
                          <a:pt x="144" y="30"/>
                          <a:pt x="144" y="30"/>
                        </a:cubicBezTo>
                        <a:cubicBezTo>
                          <a:pt x="144" y="30"/>
                          <a:pt x="144" y="30"/>
                          <a:pt x="143" y="30"/>
                        </a:cubicBezTo>
                        <a:cubicBezTo>
                          <a:pt x="143" y="30"/>
                          <a:pt x="144" y="30"/>
                          <a:pt x="144" y="30"/>
                        </a:cubicBezTo>
                        <a:cubicBezTo>
                          <a:pt x="144" y="30"/>
                          <a:pt x="143" y="31"/>
                          <a:pt x="143" y="30"/>
                        </a:cubicBezTo>
                        <a:cubicBezTo>
                          <a:pt x="142" y="30"/>
                          <a:pt x="142" y="31"/>
                          <a:pt x="142" y="31"/>
                        </a:cubicBezTo>
                        <a:cubicBezTo>
                          <a:pt x="142" y="31"/>
                          <a:pt x="142" y="31"/>
                          <a:pt x="142" y="31"/>
                        </a:cubicBezTo>
                        <a:cubicBezTo>
                          <a:pt x="142" y="31"/>
                          <a:pt x="141" y="31"/>
                          <a:pt x="141" y="31"/>
                        </a:cubicBezTo>
                        <a:cubicBezTo>
                          <a:pt x="141" y="31"/>
                          <a:pt x="140" y="31"/>
                          <a:pt x="140" y="31"/>
                        </a:cubicBezTo>
                        <a:cubicBezTo>
                          <a:pt x="140" y="31"/>
                          <a:pt x="140" y="31"/>
                          <a:pt x="140" y="31"/>
                        </a:cubicBezTo>
                        <a:cubicBezTo>
                          <a:pt x="140" y="32"/>
                          <a:pt x="140" y="31"/>
                          <a:pt x="140" y="32"/>
                        </a:cubicBezTo>
                        <a:cubicBezTo>
                          <a:pt x="140" y="31"/>
                          <a:pt x="139" y="32"/>
                          <a:pt x="139" y="31"/>
                        </a:cubicBezTo>
                        <a:cubicBezTo>
                          <a:pt x="139" y="32"/>
                          <a:pt x="139" y="32"/>
                          <a:pt x="139" y="32"/>
                        </a:cubicBezTo>
                        <a:cubicBezTo>
                          <a:pt x="139" y="32"/>
                          <a:pt x="139" y="32"/>
                          <a:pt x="139" y="32"/>
                        </a:cubicBezTo>
                        <a:cubicBezTo>
                          <a:pt x="139" y="32"/>
                          <a:pt x="139" y="32"/>
                          <a:pt x="139" y="32"/>
                        </a:cubicBezTo>
                        <a:cubicBezTo>
                          <a:pt x="138" y="32"/>
                          <a:pt x="138" y="32"/>
                          <a:pt x="137" y="32"/>
                        </a:cubicBezTo>
                        <a:cubicBezTo>
                          <a:pt x="137" y="32"/>
                          <a:pt x="138" y="32"/>
                          <a:pt x="138" y="32"/>
                        </a:cubicBezTo>
                        <a:cubicBezTo>
                          <a:pt x="138" y="32"/>
                          <a:pt x="138" y="32"/>
                          <a:pt x="138" y="31"/>
                        </a:cubicBezTo>
                        <a:close/>
                        <a:moveTo>
                          <a:pt x="141" y="31"/>
                        </a:moveTo>
                        <a:cubicBezTo>
                          <a:pt x="141" y="31"/>
                          <a:pt x="141" y="31"/>
                          <a:pt x="141" y="31"/>
                        </a:cubicBezTo>
                        <a:cubicBezTo>
                          <a:pt x="141" y="31"/>
                          <a:pt x="141" y="31"/>
                          <a:pt x="141" y="31"/>
                        </a:cubicBezTo>
                        <a:cubicBezTo>
                          <a:pt x="141" y="31"/>
                          <a:pt x="140" y="31"/>
                          <a:pt x="141" y="31"/>
                        </a:cubicBezTo>
                        <a:cubicBezTo>
                          <a:pt x="140" y="31"/>
                          <a:pt x="142" y="31"/>
                          <a:pt x="141" y="31"/>
                        </a:cubicBezTo>
                        <a:close/>
                        <a:moveTo>
                          <a:pt x="142" y="26"/>
                        </a:moveTo>
                        <a:cubicBezTo>
                          <a:pt x="143" y="26"/>
                          <a:pt x="142" y="26"/>
                          <a:pt x="143" y="26"/>
                        </a:cubicBezTo>
                        <a:cubicBezTo>
                          <a:pt x="142" y="26"/>
                          <a:pt x="142" y="26"/>
                          <a:pt x="142" y="27"/>
                        </a:cubicBezTo>
                        <a:cubicBezTo>
                          <a:pt x="142" y="26"/>
                          <a:pt x="142" y="26"/>
                          <a:pt x="142" y="26"/>
                        </a:cubicBezTo>
                        <a:cubicBezTo>
                          <a:pt x="142" y="26"/>
                          <a:pt x="142" y="27"/>
                          <a:pt x="141" y="27"/>
                        </a:cubicBezTo>
                        <a:cubicBezTo>
                          <a:pt x="141" y="26"/>
                          <a:pt x="141" y="26"/>
                          <a:pt x="141" y="26"/>
                        </a:cubicBezTo>
                        <a:cubicBezTo>
                          <a:pt x="142" y="26"/>
                          <a:pt x="142" y="26"/>
                          <a:pt x="142" y="26"/>
                        </a:cubicBezTo>
                        <a:close/>
                        <a:moveTo>
                          <a:pt x="142" y="24"/>
                        </a:moveTo>
                        <a:cubicBezTo>
                          <a:pt x="141" y="24"/>
                          <a:pt x="142" y="24"/>
                          <a:pt x="142" y="24"/>
                        </a:cubicBezTo>
                        <a:cubicBezTo>
                          <a:pt x="142" y="24"/>
                          <a:pt x="142" y="24"/>
                          <a:pt x="142" y="24"/>
                        </a:cubicBezTo>
                        <a:cubicBezTo>
                          <a:pt x="142" y="24"/>
                          <a:pt x="141" y="24"/>
                          <a:pt x="141" y="24"/>
                        </a:cubicBezTo>
                        <a:cubicBezTo>
                          <a:pt x="141" y="24"/>
                          <a:pt x="141" y="24"/>
                          <a:pt x="141" y="24"/>
                        </a:cubicBezTo>
                        <a:cubicBezTo>
                          <a:pt x="141" y="24"/>
                          <a:pt x="140" y="24"/>
                          <a:pt x="140" y="25"/>
                        </a:cubicBezTo>
                        <a:cubicBezTo>
                          <a:pt x="140" y="25"/>
                          <a:pt x="140" y="25"/>
                          <a:pt x="140" y="25"/>
                        </a:cubicBezTo>
                        <a:cubicBezTo>
                          <a:pt x="140" y="25"/>
                          <a:pt x="140" y="25"/>
                          <a:pt x="140" y="25"/>
                        </a:cubicBezTo>
                        <a:cubicBezTo>
                          <a:pt x="140" y="24"/>
                          <a:pt x="141" y="24"/>
                          <a:pt x="142" y="24"/>
                        </a:cubicBezTo>
                        <a:close/>
                        <a:moveTo>
                          <a:pt x="142" y="25"/>
                        </a:moveTo>
                        <a:cubicBezTo>
                          <a:pt x="142" y="25"/>
                          <a:pt x="142" y="25"/>
                          <a:pt x="142" y="25"/>
                        </a:cubicBezTo>
                        <a:cubicBezTo>
                          <a:pt x="141" y="25"/>
                          <a:pt x="141" y="25"/>
                          <a:pt x="140" y="25"/>
                        </a:cubicBezTo>
                        <a:cubicBezTo>
                          <a:pt x="140" y="25"/>
                          <a:pt x="141" y="25"/>
                          <a:pt x="141" y="25"/>
                        </a:cubicBezTo>
                        <a:cubicBezTo>
                          <a:pt x="141" y="25"/>
                          <a:pt x="141" y="25"/>
                          <a:pt x="142" y="25"/>
                        </a:cubicBezTo>
                        <a:cubicBezTo>
                          <a:pt x="142" y="25"/>
                          <a:pt x="141" y="25"/>
                          <a:pt x="141" y="25"/>
                        </a:cubicBezTo>
                        <a:cubicBezTo>
                          <a:pt x="141" y="26"/>
                          <a:pt x="141" y="26"/>
                          <a:pt x="140" y="26"/>
                        </a:cubicBezTo>
                        <a:cubicBezTo>
                          <a:pt x="140" y="26"/>
                          <a:pt x="141" y="26"/>
                          <a:pt x="141" y="26"/>
                        </a:cubicBezTo>
                        <a:cubicBezTo>
                          <a:pt x="140" y="26"/>
                          <a:pt x="140" y="26"/>
                          <a:pt x="140" y="26"/>
                        </a:cubicBezTo>
                        <a:cubicBezTo>
                          <a:pt x="140" y="26"/>
                          <a:pt x="140" y="26"/>
                          <a:pt x="141" y="26"/>
                        </a:cubicBezTo>
                        <a:cubicBezTo>
                          <a:pt x="140" y="26"/>
                          <a:pt x="139" y="26"/>
                          <a:pt x="138" y="26"/>
                        </a:cubicBezTo>
                        <a:cubicBezTo>
                          <a:pt x="139" y="26"/>
                          <a:pt x="139" y="26"/>
                          <a:pt x="139" y="26"/>
                        </a:cubicBezTo>
                        <a:cubicBezTo>
                          <a:pt x="139" y="26"/>
                          <a:pt x="139" y="26"/>
                          <a:pt x="139" y="26"/>
                        </a:cubicBezTo>
                        <a:cubicBezTo>
                          <a:pt x="139" y="26"/>
                          <a:pt x="139" y="26"/>
                          <a:pt x="139" y="26"/>
                        </a:cubicBezTo>
                        <a:cubicBezTo>
                          <a:pt x="140" y="26"/>
                          <a:pt x="140" y="26"/>
                          <a:pt x="140" y="26"/>
                        </a:cubicBezTo>
                        <a:cubicBezTo>
                          <a:pt x="140" y="25"/>
                          <a:pt x="140" y="25"/>
                          <a:pt x="140" y="25"/>
                        </a:cubicBezTo>
                        <a:cubicBezTo>
                          <a:pt x="140" y="25"/>
                          <a:pt x="140" y="25"/>
                          <a:pt x="140" y="25"/>
                        </a:cubicBezTo>
                        <a:cubicBezTo>
                          <a:pt x="140" y="26"/>
                          <a:pt x="140" y="25"/>
                          <a:pt x="140" y="26"/>
                        </a:cubicBezTo>
                        <a:cubicBezTo>
                          <a:pt x="140" y="26"/>
                          <a:pt x="140" y="26"/>
                          <a:pt x="140" y="25"/>
                        </a:cubicBezTo>
                        <a:cubicBezTo>
                          <a:pt x="138" y="26"/>
                          <a:pt x="138" y="26"/>
                          <a:pt x="137" y="26"/>
                        </a:cubicBezTo>
                        <a:cubicBezTo>
                          <a:pt x="137" y="26"/>
                          <a:pt x="137" y="26"/>
                          <a:pt x="136" y="26"/>
                        </a:cubicBezTo>
                        <a:cubicBezTo>
                          <a:pt x="137" y="26"/>
                          <a:pt x="139" y="25"/>
                          <a:pt x="140" y="25"/>
                        </a:cubicBezTo>
                        <a:cubicBezTo>
                          <a:pt x="140" y="25"/>
                          <a:pt x="141" y="25"/>
                          <a:pt x="142" y="25"/>
                        </a:cubicBezTo>
                        <a:cubicBezTo>
                          <a:pt x="142" y="25"/>
                          <a:pt x="142" y="25"/>
                          <a:pt x="141" y="25"/>
                        </a:cubicBezTo>
                        <a:cubicBezTo>
                          <a:pt x="142" y="25"/>
                          <a:pt x="141" y="25"/>
                          <a:pt x="141" y="24"/>
                        </a:cubicBezTo>
                        <a:cubicBezTo>
                          <a:pt x="141" y="24"/>
                          <a:pt x="141" y="24"/>
                          <a:pt x="142" y="24"/>
                        </a:cubicBezTo>
                        <a:cubicBezTo>
                          <a:pt x="142" y="25"/>
                          <a:pt x="142" y="25"/>
                          <a:pt x="142" y="25"/>
                        </a:cubicBezTo>
                        <a:close/>
                        <a:moveTo>
                          <a:pt x="141" y="27"/>
                        </a:moveTo>
                        <a:cubicBezTo>
                          <a:pt x="141" y="27"/>
                          <a:pt x="141" y="27"/>
                          <a:pt x="141" y="27"/>
                        </a:cubicBezTo>
                        <a:cubicBezTo>
                          <a:pt x="141" y="27"/>
                          <a:pt x="141" y="27"/>
                          <a:pt x="141" y="27"/>
                        </a:cubicBezTo>
                        <a:cubicBezTo>
                          <a:pt x="141" y="27"/>
                          <a:pt x="141" y="27"/>
                          <a:pt x="141" y="27"/>
                        </a:cubicBezTo>
                        <a:cubicBezTo>
                          <a:pt x="141" y="27"/>
                          <a:pt x="141" y="27"/>
                          <a:pt x="141" y="27"/>
                        </a:cubicBezTo>
                        <a:cubicBezTo>
                          <a:pt x="141" y="26"/>
                          <a:pt x="141" y="26"/>
                          <a:pt x="141" y="26"/>
                        </a:cubicBezTo>
                        <a:cubicBezTo>
                          <a:pt x="141" y="27"/>
                          <a:pt x="141" y="27"/>
                          <a:pt x="141" y="27"/>
                        </a:cubicBezTo>
                        <a:close/>
                        <a:moveTo>
                          <a:pt x="140" y="27"/>
                        </a:moveTo>
                        <a:cubicBezTo>
                          <a:pt x="140" y="28"/>
                          <a:pt x="140" y="27"/>
                          <a:pt x="140" y="28"/>
                        </a:cubicBezTo>
                        <a:cubicBezTo>
                          <a:pt x="140" y="28"/>
                          <a:pt x="140" y="28"/>
                          <a:pt x="140" y="28"/>
                        </a:cubicBezTo>
                        <a:cubicBezTo>
                          <a:pt x="140" y="28"/>
                          <a:pt x="140" y="28"/>
                          <a:pt x="140" y="28"/>
                        </a:cubicBezTo>
                        <a:cubicBezTo>
                          <a:pt x="140" y="28"/>
                          <a:pt x="140" y="28"/>
                          <a:pt x="140" y="28"/>
                        </a:cubicBezTo>
                        <a:cubicBezTo>
                          <a:pt x="141" y="28"/>
                          <a:pt x="141" y="28"/>
                          <a:pt x="141" y="28"/>
                        </a:cubicBezTo>
                        <a:cubicBezTo>
                          <a:pt x="141" y="28"/>
                          <a:pt x="140" y="28"/>
                          <a:pt x="140" y="28"/>
                        </a:cubicBezTo>
                        <a:cubicBezTo>
                          <a:pt x="140" y="28"/>
                          <a:pt x="140" y="28"/>
                          <a:pt x="140" y="28"/>
                        </a:cubicBezTo>
                        <a:cubicBezTo>
                          <a:pt x="140" y="28"/>
                          <a:pt x="140" y="28"/>
                          <a:pt x="140" y="28"/>
                        </a:cubicBezTo>
                        <a:cubicBezTo>
                          <a:pt x="139" y="28"/>
                          <a:pt x="140" y="28"/>
                          <a:pt x="140" y="28"/>
                        </a:cubicBezTo>
                        <a:cubicBezTo>
                          <a:pt x="139" y="28"/>
                          <a:pt x="139" y="28"/>
                          <a:pt x="139" y="28"/>
                        </a:cubicBezTo>
                        <a:cubicBezTo>
                          <a:pt x="140" y="28"/>
                          <a:pt x="140" y="27"/>
                          <a:pt x="140" y="27"/>
                        </a:cubicBezTo>
                        <a:close/>
                        <a:moveTo>
                          <a:pt x="139" y="27"/>
                        </a:moveTo>
                        <a:cubicBezTo>
                          <a:pt x="139" y="27"/>
                          <a:pt x="139" y="27"/>
                          <a:pt x="139" y="27"/>
                        </a:cubicBezTo>
                        <a:cubicBezTo>
                          <a:pt x="139" y="27"/>
                          <a:pt x="139" y="27"/>
                          <a:pt x="139" y="27"/>
                        </a:cubicBezTo>
                        <a:cubicBezTo>
                          <a:pt x="139" y="27"/>
                          <a:pt x="139" y="27"/>
                          <a:pt x="139" y="27"/>
                        </a:cubicBezTo>
                        <a:cubicBezTo>
                          <a:pt x="138" y="27"/>
                          <a:pt x="139" y="27"/>
                          <a:pt x="139" y="27"/>
                        </a:cubicBezTo>
                        <a:close/>
                        <a:moveTo>
                          <a:pt x="139" y="33"/>
                        </a:moveTo>
                        <a:cubicBezTo>
                          <a:pt x="139" y="33"/>
                          <a:pt x="139" y="33"/>
                          <a:pt x="139" y="33"/>
                        </a:cubicBezTo>
                        <a:cubicBezTo>
                          <a:pt x="138" y="33"/>
                          <a:pt x="139" y="33"/>
                          <a:pt x="139" y="33"/>
                        </a:cubicBezTo>
                        <a:cubicBezTo>
                          <a:pt x="139" y="33"/>
                          <a:pt x="139" y="33"/>
                          <a:pt x="139" y="33"/>
                        </a:cubicBezTo>
                        <a:cubicBezTo>
                          <a:pt x="139" y="33"/>
                          <a:pt x="140" y="32"/>
                          <a:pt x="140" y="32"/>
                        </a:cubicBezTo>
                        <a:cubicBezTo>
                          <a:pt x="140" y="33"/>
                          <a:pt x="140" y="33"/>
                          <a:pt x="140" y="33"/>
                        </a:cubicBezTo>
                        <a:cubicBezTo>
                          <a:pt x="140" y="33"/>
                          <a:pt x="139" y="33"/>
                          <a:pt x="139" y="33"/>
                        </a:cubicBezTo>
                        <a:cubicBezTo>
                          <a:pt x="139" y="33"/>
                          <a:pt x="139" y="33"/>
                          <a:pt x="139" y="33"/>
                        </a:cubicBezTo>
                        <a:cubicBezTo>
                          <a:pt x="139" y="33"/>
                          <a:pt x="139" y="33"/>
                          <a:pt x="139" y="33"/>
                        </a:cubicBezTo>
                        <a:close/>
                        <a:moveTo>
                          <a:pt x="137" y="29"/>
                        </a:moveTo>
                        <a:cubicBezTo>
                          <a:pt x="137" y="29"/>
                          <a:pt x="137" y="29"/>
                          <a:pt x="137" y="29"/>
                        </a:cubicBezTo>
                        <a:cubicBezTo>
                          <a:pt x="137" y="29"/>
                          <a:pt x="137" y="29"/>
                          <a:pt x="137" y="29"/>
                        </a:cubicBezTo>
                        <a:cubicBezTo>
                          <a:pt x="137" y="29"/>
                          <a:pt x="137" y="29"/>
                          <a:pt x="137" y="30"/>
                        </a:cubicBezTo>
                        <a:cubicBezTo>
                          <a:pt x="136" y="30"/>
                          <a:pt x="136" y="29"/>
                          <a:pt x="136" y="30"/>
                        </a:cubicBezTo>
                        <a:cubicBezTo>
                          <a:pt x="136" y="30"/>
                          <a:pt x="136" y="29"/>
                          <a:pt x="136" y="29"/>
                        </a:cubicBezTo>
                        <a:cubicBezTo>
                          <a:pt x="136" y="29"/>
                          <a:pt x="136" y="29"/>
                          <a:pt x="137" y="29"/>
                        </a:cubicBezTo>
                        <a:cubicBezTo>
                          <a:pt x="137" y="29"/>
                          <a:pt x="136" y="29"/>
                          <a:pt x="136" y="29"/>
                        </a:cubicBezTo>
                        <a:cubicBezTo>
                          <a:pt x="136" y="29"/>
                          <a:pt x="136" y="29"/>
                          <a:pt x="136" y="29"/>
                        </a:cubicBezTo>
                        <a:cubicBezTo>
                          <a:pt x="136" y="29"/>
                          <a:pt x="136" y="29"/>
                          <a:pt x="135" y="29"/>
                        </a:cubicBezTo>
                        <a:cubicBezTo>
                          <a:pt x="136" y="29"/>
                          <a:pt x="136" y="29"/>
                          <a:pt x="136" y="29"/>
                        </a:cubicBezTo>
                        <a:cubicBezTo>
                          <a:pt x="136" y="29"/>
                          <a:pt x="137" y="29"/>
                          <a:pt x="137" y="28"/>
                        </a:cubicBezTo>
                        <a:cubicBezTo>
                          <a:pt x="137" y="28"/>
                          <a:pt x="137" y="28"/>
                          <a:pt x="137" y="28"/>
                        </a:cubicBezTo>
                        <a:cubicBezTo>
                          <a:pt x="137" y="28"/>
                          <a:pt x="137" y="28"/>
                          <a:pt x="137" y="28"/>
                        </a:cubicBezTo>
                        <a:cubicBezTo>
                          <a:pt x="138" y="28"/>
                          <a:pt x="138" y="28"/>
                          <a:pt x="138" y="28"/>
                        </a:cubicBezTo>
                        <a:cubicBezTo>
                          <a:pt x="138" y="28"/>
                          <a:pt x="138" y="28"/>
                          <a:pt x="138" y="28"/>
                        </a:cubicBezTo>
                        <a:cubicBezTo>
                          <a:pt x="138" y="28"/>
                          <a:pt x="139" y="28"/>
                          <a:pt x="138" y="28"/>
                        </a:cubicBezTo>
                        <a:cubicBezTo>
                          <a:pt x="139" y="28"/>
                          <a:pt x="139" y="28"/>
                          <a:pt x="139" y="28"/>
                        </a:cubicBezTo>
                        <a:cubicBezTo>
                          <a:pt x="139" y="28"/>
                          <a:pt x="139" y="28"/>
                          <a:pt x="139" y="28"/>
                        </a:cubicBezTo>
                        <a:cubicBezTo>
                          <a:pt x="139" y="28"/>
                          <a:pt x="139" y="28"/>
                          <a:pt x="139" y="28"/>
                        </a:cubicBezTo>
                        <a:cubicBezTo>
                          <a:pt x="138" y="28"/>
                          <a:pt x="137" y="29"/>
                          <a:pt x="137" y="29"/>
                        </a:cubicBezTo>
                        <a:close/>
                        <a:moveTo>
                          <a:pt x="136" y="28"/>
                        </a:moveTo>
                        <a:cubicBezTo>
                          <a:pt x="137" y="28"/>
                          <a:pt x="137" y="28"/>
                          <a:pt x="137" y="27"/>
                        </a:cubicBezTo>
                        <a:cubicBezTo>
                          <a:pt x="137" y="28"/>
                          <a:pt x="137" y="28"/>
                          <a:pt x="138" y="27"/>
                        </a:cubicBezTo>
                        <a:cubicBezTo>
                          <a:pt x="138" y="27"/>
                          <a:pt x="137" y="28"/>
                          <a:pt x="137" y="28"/>
                        </a:cubicBezTo>
                        <a:cubicBezTo>
                          <a:pt x="137" y="28"/>
                          <a:pt x="137" y="28"/>
                          <a:pt x="137" y="28"/>
                        </a:cubicBezTo>
                        <a:cubicBezTo>
                          <a:pt x="137" y="28"/>
                          <a:pt x="136" y="28"/>
                          <a:pt x="136" y="28"/>
                        </a:cubicBezTo>
                        <a:close/>
                        <a:moveTo>
                          <a:pt x="132" y="27"/>
                        </a:moveTo>
                        <a:cubicBezTo>
                          <a:pt x="132" y="27"/>
                          <a:pt x="132" y="27"/>
                          <a:pt x="132" y="27"/>
                        </a:cubicBezTo>
                        <a:cubicBezTo>
                          <a:pt x="132" y="27"/>
                          <a:pt x="132" y="27"/>
                          <a:pt x="132" y="27"/>
                        </a:cubicBezTo>
                        <a:close/>
                        <a:moveTo>
                          <a:pt x="132" y="27"/>
                        </a:moveTo>
                        <a:cubicBezTo>
                          <a:pt x="132" y="26"/>
                          <a:pt x="132" y="26"/>
                          <a:pt x="132" y="26"/>
                        </a:cubicBezTo>
                        <a:cubicBezTo>
                          <a:pt x="132" y="27"/>
                          <a:pt x="132" y="27"/>
                          <a:pt x="132" y="27"/>
                        </a:cubicBezTo>
                        <a:close/>
                        <a:moveTo>
                          <a:pt x="131" y="26"/>
                        </a:moveTo>
                        <a:cubicBezTo>
                          <a:pt x="132" y="26"/>
                          <a:pt x="132" y="26"/>
                          <a:pt x="133" y="26"/>
                        </a:cubicBezTo>
                        <a:cubicBezTo>
                          <a:pt x="133" y="26"/>
                          <a:pt x="133" y="26"/>
                          <a:pt x="133" y="26"/>
                        </a:cubicBezTo>
                        <a:cubicBezTo>
                          <a:pt x="134" y="26"/>
                          <a:pt x="134" y="26"/>
                          <a:pt x="134" y="25"/>
                        </a:cubicBezTo>
                        <a:cubicBezTo>
                          <a:pt x="134" y="25"/>
                          <a:pt x="135" y="25"/>
                          <a:pt x="135" y="25"/>
                        </a:cubicBezTo>
                        <a:cubicBezTo>
                          <a:pt x="135" y="25"/>
                          <a:pt x="134" y="25"/>
                          <a:pt x="134" y="26"/>
                        </a:cubicBezTo>
                        <a:cubicBezTo>
                          <a:pt x="134" y="26"/>
                          <a:pt x="135" y="25"/>
                          <a:pt x="135" y="25"/>
                        </a:cubicBezTo>
                        <a:cubicBezTo>
                          <a:pt x="135" y="26"/>
                          <a:pt x="135" y="26"/>
                          <a:pt x="135" y="26"/>
                        </a:cubicBezTo>
                        <a:cubicBezTo>
                          <a:pt x="135" y="26"/>
                          <a:pt x="134" y="26"/>
                          <a:pt x="135" y="26"/>
                        </a:cubicBezTo>
                        <a:cubicBezTo>
                          <a:pt x="135" y="26"/>
                          <a:pt x="134" y="26"/>
                          <a:pt x="133" y="26"/>
                        </a:cubicBezTo>
                        <a:cubicBezTo>
                          <a:pt x="133" y="26"/>
                          <a:pt x="134" y="26"/>
                          <a:pt x="134" y="26"/>
                        </a:cubicBezTo>
                        <a:cubicBezTo>
                          <a:pt x="133" y="26"/>
                          <a:pt x="132" y="26"/>
                          <a:pt x="132" y="26"/>
                        </a:cubicBezTo>
                        <a:cubicBezTo>
                          <a:pt x="132" y="26"/>
                          <a:pt x="131" y="27"/>
                          <a:pt x="131" y="26"/>
                        </a:cubicBezTo>
                        <a:close/>
                        <a:moveTo>
                          <a:pt x="133" y="26"/>
                        </a:moveTo>
                        <a:cubicBezTo>
                          <a:pt x="133" y="26"/>
                          <a:pt x="134" y="26"/>
                          <a:pt x="134" y="26"/>
                        </a:cubicBezTo>
                        <a:cubicBezTo>
                          <a:pt x="134" y="26"/>
                          <a:pt x="133" y="26"/>
                          <a:pt x="133" y="26"/>
                        </a:cubicBezTo>
                        <a:close/>
                        <a:moveTo>
                          <a:pt x="136" y="29"/>
                        </a:moveTo>
                        <a:cubicBezTo>
                          <a:pt x="135" y="29"/>
                          <a:pt x="135" y="29"/>
                          <a:pt x="135" y="29"/>
                        </a:cubicBezTo>
                        <a:cubicBezTo>
                          <a:pt x="135" y="29"/>
                          <a:pt x="135" y="29"/>
                          <a:pt x="135" y="29"/>
                        </a:cubicBezTo>
                        <a:cubicBezTo>
                          <a:pt x="135" y="29"/>
                          <a:pt x="135" y="29"/>
                          <a:pt x="135" y="29"/>
                        </a:cubicBezTo>
                        <a:cubicBezTo>
                          <a:pt x="135" y="29"/>
                          <a:pt x="136" y="29"/>
                          <a:pt x="136" y="29"/>
                        </a:cubicBezTo>
                        <a:close/>
                        <a:moveTo>
                          <a:pt x="133" y="28"/>
                        </a:moveTo>
                        <a:cubicBezTo>
                          <a:pt x="133" y="28"/>
                          <a:pt x="134" y="28"/>
                          <a:pt x="134" y="28"/>
                        </a:cubicBezTo>
                        <a:cubicBezTo>
                          <a:pt x="134" y="28"/>
                          <a:pt x="134" y="28"/>
                          <a:pt x="134" y="28"/>
                        </a:cubicBezTo>
                        <a:cubicBezTo>
                          <a:pt x="135" y="28"/>
                          <a:pt x="134" y="28"/>
                          <a:pt x="135" y="28"/>
                        </a:cubicBezTo>
                        <a:cubicBezTo>
                          <a:pt x="135" y="28"/>
                          <a:pt x="135" y="28"/>
                          <a:pt x="135" y="28"/>
                        </a:cubicBezTo>
                        <a:cubicBezTo>
                          <a:pt x="135" y="28"/>
                          <a:pt x="135" y="29"/>
                          <a:pt x="134" y="29"/>
                        </a:cubicBezTo>
                        <a:cubicBezTo>
                          <a:pt x="134" y="29"/>
                          <a:pt x="134" y="29"/>
                          <a:pt x="135" y="29"/>
                        </a:cubicBezTo>
                        <a:cubicBezTo>
                          <a:pt x="134" y="29"/>
                          <a:pt x="134" y="29"/>
                          <a:pt x="134" y="29"/>
                        </a:cubicBezTo>
                        <a:cubicBezTo>
                          <a:pt x="134" y="29"/>
                          <a:pt x="134" y="29"/>
                          <a:pt x="134" y="29"/>
                        </a:cubicBezTo>
                        <a:cubicBezTo>
                          <a:pt x="134" y="29"/>
                          <a:pt x="134" y="29"/>
                          <a:pt x="134" y="29"/>
                        </a:cubicBezTo>
                        <a:cubicBezTo>
                          <a:pt x="134" y="29"/>
                          <a:pt x="134" y="29"/>
                          <a:pt x="134" y="29"/>
                        </a:cubicBezTo>
                        <a:cubicBezTo>
                          <a:pt x="134" y="29"/>
                          <a:pt x="134" y="29"/>
                          <a:pt x="134" y="29"/>
                        </a:cubicBezTo>
                        <a:cubicBezTo>
                          <a:pt x="133" y="29"/>
                          <a:pt x="133" y="29"/>
                          <a:pt x="133" y="29"/>
                        </a:cubicBezTo>
                        <a:cubicBezTo>
                          <a:pt x="133" y="29"/>
                          <a:pt x="133" y="29"/>
                          <a:pt x="133" y="29"/>
                        </a:cubicBezTo>
                        <a:cubicBezTo>
                          <a:pt x="132" y="29"/>
                          <a:pt x="132" y="29"/>
                          <a:pt x="132" y="29"/>
                        </a:cubicBezTo>
                        <a:cubicBezTo>
                          <a:pt x="132" y="29"/>
                          <a:pt x="132" y="29"/>
                          <a:pt x="133" y="29"/>
                        </a:cubicBezTo>
                        <a:cubicBezTo>
                          <a:pt x="132" y="29"/>
                          <a:pt x="133" y="30"/>
                          <a:pt x="132" y="30"/>
                        </a:cubicBezTo>
                        <a:cubicBezTo>
                          <a:pt x="132" y="30"/>
                          <a:pt x="132" y="30"/>
                          <a:pt x="132" y="29"/>
                        </a:cubicBezTo>
                        <a:cubicBezTo>
                          <a:pt x="132" y="29"/>
                          <a:pt x="131" y="30"/>
                          <a:pt x="131" y="30"/>
                        </a:cubicBezTo>
                        <a:cubicBezTo>
                          <a:pt x="130" y="30"/>
                          <a:pt x="131" y="30"/>
                          <a:pt x="130" y="30"/>
                        </a:cubicBezTo>
                        <a:cubicBezTo>
                          <a:pt x="130" y="30"/>
                          <a:pt x="130" y="30"/>
                          <a:pt x="130" y="30"/>
                        </a:cubicBezTo>
                        <a:cubicBezTo>
                          <a:pt x="130" y="30"/>
                          <a:pt x="129" y="30"/>
                          <a:pt x="129" y="30"/>
                        </a:cubicBezTo>
                        <a:cubicBezTo>
                          <a:pt x="129" y="30"/>
                          <a:pt x="130" y="30"/>
                          <a:pt x="130" y="29"/>
                        </a:cubicBezTo>
                        <a:cubicBezTo>
                          <a:pt x="130" y="30"/>
                          <a:pt x="130" y="30"/>
                          <a:pt x="130" y="30"/>
                        </a:cubicBezTo>
                        <a:cubicBezTo>
                          <a:pt x="131" y="30"/>
                          <a:pt x="131" y="29"/>
                          <a:pt x="131" y="29"/>
                        </a:cubicBezTo>
                        <a:cubicBezTo>
                          <a:pt x="132" y="29"/>
                          <a:pt x="131" y="29"/>
                          <a:pt x="131" y="29"/>
                        </a:cubicBezTo>
                        <a:cubicBezTo>
                          <a:pt x="132" y="29"/>
                          <a:pt x="133" y="29"/>
                          <a:pt x="134" y="29"/>
                        </a:cubicBezTo>
                        <a:cubicBezTo>
                          <a:pt x="134" y="29"/>
                          <a:pt x="134" y="28"/>
                          <a:pt x="133" y="28"/>
                        </a:cubicBezTo>
                        <a:close/>
                        <a:moveTo>
                          <a:pt x="132" y="27"/>
                        </a:moveTo>
                        <a:cubicBezTo>
                          <a:pt x="132" y="27"/>
                          <a:pt x="132" y="27"/>
                          <a:pt x="132" y="27"/>
                        </a:cubicBezTo>
                        <a:cubicBezTo>
                          <a:pt x="132" y="27"/>
                          <a:pt x="132" y="27"/>
                          <a:pt x="132" y="27"/>
                        </a:cubicBezTo>
                        <a:cubicBezTo>
                          <a:pt x="133" y="26"/>
                          <a:pt x="134" y="26"/>
                          <a:pt x="135" y="26"/>
                        </a:cubicBezTo>
                        <a:cubicBezTo>
                          <a:pt x="135" y="26"/>
                          <a:pt x="135" y="26"/>
                          <a:pt x="135" y="26"/>
                        </a:cubicBezTo>
                        <a:cubicBezTo>
                          <a:pt x="135" y="26"/>
                          <a:pt x="135" y="26"/>
                          <a:pt x="135" y="26"/>
                        </a:cubicBezTo>
                        <a:cubicBezTo>
                          <a:pt x="135" y="26"/>
                          <a:pt x="135" y="26"/>
                          <a:pt x="135" y="26"/>
                        </a:cubicBezTo>
                        <a:cubicBezTo>
                          <a:pt x="136" y="26"/>
                          <a:pt x="136" y="26"/>
                          <a:pt x="136" y="26"/>
                        </a:cubicBezTo>
                        <a:cubicBezTo>
                          <a:pt x="136" y="26"/>
                          <a:pt x="135" y="26"/>
                          <a:pt x="135" y="26"/>
                        </a:cubicBezTo>
                        <a:cubicBezTo>
                          <a:pt x="135" y="26"/>
                          <a:pt x="136" y="26"/>
                          <a:pt x="136" y="26"/>
                        </a:cubicBezTo>
                        <a:cubicBezTo>
                          <a:pt x="136" y="26"/>
                          <a:pt x="135" y="26"/>
                          <a:pt x="135" y="26"/>
                        </a:cubicBezTo>
                        <a:cubicBezTo>
                          <a:pt x="135" y="27"/>
                          <a:pt x="135" y="27"/>
                          <a:pt x="134" y="27"/>
                        </a:cubicBezTo>
                        <a:cubicBezTo>
                          <a:pt x="134" y="27"/>
                          <a:pt x="134" y="27"/>
                          <a:pt x="134" y="27"/>
                        </a:cubicBezTo>
                        <a:cubicBezTo>
                          <a:pt x="134" y="27"/>
                          <a:pt x="133" y="27"/>
                          <a:pt x="133" y="27"/>
                        </a:cubicBezTo>
                        <a:cubicBezTo>
                          <a:pt x="133" y="27"/>
                          <a:pt x="133" y="27"/>
                          <a:pt x="133" y="27"/>
                        </a:cubicBezTo>
                        <a:cubicBezTo>
                          <a:pt x="132" y="27"/>
                          <a:pt x="132" y="27"/>
                          <a:pt x="132" y="27"/>
                        </a:cubicBezTo>
                        <a:close/>
                        <a:moveTo>
                          <a:pt x="133" y="27"/>
                        </a:moveTo>
                        <a:cubicBezTo>
                          <a:pt x="133" y="27"/>
                          <a:pt x="133" y="27"/>
                          <a:pt x="133" y="27"/>
                        </a:cubicBezTo>
                        <a:cubicBezTo>
                          <a:pt x="133" y="27"/>
                          <a:pt x="133" y="27"/>
                          <a:pt x="133" y="27"/>
                        </a:cubicBezTo>
                        <a:close/>
                        <a:moveTo>
                          <a:pt x="134" y="32"/>
                        </a:moveTo>
                        <a:cubicBezTo>
                          <a:pt x="134" y="32"/>
                          <a:pt x="135" y="32"/>
                          <a:pt x="135" y="32"/>
                        </a:cubicBezTo>
                        <a:cubicBezTo>
                          <a:pt x="135" y="32"/>
                          <a:pt x="135" y="32"/>
                          <a:pt x="136" y="32"/>
                        </a:cubicBezTo>
                        <a:cubicBezTo>
                          <a:pt x="135" y="32"/>
                          <a:pt x="134" y="32"/>
                          <a:pt x="134" y="32"/>
                        </a:cubicBezTo>
                        <a:cubicBezTo>
                          <a:pt x="134" y="32"/>
                          <a:pt x="134" y="32"/>
                          <a:pt x="134" y="32"/>
                        </a:cubicBezTo>
                        <a:close/>
                        <a:moveTo>
                          <a:pt x="132" y="30"/>
                        </a:moveTo>
                        <a:cubicBezTo>
                          <a:pt x="133" y="30"/>
                          <a:pt x="133" y="30"/>
                          <a:pt x="132" y="30"/>
                        </a:cubicBezTo>
                        <a:cubicBezTo>
                          <a:pt x="133" y="30"/>
                          <a:pt x="134" y="30"/>
                          <a:pt x="134" y="30"/>
                        </a:cubicBezTo>
                        <a:cubicBezTo>
                          <a:pt x="134" y="30"/>
                          <a:pt x="134" y="30"/>
                          <a:pt x="134" y="30"/>
                        </a:cubicBezTo>
                        <a:cubicBezTo>
                          <a:pt x="135" y="30"/>
                          <a:pt x="134" y="30"/>
                          <a:pt x="135" y="30"/>
                        </a:cubicBezTo>
                        <a:cubicBezTo>
                          <a:pt x="135" y="30"/>
                          <a:pt x="135" y="30"/>
                          <a:pt x="135" y="30"/>
                        </a:cubicBezTo>
                        <a:cubicBezTo>
                          <a:pt x="134" y="30"/>
                          <a:pt x="134" y="30"/>
                          <a:pt x="133" y="30"/>
                        </a:cubicBezTo>
                        <a:cubicBezTo>
                          <a:pt x="134" y="30"/>
                          <a:pt x="132" y="31"/>
                          <a:pt x="131" y="31"/>
                        </a:cubicBezTo>
                        <a:cubicBezTo>
                          <a:pt x="132" y="30"/>
                          <a:pt x="132" y="30"/>
                          <a:pt x="132" y="30"/>
                        </a:cubicBezTo>
                        <a:close/>
                        <a:moveTo>
                          <a:pt x="134" y="31"/>
                        </a:moveTo>
                        <a:cubicBezTo>
                          <a:pt x="134" y="32"/>
                          <a:pt x="134" y="32"/>
                          <a:pt x="134" y="32"/>
                        </a:cubicBezTo>
                        <a:cubicBezTo>
                          <a:pt x="134" y="32"/>
                          <a:pt x="135" y="31"/>
                          <a:pt x="135" y="32"/>
                        </a:cubicBezTo>
                        <a:cubicBezTo>
                          <a:pt x="134" y="32"/>
                          <a:pt x="134" y="32"/>
                          <a:pt x="133" y="32"/>
                        </a:cubicBezTo>
                        <a:cubicBezTo>
                          <a:pt x="133" y="32"/>
                          <a:pt x="134" y="32"/>
                          <a:pt x="134" y="32"/>
                        </a:cubicBezTo>
                        <a:cubicBezTo>
                          <a:pt x="134" y="32"/>
                          <a:pt x="133" y="32"/>
                          <a:pt x="133" y="32"/>
                        </a:cubicBezTo>
                        <a:cubicBezTo>
                          <a:pt x="133" y="32"/>
                          <a:pt x="133" y="32"/>
                          <a:pt x="134" y="31"/>
                        </a:cubicBezTo>
                        <a:close/>
                        <a:moveTo>
                          <a:pt x="135" y="33"/>
                        </a:moveTo>
                        <a:cubicBezTo>
                          <a:pt x="135" y="33"/>
                          <a:pt x="135" y="33"/>
                          <a:pt x="135" y="33"/>
                        </a:cubicBezTo>
                        <a:cubicBezTo>
                          <a:pt x="135" y="33"/>
                          <a:pt x="135" y="33"/>
                          <a:pt x="135" y="33"/>
                        </a:cubicBezTo>
                        <a:cubicBezTo>
                          <a:pt x="136" y="33"/>
                          <a:pt x="135" y="33"/>
                          <a:pt x="135" y="33"/>
                        </a:cubicBezTo>
                        <a:close/>
                        <a:moveTo>
                          <a:pt x="132" y="28"/>
                        </a:moveTo>
                        <a:cubicBezTo>
                          <a:pt x="133" y="27"/>
                          <a:pt x="133" y="28"/>
                          <a:pt x="133" y="28"/>
                        </a:cubicBezTo>
                        <a:cubicBezTo>
                          <a:pt x="133" y="28"/>
                          <a:pt x="133" y="28"/>
                          <a:pt x="133" y="28"/>
                        </a:cubicBezTo>
                        <a:cubicBezTo>
                          <a:pt x="134" y="28"/>
                          <a:pt x="133" y="28"/>
                          <a:pt x="132" y="28"/>
                        </a:cubicBezTo>
                        <a:close/>
                        <a:moveTo>
                          <a:pt x="130" y="33"/>
                        </a:moveTo>
                        <a:cubicBezTo>
                          <a:pt x="130" y="32"/>
                          <a:pt x="129" y="33"/>
                          <a:pt x="129" y="32"/>
                        </a:cubicBezTo>
                        <a:cubicBezTo>
                          <a:pt x="130" y="32"/>
                          <a:pt x="130" y="32"/>
                          <a:pt x="130" y="32"/>
                        </a:cubicBezTo>
                        <a:cubicBezTo>
                          <a:pt x="130" y="32"/>
                          <a:pt x="131" y="32"/>
                          <a:pt x="131" y="32"/>
                        </a:cubicBezTo>
                        <a:cubicBezTo>
                          <a:pt x="131" y="32"/>
                          <a:pt x="131" y="32"/>
                          <a:pt x="131" y="32"/>
                        </a:cubicBezTo>
                        <a:cubicBezTo>
                          <a:pt x="132" y="32"/>
                          <a:pt x="132" y="32"/>
                          <a:pt x="133" y="32"/>
                        </a:cubicBezTo>
                        <a:cubicBezTo>
                          <a:pt x="132" y="32"/>
                          <a:pt x="132" y="32"/>
                          <a:pt x="132" y="32"/>
                        </a:cubicBezTo>
                        <a:cubicBezTo>
                          <a:pt x="133" y="32"/>
                          <a:pt x="133" y="32"/>
                          <a:pt x="133" y="32"/>
                        </a:cubicBezTo>
                        <a:cubicBezTo>
                          <a:pt x="133" y="32"/>
                          <a:pt x="133" y="32"/>
                          <a:pt x="133" y="32"/>
                        </a:cubicBezTo>
                        <a:cubicBezTo>
                          <a:pt x="133" y="32"/>
                          <a:pt x="133" y="32"/>
                          <a:pt x="133" y="32"/>
                        </a:cubicBezTo>
                        <a:cubicBezTo>
                          <a:pt x="133" y="32"/>
                          <a:pt x="131" y="32"/>
                          <a:pt x="131" y="33"/>
                        </a:cubicBezTo>
                        <a:cubicBezTo>
                          <a:pt x="130" y="33"/>
                          <a:pt x="129" y="33"/>
                          <a:pt x="129" y="33"/>
                        </a:cubicBezTo>
                        <a:cubicBezTo>
                          <a:pt x="129" y="33"/>
                          <a:pt x="130" y="33"/>
                          <a:pt x="130" y="33"/>
                        </a:cubicBezTo>
                        <a:close/>
                        <a:moveTo>
                          <a:pt x="132" y="28"/>
                        </a:moveTo>
                        <a:cubicBezTo>
                          <a:pt x="132" y="28"/>
                          <a:pt x="132" y="28"/>
                          <a:pt x="132" y="27"/>
                        </a:cubicBezTo>
                        <a:cubicBezTo>
                          <a:pt x="132" y="27"/>
                          <a:pt x="131" y="28"/>
                          <a:pt x="131" y="28"/>
                        </a:cubicBezTo>
                        <a:cubicBezTo>
                          <a:pt x="131" y="28"/>
                          <a:pt x="131" y="27"/>
                          <a:pt x="131" y="27"/>
                        </a:cubicBezTo>
                        <a:cubicBezTo>
                          <a:pt x="130" y="28"/>
                          <a:pt x="130" y="28"/>
                          <a:pt x="129" y="28"/>
                        </a:cubicBezTo>
                        <a:cubicBezTo>
                          <a:pt x="129" y="28"/>
                          <a:pt x="129" y="28"/>
                          <a:pt x="129" y="28"/>
                        </a:cubicBezTo>
                        <a:cubicBezTo>
                          <a:pt x="128" y="28"/>
                          <a:pt x="128" y="28"/>
                          <a:pt x="128" y="28"/>
                        </a:cubicBezTo>
                        <a:cubicBezTo>
                          <a:pt x="128" y="28"/>
                          <a:pt x="128" y="28"/>
                          <a:pt x="128" y="28"/>
                        </a:cubicBezTo>
                        <a:cubicBezTo>
                          <a:pt x="127" y="28"/>
                          <a:pt x="127" y="28"/>
                          <a:pt x="127" y="29"/>
                        </a:cubicBezTo>
                        <a:cubicBezTo>
                          <a:pt x="126" y="28"/>
                          <a:pt x="127" y="28"/>
                          <a:pt x="128" y="28"/>
                        </a:cubicBezTo>
                        <a:cubicBezTo>
                          <a:pt x="129" y="28"/>
                          <a:pt x="130" y="27"/>
                          <a:pt x="131" y="27"/>
                        </a:cubicBezTo>
                        <a:cubicBezTo>
                          <a:pt x="131" y="27"/>
                          <a:pt x="131" y="27"/>
                          <a:pt x="131" y="27"/>
                        </a:cubicBezTo>
                        <a:cubicBezTo>
                          <a:pt x="131" y="27"/>
                          <a:pt x="131" y="27"/>
                          <a:pt x="132" y="27"/>
                        </a:cubicBezTo>
                        <a:cubicBezTo>
                          <a:pt x="132" y="27"/>
                          <a:pt x="132" y="27"/>
                          <a:pt x="132" y="27"/>
                        </a:cubicBezTo>
                        <a:cubicBezTo>
                          <a:pt x="132" y="27"/>
                          <a:pt x="132" y="27"/>
                          <a:pt x="132" y="28"/>
                        </a:cubicBezTo>
                        <a:cubicBezTo>
                          <a:pt x="132" y="28"/>
                          <a:pt x="132" y="28"/>
                          <a:pt x="132" y="28"/>
                        </a:cubicBezTo>
                        <a:close/>
                        <a:moveTo>
                          <a:pt x="130" y="32"/>
                        </a:moveTo>
                        <a:cubicBezTo>
                          <a:pt x="130" y="32"/>
                          <a:pt x="131" y="32"/>
                          <a:pt x="130" y="32"/>
                        </a:cubicBezTo>
                        <a:cubicBezTo>
                          <a:pt x="130" y="32"/>
                          <a:pt x="130" y="32"/>
                          <a:pt x="129" y="32"/>
                        </a:cubicBezTo>
                        <a:cubicBezTo>
                          <a:pt x="130" y="32"/>
                          <a:pt x="132" y="31"/>
                          <a:pt x="133" y="31"/>
                        </a:cubicBezTo>
                        <a:cubicBezTo>
                          <a:pt x="132" y="32"/>
                          <a:pt x="131" y="32"/>
                          <a:pt x="130" y="32"/>
                        </a:cubicBezTo>
                        <a:close/>
                        <a:moveTo>
                          <a:pt x="130" y="27"/>
                        </a:moveTo>
                        <a:cubicBezTo>
                          <a:pt x="130" y="27"/>
                          <a:pt x="130" y="27"/>
                          <a:pt x="131" y="27"/>
                        </a:cubicBezTo>
                        <a:cubicBezTo>
                          <a:pt x="130" y="27"/>
                          <a:pt x="130" y="27"/>
                          <a:pt x="130" y="27"/>
                        </a:cubicBezTo>
                        <a:close/>
                        <a:moveTo>
                          <a:pt x="130" y="34"/>
                        </a:moveTo>
                        <a:cubicBezTo>
                          <a:pt x="130" y="34"/>
                          <a:pt x="130" y="34"/>
                          <a:pt x="130" y="34"/>
                        </a:cubicBezTo>
                        <a:cubicBezTo>
                          <a:pt x="130" y="34"/>
                          <a:pt x="130" y="34"/>
                          <a:pt x="130" y="34"/>
                        </a:cubicBezTo>
                        <a:close/>
                        <a:moveTo>
                          <a:pt x="128" y="30"/>
                        </a:moveTo>
                        <a:cubicBezTo>
                          <a:pt x="128" y="30"/>
                          <a:pt x="128" y="30"/>
                          <a:pt x="127" y="30"/>
                        </a:cubicBezTo>
                        <a:cubicBezTo>
                          <a:pt x="128" y="30"/>
                          <a:pt x="126" y="31"/>
                          <a:pt x="126" y="31"/>
                        </a:cubicBezTo>
                        <a:cubicBezTo>
                          <a:pt x="126" y="31"/>
                          <a:pt x="127" y="30"/>
                          <a:pt x="128" y="30"/>
                        </a:cubicBezTo>
                        <a:cubicBezTo>
                          <a:pt x="128" y="30"/>
                          <a:pt x="128" y="30"/>
                          <a:pt x="128" y="30"/>
                        </a:cubicBezTo>
                        <a:cubicBezTo>
                          <a:pt x="128" y="30"/>
                          <a:pt x="129" y="30"/>
                          <a:pt x="129" y="30"/>
                        </a:cubicBezTo>
                        <a:cubicBezTo>
                          <a:pt x="129" y="30"/>
                          <a:pt x="129" y="30"/>
                          <a:pt x="129" y="30"/>
                        </a:cubicBezTo>
                        <a:cubicBezTo>
                          <a:pt x="129" y="30"/>
                          <a:pt x="129" y="30"/>
                          <a:pt x="129" y="30"/>
                        </a:cubicBezTo>
                        <a:cubicBezTo>
                          <a:pt x="129" y="30"/>
                          <a:pt x="128" y="30"/>
                          <a:pt x="128" y="30"/>
                        </a:cubicBezTo>
                        <a:cubicBezTo>
                          <a:pt x="128" y="30"/>
                          <a:pt x="128" y="30"/>
                          <a:pt x="128" y="30"/>
                        </a:cubicBezTo>
                        <a:close/>
                        <a:moveTo>
                          <a:pt x="129" y="36"/>
                        </a:moveTo>
                        <a:cubicBezTo>
                          <a:pt x="129" y="36"/>
                          <a:pt x="129" y="36"/>
                          <a:pt x="129" y="36"/>
                        </a:cubicBezTo>
                        <a:cubicBezTo>
                          <a:pt x="130" y="36"/>
                          <a:pt x="130" y="36"/>
                          <a:pt x="130" y="36"/>
                        </a:cubicBezTo>
                        <a:cubicBezTo>
                          <a:pt x="129" y="36"/>
                          <a:pt x="129" y="36"/>
                          <a:pt x="129" y="36"/>
                        </a:cubicBezTo>
                        <a:close/>
                        <a:moveTo>
                          <a:pt x="126" y="27"/>
                        </a:moveTo>
                        <a:cubicBezTo>
                          <a:pt x="126" y="27"/>
                          <a:pt x="126" y="27"/>
                          <a:pt x="126" y="27"/>
                        </a:cubicBezTo>
                        <a:cubicBezTo>
                          <a:pt x="126" y="27"/>
                          <a:pt x="126" y="27"/>
                          <a:pt x="125" y="27"/>
                        </a:cubicBezTo>
                        <a:cubicBezTo>
                          <a:pt x="125" y="27"/>
                          <a:pt x="126" y="27"/>
                          <a:pt x="126" y="27"/>
                        </a:cubicBezTo>
                        <a:close/>
                        <a:moveTo>
                          <a:pt x="127" y="30"/>
                        </a:moveTo>
                        <a:cubicBezTo>
                          <a:pt x="127" y="30"/>
                          <a:pt x="127" y="30"/>
                          <a:pt x="126" y="30"/>
                        </a:cubicBezTo>
                        <a:cubicBezTo>
                          <a:pt x="126" y="30"/>
                          <a:pt x="127" y="30"/>
                          <a:pt x="127" y="30"/>
                        </a:cubicBezTo>
                        <a:close/>
                        <a:moveTo>
                          <a:pt x="126" y="38"/>
                        </a:moveTo>
                        <a:cubicBezTo>
                          <a:pt x="126" y="37"/>
                          <a:pt x="125" y="38"/>
                          <a:pt x="125" y="38"/>
                        </a:cubicBezTo>
                        <a:cubicBezTo>
                          <a:pt x="125" y="38"/>
                          <a:pt x="125" y="38"/>
                          <a:pt x="126" y="37"/>
                        </a:cubicBez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6" y="38"/>
                          <a:pt x="127" y="38"/>
                          <a:pt x="126" y="38"/>
                        </a:cubicBezTo>
                        <a:close/>
                        <a:moveTo>
                          <a:pt x="126" y="37"/>
                        </a:moveTo>
                        <a:cubicBezTo>
                          <a:pt x="126" y="37"/>
                          <a:pt x="126" y="37"/>
                          <a:pt x="126" y="37"/>
                        </a:cubicBezTo>
                        <a:cubicBezTo>
                          <a:pt x="125" y="38"/>
                          <a:pt x="125" y="38"/>
                          <a:pt x="125" y="38"/>
                        </a:cubicBezTo>
                        <a:cubicBezTo>
                          <a:pt x="125" y="37"/>
                          <a:pt x="123" y="38"/>
                          <a:pt x="123" y="38"/>
                        </a:cubicBezTo>
                        <a:cubicBezTo>
                          <a:pt x="124" y="38"/>
                          <a:pt x="124" y="37"/>
                          <a:pt x="125" y="37"/>
                        </a:cubicBezTo>
                        <a:cubicBezTo>
                          <a:pt x="125" y="37"/>
                          <a:pt x="125" y="37"/>
                          <a:pt x="126" y="37"/>
                        </a:cubicBezTo>
                        <a:cubicBezTo>
                          <a:pt x="126" y="37"/>
                          <a:pt x="126" y="37"/>
                          <a:pt x="126" y="37"/>
                        </a:cubicBezTo>
                        <a:cubicBezTo>
                          <a:pt x="126" y="37"/>
                          <a:pt x="126" y="37"/>
                          <a:pt x="126" y="37"/>
                        </a:cubicBezTo>
                        <a:cubicBezTo>
                          <a:pt x="126" y="37"/>
                          <a:pt x="126" y="37"/>
                          <a:pt x="126" y="37"/>
                        </a:cubicBezTo>
                        <a:close/>
                        <a:moveTo>
                          <a:pt x="121" y="30"/>
                        </a:moveTo>
                        <a:cubicBezTo>
                          <a:pt x="122" y="30"/>
                          <a:pt x="122" y="30"/>
                          <a:pt x="122" y="29"/>
                        </a:cubicBezTo>
                        <a:cubicBezTo>
                          <a:pt x="122" y="30"/>
                          <a:pt x="122" y="29"/>
                          <a:pt x="123" y="29"/>
                        </a:cubicBezTo>
                        <a:cubicBezTo>
                          <a:pt x="123" y="29"/>
                          <a:pt x="123" y="30"/>
                          <a:pt x="122" y="29"/>
                        </a:cubicBezTo>
                        <a:cubicBezTo>
                          <a:pt x="122" y="30"/>
                          <a:pt x="122" y="30"/>
                          <a:pt x="123" y="30"/>
                        </a:cubicBezTo>
                        <a:cubicBezTo>
                          <a:pt x="122" y="30"/>
                          <a:pt x="122" y="30"/>
                          <a:pt x="121" y="30"/>
                        </a:cubicBezTo>
                        <a:close/>
                        <a:moveTo>
                          <a:pt x="122" y="28"/>
                        </a:moveTo>
                        <a:cubicBezTo>
                          <a:pt x="122" y="28"/>
                          <a:pt x="122" y="28"/>
                          <a:pt x="122" y="28"/>
                        </a:cubicBezTo>
                        <a:cubicBezTo>
                          <a:pt x="122" y="28"/>
                          <a:pt x="122" y="28"/>
                          <a:pt x="122" y="28"/>
                        </a:cubicBezTo>
                        <a:cubicBezTo>
                          <a:pt x="122" y="28"/>
                          <a:pt x="122" y="28"/>
                          <a:pt x="122" y="28"/>
                        </a:cubicBezTo>
                        <a:cubicBezTo>
                          <a:pt x="122" y="28"/>
                          <a:pt x="122" y="28"/>
                          <a:pt x="122" y="28"/>
                        </a:cubicBezTo>
                        <a:cubicBezTo>
                          <a:pt x="122" y="28"/>
                          <a:pt x="122" y="28"/>
                          <a:pt x="122" y="28"/>
                        </a:cubicBezTo>
                        <a:close/>
                        <a:moveTo>
                          <a:pt x="118" y="29"/>
                        </a:moveTo>
                        <a:cubicBezTo>
                          <a:pt x="118" y="29"/>
                          <a:pt x="118" y="29"/>
                          <a:pt x="118" y="29"/>
                        </a:cubicBezTo>
                        <a:cubicBezTo>
                          <a:pt x="118" y="29"/>
                          <a:pt x="118" y="29"/>
                          <a:pt x="117" y="29"/>
                        </a:cubicBezTo>
                        <a:cubicBezTo>
                          <a:pt x="118" y="29"/>
                          <a:pt x="120" y="29"/>
                          <a:pt x="121" y="28"/>
                        </a:cubicBezTo>
                        <a:cubicBezTo>
                          <a:pt x="121" y="28"/>
                          <a:pt x="121" y="28"/>
                          <a:pt x="120" y="29"/>
                        </a:cubicBezTo>
                        <a:cubicBezTo>
                          <a:pt x="120" y="29"/>
                          <a:pt x="121" y="29"/>
                          <a:pt x="121" y="29"/>
                        </a:cubicBezTo>
                        <a:cubicBezTo>
                          <a:pt x="121" y="29"/>
                          <a:pt x="120" y="29"/>
                          <a:pt x="120" y="29"/>
                        </a:cubicBezTo>
                        <a:cubicBezTo>
                          <a:pt x="120" y="29"/>
                          <a:pt x="120" y="29"/>
                          <a:pt x="120" y="29"/>
                        </a:cubicBezTo>
                        <a:cubicBezTo>
                          <a:pt x="119" y="29"/>
                          <a:pt x="119" y="29"/>
                          <a:pt x="118" y="29"/>
                        </a:cubicBezTo>
                        <a:cubicBezTo>
                          <a:pt x="118" y="29"/>
                          <a:pt x="118" y="29"/>
                          <a:pt x="119" y="29"/>
                        </a:cubicBezTo>
                        <a:cubicBezTo>
                          <a:pt x="119" y="29"/>
                          <a:pt x="118" y="29"/>
                          <a:pt x="118" y="29"/>
                        </a:cubicBezTo>
                        <a:close/>
                        <a:moveTo>
                          <a:pt x="121" y="30"/>
                        </a:moveTo>
                        <a:cubicBezTo>
                          <a:pt x="121" y="30"/>
                          <a:pt x="121" y="30"/>
                          <a:pt x="120" y="30"/>
                        </a:cubicBezTo>
                        <a:cubicBezTo>
                          <a:pt x="121" y="30"/>
                          <a:pt x="121" y="30"/>
                          <a:pt x="121" y="30"/>
                        </a:cubicBezTo>
                        <a:cubicBezTo>
                          <a:pt x="122" y="30"/>
                          <a:pt x="121" y="30"/>
                          <a:pt x="121" y="30"/>
                        </a:cubicBezTo>
                        <a:close/>
                        <a:moveTo>
                          <a:pt x="116" y="32"/>
                        </a:moveTo>
                        <a:cubicBezTo>
                          <a:pt x="118" y="31"/>
                          <a:pt x="119" y="31"/>
                          <a:pt x="120" y="31"/>
                        </a:cubicBezTo>
                        <a:cubicBezTo>
                          <a:pt x="120" y="31"/>
                          <a:pt x="120" y="31"/>
                          <a:pt x="119" y="31"/>
                        </a:cubicBezTo>
                        <a:cubicBezTo>
                          <a:pt x="119" y="31"/>
                          <a:pt x="119" y="31"/>
                          <a:pt x="119" y="31"/>
                        </a:cubicBezTo>
                        <a:cubicBezTo>
                          <a:pt x="120" y="31"/>
                          <a:pt x="121" y="31"/>
                          <a:pt x="121" y="31"/>
                        </a:cubicBezTo>
                        <a:cubicBezTo>
                          <a:pt x="121" y="31"/>
                          <a:pt x="121" y="31"/>
                          <a:pt x="121" y="31"/>
                        </a:cubicBezTo>
                        <a:cubicBezTo>
                          <a:pt x="120" y="31"/>
                          <a:pt x="120" y="31"/>
                          <a:pt x="119" y="31"/>
                        </a:cubicBezTo>
                        <a:cubicBezTo>
                          <a:pt x="120" y="32"/>
                          <a:pt x="120" y="31"/>
                          <a:pt x="120" y="31"/>
                        </a:cubicBezTo>
                        <a:cubicBezTo>
                          <a:pt x="121" y="31"/>
                          <a:pt x="121" y="31"/>
                          <a:pt x="121" y="31"/>
                        </a:cubicBezTo>
                        <a:cubicBezTo>
                          <a:pt x="121" y="31"/>
                          <a:pt x="121" y="31"/>
                          <a:pt x="121" y="31"/>
                        </a:cubicBezTo>
                        <a:cubicBezTo>
                          <a:pt x="121" y="32"/>
                          <a:pt x="121" y="32"/>
                          <a:pt x="121" y="32"/>
                        </a:cubicBezTo>
                        <a:cubicBezTo>
                          <a:pt x="121" y="32"/>
                          <a:pt x="121" y="31"/>
                          <a:pt x="120" y="32"/>
                        </a:cubicBezTo>
                        <a:cubicBezTo>
                          <a:pt x="120" y="32"/>
                          <a:pt x="121" y="32"/>
                          <a:pt x="121" y="32"/>
                        </a:cubicBezTo>
                        <a:cubicBezTo>
                          <a:pt x="120" y="32"/>
                          <a:pt x="120" y="32"/>
                          <a:pt x="119" y="32"/>
                        </a:cubicBezTo>
                        <a:cubicBezTo>
                          <a:pt x="119" y="32"/>
                          <a:pt x="119" y="32"/>
                          <a:pt x="119" y="32"/>
                        </a:cubicBezTo>
                        <a:cubicBezTo>
                          <a:pt x="119" y="32"/>
                          <a:pt x="119" y="32"/>
                          <a:pt x="119" y="32"/>
                        </a:cubicBezTo>
                        <a:cubicBezTo>
                          <a:pt x="119" y="32"/>
                          <a:pt x="119" y="32"/>
                          <a:pt x="119" y="32"/>
                        </a:cubicBezTo>
                        <a:cubicBezTo>
                          <a:pt x="119" y="32"/>
                          <a:pt x="119" y="32"/>
                          <a:pt x="119" y="32"/>
                        </a:cubicBezTo>
                        <a:cubicBezTo>
                          <a:pt x="118" y="32"/>
                          <a:pt x="118" y="32"/>
                          <a:pt x="118" y="32"/>
                        </a:cubicBezTo>
                        <a:cubicBezTo>
                          <a:pt x="118" y="32"/>
                          <a:pt x="118" y="32"/>
                          <a:pt x="118" y="32"/>
                        </a:cubicBezTo>
                        <a:cubicBezTo>
                          <a:pt x="118" y="32"/>
                          <a:pt x="118" y="32"/>
                          <a:pt x="119" y="32"/>
                        </a:cubicBezTo>
                        <a:cubicBezTo>
                          <a:pt x="119" y="32"/>
                          <a:pt x="119" y="32"/>
                          <a:pt x="119" y="32"/>
                        </a:cubicBezTo>
                        <a:cubicBezTo>
                          <a:pt x="118" y="32"/>
                          <a:pt x="118" y="32"/>
                          <a:pt x="117" y="32"/>
                        </a:cubicBezTo>
                        <a:cubicBezTo>
                          <a:pt x="117" y="32"/>
                          <a:pt x="117" y="32"/>
                          <a:pt x="117" y="32"/>
                        </a:cubicBezTo>
                        <a:cubicBezTo>
                          <a:pt x="117" y="33"/>
                          <a:pt x="117" y="33"/>
                          <a:pt x="116" y="33"/>
                        </a:cubicBezTo>
                        <a:cubicBezTo>
                          <a:pt x="116" y="33"/>
                          <a:pt x="116" y="33"/>
                          <a:pt x="116" y="33"/>
                        </a:cubicBezTo>
                        <a:cubicBezTo>
                          <a:pt x="116" y="33"/>
                          <a:pt x="115" y="33"/>
                          <a:pt x="114" y="33"/>
                        </a:cubicBezTo>
                        <a:cubicBezTo>
                          <a:pt x="114" y="33"/>
                          <a:pt x="115" y="33"/>
                          <a:pt x="115" y="33"/>
                        </a:cubicBezTo>
                        <a:cubicBezTo>
                          <a:pt x="115" y="32"/>
                          <a:pt x="115" y="32"/>
                          <a:pt x="115" y="33"/>
                        </a:cubicBezTo>
                        <a:cubicBezTo>
                          <a:pt x="115" y="32"/>
                          <a:pt x="116" y="32"/>
                          <a:pt x="116" y="32"/>
                        </a:cubicBezTo>
                        <a:cubicBezTo>
                          <a:pt x="116" y="32"/>
                          <a:pt x="117" y="32"/>
                          <a:pt x="118" y="32"/>
                        </a:cubicBezTo>
                        <a:cubicBezTo>
                          <a:pt x="118" y="32"/>
                          <a:pt x="118" y="32"/>
                          <a:pt x="118" y="32"/>
                        </a:cubicBezTo>
                        <a:cubicBezTo>
                          <a:pt x="118" y="32"/>
                          <a:pt x="118" y="32"/>
                          <a:pt x="118" y="32"/>
                        </a:cubicBezTo>
                        <a:cubicBezTo>
                          <a:pt x="118" y="32"/>
                          <a:pt x="118" y="32"/>
                          <a:pt x="118" y="32"/>
                        </a:cubicBezTo>
                        <a:cubicBezTo>
                          <a:pt x="118" y="32"/>
                          <a:pt x="117" y="32"/>
                          <a:pt x="116" y="32"/>
                        </a:cubicBezTo>
                        <a:cubicBezTo>
                          <a:pt x="116" y="32"/>
                          <a:pt x="116" y="32"/>
                          <a:pt x="116" y="32"/>
                        </a:cubicBezTo>
                        <a:cubicBezTo>
                          <a:pt x="116" y="32"/>
                          <a:pt x="116" y="32"/>
                          <a:pt x="116" y="32"/>
                        </a:cubicBezTo>
                        <a:close/>
                        <a:moveTo>
                          <a:pt x="120" y="30"/>
                        </a:moveTo>
                        <a:cubicBezTo>
                          <a:pt x="119" y="30"/>
                          <a:pt x="120" y="30"/>
                          <a:pt x="120" y="30"/>
                        </a:cubicBezTo>
                        <a:cubicBezTo>
                          <a:pt x="120" y="30"/>
                          <a:pt x="120" y="30"/>
                          <a:pt x="120" y="30"/>
                        </a:cubicBezTo>
                        <a:cubicBezTo>
                          <a:pt x="120" y="30"/>
                          <a:pt x="120" y="30"/>
                          <a:pt x="120" y="30"/>
                        </a:cubicBezTo>
                        <a:cubicBezTo>
                          <a:pt x="119" y="30"/>
                          <a:pt x="120" y="30"/>
                          <a:pt x="120" y="30"/>
                        </a:cubicBezTo>
                        <a:cubicBezTo>
                          <a:pt x="120" y="30"/>
                          <a:pt x="120" y="30"/>
                          <a:pt x="121" y="30"/>
                        </a:cubicBezTo>
                        <a:cubicBezTo>
                          <a:pt x="120" y="30"/>
                          <a:pt x="120" y="30"/>
                          <a:pt x="120" y="30"/>
                        </a:cubicBezTo>
                        <a:cubicBezTo>
                          <a:pt x="120" y="30"/>
                          <a:pt x="120" y="30"/>
                          <a:pt x="120" y="30"/>
                        </a:cubicBezTo>
                        <a:cubicBezTo>
                          <a:pt x="120" y="30"/>
                          <a:pt x="120" y="30"/>
                          <a:pt x="120" y="30"/>
                        </a:cubicBezTo>
                        <a:close/>
                        <a:moveTo>
                          <a:pt x="118" y="33"/>
                        </a:moveTo>
                        <a:cubicBezTo>
                          <a:pt x="118" y="33"/>
                          <a:pt x="118" y="33"/>
                          <a:pt x="118" y="33"/>
                        </a:cubicBezTo>
                        <a:cubicBezTo>
                          <a:pt x="118" y="33"/>
                          <a:pt x="117" y="33"/>
                          <a:pt x="118" y="33"/>
                        </a:cubicBezTo>
                        <a:cubicBezTo>
                          <a:pt x="117" y="33"/>
                          <a:pt x="117" y="33"/>
                          <a:pt x="116" y="33"/>
                        </a:cubicBezTo>
                        <a:cubicBezTo>
                          <a:pt x="116" y="33"/>
                          <a:pt x="117" y="33"/>
                          <a:pt x="118" y="33"/>
                        </a:cubicBezTo>
                        <a:close/>
                        <a:moveTo>
                          <a:pt x="113" y="37"/>
                        </a:moveTo>
                        <a:cubicBezTo>
                          <a:pt x="113" y="37"/>
                          <a:pt x="113" y="37"/>
                          <a:pt x="112" y="37"/>
                        </a:cubicBezTo>
                        <a:cubicBezTo>
                          <a:pt x="112" y="37"/>
                          <a:pt x="112" y="37"/>
                          <a:pt x="112" y="37"/>
                        </a:cubicBezTo>
                        <a:cubicBezTo>
                          <a:pt x="112" y="37"/>
                          <a:pt x="113" y="37"/>
                          <a:pt x="113" y="37"/>
                        </a:cubicBezTo>
                        <a:close/>
                        <a:moveTo>
                          <a:pt x="109" y="33"/>
                        </a:moveTo>
                        <a:cubicBezTo>
                          <a:pt x="109" y="33"/>
                          <a:pt x="109" y="33"/>
                          <a:pt x="109" y="32"/>
                        </a:cubicBezTo>
                        <a:cubicBezTo>
                          <a:pt x="109" y="32"/>
                          <a:pt x="109" y="33"/>
                          <a:pt x="108" y="33"/>
                        </a:cubicBezTo>
                        <a:cubicBezTo>
                          <a:pt x="109" y="32"/>
                          <a:pt x="107" y="33"/>
                          <a:pt x="107" y="33"/>
                        </a:cubicBezTo>
                        <a:cubicBezTo>
                          <a:pt x="107" y="33"/>
                          <a:pt x="107" y="33"/>
                          <a:pt x="107" y="33"/>
                        </a:cubicBezTo>
                        <a:cubicBezTo>
                          <a:pt x="108" y="32"/>
                          <a:pt x="109" y="32"/>
                          <a:pt x="110" y="32"/>
                        </a:cubicBezTo>
                        <a:cubicBezTo>
                          <a:pt x="110" y="32"/>
                          <a:pt x="110" y="32"/>
                          <a:pt x="110" y="32"/>
                        </a:cubicBezTo>
                        <a:cubicBezTo>
                          <a:pt x="110" y="32"/>
                          <a:pt x="110" y="32"/>
                          <a:pt x="110" y="32"/>
                        </a:cubicBezTo>
                        <a:cubicBezTo>
                          <a:pt x="110" y="32"/>
                          <a:pt x="109" y="32"/>
                          <a:pt x="109" y="32"/>
                        </a:cubicBezTo>
                        <a:cubicBezTo>
                          <a:pt x="109" y="32"/>
                          <a:pt x="109" y="32"/>
                          <a:pt x="109" y="32"/>
                        </a:cubicBezTo>
                        <a:cubicBezTo>
                          <a:pt x="110" y="32"/>
                          <a:pt x="109" y="32"/>
                          <a:pt x="109" y="32"/>
                        </a:cubicBezTo>
                        <a:cubicBezTo>
                          <a:pt x="110" y="32"/>
                          <a:pt x="110" y="32"/>
                          <a:pt x="110" y="32"/>
                        </a:cubicBezTo>
                        <a:cubicBezTo>
                          <a:pt x="111" y="32"/>
                          <a:pt x="110" y="32"/>
                          <a:pt x="111" y="32"/>
                        </a:cubicBezTo>
                        <a:cubicBezTo>
                          <a:pt x="110" y="32"/>
                          <a:pt x="109" y="33"/>
                          <a:pt x="109" y="33"/>
                        </a:cubicBezTo>
                        <a:close/>
                        <a:moveTo>
                          <a:pt x="109" y="32"/>
                        </a:moveTo>
                        <a:cubicBezTo>
                          <a:pt x="109" y="32"/>
                          <a:pt x="109" y="32"/>
                          <a:pt x="109" y="32"/>
                        </a:cubicBezTo>
                        <a:cubicBezTo>
                          <a:pt x="109" y="32"/>
                          <a:pt x="109" y="32"/>
                          <a:pt x="109" y="32"/>
                        </a:cubicBezTo>
                        <a:cubicBezTo>
                          <a:pt x="109" y="33"/>
                          <a:pt x="109" y="32"/>
                          <a:pt x="109" y="32"/>
                        </a:cubicBezTo>
                        <a:close/>
                        <a:moveTo>
                          <a:pt x="110" y="42"/>
                        </a:moveTo>
                        <a:cubicBezTo>
                          <a:pt x="110" y="41"/>
                          <a:pt x="110" y="41"/>
                          <a:pt x="110" y="41"/>
                        </a:cubicBezTo>
                        <a:cubicBezTo>
                          <a:pt x="110" y="41"/>
                          <a:pt x="110" y="42"/>
                          <a:pt x="110" y="42"/>
                        </a:cubicBezTo>
                        <a:close/>
                        <a:moveTo>
                          <a:pt x="106" y="37"/>
                        </a:moveTo>
                        <a:cubicBezTo>
                          <a:pt x="106" y="37"/>
                          <a:pt x="106" y="37"/>
                          <a:pt x="106" y="37"/>
                        </a:cubicBezTo>
                        <a:cubicBezTo>
                          <a:pt x="106" y="37"/>
                          <a:pt x="106" y="37"/>
                          <a:pt x="106" y="37"/>
                        </a:cubicBezTo>
                        <a:cubicBezTo>
                          <a:pt x="106" y="37"/>
                          <a:pt x="107" y="37"/>
                          <a:pt x="107" y="37"/>
                        </a:cubicBezTo>
                        <a:cubicBezTo>
                          <a:pt x="108" y="37"/>
                          <a:pt x="107" y="37"/>
                          <a:pt x="107" y="37"/>
                        </a:cubicBezTo>
                        <a:cubicBezTo>
                          <a:pt x="107" y="37"/>
                          <a:pt x="106" y="37"/>
                          <a:pt x="106" y="37"/>
                        </a:cubicBezTo>
                        <a:cubicBezTo>
                          <a:pt x="106" y="38"/>
                          <a:pt x="105" y="38"/>
                          <a:pt x="105" y="38"/>
                        </a:cubicBezTo>
                        <a:cubicBezTo>
                          <a:pt x="105" y="38"/>
                          <a:pt x="106" y="37"/>
                          <a:pt x="105" y="37"/>
                        </a:cubicBezTo>
                        <a:cubicBezTo>
                          <a:pt x="105" y="37"/>
                          <a:pt x="105" y="37"/>
                          <a:pt x="105" y="37"/>
                        </a:cubicBezTo>
                        <a:cubicBezTo>
                          <a:pt x="105" y="37"/>
                          <a:pt x="105" y="37"/>
                          <a:pt x="105" y="37"/>
                        </a:cubicBezTo>
                        <a:cubicBezTo>
                          <a:pt x="105" y="37"/>
                          <a:pt x="104" y="38"/>
                          <a:pt x="103" y="38"/>
                        </a:cubicBezTo>
                        <a:cubicBezTo>
                          <a:pt x="104" y="37"/>
                          <a:pt x="104" y="37"/>
                          <a:pt x="104" y="37"/>
                        </a:cubicBezTo>
                        <a:cubicBezTo>
                          <a:pt x="104" y="37"/>
                          <a:pt x="105" y="37"/>
                          <a:pt x="106" y="37"/>
                        </a:cubicBezTo>
                        <a:close/>
                        <a:moveTo>
                          <a:pt x="109" y="37"/>
                        </a:moveTo>
                        <a:cubicBezTo>
                          <a:pt x="109" y="37"/>
                          <a:pt x="108" y="37"/>
                          <a:pt x="108" y="37"/>
                        </a:cubicBezTo>
                        <a:cubicBezTo>
                          <a:pt x="108" y="37"/>
                          <a:pt x="108" y="37"/>
                          <a:pt x="108" y="37"/>
                        </a:cubicBezTo>
                        <a:cubicBezTo>
                          <a:pt x="109" y="37"/>
                          <a:pt x="108" y="37"/>
                          <a:pt x="108" y="37"/>
                        </a:cubicBezTo>
                        <a:cubicBezTo>
                          <a:pt x="108" y="37"/>
                          <a:pt x="108" y="37"/>
                          <a:pt x="108" y="37"/>
                        </a:cubicBezTo>
                        <a:cubicBezTo>
                          <a:pt x="108" y="37"/>
                          <a:pt x="108" y="37"/>
                          <a:pt x="107" y="37"/>
                        </a:cubicBezTo>
                        <a:cubicBezTo>
                          <a:pt x="108" y="37"/>
                          <a:pt x="108" y="37"/>
                          <a:pt x="109" y="37"/>
                        </a:cubicBezTo>
                        <a:close/>
                        <a:moveTo>
                          <a:pt x="108" y="42"/>
                        </a:moveTo>
                        <a:cubicBezTo>
                          <a:pt x="108" y="42"/>
                          <a:pt x="108" y="42"/>
                          <a:pt x="108" y="42"/>
                        </a:cubicBezTo>
                        <a:cubicBezTo>
                          <a:pt x="108" y="42"/>
                          <a:pt x="108" y="42"/>
                          <a:pt x="108" y="42"/>
                        </a:cubicBezTo>
                        <a:cubicBezTo>
                          <a:pt x="108" y="42"/>
                          <a:pt x="108" y="42"/>
                          <a:pt x="108" y="42"/>
                        </a:cubicBezTo>
                        <a:cubicBezTo>
                          <a:pt x="109" y="42"/>
                          <a:pt x="108" y="42"/>
                          <a:pt x="108" y="42"/>
                        </a:cubicBezTo>
                        <a:cubicBezTo>
                          <a:pt x="108" y="42"/>
                          <a:pt x="108" y="42"/>
                          <a:pt x="108" y="42"/>
                        </a:cubicBezTo>
                        <a:cubicBezTo>
                          <a:pt x="107" y="42"/>
                          <a:pt x="107" y="42"/>
                          <a:pt x="106" y="42"/>
                        </a:cubicBezTo>
                        <a:cubicBezTo>
                          <a:pt x="107" y="42"/>
                          <a:pt x="108" y="42"/>
                          <a:pt x="108" y="42"/>
                        </a:cubicBezTo>
                        <a:close/>
                        <a:moveTo>
                          <a:pt x="105" y="33"/>
                        </a:moveTo>
                        <a:cubicBezTo>
                          <a:pt x="105" y="33"/>
                          <a:pt x="104" y="33"/>
                          <a:pt x="104" y="34"/>
                        </a:cubicBezTo>
                        <a:cubicBezTo>
                          <a:pt x="104" y="34"/>
                          <a:pt x="104" y="33"/>
                          <a:pt x="104" y="33"/>
                        </a:cubicBezTo>
                        <a:cubicBezTo>
                          <a:pt x="104" y="33"/>
                          <a:pt x="104" y="33"/>
                          <a:pt x="104" y="33"/>
                        </a:cubicBezTo>
                        <a:cubicBezTo>
                          <a:pt x="104" y="33"/>
                          <a:pt x="104" y="33"/>
                          <a:pt x="104" y="33"/>
                        </a:cubicBezTo>
                        <a:cubicBezTo>
                          <a:pt x="104" y="33"/>
                          <a:pt x="104" y="33"/>
                          <a:pt x="103" y="33"/>
                        </a:cubicBezTo>
                        <a:cubicBezTo>
                          <a:pt x="103" y="33"/>
                          <a:pt x="104" y="33"/>
                          <a:pt x="104" y="33"/>
                        </a:cubicBezTo>
                        <a:cubicBezTo>
                          <a:pt x="104" y="33"/>
                          <a:pt x="105" y="33"/>
                          <a:pt x="105" y="33"/>
                        </a:cubicBezTo>
                        <a:cubicBezTo>
                          <a:pt x="105" y="33"/>
                          <a:pt x="105" y="33"/>
                          <a:pt x="105" y="33"/>
                        </a:cubicBezTo>
                        <a:cubicBezTo>
                          <a:pt x="105" y="33"/>
                          <a:pt x="106" y="33"/>
                          <a:pt x="106" y="33"/>
                        </a:cubicBezTo>
                        <a:cubicBezTo>
                          <a:pt x="106" y="33"/>
                          <a:pt x="105" y="33"/>
                          <a:pt x="104" y="33"/>
                        </a:cubicBezTo>
                        <a:cubicBezTo>
                          <a:pt x="105" y="33"/>
                          <a:pt x="105" y="33"/>
                          <a:pt x="105" y="33"/>
                        </a:cubicBezTo>
                        <a:close/>
                        <a:moveTo>
                          <a:pt x="107" y="43"/>
                        </a:moveTo>
                        <a:cubicBezTo>
                          <a:pt x="107" y="43"/>
                          <a:pt x="107" y="43"/>
                          <a:pt x="107" y="43"/>
                        </a:cubicBezTo>
                        <a:cubicBezTo>
                          <a:pt x="107" y="43"/>
                          <a:pt x="107" y="43"/>
                          <a:pt x="108" y="43"/>
                        </a:cubicBezTo>
                        <a:cubicBezTo>
                          <a:pt x="108" y="43"/>
                          <a:pt x="107" y="43"/>
                          <a:pt x="107" y="43"/>
                        </a:cubicBezTo>
                        <a:close/>
                        <a:moveTo>
                          <a:pt x="98" y="43"/>
                        </a:moveTo>
                        <a:cubicBezTo>
                          <a:pt x="98" y="43"/>
                          <a:pt x="97" y="43"/>
                          <a:pt x="97" y="43"/>
                        </a:cubicBezTo>
                        <a:cubicBezTo>
                          <a:pt x="97" y="43"/>
                          <a:pt x="97" y="43"/>
                          <a:pt x="97" y="43"/>
                        </a:cubicBezTo>
                        <a:cubicBezTo>
                          <a:pt x="97" y="43"/>
                          <a:pt x="98" y="43"/>
                          <a:pt x="98" y="43"/>
                        </a:cubicBezTo>
                        <a:cubicBezTo>
                          <a:pt x="98" y="43"/>
                          <a:pt x="98" y="43"/>
                          <a:pt x="98" y="43"/>
                        </a:cubicBezTo>
                        <a:cubicBezTo>
                          <a:pt x="99" y="43"/>
                          <a:pt x="99" y="43"/>
                          <a:pt x="99" y="43"/>
                        </a:cubicBezTo>
                        <a:cubicBezTo>
                          <a:pt x="98" y="43"/>
                          <a:pt x="99" y="43"/>
                          <a:pt x="99" y="43"/>
                        </a:cubicBezTo>
                        <a:cubicBezTo>
                          <a:pt x="99" y="43"/>
                          <a:pt x="98" y="43"/>
                          <a:pt x="98" y="43"/>
                        </a:cubicBezTo>
                        <a:close/>
                        <a:moveTo>
                          <a:pt x="91" y="44"/>
                        </a:moveTo>
                        <a:cubicBezTo>
                          <a:pt x="91" y="44"/>
                          <a:pt x="92" y="44"/>
                          <a:pt x="92" y="44"/>
                        </a:cubicBezTo>
                        <a:cubicBezTo>
                          <a:pt x="92" y="44"/>
                          <a:pt x="92" y="44"/>
                          <a:pt x="93" y="43"/>
                        </a:cubicBezTo>
                        <a:cubicBezTo>
                          <a:pt x="93" y="44"/>
                          <a:pt x="92" y="44"/>
                          <a:pt x="93" y="44"/>
                        </a:cubicBezTo>
                        <a:cubicBezTo>
                          <a:pt x="92" y="44"/>
                          <a:pt x="92" y="44"/>
                          <a:pt x="92" y="44"/>
                        </a:cubicBezTo>
                        <a:cubicBezTo>
                          <a:pt x="92" y="44"/>
                          <a:pt x="91" y="44"/>
                          <a:pt x="91" y="44"/>
                        </a:cubicBezTo>
                        <a:cubicBezTo>
                          <a:pt x="91" y="44"/>
                          <a:pt x="91" y="44"/>
                          <a:pt x="91" y="44"/>
                        </a:cubicBezTo>
                        <a:close/>
                        <a:moveTo>
                          <a:pt x="97" y="44"/>
                        </a:moveTo>
                        <a:cubicBezTo>
                          <a:pt x="96" y="44"/>
                          <a:pt x="96" y="44"/>
                          <a:pt x="96" y="44"/>
                        </a:cubicBezTo>
                        <a:cubicBezTo>
                          <a:pt x="96" y="44"/>
                          <a:pt x="96" y="44"/>
                          <a:pt x="96" y="44"/>
                        </a:cubicBezTo>
                        <a:cubicBezTo>
                          <a:pt x="96" y="44"/>
                          <a:pt x="97" y="44"/>
                          <a:pt x="97" y="44"/>
                        </a:cubicBezTo>
                        <a:cubicBezTo>
                          <a:pt x="97" y="44"/>
                          <a:pt x="96" y="44"/>
                          <a:pt x="97" y="44"/>
                        </a:cubicBezTo>
                        <a:close/>
                        <a:moveTo>
                          <a:pt x="92" y="43"/>
                        </a:moveTo>
                        <a:cubicBezTo>
                          <a:pt x="92" y="42"/>
                          <a:pt x="92" y="42"/>
                          <a:pt x="93" y="42"/>
                        </a:cubicBezTo>
                        <a:cubicBezTo>
                          <a:pt x="93" y="42"/>
                          <a:pt x="92" y="42"/>
                          <a:pt x="92" y="42"/>
                        </a:cubicBezTo>
                        <a:cubicBezTo>
                          <a:pt x="92" y="43"/>
                          <a:pt x="92" y="42"/>
                          <a:pt x="93" y="42"/>
                        </a:cubicBezTo>
                        <a:cubicBezTo>
                          <a:pt x="92" y="43"/>
                          <a:pt x="92" y="43"/>
                          <a:pt x="92" y="43"/>
                        </a:cubicBezTo>
                        <a:close/>
                        <a:moveTo>
                          <a:pt x="89" y="44"/>
                        </a:moveTo>
                        <a:cubicBezTo>
                          <a:pt x="89" y="44"/>
                          <a:pt x="89" y="44"/>
                          <a:pt x="90" y="44"/>
                        </a:cubicBezTo>
                        <a:cubicBezTo>
                          <a:pt x="89" y="44"/>
                          <a:pt x="89" y="44"/>
                          <a:pt x="89" y="44"/>
                        </a:cubicBezTo>
                        <a:cubicBezTo>
                          <a:pt x="89" y="44"/>
                          <a:pt x="89" y="44"/>
                          <a:pt x="89" y="44"/>
                        </a:cubicBezTo>
                        <a:cubicBezTo>
                          <a:pt x="89" y="44"/>
                          <a:pt x="89" y="44"/>
                          <a:pt x="89" y="44"/>
                        </a:cubicBezTo>
                        <a:cubicBezTo>
                          <a:pt x="89" y="44"/>
                          <a:pt x="89" y="44"/>
                          <a:pt x="89" y="43"/>
                        </a:cubicBezTo>
                        <a:cubicBezTo>
                          <a:pt x="89" y="43"/>
                          <a:pt x="88" y="44"/>
                          <a:pt x="88" y="44"/>
                        </a:cubicBezTo>
                        <a:cubicBezTo>
                          <a:pt x="88" y="44"/>
                          <a:pt x="88" y="43"/>
                          <a:pt x="89" y="43"/>
                        </a:cubicBezTo>
                        <a:cubicBezTo>
                          <a:pt x="89" y="43"/>
                          <a:pt x="89" y="43"/>
                          <a:pt x="88" y="43"/>
                        </a:cubicBezTo>
                        <a:cubicBezTo>
                          <a:pt x="89" y="43"/>
                          <a:pt x="89" y="43"/>
                          <a:pt x="90" y="43"/>
                        </a:cubicBezTo>
                        <a:cubicBezTo>
                          <a:pt x="90" y="43"/>
                          <a:pt x="89" y="43"/>
                          <a:pt x="90" y="43"/>
                        </a:cubicBezTo>
                        <a:cubicBezTo>
                          <a:pt x="90" y="43"/>
                          <a:pt x="90" y="43"/>
                          <a:pt x="91" y="43"/>
                        </a:cubicBezTo>
                        <a:cubicBezTo>
                          <a:pt x="90" y="43"/>
                          <a:pt x="90" y="43"/>
                          <a:pt x="89" y="43"/>
                        </a:cubicBezTo>
                        <a:cubicBezTo>
                          <a:pt x="90" y="43"/>
                          <a:pt x="91" y="43"/>
                          <a:pt x="91" y="43"/>
                        </a:cubicBezTo>
                        <a:cubicBezTo>
                          <a:pt x="91" y="43"/>
                          <a:pt x="91" y="43"/>
                          <a:pt x="91" y="43"/>
                        </a:cubicBezTo>
                        <a:cubicBezTo>
                          <a:pt x="91" y="43"/>
                          <a:pt x="91" y="43"/>
                          <a:pt x="92" y="43"/>
                        </a:cubicBezTo>
                        <a:cubicBezTo>
                          <a:pt x="92" y="43"/>
                          <a:pt x="91" y="43"/>
                          <a:pt x="91" y="43"/>
                        </a:cubicBezTo>
                        <a:cubicBezTo>
                          <a:pt x="92" y="43"/>
                          <a:pt x="92" y="43"/>
                          <a:pt x="92" y="43"/>
                        </a:cubicBezTo>
                        <a:cubicBezTo>
                          <a:pt x="92" y="43"/>
                          <a:pt x="91" y="43"/>
                          <a:pt x="91" y="43"/>
                        </a:cubicBezTo>
                        <a:cubicBezTo>
                          <a:pt x="91" y="43"/>
                          <a:pt x="91" y="43"/>
                          <a:pt x="90" y="43"/>
                        </a:cubicBezTo>
                        <a:cubicBezTo>
                          <a:pt x="90" y="43"/>
                          <a:pt x="91" y="43"/>
                          <a:pt x="91" y="43"/>
                        </a:cubicBezTo>
                        <a:cubicBezTo>
                          <a:pt x="91" y="43"/>
                          <a:pt x="92" y="43"/>
                          <a:pt x="92" y="43"/>
                        </a:cubicBezTo>
                        <a:cubicBezTo>
                          <a:pt x="92" y="43"/>
                          <a:pt x="92" y="43"/>
                          <a:pt x="92" y="43"/>
                        </a:cubicBezTo>
                        <a:cubicBezTo>
                          <a:pt x="92" y="43"/>
                          <a:pt x="92" y="43"/>
                          <a:pt x="92" y="43"/>
                        </a:cubicBezTo>
                        <a:cubicBezTo>
                          <a:pt x="93" y="43"/>
                          <a:pt x="92" y="43"/>
                          <a:pt x="93" y="43"/>
                        </a:cubicBezTo>
                        <a:cubicBezTo>
                          <a:pt x="93" y="43"/>
                          <a:pt x="93" y="43"/>
                          <a:pt x="93" y="43"/>
                        </a:cubicBezTo>
                        <a:cubicBezTo>
                          <a:pt x="93" y="43"/>
                          <a:pt x="94" y="42"/>
                          <a:pt x="93" y="42"/>
                        </a:cubicBezTo>
                        <a:cubicBezTo>
                          <a:pt x="94" y="42"/>
                          <a:pt x="94" y="42"/>
                          <a:pt x="94" y="42"/>
                        </a:cubicBezTo>
                        <a:cubicBezTo>
                          <a:pt x="94" y="42"/>
                          <a:pt x="95" y="42"/>
                          <a:pt x="95" y="42"/>
                        </a:cubicBezTo>
                        <a:cubicBezTo>
                          <a:pt x="95" y="42"/>
                          <a:pt x="96" y="42"/>
                          <a:pt x="96" y="42"/>
                        </a:cubicBezTo>
                        <a:cubicBezTo>
                          <a:pt x="96" y="42"/>
                          <a:pt x="96" y="42"/>
                          <a:pt x="96" y="42"/>
                        </a:cubicBezTo>
                        <a:cubicBezTo>
                          <a:pt x="96" y="42"/>
                          <a:pt x="96" y="42"/>
                          <a:pt x="95" y="42"/>
                        </a:cubicBezTo>
                        <a:cubicBezTo>
                          <a:pt x="95" y="42"/>
                          <a:pt x="95" y="42"/>
                          <a:pt x="96" y="42"/>
                        </a:cubicBezTo>
                        <a:cubicBezTo>
                          <a:pt x="95" y="43"/>
                          <a:pt x="95" y="43"/>
                          <a:pt x="94" y="43"/>
                        </a:cubicBezTo>
                        <a:cubicBezTo>
                          <a:pt x="94" y="43"/>
                          <a:pt x="94" y="43"/>
                          <a:pt x="94" y="43"/>
                        </a:cubicBezTo>
                        <a:cubicBezTo>
                          <a:pt x="94" y="43"/>
                          <a:pt x="94" y="43"/>
                          <a:pt x="94" y="43"/>
                        </a:cubicBezTo>
                        <a:cubicBezTo>
                          <a:pt x="94" y="43"/>
                          <a:pt x="94" y="43"/>
                          <a:pt x="93" y="43"/>
                        </a:cubicBezTo>
                        <a:cubicBezTo>
                          <a:pt x="93" y="43"/>
                          <a:pt x="93" y="43"/>
                          <a:pt x="93" y="43"/>
                        </a:cubicBezTo>
                        <a:cubicBezTo>
                          <a:pt x="93" y="43"/>
                          <a:pt x="93" y="43"/>
                          <a:pt x="93" y="43"/>
                        </a:cubicBezTo>
                        <a:cubicBezTo>
                          <a:pt x="93" y="43"/>
                          <a:pt x="93" y="43"/>
                          <a:pt x="93" y="43"/>
                        </a:cubicBezTo>
                        <a:cubicBezTo>
                          <a:pt x="93" y="43"/>
                          <a:pt x="93" y="43"/>
                          <a:pt x="93" y="43"/>
                        </a:cubicBezTo>
                        <a:cubicBezTo>
                          <a:pt x="92" y="43"/>
                          <a:pt x="92" y="43"/>
                          <a:pt x="92" y="44"/>
                        </a:cubicBezTo>
                        <a:cubicBezTo>
                          <a:pt x="92" y="43"/>
                          <a:pt x="92" y="43"/>
                          <a:pt x="92" y="43"/>
                        </a:cubicBezTo>
                        <a:cubicBezTo>
                          <a:pt x="91" y="43"/>
                          <a:pt x="92" y="43"/>
                          <a:pt x="92" y="43"/>
                        </a:cubicBezTo>
                        <a:cubicBezTo>
                          <a:pt x="92" y="43"/>
                          <a:pt x="91" y="43"/>
                          <a:pt x="91" y="43"/>
                        </a:cubicBezTo>
                        <a:cubicBezTo>
                          <a:pt x="91" y="43"/>
                          <a:pt x="90" y="44"/>
                          <a:pt x="90" y="43"/>
                        </a:cubicBezTo>
                        <a:cubicBezTo>
                          <a:pt x="90" y="44"/>
                          <a:pt x="90" y="44"/>
                          <a:pt x="89" y="44"/>
                        </a:cubicBezTo>
                        <a:close/>
                        <a:moveTo>
                          <a:pt x="93" y="43"/>
                        </a:moveTo>
                        <a:cubicBezTo>
                          <a:pt x="93" y="43"/>
                          <a:pt x="93" y="43"/>
                          <a:pt x="93" y="43"/>
                        </a:cubicBezTo>
                        <a:cubicBezTo>
                          <a:pt x="93" y="43"/>
                          <a:pt x="93" y="43"/>
                          <a:pt x="93" y="43"/>
                        </a:cubicBezTo>
                        <a:cubicBezTo>
                          <a:pt x="93" y="43"/>
                          <a:pt x="93" y="43"/>
                          <a:pt x="93" y="43"/>
                        </a:cubicBezTo>
                        <a:close/>
                        <a:moveTo>
                          <a:pt x="97" y="43"/>
                        </a:moveTo>
                        <a:cubicBezTo>
                          <a:pt x="96" y="44"/>
                          <a:pt x="96" y="43"/>
                          <a:pt x="96" y="43"/>
                        </a:cubicBezTo>
                        <a:cubicBezTo>
                          <a:pt x="96" y="43"/>
                          <a:pt x="97" y="43"/>
                          <a:pt x="97" y="43"/>
                        </a:cubicBezTo>
                        <a:close/>
                        <a:moveTo>
                          <a:pt x="94" y="42"/>
                        </a:moveTo>
                        <a:cubicBezTo>
                          <a:pt x="94" y="42"/>
                          <a:pt x="94" y="42"/>
                          <a:pt x="93" y="42"/>
                        </a:cubicBezTo>
                        <a:cubicBezTo>
                          <a:pt x="93" y="42"/>
                          <a:pt x="93" y="42"/>
                          <a:pt x="93" y="42"/>
                        </a:cubicBezTo>
                        <a:cubicBezTo>
                          <a:pt x="93" y="42"/>
                          <a:pt x="94" y="42"/>
                          <a:pt x="94" y="42"/>
                        </a:cubicBezTo>
                        <a:cubicBezTo>
                          <a:pt x="94" y="42"/>
                          <a:pt x="95" y="41"/>
                          <a:pt x="95" y="42"/>
                        </a:cubicBezTo>
                        <a:cubicBezTo>
                          <a:pt x="95" y="42"/>
                          <a:pt x="95" y="42"/>
                          <a:pt x="95" y="42"/>
                        </a:cubicBezTo>
                        <a:cubicBezTo>
                          <a:pt x="95" y="42"/>
                          <a:pt x="95" y="42"/>
                          <a:pt x="94" y="42"/>
                        </a:cubicBezTo>
                        <a:close/>
                        <a:moveTo>
                          <a:pt x="95" y="45"/>
                        </a:moveTo>
                        <a:cubicBezTo>
                          <a:pt x="95" y="45"/>
                          <a:pt x="94" y="45"/>
                          <a:pt x="95" y="45"/>
                        </a:cubicBezTo>
                        <a:cubicBezTo>
                          <a:pt x="95" y="45"/>
                          <a:pt x="95" y="45"/>
                          <a:pt x="95" y="45"/>
                        </a:cubicBezTo>
                        <a:cubicBezTo>
                          <a:pt x="95" y="45"/>
                          <a:pt x="95" y="45"/>
                          <a:pt x="95" y="45"/>
                        </a:cubicBezTo>
                        <a:cubicBezTo>
                          <a:pt x="95" y="45"/>
                          <a:pt x="95" y="45"/>
                          <a:pt x="94" y="45"/>
                        </a:cubicBezTo>
                        <a:cubicBezTo>
                          <a:pt x="94" y="45"/>
                          <a:pt x="94" y="45"/>
                          <a:pt x="94" y="45"/>
                        </a:cubicBezTo>
                        <a:cubicBezTo>
                          <a:pt x="94" y="45"/>
                          <a:pt x="95" y="45"/>
                          <a:pt x="94" y="45"/>
                        </a:cubicBezTo>
                        <a:cubicBezTo>
                          <a:pt x="94" y="45"/>
                          <a:pt x="95" y="45"/>
                          <a:pt x="95" y="45"/>
                        </a:cubicBezTo>
                        <a:close/>
                        <a:moveTo>
                          <a:pt x="92" y="39"/>
                        </a:moveTo>
                        <a:cubicBezTo>
                          <a:pt x="92" y="39"/>
                          <a:pt x="92" y="39"/>
                          <a:pt x="92" y="39"/>
                        </a:cubicBezTo>
                        <a:cubicBezTo>
                          <a:pt x="92" y="39"/>
                          <a:pt x="93" y="39"/>
                          <a:pt x="93" y="39"/>
                        </a:cubicBezTo>
                        <a:cubicBezTo>
                          <a:pt x="93" y="39"/>
                          <a:pt x="92" y="40"/>
                          <a:pt x="92" y="39"/>
                        </a:cubicBezTo>
                        <a:close/>
                        <a:moveTo>
                          <a:pt x="95" y="45"/>
                        </a:moveTo>
                        <a:cubicBezTo>
                          <a:pt x="95" y="45"/>
                          <a:pt x="95" y="45"/>
                          <a:pt x="95" y="45"/>
                        </a:cubicBezTo>
                        <a:cubicBezTo>
                          <a:pt x="94" y="45"/>
                          <a:pt x="94" y="46"/>
                          <a:pt x="93" y="45"/>
                        </a:cubicBezTo>
                        <a:cubicBezTo>
                          <a:pt x="94" y="45"/>
                          <a:pt x="94" y="45"/>
                          <a:pt x="94" y="45"/>
                        </a:cubicBezTo>
                        <a:cubicBezTo>
                          <a:pt x="94" y="45"/>
                          <a:pt x="94" y="45"/>
                          <a:pt x="94" y="45"/>
                        </a:cubicBezTo>
                        <a:cubicBezTo>
                          <a:pt x="94" y="45"/>
                          <a:pt x="94" y="45"/>
                          <a:pt x="95" y="45"/>
                        </a:cubicBezTo>
                        <a:close/>
                        <a:moveTo>
                          <a:pt x="93" y="45"/>
                        </a:moveTo>
                        <a:cubicBezTo>
                          <a:pt x="93" y="45"/>
                          <a:pt x="93" y="45"/>
                          <a:pt x="92" y="45"/>
                        </a:cubicBezTo>
                        <a:cubicBezTo>
                          <a:pt x="92" y="45"/>
                          <a:pt x="93" y="45"/>
                          <a:pt x="92" y="45"/>
                        </a:cubicBezTo>
                        <a:cubicBezTo>
                          <a:pt x="92" y="45"/>
                          <a:pt x="93" y="45"/>
                          <a:pt x="93" y="45"/>
                        </a:cubicBezTo>
                        <a:cubicBezTo>
                          <a:pt x="93" y="45"/>
                          <a:pt x="93" y="45"/>
                          <a:pt x="93" y="45"/>
                        </a:cubicBezTo>
                        <a:cubicBezTo>
                          <a:pt x="93" y="45"/>
                          <a:pt x="93" y="45"/>
                          <a:pt x="93" y="45"/>
                        </a:cubicBezTo>
                        <a:cubicBezTo>
                          <a:pt x="93" y="45"/>
                          <a:pt x="93" y="45"/>
                          <a:pt x="93" y="45"/>
                        </a:cubicBezTo>
                        <a:cubicBezTo>
                          <a:pt x="93" y="45"/>
                          <a:pt x="93" y="45"/>
                          <a:pt x="93" y="45"/>
                        </a:cubicBezTo>
                        <a:close/>
                        <a:moveTo>
                          <a:pt x="89" y="46"/>
                        </a:moveTo>
                        <a:cubicBezTo>
                          <a:pt x="89" y="46"/>
                          <a:pt x="88" y="46"/>
                          <a:pt x="88" y="46"/>
                        </a:cubicBezTo>
                        <a:cubicBezTo>
                          <a:pt x="89" y="46"/>
                          <a:pt x="90" y="45"/>
                          <a:pt x="90" y="45"/>
                        </a:cubicBezTo>
                        <a:cubicBezTo>
                          <a:pt x="90" y="45"/>
                          <a:pt x="92" y="45"/>
                          <a:pt x="92" y="46"/>
                        </a:cubicBezTo>
                        <a:cubicBezTo>
                          <a:pt x="91" y="46"/>
                          <a:pt x="91" y="46"/>
                          <a:pt x="91" y="46"/>
                        </a:cubicBezTo>
                        <a:cubicBezTo>
                          <a:pt x="91" y="46"/>
                          <a:pt x="90" y="46"/>
                          <a:pt x="89" y="46"/>
                        </a:cubicBezTo>
                        <a:cubicBezTo>
                          <a:pt x="89" y="46"/>
                          <a:pt x="89" y="46"/>
                          <a:pt x="89" y="46"/>
                        </a:cubicBezTo>
                        <a:cubicBezTo>
                          <a:pt x="88" y="46"/>
                          <a:pt x="88" y="46"/>
                          <a:pt x="88" y="46"/>
                        </a:cubicBezTo>
                        <a:cubicBezTo>
                          <a:pt x="88" y="46"/>
                          <a:pt x="89" y="46"/>
                          <a:pt x="89" y="46"/>
                        </a:cubicBezTo>
                        <a:cubicBezTo>
                          <a:pt x="89" y="46"/>
                          <a:pt x="88" y="46"/>
                          <a:pt x="88" y="46"/>
                        </a:cubicBezTo>
                        <a:cubicBezTo>
                          <a:pt x="87" y="47"/>
                          <a:pt x="86" y="47"/>
                          <a:pt x="86" y="47"/>
                        </a:cubicBezTo>
                        <a:cubicBezTo>
                          <a:pt x="86" y="47"/>
                          <a:pt x="86" y="47"/>
                          <a:pt x="86" y="47"/>
                        </a:cubicBezTo>
                        <a:cubicBezTo>
                          <a:pt x="86" y="46"/>
                          <a:pt x="88" y="46"/>
                          <a:pt x="88" y="46"/>
                        </a:cubicBezTo>
                        <a:cubicBezTo>
                          <a:pt x="88" y="46"/>
                          <a:pt x="88" y="46"/>
                          <a:pt x="88" y="46"/>
                        </a:cubicBezTo>
                        <a:cubicBezTo>
                          <a:pt x="88" y="46"/>
                          <a:pt x="88" y="46"/>
                          <a:pt x="88" y="46"/>
                        </a:cubicBezTo>
                        <a:cubicBezTo>
                          <a:pt x="88" y="46"/>
                          <a:pt x="88" y="46"/>
                          <a:pt x="88" y="46"/>
                        </a:cubicBezTo>
                        <a:cubicBezTo>
                          <a:pt x="87" y="46"/>
                          <a:pt x="87" y="46"/>
                          <a:pt x="88" y="46"/>
                        </a:cubicBezTo>
                        <a:cubicBezTo>
                          <a:pt x="88" y="46"/>
                          <a:pt x="88" y="46"/>
                          <a:pt x="88" y="46"/>
                        </a:cubicBezTo>
                        <a:cubicBezTo>
                          <a:pt x="87" y="46"/>
                          <a:pt x="87" y="46"/>
                          <a:pt x="86" y="46"/>
                        </a:cubicBezTo>
                        <a:cubicBezTo>
                          <a:pt x="87" y="46"/>
                          <a:pt x="88" y="46"/>
                          <a:pt x="89" y="46"/>
                        </a:cubicBezTo>
                        <a:close/>
                        <a:moveTo>
                          <a:pt x="88" y="45"/>
                        </a:moveTo>
                        <a:cubicBezTo>
                          <a:pt x="88" y="45"/>
                          <a:pt x="87" y="45"/>
                          <a:pt x="87" y="45"/>
                        </a:cubicBezTo>
                        <a:cubicBezTo>
                          <a:pt x="87" y="45"/>
                          <a:pt x="87" y="45"/>
                          <a:pt x="87" y="45"/>
                        </a:cubicBezTo>
                        <a:cubicBezTo>
                          <a:pt x="87" y="45"/>
                          <a:pt x="87" y="45"/>
                          <a:pt x="87" y="45"/>
                        </a:cubicBezTo>
                        <a:cubicBezTo>
                          <a:pt x="87" y="45"/>
                          <a:pt x="87" y="46"/>
                          <a:pt x="87" y="46"/>
                        </a:cubicBezTo>
                        <a:cubicBezTo>
                          <a:pt x="87" y="46"/>
                          <a:pt x="87" y="46"/>
                          <a:pt x="87" y="46"/>
                        </a:cubicBezTo>
                        <a:cubicBezTo>
                          <a:pt x="87" y="46"/>
                          <a:pt x="87" y="46"/>
                          <a:pt x="87" y="46"/>
                        </a:cubicBezTo>
                        <a:cubicBezTo>
                          <a:pt x="87" y="46"/>
                          <a:pt x="87" y="45"/>
                          <a:pt x="86" y="45"/>
                        </a:cubicBezTo>
                        <a:cubicBezTo>
                          <a:pt x="87" y="45"/>
                          <a:pt x="87" y="45"/>
                          <a:pt x="88" y="45"/>
                        </a:cubicBezTo>
                        <a:close/>
                        <a:moveTo>
                          <a:pt x="90" y="44"/>
                        </a:moveTo>
                        <a:cubicBezTo>
                          <a:pt x="90" y="44"/>
                          <a:pt x="89" y="44"/>
                          <a:pt x="89" y="45"/>
                        </a:cubicBezTo>
                        <a:cubicBezTo>
                          <a:pt x="89" y="45"/>
                          <a:pt x="89" y="44"/>
                          <a:pt x="89" y="45"/>
                        </a:cubicBezTo>
                        <a:cubicBezTo>
                          <a:pt x="89" y="44"/>
                          <a:pt x="90" y="44"/>
                          <a:pt x="90" y="44"/>
                        </a:cubicBezTo>
                        <a:close/>
                        <a:moveTo>
                          <a:pt x="88" y="45"/>
                        </a:moveTo>
                        <a:cubicBezTo>
                          <a:pt x="88" y="45"/>
                          <a:pt x="88" y="45"/>
                          <a:pt x="88" y="45"/>
                        </a:cubicBezTo>
                        <a:cubicBezTo>
                          <a:pt x="89" y="45"/>
                          <a:pt x="89" y="45"/>
                          <a:pt x="89" y="45"/>
                        </a:cubicBezTo>
                        <a:cubicBezTo>
                          <a:pt x="88" y="45"/>
                          <a:pt x="88" y="45"/>
                          <a:pt x="88" y="45"/>
                        </a:cubicBezTo>
                        <a:close/>
                        <a:moveTo>
                          <a:pt x="89" y="44"/>
                        </a:moveTo>
                        <a:cubicBezTo>
                          <a:pt x="89" y="44"/>
                          <a:pt x="89" y="44"/>
                          <a:pt x="88" y="45"/>
                        </a:cubicBezTo>
                        <a:cubicBezTo>
                          <a:pt x="88" y="44"/>
                          <a:pt x="88" y="44"/>
                          <a:pt x="88" y="44"/>
                        </a:cubicBezTo>
                        <a:cubicBezTo>
                          <a:pt x="88" y="44"/>
                          <a:pt x="89" y="44"/>
                          <a:pt x="89" y="44"/>
                        </a:cubicBezTo>
                        <a:cubicBezTo>
                          <a:pt x="89" y="44"/>
                          <a:pt x="89" y="44"/>
                          <a:pt x="89" y="44"/>
                        </a:cubicBezTo>
                        <a:close/>
                        <a:moveTo>
                          <a:pt x="89" y="45"/>
                        </a:moveTo>
                        <a:cubicBezTo>
                          <a:pt x="89" y="45"/>
                          <a:pt x="89" y="45"/>
                          <a:pt x="89" y="45"/>
                        </a:cubicBezTo>
                        <a:cubicBezTo>
                          <a:pt x="89" y="45"/>
                          <a:pt x="88" y="45"/>
                          <a:pt x="88" y="45"/>
                        </a:cubicBezTo>
                        <a:lnTo>
                          <a:pt x="89" y="45"/>
                        </a:lnTo>
                        <a:close/>
                        <a:moveTo>
                          <a:pt x="86" y="45"/>
                        </a:moveTo>
                        <a:cubicBezTo>
                          <a:pt x="86" y="45"/>
                          <a:pt x="85" y="45"/>
                          <a:pt x="85" y="45"/>
                        </a:cubicBezTo>
                        <a:cubicBezTo>
                          <a:pt x="85" y="45"/>
                          <a:pt x="85" y="45"/>
                          <a:pt x="85" y="45"/>
                        </a:cubicBezTo>
                        <a:cubicBezTo>
                          <a:pt x="86" y="45"/>
                          <a:pt x="86" y="44"/>
                          <a:pt x="87" y="45"/>
                        </a:cubicBezTo>
                        <a:cubicBezTo>
                          <a:pt x="87" y="44"/>
                          <a:pt x="86" y="45"/>
                          <a:pt x="86" y="45"/>
                        </a:cubicBezTo>
                        <a:close/>
                        <a:moveTo>
                          <a:pt x="84" y="47"/>
                        </a:moveTo>
                        <a:cubicBezTo>
                          <a:pt x="84" y="47"/>
                          <a:pt x="84" y="47"/>
                          <a:pt x="84" y="47"/>
                        </a:cubicBezTo>
                        <a:cubicBezTo>
                          <a:pt x="84" y="47"/>
                          <a:pt x="83" y="47"/>
                          <a:pt x="84" y="47"/>
                        </a:cubicBezTo>
                        <a:cubicBezTo>
                          <a:pt x="84" y="47"/>
                          <a:pt x="84" y="48"/>
                          <a:pt x="83" y="48"/>
                        </a:cubicBezTo>
                        <a:cubicBezTo>
                          <a:pt x="83" y="47"/>
                          <a:pt x="84" y="47"/>
                          <a:pt x="84" y="47"/>
                        </a:cubicBezTo>
                        <a:close/>
                        <a:moveTo>
                          <a:pt x="83" y="48"/>
                        </a:moveTo>
                        <a:cubicBezTo>
                          <a:pt x="84" y="48"/>
                          <a:pt x="84" y="48"/>
                          <a:pt x="84" y="48"/>
                        </a:cubicBezTo>
                        <a:cubicBezTo>
                          <a:pt x="84" y="48"/>
                          <a:pt x="84" y="48"/>
                          <a:pt x="83" y="48"/>
                        </a:cubicBezTo>
                        <a:close/>
                        <a:moveTo>
                          <a:pt x="78" y="46"/>
                        </a:moveTo>
                        <a:cubicBezTo>
                          <a:pt x="78" y="46"/>
                          <a:pt x="78" y="46"/>
                          <a:pt x="78" y="46"/>
                        </a:cubicBezTo>
                        <a:cubicBezTo>
                          <a:pt x="78" y="46"/>
                          <a:pt x="78" y="46"/>
                          <a:pt x="78" y="46"/>
                        </a:cubicBezTo>
                        <a:cubicBezTo>
                          <a:pt x="79" y="46"/>
                          <a:pt x="78" y="46"/>
                          <a:pt x="79" y="46"/>
                        </a:cubicBezTo>
                        <a:cubicBezTo>
                          <a:pt x="79" y="46"/>
                          <a:pt x="78" y="46"/>
                          <a:pt x="78" y="46"/>
                        </a:cubicBezTo>
                        <a:close/>
                        <a:moveTo>
                          <a:pt x="78" y="46"/>
                        </a:moveTo>
                        <a:cubicBezTo>
                          <a:pt x="78" y="46"/>
                          <a:pt x="77" y="46"/>
                          <a:pt x="77" y="46"/>
                        </a:cubicBezTo>
                        <a:cubicBezTo>
                          <a:pt x="77" y="46"/>
                          <a:pt x="77" y="46"/>
                          <a:pt x="76" y="46"/>
                        </a:cubicBezTo>
                        <a:cubicBezTo>
                          <a:pt x="76" y="46"/>
                          <a:pt x="77" y="46"/>
                          <a:pt x="77" y="46"/>
                        </a:cubicBezTo>
                        <a:cubicBezTo>
                          <a:pt x="77" y="46"/>
                          <a:pt x="77" y="46"/>
                          <a:pt x="78" y="46"/>
                        </a:cubicBezTo>
                        <a:cubicBezTo>
                          <a:pt x="78" y="46"/>
                          <a:pt x="77" y="46"/>
                          <a:pt x="78" y="46"/>
                        </a:cubicBezTo>
                        <a:cubicBezTo>
                          <a:pt x="78" y="46"/>
                          <a:pt x="78" y="46"/>
                          <a:pt x="78" y="46"/>
                        </a:cubicBezTo>
                        <a:cubicBezTo>
                          <a:pt x="78" y="46"/>
                          <a:pt x="78" y="46"/>
                          <a:pt x="78" y="46"/>
                        </a:cubicBezTo>
                        <a:cubicBezTo>
                          <a:pt x="78" y="46"/>
                          <a:pt x="78" y="46"/>
                          <a:pt x="78" y="46"/>
                        </a:cubicBezTo>
                        <a:cubicBezTo>
                          <a:pt x="77" y="46"/>
                          <a:pt x="77" y="46"/>
                          <a:pt x="77" y="46"/>
                        </a:cubicBezTo>
                        <a:cubicBezTo>
                          <a:pt x="78" y="46"/>
                          <a:pt x="78" y="46"/>
                          <a:pt x="78" y="46"/>
                        </a:cubicBezTo>
                        <a:close/>
                        <a:moveTo>
                          <a:pt x="72" y="49"/>
                        </a:moveTo>
                        <a:cubicBezTo>
                          <a:pt x="72" y="49"/>
                          <a:pt x="71" y="49"/>
                          <a:pt x="71" y="50"/>
                        </a:cubicBezTo>
                        <a:cubicBezTo>
                          <a:pt x="70" y="50"/>
                          <a:pt x="69" y="50"/>
                          <a:pt x="70" y="50"/>
                        </a:cubicBezTo>
                        <a:cubicBezTo>
                          <a:pt x="70" y="50"/>
                          <a:pt x="70" y="49"/>
                          <a:pt x="70" y="49"/>
                        </a:cubicBezTo>
                        <a:cubicBezTo>
                          <a:pt x="70" y="49"/>
                          <a:pt x="71" y="49"/>
                          <a:pt x="71" y="49"/>
                        </a:cubicBezTo>
                        <a:cubicBezTo>
                          <a:pt x="72" y="49"/>
                          <a:pt x="72" y="49"/>
                          <a:pt x="72" y="49"/>
                        </a:cubicBezTo>
                        <a:cubicBezTo>
                          <a:pt x="72" y="49"/>
                          <a:pt x="72" y="49"/>
                          <a:pt x="72" y="49"/>
                        </a:cubicBezTo>
                        <a:cubicBezTo>
                          <a:pt x="72" y="49"/>
                          <a:pt x="72" y="49"/>
                          <a:pt x="72" y="49"/>
                        </a:cubicBezTo>
                        <a:close/>
                        <a:moveTo>
                          <a:pt x="71" y="49"/>
                        </a:moveTo>
                        <a:cubicBezTo>
                          <a:pt x="71" y="49"/>
                          <a:pt x="70" y="49"/>
                          <a:pt x="70" y="50"/>
                        </a:cubicBezTo>
                        <a:cubicBezTo>
                          <a:pt x="70" y="50"/>
                          <a:pt x="71" y="50"/>
                          <a:pt x="71" y="49"/>
                        </a:cubicBezTo>
                        <a:close/>
                        <a:moveTo>
                          <a:pt x="70" y="50"/>
                        </a:moveTo>
                        <a:cubicBezTo>
                          <a:pt x="71" y="50"/>
                          <a:pt x="71" y="50"/>
                          <a:pt x="72" y="50"/>
                        </a:cubicBezTo>
                        <a:cubicBezTo>
                          <a:pt x="72" y="50"/>
                          <a:pt x="72" y="50"/>
                          <a:pt x="71" y="50"/>
                        </a:cubicBezTo>
                        <a:cubicBezTo>
                          <a:pt x="71" y="50"/>
                          <a:pt x="72" y="50"/>
                          <a:pt x="71" y="51"/>
                        </a:cubicBezTo>
                        <a:cubicBezTo>
                          <a:pt x="71" y="50"/>
                          <a:pt x="71" y="50"/>
                          <a:pt x="71" y="50"/>
                        </a:cubicBezTo>
                        <a:cubicBezTo>
                          <a:pt x="71" y="50"/>
                          <a:pt x="70" y="50"/>
                          <a:pt x="70" y="50"/>
                        </a:cubicBezTo>
                        <a:close/>
                        <a:moveTo>
                          <a:pt x="69" y="51"/>
                        </a:moveTo>
                        <a:cubicBezTo>
                          <a:pt x="69" y="51"/>
                          <a:pt x="70" y="51"/>
                          <a:pt x="70" y="50"/>
                        </a:cubicBezTo>
                        <a:cubicBezTo>
                          <a:pt x="70" y="51"/>
                          <a:pt x="69" y="51"/>
                          <a:pt x="69" y="51"/>
                        </a:cubicBezTo>
                        <a:cubicBezTo>
                          <a:pt x="69" y="51"/>
                          <a:pt x="69" y="51"/>
                          <a:pt x="68" y="51"/>
                        </a:cubicBezTo>
                        <a:cubicBezTo>
                          <a:pt x="69" y="51"/>
                          <a:pt x="69" y="51"/>
                          <a:pt x="69" y="51"/>
                        </a:cubicBezTo>
                        <a:close/>
                        <a:moveTo>
                          <a:pt x="63" y="52"/>
                        </a:moveTo>
                        <a:cubicBezTo>
                          <a:pt x="63" y="52"/>
                          <a:pt x="62" y="52"/>
                          <a:pt x="62" y="52"/>
                        </a:cubicBezTo>
                        <a:cubicBezTo>
                          <a:pt x="62" y="52"/>
                          <a:pt x="62" y="52"/>
                          <a:pt x="62" y="52"/>
                        </a:cubicBezTo>
                        <a:cubicBezTo>
                          <a:pt x="61" y="52"/>
                          <a:pt x="60" y="52"/>
                          <a:pt x="58" y="53"/>
                        </a:cubicBezTo>
                        <a:cubicBezTo>
                          <a:pt x="58" y="53"/>
                          <a:pt x="58" y="53"/>
                          <a:pt x="58" y="53"/>
                        </a:cubicBezTo>
                        <a:cubicBezTo>
                          <a:pt x="58" y="53"/>
                          <a:pt x="58" y="53"/>
                          <a:pt x="57" y="53"/>
                        </a:cubicBezTo>
                        <a:cubicBezTo>
                          <a:pt x="57" y="53"/>
                          <a:pt x="57" y="53"/>
                          <a:pt x="58" y="53"/>
                        </a:cubicBezTo>
                        <a:cubicBezTo>
                          <a:pt x="58" y="53"/>
                          <a:pt x="57" y="53"/>
                          <a:pt x="57" y="53"/>
                        </a:cubicBezTo>
                        <a:cubicBezTo>
                          <a:pt x="57" y="53"/>
                          <a:pt x="57" y="53"/>
                          <a:pt x="57" y="53"/>
                        </a:cubicBezTo>
                        <a:cubicBezTo>
                          <a:pt x="56" y="53"/>
                          <a:pt x="56" y="53"/>
                          <a:pt x="56" y="53"/>
                        </a:cubicBezTo>
                        <a:cubicBezTo>
                          <a:pt x="56" y="53"/>
                          <a:pt x="56" y="53"/>
                          <a:pt x="55" y="53"/>
                        </a:cubicBezTo>
                        <a:cubicBezTo>
                          <a:pt x="56" y="53"/>
                          <a:pt x="56" y="53"/>
                          <a:pt x="57" y="53"/>
                        </a:cubicBezTo>
                        <a:cubicBezTo>
                          <a:pt x="57" y="53"/>
                          <a:pt x="57" y="53"/>
                          <a:pt x="57" y="53"/>
                        </a:cubicBezTo>
                        <a:cubicBezTo>
                          <a:pt x="58" y="53"/>
                          <a:pt x="58" y="53"/>
                          <a:pt x="59" y="52"/>
                        </a:cubicBezTo>
                        <a:cubicBezTo>
                          <a:pt x="59" y="52"/>
                          <a:pt x="59" y="52"/>
                          <a:pt x="59" y="52"/>
                        </a:cubicBezTo>
                        <a:cubicBezTo>
                          <a:pt x="59" y="52"/>
                          <a:pt x="59" y="52"/>
                          <a:pt x="59" y="52"/>
                        </a:cubicBezTo>
                        <a:cubicBezTo>
                          <a:pt x="60" y="52"/>
                          <a:pt x="59" y="52"/>
                          <a:pt x="59" y="52"/>
                        </a:cubicBezTo>
                        <a:cubicBezTo>
                          <a:pt x="60" y="52"/>
                          <a:pt x="60" y="52"/>
                          <a:pt x="60" y="52"/>
                        </a:cubicBezTo>
                        <a:cubicBezTo>
                          <a:pt x="62" y="52"/>
                          <a:pt x="63" y="51"/>
                          <a:pt x="64" y="51"/>
                        </a:cubicBezTo>
                        <a:cubicBezTo>
                          <a:pt x="64" y="51"/>
                          <a:pt x="65" y="51"/>
                          <a:pt x="65" y="51"/>
                        </a:cubicBezTo>
                        <a:cubicBezTo>
                          <a:pt x="65" y="51"/>
                          <a:pt x="66" y="51"/>
                          <a:pt x="66" y="51"/>
                        </a:cubicBezTo>
                        <a:cubicBezTo>
                          <a:pt x="67" y="51"/>
                          <a:pt x="68" y="50"/>
                          <a:pt x="70" y="50"/>
                        </a:cubicBezTo>
                        <a:cubicBezTo>
                          <a:pt x="68" y="51"/>
                          <a:pt x="65" y="51"/>
                          <a:pt x="63" y="52"/>
                        </a:cubicBezTo>
                        <a:cubicBezTo>
                          <a:pt x="63" y="52"/>
                          <a:pt x="63" y="52"/>
                          <a:pt x="63" y="52"/>
                        </a:cubicBezTo>
                        <a:close/>
                        <a:moveTo>
                          <a:pt x="69" y="50"/>
                        </a:moveTo>
                        <a:cubicBezTo>
                          <a:pt x="69" y="50"/>
                          <a:pt x="69" y="50"/>
                          <a:pt x="69" y="50"/>
                        </a:cubicBezTo>
                        <a:cubicBezTo>
                          <a:pt x="69" y="50"/>
                          <a:pt x="69" y="50"/>
                          <a:pt x="69" y="50"/>
                        </a:cubicBezTo>
                        <a:cubicBezTo>
                          <a:pt x="69" y="50"/>
                          <a:pt x="69" y="50"/>
                          <a:pt x="69" y="50"/>
                        </a:cubicBezTo>
                        <a:cubicBezTo>
                          <a:pt x="69" y="49"/>
                          <a:pt x="69" y="50"/>
                          <a:pt x="69" y="50"/>
                        </a:cubicBezTo>
                        <a:close/>
                        <a:moveTo>
                          <a:pt x="53" y="54"/>
                        </a:moveTo>
                        <a:cubicBezTo>
                          <a:pt x="55" y="54"/>
                          <a:pt x="57" y="54"/>
                          <a:pt x="59" y="53"/>
                        </a:cubicBezTo>
                        <a:cubicBezTo>
                          <a:pt x="57" y="54"/>
                          <a:pt x="55" y="54"/>
                          <a:pt x="53" y="54"/>
                        </a:cubicBezTo>
                        <a:close/>
                        <a:moveTo>
                          <a:pt x="47" y="55"/>
                        </a:moveTo>
                        <a:cubicBezTo>
                          <a:pt x="47" y="55"/>
                          <a:pt x="47" y="55"/>
                          <a:pt x="47" y="55"/>
                        </a:cubicBezTo>
                        <a:cubicBezTo>
                          <a:pt x="48" y="55"/>
                          <a:pt x="48" y="55"/>
                          <a:pt x="48" y="55"/>
                        </a:cubicBezTo>
                        <a:cubicBezTo>
                          <a:pt x="48" y="55"/>
                          <a:pt x="48" y="55"/>
                          <a:pt x="47" y="55"/>
                        </a:cubicBezTo>
                        <a:cubicBezTo>
                          <a:pt x="47" y="55"/>
                          <a:pt x="48" y="55"/>
                          <a:pt x="48" y="55"/>
                        </a:cubicBezTo>
                        <a:cubicBezTo>
                          <a:pt x="48" y="55"/>
                          <a:pt x="48" y="55"/>
                          <a:pt x="48" y="55"/>
                        </a:cubicBezTo>
                        <a:cubicBezTo>
                          <a:pt x="48" y="55"/>
                          <a:pt x="48" y="55"/>
                          <a:pt x="48" y="55"/>
                        </a:cubicBezTo>
                        <a:cubicBezTo>
                          <a:pt x="47" y="55"/>
                          <a:pt x="47" y="55"/>
                          <a:pt x="47" y="55"/>
                        </a:cubicBezTo>
                        <a:close/>
                        <a:moveTo>
                          <a:pt x="39" y="58"/>
                        </a:moveTo>
                        <a:cubicBezTo>
                          <a:pt x="39" y="58"/>
                          <a:pt x="38" y="58"/>
                          <a:pt x="38" y="58"/>
                        </a:cubicBezTo>
                        <a:cubicBezTo>
                          <a:pt x="38" y="58"/>
                          <a:pt x="38" y="58"/>
                          <a:pt x="38" y="58"/>
                        </a:cubicBezTo>
                        <a:cubicBezTo>
                          <a:pt x="38" y="58"/>
                          <a:pt x="39" y="58"/>
                          <a:pt x="39" y="58"/>
                        </a:cubicBezTo>
                        <a:cubicBezTo>
                          <a:pt x="39" y="58"/>
                          <a:pt x="39" y="58"/>
                          <a:pt x="39" y="58"/>
                        </a:cubicBezTo>
                        <a:cubicBezTo>
                          <a:pt x="40" y="58"/>
                          <a:pt x="39" y="58"/>
                          <a:pt x="40" y="58"/>
                        </a:cubicBezTo>
                        <a:cubicBezTo>
                          <a:pt x="40" y="58"/>
                          <a:pt x="40" y="58"/>
                          <a:pt x="40" y="58"/>
                        </a:cubicBezTo>
                        <a:cubicBezTo>
                          <a:pt x="40" y="58"/>
                          <a:pt x="40" y="58"/>
                          <a:pt x="40" y="58"/>
                        </a:cubicBezTo>
                        <a:cubicBezTo>
                          <a:pt x="40" y="58"/>
                          <a:pt x="40" y="58"/>
                          <a:pt x="40" y="58"/>
                        </a:cubicBezTo>
                        <a:cubicBezTo>
                          <a:pt x="39" y="58"/>
                          <a:pt x="40" y="58"/>
                          <a:pt x="39" y="58"/>
                        </a:cubicBezTo>
                        <a:close/>
                        <a:moveTo>
                          <a:pt x="24" y="62"/>
                        </a:moveTo>
                        <a:cubicBezTo>
                          <a:pt x="25" y="62"/>
                          <a:pt x="26" y="61"/>
                          <a:pt x="27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8" y="61"/>
                          <a:pt x="28" y="61"/>
                          <a:pt x="28" y="61"/>
                        </a:cubicBezTo>
                        <a:cubicBezTo>
                          <a:pt x="28" y="61"/>
                          <a:pt x="27" y="61"/>
                          <a:pt x="27" y="61"/>
                        </a:cubicBezTo>
                        <a:cubicBezTo>
                          <a:pt x="29" y="61"/>
                          <a:pt x="30" y="60"/>
                          <a:pt x="31" y="60"/>
                        </a:cubicBezTo>
                        <a:cubicBezTo>
                          <a:pt x="31" y="60"/>
                          <a:pt x="31" y="60"/>
                          <a:pt x="31" y="60"/>
                        </a:cubicBezTo>
                        <a:cubicBezTo>
                          <a:pt x="30" y="60"/>
                          <a:pt x="30" y="60"/>
                          <a:pt x="30" y="60"/>
                        </a:cubicBezTo>
                        <a:cubicBezTo>
                          <a:pt x="31" y="60"/>
                          <a:pt x="32" y="60"/>
                          <a:pt x="32" y="60"/>
                        </a:cubicBezTo>
                        <a:cubicBezTo>
                          <a:pt x="32" y="60"/>
                          <a:pt x="32" y="60"/>
                          <a:pt x="33" y="60"/>
                        </a:cubicBezTo>
                        <a:cubicBezTo>
                          <a:pt x="32" y="60"/>
                          <a:pt x="32" y="60"/>
                          <a:pt x="33" y="60"/>
                        </a:cubicBezTo>
                        <a:cubicBezTo>
                          <a:pt x="33" y="60"/>
                          <a:pt x="32" y="60"/>
                          <a:pt x="32" y="60"/>
                        </a:cubicBezTo>
                        <a:cubicBezTo>
                          <a:pt x="32" y="60"/>
                          <a:pt x="32" y="60"/>
                          <a:pt x="32" y="60"/>
                        </a:cubicBezTo>
                        <a:cubicBezTo>
                          <a:pt x="31" y="60"/>
                          <a:pt x="31" y="60"/>
                          <a:pt x="31" y="60"/>
                        </a:cubicBezTo>
                        <a:cubicBezTo>
                          <a:pt x="31" y="60"/>
                          <a:pt x="31" y="61"/>
                          <a:pt x="30" y="60"/>
                        </a:cubicBezTo>
                        <a:cubicBezTo>
                          <a:pt x="30" y="60"/>
                          <a:pt x="30" y="60"/>
                          <a:pt x="30" y="61"/>
                        </a:cubicBezTo>
                        <a:cubicBezTo>
                          <a:pt x="30" y="61"/>
                          <a:pt x="30" y="61"/>
                          <a:pt x="30" y="61"/>
                        </a:cubicBezTo>
                        <a:cubicBezTo>
                          <a:pt x="30" y="61"/>
                          <a:pt x="30" y="60"/>
                          <a:pt x="30" y="61"/>
                        </a:cubicBezTo>
                        <a:cubicBezTo>
                          <a:pt x="29" y="61"/>
                          <a:pt x="30" y="60"/>
                          <a:pt x="30" y="60"/>
                        </a:cubicBezTo>
                        <a:cubicBezTo>
                          <a:pt x="30" y="60"/>
                          <a:pt x="29" y="61"/>
                          <a:pt x="29" y="61"/>
                        </a:cubicBezTo>
                        <a:cubicBezTo>
                          <a:pt x="29" y="61"/>
                          <a:pt x="29" y="61"/>
                          <a:pt x="29" y="61"/>
                        </a:cubicBezTo>
                        <a:cubicBezTo>
                          <a:pt x="28" y="61"/>
                          <a:pt x="29" y="61"/>
                          <a:pt x="29" y="61"/>
                        </a:cubicBezTo>
                        <a:cubicBezTo>
                          <a:pt x="29" y="61"/>
                          <a:pt x="28" y="61"/>
                          <a:pt x="28" y="61"/>
                        </a:cubicBezTo>
                        <a:cubicBezTo>
                          <a:pt x="28" y="61"/>
                          <a:pt x="28" y="61"/>
                          <a:pt x="28" y="61"/>
                        </a:cubicBezTo>
                        <a:cubicBezTo>
                          <a:pt x="27" y="61"/>
                          <a:pt x="27" y="61"/>
                          <a:pt x="27" y="61"/>
                        </a:cubicBezTo>
                        <a:cubicBezTo>
                          <a:pt x="27" y="61"/>
                          <a:pt x="27" y="61"/>
                          <a:pt x="27" y="62"/>
                        </a:cubicBezTo>
                        <a:cubicBezTo>
                          <a:pt x="27" y="61"/>
                          <a:pt x="26" y="61"/>
                          <a:pt x="26" y="62"/>
                        </a:cubicBezTo>
                        <a:cubicBezTo>
                          <a:pt x="26" y="62"/>
                          <a:pt x="26" y="62"/>
                          <a:pt x="26" y="62"/>
                        </a:cubicBezTo>
                        <a:cubicBezTo>
                          <a:pt x="26" y="62"/>
                          <a:pt x="26" y="62"/>
                          <a:pt x="25" y="62"/>
                        </a:cubicBezTo>
                        <a:cubicBezTo>
                          <a:pt x="25" y="62"/>
                          <a:pt x="26" y="62"/>
                          <a:pt x="26" y="62"/>
                        </a:cubicBezTo>
                        <a:cubicBezTo>
                          <a:pt x="25" y="62"/>
                          <a:pt x="24" y="62"/>
                          <a:pt x="23" y="63"/>
                        </a:cubicBezTo>
                        <a:cubicBezTo>
                          <a:pt x="23" y="62"/>
                          <a:pt x="24" y="62"/>
                          <a:pt x="24" y="62"/>
                        </a:cubicBezTo>
                        <a:cubicBezTo>
                          <a:pt x="24" y="62"/>
                          <a:pt x="24" y="62"/>
                          <a:pt x="25" y="62"/>
                        </a:cubicBezTo>
                        <a:cubicBezTo>
                          <a:pt x="24" y="62"/>
                          <a:pt x="24" y="62"/>
                          <a:pt x="24" y="62"/>
                        </a:cubicBezTo>
                        <a:cubicBezTo>
                          <a:pt x="24" y="62"/>
                          <a:pt x="24" y="62"/>
                          <a:pt x="24" y="62"/>
                        </a:cubicBezTo>
                        <a:cubicBezTo>
                          <a:pt x="25" y="62"/>
                          <a:pt x="25" y="62"/>
                          <a:pt x="25" y="62"/>
                        </a:cubicBezTo>
                        <a:cubicBezTo>
                          <a:pt x="25" y="62"/>
                          <a:pt x="25" y="62"/>
                          <a:pt x="24" y="62"/>
                        </a:cubicBezTo>
                        <a:close/>
                        <a:moveTo>
                          <a:pt x="32" y="59"/>
                        </a:moveTo>
                        <a:cubicBezTo>
                          <a:pt x="32" y="59"/>
                          <a:pt x="31" y="59"/>
                          <a:pt x="31" y="59"/>
                        </a:cubicBezTo>
                        <a:cubicBezTo>
                          <a:pt x="31" y="59"/>
                          <a:pt x="32" y="59"/>
                          <a:pt x="32" y="59"/>
                        </a:cubicBezTo>
                        <a:close/>
                        <a:moveTo>
                          <a:pt x="30" y="59"/>
                        </a:moveTo>
                        <a:cubicBezTo>
                          <a:pt x="30" y="60"/>
                          <a:pt x="30" y="60"/>
                          <a:pt x="30" y="60"/>
                        </a:cubicBezTo>
                        <a:cubicBezTo>
                          <a:pt x="30" y="59"/>
                          <a:pt x="31" y="59"/>
                          <a:pt x="30" y="59"/>
                        </a:cubicBezTo>
                        <a:close/>
                        <a:moveTo>
                          <a:pt x="30" y="59"/>
                        </a:moveTo>
                        <a:cubicBezTo>
                          <a:pt x="29" y="59"/>
                          <a:pt x="29" y="59"/>
                          <a:pt x="28" y="60"/>
                        </a:cubicBezTo>
                        <a:cubicBezTo>
                          <a:pt x="28" y="59"/>
                          <a:pt x="30" y="59"/>
                          <a:pt x="30" y="59"/>
                        </a:cubicBezTo>
                        <a:close/>
                        <a:moveTo>
                          <a:pt x="20" y="64"/>
                        </a:moveTo>
                        <a:cubicBezTo>
                          <a:pt x="19" y="63"/>
                          <a:pt x="20" y="63"/>
                          <a:pt x="20" y="63"/>
                        </a:cubicBezTo>
                        <a:cubicBezTo>
                          <a:pt x="20" y="63"/>
                          <a:pt x="20" y="64"/>
                          <a:pt x="20" y="64"/>
                        </a:cubicBezTo>
                        <a:close/>
                        <a:moveTo>
                          <a:pt x="17" y="62"/>
                        </a:moveTo>
                        <a:cubicBezTo>
                          <a:pt x="17" y="62"/>
                          <a:pt x="16" y="62"/>
                          <a:pt x="16" y="62"/>
                        </a:cubicBezTo>
                        <a:cubicBezTo>
                          <a:pt x="17" y="62"/>
                          <a:pt x="17" y="62"/>
                          <a:pt x="17" y="62"/>
                        </a:cubicBezTo>
                        <a:cubicBezTo>
                          <a:pt x="17" y="62"/>
                          <a:pt x="18" y="62"/>
                          <a:pt x="18" y="62"/>
                        </a:cubicBezTo>
                        <a:cubicBezTo>
                          <a:pt x="17" y="62"/>
                          <a:pt x="17" y="62"/>
                          <a:pt x="17" y="62"/>
                        </a:cubicBezTo>
                        <a:close/>
                        <a:moveTo>
                          <a:pt x="16" y="63"/>
                        </a:moveTo>
                        <a:cubicBezTo>
                          <a:pt x="16" y="63"/>
                          <a:pt x="16" y="62"/>
                          <a:pt x="16" y="62"/>
                        </a:cubicBezTo>
                        <a:cubicBezTo>
                          <a:pt x="16" y="62"/>
                          <a:pt x="16" y="62"/>
                          <a:pt x="16" y="62"/>
                        </a:cubicBezTo>
                        <a:cubicBezTo>
                          <a:pt x="16" y="62"/>
                          <a:pt x="16" y="62"/>
                          <a:pt x="16" y="62"/>
                        </a:cubicBezTo>
                        <a:cubicBezTo>
                          <a:pt x="16" y="62"/>
                          <a:pt x="16" y="62"/>
                          <a:pt x="16" y="63"/>
                        </a:cubicBezTo>
                        <a:close/>
                        <a:moveTo>
                          <a:pt x="5" y="62"/>
                        </a:moveTo>
                        <a:cubicBezTo>
                          <a:pt x="5" y="62"/>
                          <a:pt x="5" y="62"/>
                          <a:pt x="5" y="62"/>
                        </a:cubicBezTo>
                        <a:cubicBezTo>
                          <a:pt x="4" y="62"/>
                          <a:pt x="4" y="62"/>
                          <a:pt x="4" y="63"/>
                        </a:cubicBezTo>
                        <a:cubicBezTo>
                          <a:pt x="4" y="62"/>
                          <a:pt x="5" y="62"/>
                          <a:pt x="5" y="62"/>
                        </a:cubicBezTo>
                        <a:close/>
                        <a:moveTo>
                          <a:pt x="3" y="66"/>
                        </a:moveTo>
                        <a:cubicBezTo>
                          <a:pt x="3" y="66"/>
                          <a:pt x="2" y="66"/>
                          <a:pt x="2" y="66"/>
                        </a:cubicBezTo>
                        <a:cubicBezTo>
                          <a:pt x="2" y="66"/>
                          <a:pt x="2" y="66"/>
                          <a:pt x="3" y="66"/>
                        </a:cubicBezTo>
                        <a:close/>
                        <a:moveTo>
                          <a:pt x="225" y="1"/>
                        </a:moveTo>
                        <a:cubicBezTo>
                          <a:pt x="225" y="1"/>
                          <a:pt x="226" y="1"/>
                          <a:pt x="226" y="2"/>
                        </a:cubicBezTo>
                        <a:cubicBezTo>
                          <a:pt x="225" y="2"/>
                          <a:pt x="225" y="2"/>
                          <a:pt x="225" y="2"/>
                        </a:cubicBezTo>
                        <a:cubicBezTo>
                          <a:pt x="225" y="1"/>
                          <a:pt x="224" y="2"/>
                          <a:pt x="225" y="1"/>
                        </a:cubicBezTo>
                        <a:close/>
                        <a:moveTo>
                          <a:pt x="193" y="12"/>
                        </a:moveTo>
                        <a:cubicBezTo>
                          <a:pt x="193" y="12"/>
                          <a:pt x="193" y="12"/>
                          <a:pt x="193" y="12"/>
                        </a:cubicBezTo>
                        <a:cubicBezTo>
                          <a:pt x="193" y="12"/>
                          <a:pt x="193" y="12"/>
                          <a:pt x="192" y="12"/>
                        </a:cubicBezTo>
                        <a:cubicBezTo>
                          <a:pt x="192" y="12"/>
                          <a:pt x="193" y="12"/>
                          <a:pt x="193" y="12"/>
                        </a:cubicBezTo>
                        <a:close/>
                        <a:moveTo>
                          <a:pt x="194" y="14"/>
                        </a:moveTo>
                        <a:cubicBezTo>
                          <a:pt x="194" y="14"/>
                          <a:pt x="194" y="14"/>
                          <a:pt x="194" y="14"/>
                        </a:cubicBezTo>
                        <a:cubicBezTo>
                          <a:pt x="193" y="14"/>
                          <a:pt x="193" y="14"/>
                          <a:pt x="193" y="14"/>
                        </a:cubicBezTo>
                        <a:cubicBezTo>
                          <a:pt x="193" y="14"/>
                          <a:pt x="193" y="14"/>
                          <a:pt x="194" y="14"/>
                        </a:cubicBezTo>
                        <a:close/>
                        <a:moveTo>
                          <a:pt x="191" y="14"/>
                        </a:moveTo>
                        <a:cubicBezTo>
                          <a:pt x="191" y="14"/>
                          <a:pt x="191" y="14"/>
                          <a:pt x="190" y="14"/>
                        </a:cubicBezTo>
                        <a:cubicBezTo>
                          <a:pt x="190" y="14"/>
                          <a:pt x="190" y="14"/>
                          <a:pt x="190" y="14"/>
                        </a:cubicBezTo>
                        <a:cubicBezTo>
                          <a:pt x="190" y="14"/>
                          <a:pt x="190" y="14"/>
                          <a:pt x="190" y="14"/>
                        </a:cubicBezTo>
                        <a:cubicBezTo>
                          <a:pt x="191" y="14"/>
                          <a:pt x="191" y="14"/>
                          <a:pt x="191" y="14"/>
                        </a:cubicBezTo>
                        <a:cubicBezTo>
                          <a:pt x="191" y="14"/>
                          <a:pt x="191" y="14"/>
                          <a:pt x="191" y="14"/>
                        </a:cubicBezTo>
                        <a:close/>
                        <a:moveTo>
                          <a:pt x="191" y="17"/>
                        </a:moveTo>
                        <a:cubicBezTo>
                          <a:pt x="191" y="17"/>
                          <a:pt x="191" y="17"/>
                          <a:pt x="191" y="18"/>
                        </a:cubicBezTo>
                        <a:cubicBezTo>
                          <a:pt x="191" y="18"/>
                          <a:pt x="191" y="18"/>
                          <a:pt x="191" y="18"/>
                        </a:cubicBezTo>
                        <a:cubicBezTo>
                          <a:pt x="190" y="18"/>
                          <a:pt x="191" y="17"/>
                          <a:pt x="191" y="17"/>
                        </a:cubicBezTo>
                        <a:cubicBezTo>
                          <a:pt x="190" y="17"/>
                          <a:pt x="190" y="17"/>
                          <a:pt x="189" y="18"/>
                        </a:cubicBezTo>
                        <a:cubicBezTo>
                          <a:pt x="190" y="17"/>
                          <a:pt x="191" y="17"/>
                          <a:pt x="191" y="17"/>
                        </a:cubicBezTo>
                        <a:cubicBezTo>
                          <a:pt x="191" y="17"/>
                          <a:pt x="191" y="17"/>
                          <a:pt x="191" y="17"/>
                        </a:cubicBezTo>
                        <a:cubicBezTo>
                          <a:pt x="191" y="18"/>
                          <a:pt x="191" y="17"/>
                          <a:pt x="191" y="17"/>
                        </a:cubicBezTo>
                        <a:close/>
                        <a:moveTo>
                          <a:pt x="181" y="23"/>
                        </a:moveTo>
                        <a:cubicBezTo>
                          <a:pt x="181" y="23"/>
                          <a:pt x="181" y="23"/>
                          <a:pt x="181" y="23"/>
                        </a:cubicBezTo>
                        <a:cubicBezTo>
                          <a:pt x="181" y="23"/>
                          <a:pt x="181" y="23"/>
                          <a:pt x="181" y="23"/>
                        </a:cubicBezTo>
                        <a:cubicBezTo>
                          <a:pt x="181" y="23"/>
                          <a:pt x="181" y="23"/>
                          <a:pt x="182" y="23"/>
                        </a:cubicBezTo>
                        <a:cubicBezTo>
                          <a:pt x="182" y="23"/>
                          <a:pt x="182" y="23"/>
                          <a:pt x="182" y="23"/>
                        </a:cubicBezTo>
                        <a:cubicBezTo>
                          <a:pt x="182" y="23"/>
                          <a:pt x="182" y="23"/>
                          <a:pt x="181" y="23"/>
                        </a:cubicBezTo>
                        <a:close/>
                        <a:moveTo>
                          <a:pt x="176" y="18"/>
                        </a:moveTo>
                        <a:cubicBezTo>
                          <a:pt x="176" y="18"/>
                          <a:pt x="175" y="18"/>
                          <a:pt x="175" y="18"/>
                        </a:cubicBezTo>
                        <a:cubicBezTo>
                          <a:pt x="175" y="18"/>
                          <a:pt x="176" y="18"/>
                          <a:pt x="177" y="18"/>
                        </a:cubicBezTo>
                        <a:cubicBezTo>
                          <a:pt x="177" y="18"/>
                          <a:pt x="176" y="18"/>
                          <a:pt x="176" y="18"/>
                        </a:cubicBezTo>
                        <a:close/>
                        <a:moveTo>
                          <a:pt x="164" y="28"/>
                        </a:moveTo>
                        <a:cubicBezTo>
                          <a:pt x="164" y="28"/>
                          <a:pt x="164" y="28"/>
                          <a:pt x="164" y="28"/>
                        </a:cubicBezTo>
                        <a:cubicBezTo>
                          <a:pt x="164" y="28"/>
                          <a:pt x="164" y="28"/>
                          <a:pt x="164" y="28"/>
                        </a:cubicBezTo>
                        <a:cubicBezTo>
                          <a:pt x="164" y="27"/>
                          <a:pt x="165" y="28"/>
                          <a:pt x="165" y="28"/>
                        </a:cubicBezTo>
                        <a:cubicBezTo>
                          <a:pt x="165" y="28"/>
                          <a:pt x="164" y="28"/>
                          <a:pt x="164" y="28"/>
                        </a:cubicBezTo>
                        <a:close/>
                        <a:moveTo>
                          <a:pt x="157" y="30"/>
                        </a:moveTo>
                        <a:cubicBezTo>
                          <a:pt x="157" y="30"/>
                          <a:pt x="157" y="30"/>
                          <a:pt x="157" y="30"/>
                        </a:cubicBezTo>
                        <a:cubicBezTo>
                          <a:pt x="157" y="30"/>
                          <a:pt x="156" y="31"/>
                          <a:pt x="156" y="31"/>
                        </a:cubicBezTo>
                        <a:cubicBezTo>
                          <a:pt x="155" y="31"/>
                          <a:pt x="155" y="31"/>
                          <a:pt x="155" y="31"/>
                        </a:cubicBezTo>
                        <a:cubicBezTo>
                          <a:pt x="155" y="31"/>
                          <a:pt x="156" y="30"/>
                          <a:pt x="157" y="30"/>
                        </a:cubicBezTo>
                        <a:close/>
                        <a:moveTo>
                          <a:pt x="154" y="25"/>
                        </a:moveTo>
                        <a:cubicBezTo>
                          <a:pt x="154" y="25"/>
                          <a:pt x="154" y="25"/>
                          <a:pt x="154" y="25"/>
                        </a:cubicBezTo>
                        <a:cubicBezTo>
                          <a:pt x="154" y="25"/>
                          <a:pt x="154" y="25"/>
                          <a:pt x="153" y="25"/>
                        </a:cubicBezTo>
                        <a:cubicBezTo>
                          <a:pt x="153" y="25"/>
                          <a:pt x="153" y="25"/>
                          <a:pt x="154" y="25"/>
                        </a:cubicBezTo>
                        <a:cubicBezTo>
                          <a:pt x="153" y="25"/>
                          <a:pt x="153" y="25"/>
                          <a:pt x="153" y="25"/>
                        </a:cubicBezTo>
                        <a:lnTo>
                          <a:pt x="154" y="25"/>
                        </a:lnTo>
                        <a:close/>
                        <a:moveTo>
                          <a:pt x="146" y="28"/>
                        </a:moveTo>
                        <a:cubicBezTo>
                          <a:pt x="146" y="28"/>
                          <a:pt x="147" y="28"/>
                          <a:pt x="147" y="28"/>
                        </a:cubicBezTo>
                        <a:cubicBezTo>
                          <a:pt x="147" y="28"/>
                          <a:pt x="147" y="28"/>
                          <a:pt x="147" y="28"/>
                        </a:cubicBezTo>
                        <a:cubicBezTo>
                          <a:pt x="147" y="29"/>
                          <a:pt x="146" y="28"/>
                          <a:pt x="146" y="28"/>
                        </a:cubicBezTo>
                        <a:close/>
                        <a:moveTo>
                          <a:pt x="139" y="25"/>
                        </a:moveTo>
                        <a:cubicBezTo>
                          <a:pt x="139" y="25"/>
                          <a:pt x="140" y="25"/>
                          <a:pt x="140" y="25"/>
                        </a:cubicBezTo>
                        <a:cubicBezTo>
                          <a:pt x="140" y="25"/>
                          <a:pt x="140" y="25"/>
                          <a:pt x="140" y="25"/>
                        </a:cubicBezTo>
                        <a:cubicBezTo>
                          <a:pt x="141" y="25"/>
                          <a:pt x="141" y="25"/>
                          <a:pt x="141" y="25"/>
                        </a:cubicBezTo>
                        <a:cubicBezTo>
                          <a:pt x="141" y="25"/>
                          <a:pt x="140" y="25"/>
                          <a:pt x="139" y="25"/>
                        </a:cubicBezTo>
                        <a:close/>
                        <a:moveTo>
                          <a:pt x="136" y="31"/>
                        </a:moveTo>
                        <a:cubicBezTo>
                          <a:pt x="136" y="30"/>
                          <a:pt x="137" y="30"/>
                          <a:pt x="138" y="30"/>
                        </a:cubicBezTo>
                        <a:cubicBezTo>
                          <a:pt x="139" y="30"/>
                          <a:pt x="139" y="30"/>
                          <a:pt x="139" y="30"/>
                        </a:cubicBezTo>
                        <a:cubicBezTo>
                          <a:pt x="138" y="30"/>
                          <a:pt x="138" y="30"/>
                          <a:pt x="138" y="30"/>
                        </a:cubicBezTo>
                        <a:cubicBezTo>
                          <a:pt x="138" y="29"/>
                          <a:pt x="138" y="29"/>
                          <a:pt x="139" y="29"/>
                        </a:cubicBezTo>
                        <a:cubicBezTo>
                          <a:pt x="138" y="29"/>
                          <a:pt x="139" y="29"/>
                          <a:pt x="139" y="29"/>
                        </a:cubicBezTo>
                        <a:cubicBezTo>
                          <a:pt x="139" y="30"/>
                          <a:pt x="139" y="29"/>
                          <a:pt x="139" y="29"/>
                        </a:cubicBezTo>
                        <a:cubicBezTo>
                          <a:pt x="139" y="29"/>
                          <a:pt x="139" y="29"/>
                          <a:pt x="140" y="29"/>
                        </a:cubicBezTo>
                        <a:cubicBezTo>
                          <a:pt x="139" y="29"/>
                          <a:pt x="139" y="29"/>
                          <a:pt x="139" y="29"/>
                        </a:cubicBezTo>
                        <a:cubicBezTo>
                          <a:pt x="139" y="29"/>
                          <a:pt x="140" y="29"/>
                          <a:pt x="140" y="29"/>
                        </a:cubicBezTo>
                        <a:cubicBezTo>
                          <a:pt x="141" y="29"/>
                          <a:pt x="140" y="29"/>
                          <a:pt x="140" y="29"/>
                        </a:cubicBezTo>
                        <a:cubicBezTo>
                          <a:pt x="140" y="29"/>
                          <a:pt x="140" y="30"/>
                          <a:pt x="139" y="30"/>
                        </a:cubicBezTo>
                        <a:cubicBezTo>
                          <a:pt x="139" y="30"/>
                          <a:pt x="139" y="30"/>
                          <a:pt x="139" y="30"/>
                        </a:cubicBezTo>
                        <a:cubicBezTo>
                          <a:pt x="139" y="30"/>
                          <a:pt x="139" y="30"/>
                          <a:pt x="139" y="30"/>
                        </a:cubicBezTo>
                        <a:cubicBezTo>
                          <a:pt x="139" y="30"/>
                          <a:pt x="139" y="30"/>
                          <a:pt x="139" y="30"/>
                        </a:cubicBezTo>
                        <a:cubicBezTo>
                          <a:pt x="139" y="30"/>
                          <a:pt x="138" y="30"/>
                          <a:pt x="138" y="31"/>
                        </a:cubicBezTo>
                        <a:cubicBezTo>
                          <a:pt x="137" y="31"/>
                          <a:pt x="137" y="31"/>
                          <a:pt x="137" y="31"/>
                        </a:cubicBezTo>
                        <a:cubicBezTo>
                          <a:pt x="137" y="31"/>
                          <a:pt x="137" y="31"/>
                          <a:pt x="137" y="31"/>
                        </a:cubicBezTo>
                        <a:cubicBezTo>
                          <a:pt x="137" y="31"/>
                          <a:pt x="136" y="31"/>
                          <a:pt x="136" y="31"/>
                        </a:cubicBezTo>
                        <a:close/>
                        <a:moveTo>
                          <a:pt x="135" y="31"/>
                        </a:moveTo>
                        <a:cubicBezTo>
                          <a:pt x="135" y="31"/>
                          <a:pt x="135" y="31"/>
                          <a:pt x="135" y="30"/>
                        </a:cubicBezTo>
                        <a:cubicBezTo>
                          <a:pt x="135" y="30"/>
                          <a:pt x="135" y="30"/>
                          <a:pt x="135" y="30"/>
                        </a:cubicBezTo>
                        <a:cubicBezTo>
                          <a:pt x="135" y="30"/>
                          <a:pt x="135" y="30"/>
                          <a:pt x="135" y="30"/>
                        </a:cubicBezTo>
                        <a:cubicBezTo>
                          <a:pt x="135" y="30"/>
                          <a:pt x="135" y="30"/>
                          <a:pt x="135" y="30"/>
                        </a:cubicBezTo>
                        <a:cubicBezTo>
                          <a:pt x="135" y="30"/>
                          <a:pt x="135" y="30"/>
                          <a:pt x="136" y="30"/>
                        </a:cubicBezTo>
                        <a:cubicBezTo>
                          <a:pt x="136" y="30"/>
                          <a:pt x="135" y="30"/>
                          <a:pt x="135" y="30"/>
                        </a:cubicBezTo>
                        <a:cubicBezTo>
                          <a:pt x="135" y="31"/>
                          <a:pt x="135" y="30"/>
                          <a:pt x="135" y="31"/>
                        </a:cubicBezTo>
                        <a:close/>
                        <a:moveTo>
                          <a:pt x="129" y="30"/>
                        </a:moveTo>
                        <a:cubicBezTo>
                          <a:pt x="130" y="30"/>
                          <a:pt x="130" y="30"/>
                          <a:pt x="130" y="30"/>
                        </a:cubicBezTo>
                        <a:cubicBezTo>
                          <a:pt x="130" y="30"/>
                          <a:pt x="130" y="30"/>
                          <a:pt x="130" y="30"/>
                        </a:cubicBezTo>
                        <a:cubicBezTo>
                          <a:pt x="130" y="30"/>
                          <a:pt x="130" y="30"/>
                          <a:pt x="131" y="30"/>
                        </a:cubicBezTo>
                        <a:cubicBezTo>
                          <a:pt x="131" y="30"/>
                          <a:pt x="130" y="30"/>
                          <a:pt x="131" y="30"/>
                        </a:cubicBezTo>
                        <a:cubicBezTo>
                          <a:pt x="131" y="30"/>
                          <a:pt x="131" y="30"/>
                          <a:pt x="131" y="30"/>
                        </a:cubicBezTo>
                        <a:cubicBezTo>
                          <a:pt x="132" y="30"/>
                          <a:pt x="132" y="30"/>
                          <a:pt x="132" y="30"/>
                        </a:cubicBezTo>
                        <a:cubicBezTo>
                          <a:pt x="132" y="30"/>
                          <a:pt x="132" y="30"/>
                          <a:pt x="132" y="30"/>
                        </a:cubicBezTo>
                        <a:cubicBezTo>
                          <a:pt x="132" y="30"/>
                          <a:pt x="132" y="30"/>
                          <a:pt x="132" y="30"/>
                        </a:cubicBezTo>
                        <a:cubicBezTo>
                          <a:pt x="132" y="30"/>
                          <a:pt x="132" y="30"/>
                          <a:pt x="131" y="30"/>
                        </a:cubicBezTo>
                        <a:cubicBezTo>
                          <a:pt x="132" y="30"/>
                          <a:pt x="130" y="31"/>
                          <a:pt x="130" y="31"/>
                        </a:cubicBezTo>
                        <a:cubicBezTo>
                          <a:pt x="130" y="31"/>
                          <a:pt x="130" y="30"/>
                          <a:pt x="129" y="30"/>
                        </a:cubicBezTo>
                        <a:close/>
                        <a:moveTo>
                          <a:pt x="127" y="28"/>
                        </a:moveTo>
                        <a:cubicBezTo>
                          <a:pt x="127" y="27"/>
                          <a:pt x="128" y="27"/>
                          <a:pt x="129" y="27"/>
                        </a:cubicBezTo>
                        <a:cubicBezTo>
                          <a:pt x="129" y="27"/>
                          <a:pt x="129" y="27"/>
                          <a:pt x="129" y="28"/>
                        </a:cubicBezTo>
                        <a:cubicBezTo>
                          <a:pt x="129" y="28"/>
                          <a:pt x="129" y="28"/>
                          <a:pt x="128" y="28"/>
                        </a:cubicBezTo>
                        <a:cubicBezTo>
                          <a:pt x="128" y="28"/>
                          <a:pt x="128" y="28"/>
                          <a:pt x="128" y="28"/>
                        </a:cubicBezTo>
                        <a:cubicBezTo>
                          <a:pt x="128" y="28"/>
                          <a:pt x="127" y="28"/>
                          <a:pt x="126" y="28"/>
                        </a:cubicBezTo>
                        <a:cubicBezTo>
                          <a:pt x="126" y="28"/>
                          <a:pt x="127" y="28"/>
                          <a:pt x="127" y="28"/>
                        </a:cubicBezTo>
                        <a:close/>
                        <a:moveTo>
                          <a:pt x="127" y="33"/>
                        </a:moveTo>
                        <a:cubicBezTo>
                          <a:pt x="127" y="33"/>
                          <a:pt x="127" y="33"/>
                          <a:pt x="126" y="33"/>
                        </a:cubicBezTo>
                        <a:cubicBezTo>
                          <a:pt x="126" y="33"/>
                          <a:pt x="127" y="33"/>
                          <a:pt x="126" y="33"/>
                        </a:cubicBezTo>
                        <a:cubicBezTo>
                          <a:pt x="126" y="33"/>
                          <a:pt x="127" y="33"/>
                          <a:pt x="127" y="33"/>
                        </a:cubicBezTo>
                        <a:cubicBezTo>
                          <a:pt x="127" y="33"/>
                          <a:pt x="128" y="33"/>
                          <a:pt x="127" y="33"/>
                        </a:cubicBezTo>
                        <a:close/>
                        <a:moveTo>
                          <a:pt x="96" y="41"/>
                        </a:moveTo>
                        <a:cubicBezTo>
                          <a:pt x="96" y="41"/>
                          <a:pt x="97" y="41"/>
                          <a:pt x="97" y="41"/>
                        </a:cubicBezTo>
                        <a:cubicBezTo>
                          <a:pt x="97" y="41"/>
                          <a:pt x="97" y="41"/>
                          <a:pt x="97" y="41"/>
                        </a:cubicBezTo>
                        <a:cubicBezTo>
                          <a:pt x="97" y="41"/>
                          <a:pt x="97" y="41"/>
                          <a:pt x="97" y="41"/>
                        </a:cubicBezTo>
                        <a:cubicBezTo>
                          <a:pt x="97" y="41"/>
                          <a:pt x="97" y="41"/>
                          <a:pt x="97" y="41"/>
                        </a:cubicBezTo>
                        <a:cubicBezTo>
                          <a:pt x="97" y="41"/>
                          <a:pt x="97" y="41"/>
                          <a:pt x="97" y="41"/>
                        </a:cubicBezTo>
                        <a:cubicBezTo>
                          <a:pt x="97" y="42"/>
                          <a:pt x="96" y="42"/>
                          <a:pt x="96" y="42"/>
                        </a:cubicBezTo>
                        <a:cubicBezTo>
                          <a:pt x="96" y="41"/>
                          <a:pt x="96" y="41"/>
                          <a:pt x="96" y="41"/>
                        </a:cubicBezTo>
                        <a:cubicBezTo>
                          <a:pt x="97" y="41"/>
                          <a:pt x="96" y="41"/>
                          <a:pt x="96" y="41"/>
                        </a:cubicBezTo>
                        <a:cubicBezTo>
                          <a:pt x="96" y="41"/>
                          <a:pt x="96" y="41"/>
                          <a:pt x="96" y="42"/>
                        </a:cubicBezTo>
                        <a:cubicBezTo>
                          <a:pt x="96" y="42"/>
                          <a:pt x="95" y="42"/>
                          <a:pt x="95" y="42"/>
                        </a:cubicBezTo>
                        <a:cubicBezTo>
                          <a:pt x="95" y="42"/>
                          <a:pt x="95" y="42"/>
                          <a:pt x="95" y="42"/>
                        </a:cubicBezTo>
                        <a:cubicBezTo>
                          <a:pt x="95" y="41"/>
                          <a:pt x="96" y="41"/>
                          <a:pt x="96" y="41"/>
                        </a:cubicBezTo>
                        <a:close/>
                        <a:moveTo>
                          <a:pt x="86" y="45"/>
                        </a:moveTo>
                        <a:cubicBezTo>
                          <a:pt x="86" y="45"/>
                          <a:pt x="86" y="45"/>
                          <a:pt x="86" y="45"/>
                        </a:cubicBezTo>
                        <a:cubicBezTo>
                          <a:pt x="86" y="45"/>
                          <a:pt x="86" y="45"/>
                          <a:pt x="86" y="45"/>
                        </a:cubicBezTo>
                        <a:cubicBezTo>
                          <a:pt x="86" y="45"/>
                          <a:pt x="86" y="45"/>
                          <a:pt x="86" y="45"/>
                        </a:cubicBezTo>
                        <a:cubicBezTo>
                          <a:pt x="86" y="45"/>
                          <a:pt x="86" y="46"/>
                          <a:pt x="87" y="46"/>
                        </a:cubicBezTo>
                        <a:cubicBezTo>
                          <a:pt x="87" y="46"/>
                          <a:pt x="86" y="46"/>
                          <a:pt x="86" y="46"/>
                        </a:cubicBezTo>
                        <a:cubicBezTo>
                          <a:pt x="86" y="46"/>
                          <a:pt x="86" y="46"/>
                          <a:pt x="86" y="46"/>
                        </a:cubicBezTo>
                        <a:cubicBezTo>
                          <a:pt x="86" y="46"/>
                          <a:pt x="85" y="46"/>
                          <a:pt x="85" y="46"/>
                        </a:cubicBezTo>
                        <a:cubicBezTo>
                          <a:pt x="85" y="45"/>
                          <a:pt x="85" y="46"/>
                          <a:pt x="86" y="45"/>
                        </a:cubicBezTo>
                        <a:cubicBezTo>
                          <a:pt x="86" y="45"/>
                          <a:pt x="86" y="45"/>
                          <a:pt x="86" y="45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84000">
                        <a:schemeClr val="accent2">
                          <a:lumMod val="40000"/>
                          <a:lumOff val="60000"/>
                        </a:schemeClr>
                      </a:gs>
                      <a:gs pos="0">
                        <a:schemeClr val="accent2"/>
                      </a:gs>
                      <a:gs pos="55000">
                        <a:schemeClr val="accent2"/>
                      </a:gs>
                    </a:gsLst>
                    <a:lin ang="135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/>
                  </a:p>
                </p:txBody>
              </p:sp>
              <p:sp>
                <p:nvSpPr>
                  <p:cNvPr id="242" name="任意多边形: 形状 241">
                    <a:extLst>
                      <a:ext uri="{FF2B5EF4-FFF2-40B4-BE49-F238E27FC236}">
                        <a16:creationId xmlns:a16="http://schemas.microsoft.com/office/drawing/2014/main" id="{2EC41620-5008-4413-B518-30E81228FC30}"/>
                      </a:ext>
                    </a:extLst>
                  </p:cNvPr>
                  <p:cNvSpPr/>
                  <p:nvPr/>
                </p:nvSpPr>
                <p:spPr bwMode="auto">
                  <a:xfrm rot="17177646" flipV="1">
                    <a:off x="7374241" y="2283067"/>
                    <a:ext cx="171971" cy="58443"/>
                  </a:xfrm>
                  <a:custGeom>
                    <a:avLst/>
                    <a:gdLst>
                      <a:gd name="T0" fmla="*/ 127 w 164"/>
                      <a:gd name="T1" fmla="*/ 36 h 56"/>
                      <a:gd name="T2" fmla="*/ 122 w 164"/>
                      <a:gd name="T3" fmla="*/ 37 h 56"/>
                      <a:gd name="T4" fmla="*/ 117 w 164"/>
                      <a:gd name="T5" fmla="*/ 34 h 56"/>
                      <a:gd name="T6" fmla="*/ 114 w 164"/>
                      <a:gd name="T7" fmla="*/ 33 h 56"/>
                      <a:gd name="T8" fmla="*/ 108 w 164"/>
                      <a:gd name="T9" fmla="*/ 30 h 56"/>
                      <a:gd name="T10" fmla="*/ 101 w 164"/>
                      <a:gd name="T11" fmla="*/ 37 h 56"/>
                      <a:gd name="T12" fmla="*/ 93 w 164"/>
                      <a:gd name="T13" fmla="*/ 34 h 56"/>
                      <a:gd name="T14" fmla="*/ 92 w 164"/>
                      <a:gd name="T15" fmla="*/ 26 h 56"/>
                      <a:gd name="T16" fmla="*/ 88 w 164"/>
                      <a:gd name="T17" fmla="*/ 29 h 56"/>
                      <a:gd name="T18" fmla="*/ 83 w 164"/>
                      <a:gd name="T19" fmla="*/ 23 h 56"/>
                      <a:gd name="T20" fmla="*/ 75 w 164"/>
                      <a:gd name="T21" fmla="*/ 21 h 56"/>
                      <a:gd name="T22" fmla="*/ 69 w 164"/>
                      <a:gd name="T23" fmla="*/ 20 h 56"/>
                      <a:gd name="T24" fmla="*/ 59 w 164"/>
                      <a:gd name="T25" fmla="*/ 24 h 56"/>
                      <a:gd name="T26" fmla="*/ 57 w 164"/>
                      <a:gd name="T27" fmla="*/ 18 h 56"/>
                      <a:gd name="T28" fmla="*/ 46 w 164"/>
                      <a:gd name="T29" fmla="*/ 20 h 56"/>
                      <a:gd name="T30" fmla="*/ 16 w 164"/>
                      <a:gd name="T31" fmla="*/ 11 h 56"/>
                      <a:gd name="T32" fmla="*/ 4 w 164"/>
                      <a:gd name="T33" fmla="*/ 9 h 56"/>
                      <a:gd name="T34" fmla="*/ 122 w 164"/>
                      <a:gd name="T35" fmla="*/ 44 h 56"/>
                      <a:gd name="T36" fmla="*/ 116 w 164"/>
                      <a:gd name="T37" fmla="*/ 40 h 56"/>
                      <a:gd name="T38" fmla="*/ 121 w 164"/>
                      <a:gd name="T39" fmla="*/ 41 h 56"/>
                      <a:gd name="T40" fmla="*/ 117 w 164"/>
                      <a:gd name="T41" fmla="*/ 38 h 56"/>
                      <a:gd name="T42" fmla="*/ 130 w 164"/>
                      <a:gd name="T43" fmla="*/ 40 h 56"/>
                      <a:gd name="T44" fmla="*/ 131 w 164"/>
                      <a:gd name="T45" fmla="*/ 37 h 56"/>
                      <a:gd name="T46" fmla="*/ 143 w 164"/>
                      <a:gd name="T47" fmla="*/ 37 h 56"/>
                      <a:gd name="T48" fmla="*/ 139 w 164"/>
                      <a:gd name="T49" fmla="*/ 37 h 56"/>
                      <a:gd name="T50" fmla="*/ 127 w 164"/>
                      <a:gd name="T51" fmla="*/ 38 h 56"/>
                      <a:gd name="T52" fmla="*/ 118 w 164"/>
                      <a:gd name="T53" fmla="*/ 38 h 56"/>
                      <a:gd name="T54" fmla="*/ 130 w 164"/>
                      <a:gd name="T55" fmla="*/ 44 h 56"/>
                      <a:gd name="T56" fmla="*/ 129 w 164"/>
                      <a:gd name="T57" fmla="*/ 46 h 56"/>
                      <a:gd name="T58" fmla="*/ 124 w 164"/>
                      <a:gd name="T59" fmla="*/ 35 h 56"/>
                      <a:gd name="T60" fmla="*/ 119 w 164"/>
                      <a:gd name="T61" fmla="*/ 35 h 56"/>
                      <a:gd name="T62" fmla="*/ 106 w 164"/>
                      <a:gd name="T63" fmla="*/ 39 h 56"/>
                      <a:gd name="T64" fmla="*/ 99 w 164"/>
                      <a:gd name="T65" fmla="*/ 36 h 56"/>
                      <a:gd name="T66" fmla="*/ 97 w 164"/>
                      <a:gd name="T67" fmla="*/ 35 h 56"/>
                      <a:gd name="T68" fmla="*/ 101 w 164"/>
                      <a:gd name="T69" fmla="*/ 34 h 56"/>
                      <a:gd name="T70" fmla="*/ 99 w 164"/>
                      <a:gd name="T71" fmla="*/ 35 h 56"/>
                      <a:gd name="T72" fmla="*/ 99 w 164"/>
                      <a:gd name="T73" fmla="*/ 27 h 56"/>
                      <a:gd name="T74" fmla="*/ 61 w 164"/>
                      <a:gd name="T75" fmla="*/ 20 h 56"/>
                      <a:gd name="T76" fmla="*/ 71 w 164"/>
                      <a:gd name="T77" fmla="*/ 24 h 56"/>
                      <a:gd name="T78" fmla="*/ 72 w 164"/>
                      <a:gd name="T79" fmla="*/ 23 h 56"/>
                      <a:gd name="T80" fmla="*/ 79 w 164"/>
                      <a:gd name="T81" fmla="*/ 26 h 56"/>
                      <a:gd name="T82" fmla="*/ 90 w 164"/>
                      <a:gd name="T83" fmla="*/ 32 h 56"/>
                      <a:gd name="T84" fmla="*/ 91 w 164"/>
                      <a:gd name="T85" fmla="*/ 35 h 56"/>
                      <a:gd name="T86" fmla="*/ 76 w 164"/>
                      <a:gd name="T87" fmla="*/ 29 h 56"/>
                      <a:gd name="T88" fmla="*/ 63 w 164"/>
                      <a:gd name="T89" fmla="*/ 26 h 56"/>
                      <a:gd name="T90" fmla="*/ 67 w 164"/>
                      <a:gd name="T91" fmla="*/ 23 h 56"/>
                      <a:gd name="T92" fmla="*/ 89 w 164"/>
                      <a:gd name="T93" fmla="*/ 33 h 56"/>
                      <a:gd name="T94" fmla="*/ 77 w 164"/>
                      <a:gd name="T95" fmla="*/ 26 h 56"/>
                      <a:gd name="T96" fmla="*/ 76 w 164"/>
                      <a:gd name="T97" fmla="*/ 27 h 56"/>
                      <a:gd name="T98" fmla="*/ 63 w 164"/>
                      <a:gd name="T99" fmla="*/ 25 h 56"/>
                      <a:gd name="T100" fmla="*/ 75 w 164"/>
                      <a:gd name="T101" fmla="*/ 27 h 56"/>
                      <a:gd name="T102" fmla="*/ 84 w 164"/>
                      <a:gd name="T103" fmla="*/ 30 h 56"/>
                      <a:gd name="T104" fmla="*/ 67 w 164"/>
                      <a:gd name="T105" fmla="*/ 23 h 56"/>
                      <a:gd name="T106" fmla="*/ 91 w 164"/>
                      <a:gd name="T107" fmla="*/ 31 h 56"/>
                      <a:gd name="T108" fmla="*/ 91 w 164"/>
                      <a:gd name="T109" fmla="*/ 28 h 56"/>
                      <a:gd name="T110" fmla="*/ 90 w 164"/>
                      <a:gd name="T111" fmla="*/ 25 h 56"/>
                      <a:gd name="T112" fmla="*/ 85 w 164"/>
                      <a:gd name="T113" fmla="*/ 22 h 56"/>
                      <a:gd name="T114" fmla="*/ 79 w 164"/>
                      <a:gd name="T115" fmla="*/ 23 h 56"/>
                      <a:gd name="T116" fmla="*/ 62 w 164"/>
                      <a:gd name="T117" fmla="*/ 24 h 56"/>
                      <a:gd name="T118" fmla="*/ 60 w 164"/>
                      <a:gd name="T119" fmla="*/ 24 h 56"/>
                      <a:gd name="T120" fmla="*/ 46 w 164"/>
                      <a:gd name="T121" fmla="*/ 20 h 56"/>
                      <a:gd name="T122" fmla="*/ 15 w 164"/>
                      <a:gd name="T123" fmla="*/ 12 h 56"/>
                      <a:gd name="T124" fmla="*/ 95 w 164"/>
                      <a:gd name="T125" fmla="*/ 26 h 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164" h="56">
                        <a:moveTo>
                          <a:pt x="161" y="55"/>
                        </a:moveTo>
                        <a:cubicBezTo>
                          <a:pt x="161" y="55"/>
                          <a:pt x="161" y="55"/>
                          <a:pt x="161" y="55"/>
                        </a:cubicBezTo>
                        <a:cubicBezTo>
                          <a:pt x="161" y="54"/>
                          <a:pt x="161" y="55"/>
                          <a:pt x="160" y="55"/>
                        </a:cubicBezTo>
                        <a:cubicBezTo>
                          <a:pt x="160" y="54"/>
                          <a:pt x="161" y="54"/>
                          <a:pt x="161" y="55"/>
                        </a:cubicBezTo>
                        <a:close/>
                        <a:moveTo>
                          <a:pt x="152" y="39"/>
                        </a:moveTo>
                        <a:cubicBezTo>
                          <a:pt x="152" y="40"/>
                          <a:pt x="152" y="40"/>
                          <a:pt x="152" y="40"/>
                        </a:cubicBezTo>
                        <a:cubicBezTo>
                          <a:pt x="152" y="40"/>
                          <a:pt x="152" y="40"/>
                          <a:pt x="152" y="40"/>
                        </a:cubicBezTo>
                        <a:cubicBezTo>
                          <a:pt x="152" y="40"/>
                          <a:pt x="152" y="40"/>
                          <a:pt x="152" y="39"/>
                        </a:cubicBezTo>
                        <a:close/>
                        <a:moveTo>
                          <a:pt x="150" y="39"/>
                        </a:moveTo>
                        <a:cubicBezTo>
                          <a:pt x="150" y="39"/>
                          <a:pt x="150" y="39"/>
                          <a:pt x="149" y="39"/>
                        </a:cubicBezTo>
                        <a:cubicBezTo>
                          <a:pt x="149" y="39"/>
                          <a:pt x="150" y="39"/>
                          <a:pt x="150" y="39"/>
                        </a:cubicBezTo>
                        <a:cubicBezTo>
                          <a:pt x="150" y="39"/>
                          <a:pt x="150" y="39"/>
                          <a:pt x="150" y="39"/>
                        </a:cubicBezTo>
                        <a:close/>
                        <a:moveTo>
                          <a:pt x="148" y="38"/>
                        </a:moveTo>
                        <a:cubicBezTo>
                          <a:pt x="149" y="38"/>
                          <a:pt x="148" y="38"/>
                          <a:pt x="149" y="39"/>
                        </a:cubicBezTo>
                        <a:cubicBezTo>
                          <a:pt x="149" y="39"/>
                          <a:pt x="149" y="39"/>
                          <a:pt x="149" y="39"/>
                        </a:cubicBezTo>
                        <a:cubicBezTo>
                          <a:pt x="148" y="39"/>
                          <a:pt x="148" y="38"/>
                          <a:pt x="148" y="38"/>
                        </a:cubicBezTo>
                        <a:close/>
                        <a:moveTo>
                          <a:pt x="146" y="37"/>
                        </a:moveTo>
                        <a:cubicBezTo>
                          <a:pt x="146" y="37"/>
                          <a:pt x="146" y="37"/>
                          <a:pt x="146" y="37"/>
                        </a:cubicBezTo>
                        <a:cubicBezTo>
                          <a:pt x="145" y="37"/>
                          <a:pt x="145" y="37"/>
                          <a:pt x="145" y="37"/>
                        </a:cubicBezTo>
                        <a:cubicBezTo>
                          <a:pt x="145" y="37"/>
                          <a:pt x="145" y="37"/>
                          <a:pt x="146" y="37"/>
                        </a:cubicBezTo>
                        <a:close/>
                        <a:moveTo>
                          <a:pt x="141" y="36"/>
                        </a:moveTo>
                        <a:cubicBezTo>
                          <a:pt x="141" y="36"/>
                          <a:pt x="141" y="36"/>
                          <a:pt x="141" y="36"/>
                        </a:cubicBezTo>
                        <a:cubicBezTo>
                          <a:pt x="141" y="36"/>
                          <a:pt x="141" y="36"/>
                          <a:pt x="141" y="36"/>
                        </a:cubicBezTo>
                        <a:cubicBezTo>
                          <a:pt x="141" y="36"/>
                          <a:pt x="142" y="36"/>
                          <a:pt x="141" y="36"/>
                        </a:cubicBezTo>
                        <a:close/>
                        <a:moveTo>
                          <a:pt x="141" y="35"/>
                        </a:moveTo>
                        <a:cubicBezTo>
                          <a:pt x="141" y="35"/>
                          <a:pt x="141" y="35"/>
                          <a:pt x="141" y="35"/>
                        </a:cubicBezTo>
                        <a:cubicBezTo>
                          <a:pt x="141" y="36"/>
                          <a:pt x="141" y="35"/>
                          <a:pt x="141" y="35"/>
                        </a:cubicBezTo>
                        <a:close/>
                        <a:moveTo>
                          <a:pt x="139" y="36"/>
                        </a:moveTo>
                        <a:cubicBezTo>
                          <a:pt x="139" y="36"/>
                          <a:pt x="140" y="36"/>
                          <a:pt x="140" y="36"/>
                        </a:cubicBezTo>
                        <a:cubicBezTo>
                          <a:pt x="140" y="36"/>
                          <a:pt x="139" y="36"/>
                          <a:pt x="139" y="36"/>
                        </a:cubicBezTo>
                        <a:close/>
                        <a:moveTo>
                          <a:pt x="135" y="37"/>
                        </a:moveTo>
                        <a:cubicBezTo>
                          <a:pt x="136" y="37"/>
                          <a:pt x="136" y="37"/>
                          <a:pt x="136" y="37"/>
                        </a:cubicBezTo>
                        <a:cubicBezTo>
                          <a:pt x="136" y="37"/>
                          <a:pt x="136" y="37"/>
                          <a:pt x="136" y="37"/>
                        </a:cubicBezTo>
                        <a:cubicBezTo>
                          <a:pt x="136" y="37"/>
                          <a:pt x="137" y="37"/>
                          <a:pt x="137" y="37"/>
                        </a:cubicBezTo>
                        <a:cubicBezTo>
                          <a:pt x="137" y="37"/>
                          <a:pt x="136" y="37"/>
                          <a:pt x="136" y="37"/>
                        </a:cubicBezTo>
                        <a:cubicBezTo>
                          <a:pt x="136" y="37"/>
                          <a:pt x="136" y="37"/>
                          <a:pt x="135" y="37"/>
                        </a:cubicBezTo>
                        <a:close/>
                        <a:moveTo>
                          <a:pt x="136" y="36"/>
                        </a:moveTo>
                        <a:cubicBezTo>
                          <a:pt x="136" y="36"/>
                          <a:pt x="136" y="36"/>
                          <a:pt x="135" y="36"/>
                        </a:cubicBezTo>
                        <a:cubicBezTo>
                          <a:pt x="135" y="35"/>
                          <a:pt x="136" y="36"/>
                          <a:pt x="136" y="36"/>
                        </a:cubicBezTo>
                        <a:cubicBezTo>
                          <a:pt x="136" y="36"/>
                          <a:pt x="136" y="36"/>
                          <a:pt x="136" y="36"/>
                        </a:cubicBezTo>
                        <a:close/>
                        <a:moveTo>
                          <a:pt x="134" y="36"/>
                        </a:moveTo>
                        <a:cubicBezTo>
                          <a:pt x="134" y="35"/>
                          <a:pt x="133" y="36"/>
                          <a:pt x="133" y="35"/>
                        </a:cubicBezTo>
                        <a:cubicBezTo>
                          <a:pt x="134" y="35"/>
                          <a:pt x="134" y="36"/>
                          <a:pt x="134" y="35"/>
                        </a:cubicBezTo>
                        <a:cubicBezTo>
                          <a:pt x="134" y="35"/>
                          <a:pt x="134" y="36"/>
                          <a:pt x="134" y="36"/>
                        </a:cubicBezTo>
                        <a:close/>
                        <a:moveTo>
                          <a:pt x="132" y="35"/>
                        </a:moveTo>
                        <a:cubicBezTo>
                          <a:pt x="132" y="35"/>
                          <a:pt x="132" y="35"/>
                          <a:pt x="132" y="35"/>
                        </a:cubicBezTo>
                        <a:cubicBezTo>
                          <a:pt x="133" y="35"/>
                          <a:pt x="133" y="35"/>
                          <a:pt x="133" y="35"/>
                        </a:cubicBezTo>
                        <a:cubicBezTo>
                          <a:pt x="133" y="35"/>
                          <a:pt x="132" y="35"/>
                          <a:pt x="132" y="35"/>
                        </a:cubicBezTo>
                        <a:close/>
                        <a:moveTo>
                          <a:pt x="132" y="34"/>
                        </a:moveTo>
                        <a:cubicBezTo>
                          <a:pt x="132" y="34"/>
                          <a:pt x="133" y="34"/>
                          <a:pt x="133" y="34"/>
                        </a:cubicBezTo>
                        <a:cubicBezTo>
                          <a:pt x="133" y="34"/>
                          <a:pt x="132" y="34"/>
                          <a:pt x="132" y="34"/>
                        </a:cubicBezTo>
                        <a:close/>
                        <a:moveTo>
                          <a:pt x="132" y="34"/>
                        </a:moveTo>
                        <a:cubicBezTo>
                          <a:pt x="132" y="34"/>
                          <a:pt x="132" y="34"/>
                          <a:pt x="132" y="34"/>
                        </a:cubicBezTo>
                        <a:cubicBezTo>
                          <a:pt x="132" y="34"/>
                          <a:pt x="132" y="34"/>
                          <a:pt x="132" y="34"/>
                        </a:cubicBezTo>
                        <a:close/>
                        <a:moveTo>
                          <a:pt x="129" y="40"/>
                        </a:moveTo>
                        <a:cubicBezTo>
                          <a:pt x="129" y="40"/>
                          <a:pt x="129" y="39"/>
                          <a:pt x="129" y="40"/>
                        </a:cubicBezTo>
                        <a:cubicBezTo>
                          <a:pt x="129" y="40"/>
                          <a:pt x="129" y="40"/>
                          <a:pt x="129" y="40"/>
                        </a:cubicBezTo>
                        <a:close/>
                        <a:moveTo>
                          <a:pt x="130" y="36"/>
                        </a:moveTo>
                        <a:cubicBezTo>
                          <a:pt x="130" y="36"/>
                          <a:pt x="130" y="36"/>
                          <a:pt x="130" y="36"/>
                        </a:cubicBezTo>
                        <a:cubicBezTo>
                          <a:pt x="130" y="36"/>
                          <a:pt x="130" y="36"/>
                          <a:pt x="129" y="36"/>
                        </a:cubicBezTo>
                        <a:cubicBezTo>
                          <a:pt x="129" y="36"/>
                          <a:pt x="130" y="36"/>
                          <a:pt x="130" y="36"/>
                        </a:cubicBezTo>
                        <a:close/>
                        <a:moveTo>
                          <a:pt x="129" y="39"/>
                        </a:moveTo>
                        <a:cubicBezTo>
                          <a:pt x="129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9"/>
                          <a:pt x="129" y="39"/>
                        </a:cubicBezTo>
                        <a:close/>
                        <a:moveTo>
                          <a:pt x="127" y="44"/>
                        </a:moveTo>
                        <a:cubicBezTo>
                          <a:pt x="127" y="44"/>
                          <a:pt x="127" y="44"/>
                          <a:pt x="127" y="44"/>
                        </a:cubicBezTo>
                        <a:cubicBezTo>
                          <a:pt x="127" y="44"/>
                          <a:pt x="127" y="44"/>
                          <a:pt x="127" y="44"/>
                        </a:cubicBezTo>
                        <a:close/>
                        <a:moveTo>
                          <a:pt x="127" y="40"/>
                        </a:moveTo>
                        <a:cubicBezTo>
                          <a:pt x="127" y="39"/>
                          <a:pt x="127" y="39"/>
                          <a:pt x="127" y="39"/>
                        </a:cubicBezTo>
                        <a:cubicBezTo>
                          <a:pt x="127" y="39"/>
                          <a:pt x="127" y="39"/>
                          <a:pt x="127" y="39"/>
                        </a:cubicBezTo>
                        <a:cubicBezTo>
                          <a:pt x="127" y="39"/>
                          <a:pt x="127" y="40"/>
                          <a:pt x="127" y="40"/>
                        </a:cubicBezTo>
                        <a:close/>
                        <a:moveTo>
                          <a:pt x="128" y="36"/>
                        </a:moveTo>
                        <a:cubicBezTo>
                          <a:pt x="128" y="36"/>
                          <a:pt x="128" y="36"/>
                          <a:pt x="128" y="36"/>
                        </a:cubicBezTo>
                        <a:cubicBezTo>
                          <a:pt x="128" y="36"/>
                          <a:pt x="128" y="36"/>
                          <a:pt x="128" y="36"/>
                        </a:cubicBezTo>
                        <a:cubicBezTo>
                          <a:pt x="128" y="36"/>
                          <a:pt x="127" y="36"/>
                          <a:pt x="127" y="36"/>
                        </a:cubicBezTo>
                        <a:cubicBezTo>
                          <a:pt x="127" y="36"/>
                          <a:pt x="127" y="36"/>
                          <a:pt x="127" y="36"/>
                        </a:cubicBezTo>
                        <a:cubicBezTo>
                          <a:pt x="127" y="36"/>
                          <a:pt x="127" y="36"/>
                          <a:pt x="127" y="36"/>
                        </a:cubicBezTo>
                        <a:cubicBezTo>
                          <a:pt x="127" y="36"/>
                          <a:pt x="128" y="36"/>
                          <a:pt x="128" y="36"/>
                        </a:cubicBezTo>
                        <a:close/>
                        <a:moveTo>
                          <a:pt x="127" y="40"/>
                        </a:moveTo>
                        <a:cubicBezTo>
                          <a:pt x="127" y="40"/>
                          <a:pt x="127" y="40"/>
                          <a:pt x="126" y="40"/>
                        </a:cubicBezTo>
                        <a:cubicBezTo>
                          <a:pt x="126" y="39"/>
                          <a:pt x="127" y="40"/>
                          <a:pt x="127" y="40"/>
                        </a:cubicBezTo>
                        <a:cubicBezTo>
                          <a:pt x="127" y="40"/>
                          <a:pt x="127" y="40"/>
                          <a:pt x="127" y="40"/>
                        </a:cubicBezTo>
                        <a:close/>
                        <a:moveTo>
                          <a:pt x="128" y="35"/>
                        </a:moveTo>
                        <a:cubicBezTo>
                          <a:pt x="128" y="35"/>
                          <a:pt x="128" y="35"/>
                          <a:pt x="128" y="35"/>
                        </a:cubicBezTo>
                        <a:cubicBezTo>
                          <a:pt x="128" y="35"/>
                          <a:pt x="128" y="35"/>
                          <a:pt x="128" y="35"/>
                        </a:cubicBezTo>
                        <a:cubicBezTo>
                          <a:pt x="128" y="35"/>
                          <a:pt x="128" y="35"/>
                          <a:pt x="128" y="35"/>
                        </a:cubicBezTo>
                        <a:close/>
                        <a:moveTo>
                          <a:pt x="126" y="39"/>
                        </a:moveTo>
                        <a:cubicBezTo>
                          <a:pt x="127" y="39"/>
                          <a:pt x="127" y="39"/>
                          <a:pt x="127" y="39"/>
                        </a:cubicBezTo>
                        <a:cubicBezTo>
                          <a:pt x="127" y="39"/>
                          <a:pt x="126" y="39"/>
                          <a:pt x="126" y="39"/>
                        </a:cubicBezTo>
                        <a:cubicBezTo>
                          <a:pt x="126" y="39"/>
                          <a:pt x="126" y="39"/>
                          <a:pt x="126" y="39"/>
                        </a:cubicBezTo>
                        <a:close/>
                        <a:moveTo>
                          <a:pt x="127" y="36"/>
                        </a:moveTo>
                        <a:cubicBezTo>
                          <a:pt x="127" y="35"/>
                          <a:pt x="127" y="35"/>
                          <a:pt x="127" y="36"/>
                        </a:cubicBezTo>
                        <a:cubicBezTo>
                          <a:pt x="127" y="36"/>
                          <a:pt x="127" y="36"/>
                          <a:pt x="127" y="36"/>
                        </a:cubicBezTo>
                        <a:close/>
                        <a:moveTo>
                          <a:pt x="124" y="45"/>
                        </a:moveTo>
                        <a:cubicBezTo>
                          <a:pt x="124" y="45"/>
                          <a:pt x="124" y="45"/>
                          <a:pt x="124" y="45"/>
                        </a:cubicBezTo>
                        <a:cubicBezTo>
                          <a:pt x="124" y="45"/>
                          <a:pt x="124" y="45"/>
                          <a:pt x="124" y="45"/>
                        </a:cubicBezTo>
                        <a:cubicBezTo>
                          <a:pt x="124" y="45"/>
                          <a:pt x="124" y="45"/>
                          <a:pt x="124" y="45"/>
                        </a:cubicBezTo>
                        <a:cubicBezTo>
                          <a:pt x="124" y="45"/>
                          <a:pt x="124" y="44"/>
                          <a:pt x="124" y="44"/>
                        </a:cubicBezTo>
                        <a:cubicBezTo>
                          <a:pt x="124" y="44"/>
                          <a:pt x="124" y="45"/>
                          <a:pt x="124" y="45"/>
                        </a:cubicBezTo>
                        <a:close/>
                        <a:moveTo>
                          <a:pt x="126" y="39"/>
                        </a:moveTo>
                        <a:cubicBezTo>
                          <a:pt x="125" y="38"/>
                          <a:pt x="125" y="38"/>
                          <a:pt x="124" y="38"/>
                        </a:cubicBezTo>
                        <a:cubicBezTo>
                          <a:pt x="125" y="38"/>
                          <a:pt x="125" y="38"/>
                          <a:pt x="126" y="39"/>
                        </a:cubicBezTo>
                        <a:close/>
                        <a:moveTo>
                          <a:pt x="126" y="35"/>
                        </a:moveTo>
                        <a:cubicBezTo>
                          <a:pt x="126" y="35"/>
                          <a:pt x="126" y="35"/>
                          <a:pt x="127" y="35"/>
                        </a:cubicBezTo>
                        <a:cubicBezTo>
                          <a:pt x="127" y="35"/>
                          <a:pt x="127" y="35"/>
                          <a:pt x="127" y="35"/>
                        </a:cubicBezTo>
                        <a:lnTo>
                          <a:pt x="126" y="35"/>
                        </a:lnTo>
                        <a:close/>
                        <a:moveTo>
                          <a:pt x="127" y="33"/>
                        </a:moveTo>
                        <a:cubicBezTo>
                          <a:pt x="127" y="32"/>
                          <a:pt x="127" y="32"/>
                          <a:pt x="127" y="33"/>
                        </a:cubicBezTo>
                        <a:cubicBezTo>
                          <a:pt x="127" y="33"/>
                          <a:pt x="127" y="32"/>
                          <a:pt x="127" y="32"/>
                        </a:cubicBezTo>
                        <a:cubicBezTo>
                          <a:pt x="127" y="32"/>
                          <a:pt x="127" y="32"/>
                          <a:pt x="127" y="33"/>
                        </a:cubicBezTo>
                        <a:close/>
                        <a:moveTo>
                          <a:pt x="123" y="44"/>
                        </a:moveTo>
                        <a:cubicBezTo>
                          <a:pt x="123" y="44"/>
                          <a:pt x="123" y="44"/>
                          <a:pt x="123" y="44"/>
                        </a:cubicBezTo>
                        <a:cubicBezTo>
                          <a:pt x="123" y="44"/>
                          <a:pt x="123" y="44"/>
                          <a:pt x="124" y="44"/>
                        </a:cubicBezTo>
                        <a:cubicBezTo>
                          <a:pt x="123" y="44"/>
                          <a:pt x="123" y="44"/>
                          <a:pt x="123" y="44"/>
                        </a:cubicBezTo>
                        <a:close/>
                        <a:moveTo>
                          <a:pt x="125" y="40"/>
                        </a:moveTo>
                        <a:cubicBezTo>
                          <a:pt x="125" y="40"/>
                          <a:pt x="125" y="39"/>
                          <a:pt x="125" y="39"/>
                        </a:cubicBezTo>
                        <a:cubicBezTo>
                          <a:pt x="125" y="39"/>
                          <a:pt x="125" y="39"/>
                          <a:pt x="125" y="39"/>
                        </a:cubicBezTo>
                        <a:cubicBezTo>
                          <a:pt x="125" y="39"/>
                          <a:pt x="125" y="39"/>
                          <a:pt x="125" y="39"/>
                        </a:cubicBezTo>
                        <a:cubicBezTo>
                          <a:pt x="125" y="39"/>
                          <a:pt x="125" y="39"/>
                          <a:pt x="125" y="40"/>
                        </a:cubicBezTo>
                        <a:close/>
                        <a:moveTo>
                          <a:pt x="125" y="36"/>
                        </a:moveTo>
                        <a:cubicBezTo>
                          <a:pt x="125" y="36"/>
                          <a:pt x="125" y="36"/>
                          <a:pt x="125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6" y="36"/>
                          <a:pt x="125" y="36"/>
                        </a:cubicBezTo>
                        <a:close/>
                        <a:moveTo>
                          <a:pt x="124" y="38"/>
                        </a:moveTo>
                        <a:cubicBezTo>
                          <a:pt x="124" y="39"/>
                          <a:pt x="124" y="38"/>
                          <a:pt x="124" y="39"/>
                        </a:cubicBezTo>
                        <a:cubicBezTo>
                          <a:pt x="124" y="39"/>
                          <a:pt x="124" y="39"/>
                          <a:pt x="124" y="39"/>
                        </a:cubicBezTo>
                        <a:cubicBezTo>
                          <a:pt x="124" y="38"/>
                          <a:pt x="124" y="38"/>
                          <a:pt x="124" y="38"/>
                        </a:cubicBezTo>
                        <a:cubicBezTo>
                          <a:pt x="124" y="38"/>
                          <a:pt x="124" y="38"/>
                          <a:pt x="124" y="38"/>
                        </a:cubicBezTo>
                        <a:cubicBezTo>
                          <a:pt x="124" y="39"/>
                          <a:pt x="124" y="38"/>
                          <a:pt x="124" y="38"/>
                        </a:cubicBezTo>
                        <a:close/>
                        <a:moveTo>
                          <a:pt x="125" y="34"/>
                        </a:moveTo>
                        <a:cubicBezTo>
                          <a:pt x="125" y="35"/>
                          <a:pt x="125" y="34"/>
                          <a:pt x="125" y="34"/>
                        </a:cubicBezTo>
                        <a:cubicBezTo>
                          <a:pt x="125" y="34"/>
                          <a:pt x="125" y="34"/>
                          <a:pt x="125" y="34"/>
                        </a:cubicBezTo>
                        <a:close/>
                        <a:moveTo>
                          <a:pt x="124" y="37"/>
                        </a:moveTo>
                        <a:cubicBezTo>
                          <a:pt x="124" y="36"/>
                          <a:pt x="125" y="36"/>
                          <a:pt x="125" y="36"/>
                        </a:cubicBezTo>
                        <a:cubicBezTo>
                          <a:pt x="125" y="36"/>
                          <a:pt x="125" y="36"/>
                          <a:pt x="125" y="37"/>
                        </a:cubicBezTo>
                        <a:cubicBezTo>
                          <a:pt x="125" y="37"/>
                          <a:pt x="125" y="37"/>
                          <a:pt x="125" y="37"/>
                        </a:cubicBezTo>
                        <a:cubicBezTo>
                          <a:pt x="125" y="37"/>
                          <a:pt x="124" y="37"/>
                          <a:pt x="124" y="37"/>
                        </a:cubicBezTo>
                        <a:close/>
                        <a:moveTo>
                          <a:pt x="124" y="36"/>
                        </a:moveTo>
                        <a:cubicBezTo>
                          <a:pt x="124" y="36"/>
                          <a:pt x="124" y="36"/>
                          <a:pt x="124" y="36"/>
                        </a:cubicBezTo>
                        <a:cubicBezTo>
                          <a:pt x="124" y="36"/>
                          <a:pt x="124" y="36"/>
                          <a:pt x="124" y="36"/>
                        </a:cubicBezTo>
                        <a:cubicBezTo>
                          <a:pt x="124" y="36"/>
                          <a:pt x="124" y="36"/>
                          <a:pt x="124" y="36"/>
                        </a:cubicBezTo>
                        <a:close/>
                        <a:moveTo>
                          <a:pt x="122" y="39"/>
                        </a:moveTo>
                        <a:cubicBezTo>
                          <a:pt x="123" y="39"/>
                          <a:pt x="122" y="39"/>
                          <a:pt x="123" y="39"/>
                        </a:cubicBezTo>
                        <a:cubicBezTo>
                          <a:pt x="123" y="39"/>
                          <a:pt x="123" y="39"/>
                          <a:pt x="123" y="39"/>
                        </a:cubicBezTo>
                        <a:cubicBezTo>
                          <a:pt x="123" y="39"/>
                          <a:pt x="123" y="39"/>
                          <a:pt x="122" y="39"/>
                        </a:cubicBezTo>
                        <a:close/>
                        <a:moveTo>
                          <a:pt x="124" y="32"/>
                        </a:moveTo>
                        <a:cubicBezTo>
                          <a:pt x="124" y="32"/>
                          <a:pt x="124" y="32"/>
                          <a:pt x="124" y="32"/>
                        </a:cubicBezTo>
                        <a:cubicBezTo>
                          <a:pt x="124" y="31"/>
                          <a:pt x="124" y="32"/>
                          <a:pt x="124" y="31"/>
                        </a:cubicBezTo>
                        <a:cubicBezTo>
                          <a:pt x="124" y="31"/>
                          <a:pt x="124" y="31"/>
                          <a:pt x="124" y="31"/>
                        </a:cubicBezTo>
                        <a:cubicBezTo>
                          <a:pt x="125" y="31"/>
                          <a:pt x="125" y="31"/>
                          <a:pt x="125" y="31"/>
                        </a:cubicBezTo>
                        <a:cubicBezTo>
                          <a:pt x="124" y="31"/>
                          <a:pt x="124" y="32"/>
                          <a:pt x="124" y="31"/>
                        </a:cubicBezTo>
                        <a:cubicBezTo>
                          <a:pt x="124" y="32"/>
                          <a:pt x="124" y="32"/>
                          <a:pt x="124" y="32"/>
                        </a:cubicBezTo>
                        <a:cubicBezTo>
                          <a:pt x="124" y="32"/>
                          <a:pt x="124" y="32"/>
                          <a:pt x="124" y="32"/>
                        </a:cubicBezTo>
                        <a:close/>
                        <a:moveTo>
                          <a:pt x="122" y="38"/>
                        </a:moveTo>
                        <a:cubicBezTo>
                          <a:pt x="122" y="39"/>
                          <a:pt x="122" y="39"/>
                          <a:pt x="122" y="39"/>
                        </a:cubicBezTo>
                        <a:cubicBezTo>
                          <a:pt x="122" y="39"/>
                          <a:pt x="122" y="39"/>
                          <a:pt x="122" y="39"/>
                        </a:cubicBezTo>
                        <a:cubicBezTo>
                          <a:pt x="122" y="39"/>
                          <a:pt x="122" y="39"/>
                          <a:pt x="122" y="39"/>
                        </a:cubicBezTo>
                        <a:cubicBezTo>
                          <a:pt x="122" y="39"/>
                          <a:pt x="122" y="39"/>
                          <a:pt x="122" y="38"/>
                        </a:cubicBezTo>
                        <a:close/>
                        <a:moveTo>
                          <a:pt x="121" y="42"/>
                        </a:moveTo>
                        <a:cubicBezTo>
                          <a:pt x="121" y="42"/>
                          <a:pt x="121" y="42"/>
                          <a:pt x="120" y="42"/>
                        </a:cubicBezTo>
                        <a:cubicBezTo>
                          <a:pt x="120" y="41"/>
                          <a:pt x="121" y="42"/>
                          <a:pt x="121" y="42"/>
                        </a:cubicBezTo>
                        <a:close/>
                        <a:moveTo>
                          <a:pt x="121" y="39"/>
                        </a:moveTo>
                        <a:cubicBezTo>
                          <a:pt x="121" y="38"/>
                          <a:pt x="121" y="38"/>
                          <a:pt x="121" y="38"/>
                        </a:cubicBezTo>
                        <a:cubicBezTo>
                          <a:pt x="121" y="38"/>
                          <a:pt x="121" y="38"/>
                          <a:pt x="121" y="38"/>
                        </a:cubicBezTo>
                        <a:cubicBezTo>
                          <a:pt x="121" y="38"/>
                          <a:pt x="121" y="38"/>
                          <a:pt x="122" y="38"/>
                        </a:cubicBezTo>
                        <a:cubicBezTo>
                          <a:pt x="122" y="39"/>
                          <a:pt x="121" y="38"/>
                          <a:pt x="121" y="39"/>
                        </a:cubicBezTo>
                        <a:close/>
                        <a:moveTo>
                          <a:pt x="121" y="36"/>
                        </a:moveTo>
                        <a:cubicBezTo>
                          <a:pt x="122" y="36"/>
                          <a:pt x="122" y="36"/>
                          <a:pt x="122" y="36"/>
                        </a:cubicBezTo>
                        <a:cubicBezTo>
                          <a:pt x="122" y="36"/>
                          <a:pt x="122" y="35"/>
                          <a:pt x="122" y="36"/>
                        </a:cubicBezTo>
                        <a:cubicBezTo>
                          <a:pt x="122" y="36"/>
                          <a:pt x="122" y="36"/>
                          <a:pt x="121" y="36"/>
                        </a:cubicBezTo>
                        <a:close/>
                        <a:moveTo>
                          <a:pt x="123" y="34"/>
                        </a:moveTo>
                        <a:cubicBezTo>
                          <a:pt x="123" y="34"/>
                          <a:pt x="122" y="33"/>
                          <a:pt x="122" y="33"/>
                        </a:cubicBezTo>
                        <a:cubicBezTo>
                          <a:pt x="122" y="33"/>
                          <a:pt x="123" y="33"/>
                          <a:pt x="123" y="34"/>
                        </a:cubicBezTo>
                        <a:close/>
                        <a:moveTo>
                          <a:pt x="121" y="37"/>
                        </a:moveTo>
                        <a:cubicBezTo>
                          <a:pt x="121" y="37"/>
                          <a:pt x="121" y="37"/>
                          <a:pt x="122" y="38"/>
                        </a:cubicBezTo>
                        <a:cubicBezTo>
                          <a:pt x="121" y="38"/>
                          <a:pt x="121" y="37"/>
                          <a:pt x="121" y="37"/>
                        </a:cubicBezTo>
                        <a:close/>
                        <a:moveTo>
                          <a:pt x="121" y="38"/>
                        </a:moveTo>
                        <a:cubicBezTo>
                          <a:pt x="121" y="38"/>
                          <a:pt x="121" y="39"/>
                          <a:pt x="121" y="39"/>
                        </a:cubicBezTo>
                        <a:cubicBezTo>
                          <a:pt x="121" y="39"/>
                          <a:pt x="121" y="39"/>
                          <a:pt x="121" y="39"/>
                        </a:cubicBezTo>
                        <a:cubicBezTo>
                          <a:pt x="121" y="39"/>
                          <a:pt x="121" y="38"/>
                          <a:pt x="121" y="38"/>
                        </a:cubicBezTo>
                        <a:close/>
                        <a:moveTo>
                          <a:pt x="121" y="37"/>
                        </a:moveTo>
                        <a:cubicBezTo>
                          <a:pt x="121" y="37"/>
                          <a:pt x="121" y="37"/>
                          <a:pt x="121" y="37"/>
                        </a:cubicBezTo>
                        <a:cubicBezTo>
                          <a:pt x="121" y="37"/>
                          <a:pt x="121" y="37"/>
                          <a:pt x="122" y="37"/>
                        </a:cubicBezTo>
                        <a:cubicBezTo>
                          <a:pt x="121" y="37"/>
                          <a:pt x="121" y="37"/>
                          <a:pt x="121" y="37"/>
                        </a:cubicBezTo>
                        <a:cubicBezTo>
                          <a:pt x="121" y="37"/>
                          <a:pt x="121" y="37"/>
                          <a:pt x="121" y="37"/>
                        </a:cubicBezTo>
                        <a:cubicBezTo>
                          <a:pt x="121" y="37"/>
                          <a:pt x="121" y="37"/>
                          <a:pt x="121" y="37"/>
                        </a:cubicBezTo>
                        <a:close/>
                        <a:moveTo>
                          <a:pt x="120" y="40"/>
                        </a:moveTo>
                        <a:cubicBezTo>
                          <a:pt x="120" y="40"/>
                          <a:pt x="120" y="40"/>
                          <a:pt x="120" y="40"/>
                        </a:cubicBezTo>
                        <a:cubicBezTo>
                          <a:pt x="120" y="40"/>
                          <a:pt x="120" y="40"/>
                          <a:pt x="120" y="40"/>
                        </a:cubicBezTo>
                        <a:close/>
                        <a:moveTo>
                          <a:pt x="121" y="36"/>
                        </a:moveTo>
                        <a:cubicBezTo>
                          <a:pt x="121" y="36"/>
                          <a:pt x="121" y="36"/>
                          <a:pt x="121" y="36"/>
                        </a:cubicBezTo>
                        <a:cubicBezTo>
                          <a:pt x="121" y="36"/>
                          <a:pt x="121" y="35"/>
                          <a:pt x="121" y="35"/>
                        </a:cubicBezTo>
                        <a:cubicBezTo>
                          <a:pt x="121" y="35"/>
                          <a:pt x="121" y="36"/>
                          <a:pt x="121" y="36"/>
                        </a:cubicBezTo>
                        <a:close/>
                        <a:moveTo>
                          <a:pt x="119" y="38"/>
                        </a:moveTo>
                        <a:cubicBezTo>
                          <a:pt x="119" y="38"/>
                          <a:pt x="120" y="38"/>
                          <a:pt x="120" y="38"/>
                        </a:cubicBezTo>
                        <a:cubicBezTo>
                          <a:pt x="120" y="38"/>
                          <a:pt x="120" y="38"/>
                          <a:pt x="120" y="38"/>
                        </a:cubicBezTo>
                        <a:cubicBezTo>
                          <a:pt x="120" y="38"/>
                          <a:pt x="119" y="38"/>
                          <a:pt x="119" y="38"/>
                        </a:cubicBezTo>
                        <a:close/>
                        <a:moveTo>
                          <a:pt x="122" y="33"/>
                        </a:moveTo>
                        <a:cubicBezTo>
                          <a:pt x="122" y="33"/>
                          <a:pt x="122" y="33"/>
                          <a:pt x="122" y="33"/>
                        </a:cubicBezTo>
                        <a:cubicBezTo>
                          <a:pt x="122" y="33"/>
                          <a:pt x="122" y="33"/>
                          <a:pt x="122" y="33"/>
                        </a:cubicBezTo>
                        <a:cubicBezTo>
                          <a:pt x="121" y="33"/>
                          <a:pt x="122" y="33"/>
                          <a:pt x="121" y="33"/>
                        </a:cubicBezTo>
                        <a:cubicBezTo>
                          <a:pt x="121" y="33"/>
                          <a:pt x="121" y="33"/>
                          <a:pt x="121" y="33"/>
                        </a:cubicBezTo>
                        <a:cubicBezTo>
                          <a:pt x="121" y="33"/>
                          <a:pt x="122" y="33"/>
                          <a:pt x="122" y="33"/>
                        </a:cubicBezTo>
                        <a:close/>
                        <a:moveTo>
                          <a:pt x="120" y="37"/>
                        </a:moveTo>
                        <a:cubicBezTo>
                          <a:pt x="120" y="37"/>
                          <a:pt x="120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7"/>
                        </a:cubicBezTo>
                        <a:cubicBezTo>
                          <a:pt x="120" y="37"/>
                          <a:pt x="120" y="37"/>
                          <a:pt x="120" y="37"/>
                        </a:cubicBezTo>
                        <a:close/>
                        <a:moveTo>
                          <a:pt x="120" y="37"/>
                        </a:moveTo>
                        <a:cubicBezTo>
                          <a:pt x="119" y="37"/>
                          <a:pt x="119" y="37"/>
                          <a:pt x="119" y="37"/>
                        </a:cubicBezTo>
                        <a:cubicBezTo>
                          <a:pt x="119" y="36"/>
                          <a:pt x="119" y="37"/>
                          <a:pt x="120" y="37"/>
                        </a:cubicBezTo>
                        <a:close/>
                        <a:moveTo>
                          <a:pt x="121" y="31"/>
                        </a:moveTo>
                        <a:cubicBezTo>
                          <a:pt x="121" y="31"/>
                          <a:pt x="121" y="31"/>
                          <a:pt x="121" y="31"/>
                        </a:cubicBezTo>
                        <a:cubicBezTo>
                          <a:pt x="121" y="31"/>
                          <a:pt x="121" y="31"/>
                          <a:pt x="121" y="31"/>
                        </a:cubicBezTo>
                        <a:cubicBezTo>
                          <a:pt x="121" y="31"/>
                          <a:pt x="121" y="31"/>
                          <a:pt x="121" y="31"/>
                        </a:cubicBezTo>
                        <a:close/>
                        <a:moveTo>
                          <a:pt x="120" y="35"/>
                        </a:moveTo>
                        <a:cubicBezTo>
                          <a:pt x="120" y="35"/>
                          <a:pt x="120" y="35"/>
                          <a:pt x="120" y="35"/>
                        </a:cubicBezTo>
                        <a:cubicBezTo>
                          <a:pt x="120" y="35"/>
                          <a:pt x="120" y="35"/>
                          <a:pt x="120" y="35"/>
                        </a:cubicBezTo>
                        <a:cubicBezTo>
                          <a:pt x="120" y="35"/>
                          <a:pt x="120" y="35"/>
                          <a:pt x="120" y="35"/>
                        </a:cubicBezTo>
                        <a:close/>
                        <a:moveTo>
                          <a:pt x="119" y="38"/>
                        </a:moveTo>
                        <a:cubicBezTo>
                          <a:pt x="119" y="37"/>
                          <a:pt x="119" y="37"/>
                          <a:pt x="119" y="38"/>
                        </a:cubicBezTo>
                        <a:cubicBezTo>
                          <a:pt x="119" y="38"/>
                          <a:pt x="119" y="38"/>
                          <a:pt x="119" y="38"/>
                        </a:cubicBezTo>
                        <a:close/>
                        <a:moveTo>
                          <a:pt x="120" y="33"/>
                        </a:moveTo>
                        <a:cubicBezTo>
                          <a:pt x="120" y="33"/>
                          <a:pt x="120" y="33"/>
                          <a:pt x="120" y="33"/>
                        </a:cubicBezTo>
                        <a:cubicBezTo>
                          <a:pt x="120" y="33"/>
                          <a:pt x="120" y="33"/>
                          <a:pt x="120" y="33"/>
                        </a:cubicBezTo>
                        <a:cubicBezTo>
                          <a:pt x="120" y="33"/>
                          <a:pt x="120" y="33"/>
                          <a:pt x="120" y="33"/>
                        </a:cubicBezTo>
                        <a:close/>
                        <a:moveTo>
                          <a:pt x="119" y="34"/>
                        </a:moveTo>
                        <a:cubicBezTo>
                          <a:pt x="120" y="34"/>
                          <a:pt x="120" y="34"/>
                          <a:pt x="120" y="34"/>
                        </a:cubicBezTo>
                        <a:cubicBezTo>
                          <a:pt x="119" y="34"/>
                          <a:pt x="119" y="34"/>
                          <a:pt x="119" y="34"/>
                        </a:cubicBezTo>
                        <a:close/>
                        <a:moveTo>
                          <a:pt x="119" y="36"/>
                        </a:moveTo>
                        <a:cubicBezTo>
                          <a:pt x="119" y="36"/>
                          <a:pt x="118" y="36"/>
                          <a:pt x="118" y="36"/>
                        </a:cubicBezTo>
                        <a:cubicBezTo>
                          <a:pt x="118" y="36"/>
                          <a:pt x="118" y="36"/>
                          <a:pt x="118" y="36"/>
                        </a:cubicBezTo>
                        <a:cubicBezTo>
                          <a:pt x="118" y="36"/>
                          <a:pt x="118" y="36"/>
                          <a:pt x="118" y="36"/>
                        </a:cubicBezTo>
                        <a:cubicBezTo>
                          <a:pt x="118" y="36"/>
                          <a:pt x="118" y="36"/>
                          <a:pt x="118" y="36"/>
                        </a:cubicBezTo>
                        <a:cubicBezTo>
                          <a:pt x="118" y="36"/>
                          <a:pt x="119" y="36"/>
                          <a:pt x="119" y="36"/>
                        </a:cubicBezTo>
                        <a:close/>
                        <a:moveTo>
                          <a:pt x="117" y="39"/>
                        </a:moveTo>
                        <a:cubicBezTo>
                          <a:pt x="117" y="39"/>
                          <a:pt x="117" y="39"/>
                          <a:pt x="118" y="39"/>
                        </a:cubicBezTo>
                        <a:cubicBezTo>
                          <a:pt x="117" y="40"/>
                          <a:pt x="117" y="39"/>
                          <a:pt x="117" y="39"/>
                        </a:cubicBezTo>
                        <a:cubicBezTo>
                          <a:pt x="117" y="39"/>
                          <a:pt x="117" y="39"/>
                          <a:pt x="117" y="39"/>
                        </a:cubicBezTo>
                        <a:close/>
                        <a:moveTo>
                          <a:pt x="119" y="33"/>
                        </a:moveTo>
                        <a:cubicBezTo>
                          <a:pt x="119" y="33"/>
                          <a:pt x="119" y="33"/>
                          <a:pt x="119" y="33"/>
                        </a:cubicBezTo>
                        <a:cubicBezTo>
                          <a:pt x="119" y="33"/>
                          <a:pt x="119" y="33"/>
                          <a:pt x="119" y="33"/>
                        </a:cubicBezTo>
                        <a:cubicBezTo>
                          <a:pt x="119" y="33"/>
                          <a:pt x="119" y="33"/>
                          <a:pt x="119" y="33"/>
                        </a:cubicBezTo>
                        <a:close/>
                        <a:moveTo>
                          <a:pt x="117" y="42"/>
                        </a:moveTo>
                        <a:cubicBezTo>
                          <a:pt x="116" y="42"/>
                          <a:pt x="116" y="42"/>
                          <a:pt x="116" y="42"/>
                        </a:cubicBezTo>
                        <a:cubicBezTo>
                          <a:pt x="116" y="42"/>
                          <a:pt x="116" y="41"/>
                          <a:pt x="116" y="42"/>
                        </a:cubicBezTo>
                        <a:cubicBezTo>
                          <a:pt x="116" y="41"/>
                          <a:pt x="116" y="41"/>
                          <a:pt x="116" y="41"/>
                        </a:cubicBezTo>
                        <a:cubicBezTo>
                          <a:pt x="116" y="41"/>
                          <a:pt x="116" y="41"/>
                          <a:pt x="116" y="41"/>
                        </a:cubicBezTo>
                        <a:cubicBezTo>
                          <a:pt x="116" y="41"/>
                          <a:pt x="116" y="42"/>
                          <a:pt x="117" y="42"/>
                        </a:cubicBezTo>
                        <a:close/>
                        <a:moveTo>
                          <a:pt x="118" y="35"/>
                        </a:moveTo>
                        <a:cubicBezTo>
                          <a:pt x="118" y="35"/>
                          <a:pt x="118" y="35"/>
                          <a:pt x="118" y="35"/>
                        </a:cubicBezTo>
                        <a:cubicBezTo>
                          <a:pt x="118" y="34"/>
                          <a:pt x="118" y="35"/>
                          <a:pt x="118" y="35"/>
                        </a:cubicBezTo>
                        <a:cubicBezTo>
                          <a:pt x="118" y="35"/>
                          <a:pt x="118" y="34"/>
                          <a:pt x="118" y="35"/>
                        </a:cubicBezTo>
                        <a:close/>
                        <a:moveTo>
                          <a:pt x="118" y="34"/>
                        </a:moveTo>
                        <a:cubicBezTo>
                          <a:pt x="118" y="34"/>
                          <a:pt x="118" y="34"/>
                          <a:pt x="118" y="34"/>
                        </a:cubicBezTo>
                        <a:cubicBezTo>
                          <a:pt x="118" y="34"/>
                          <a:pt x="118" y="34"/>
                          <a:pt x="118" y="34"/>
                        </a:cubicBezTo>
                        <a:cubicBezTo>
                          <a:pt x="118" y="34"/>
                          <a:pt x="118" y="34"/>
                          <a:pt x="118" y="34"/>
                        </a:cubicBezTo>
                        <a:cubicBezTo>
                          <a:pt x="118" y="34"/>
                          <a:pt x="118" y="34"/>
                          <a:pt x="118" y="34"/>
                        </a:cubicBezTo>
                        <a:close/>
                        <a:moveTo>
                          <a:pt x="118" y="34"/>
                        </a:moveTo>
                        <a:cubicBezTo>
                          <a:pt x="118" y="34"/>
                          <a:pt x="118" y="34"/>
                          <a:pt x="118" y="34"/>
                        </a:cubicBezTo>
                        <a:cubicBezTo>
                          <a:pt x="118" y="34"/>
                          <a:pt x="118" y="34"/>
                          <a:pt x="117" y="34"/>
                        </a:cubicBezTo>
                        <a:cubicBezTo>
                          <a:pt x="118" y="34"/>
                          <a:pt x="118" y="34"/>
                          <a:pt x="118" y="34"/>
                        </a:cubicBezTo>
                        <a:cubicBezTo>
                          <a:pt x="118" y="34"/>
                          <a:pt x="118" y="34"/>
                          <a:pt x="118" y="34"/>
                        </a:cubicBezTo>
                        <a:close/>
                        <a:moveTo>
                          <a:pt x="117" y="36"/>
                        </a:moveTo>
                        <a:cubicBezTo>
                          <a:pt x="117" y="36"/>
                          <a:pt x="117" y="36"/>
                          <a:pt x="116" y="36"/>
                        </a:cubicBezTo>
                        <a:cubicBezTo>
                          <a:pt x="116" y="36"/>
                          <a:pt x="116" y="35"/>
                          <a:pt x="116" y="36"/>
                        </a:cubicBezTo>
                        <a:cubicBezTo>
                          <a:pt x="116" y="35"/>
                          <a:pt x="116" y="35"/>
                          <a:pt x="116" y="35"/>
                        </a:cubicBezTo>
                        <a:cubicBezTo>
                          <a:pt x="116" y="35"/>
                          <a:pt x="117" y="36"/>
                          <a:pt x="117" y="36"/>
                        </a:cubicBezTo>
                        <a:cubicBezTo>
                          <a:pt x="117" y="36"/>
                          <a:pt x="117" y="36"/>
                          <a:pt x="117" y="36"/>
                        </a:cubicBezTo>
                        <a:cubicBezTo>
                          <a:pt x="117" y="36"/>
                          <a:pt x="117" y="36"/>
                          <a:pt x="117" y="36"/>
                        </a:cubicBezTo>
                        <a:close/>
                        <a:moveTo>
                          <a:pt x="115" y="42"/>
                        </a:moveTo>
                        <a:cubicBezTo>
                          <a:pt x="115" y="42"/>
                          <a:pt x="115" y="42"/>
                          <a:pt x="116" y="42"/>
                        </a:cubicBezTo>
                        <a:cubicBezTo>
                          <a:pt x="115" y="42"/>
                          <a:pt x="115" y="42"/>
                          <a:pt x="115" y="42"/>
                        </a:cubicBezTo>
                        <a:close/>
                        <a:moveTo>
                          <a:pt x="117" y="34"/>
                        </a:moveTo>
                        <a:cubicBezTo>
                          <a:pt x="117" y="34"/>
                          <a:pt x="117" y="34"/>
                          <a:pt x="117" y="34"/>
                        </a:cubicBezTo>
                        <a:cubicBezTo>
                          <a:pt x="116" y="34"/>
                          <a:pt x="117" y="34"/>
                          <a:pt x="117" y="34"/>
                        </a:cubicBezTo>
                        <a:cubicBezTo>
                          <a:pt x="117" y="34"/>
                          <a:pt x="117" y="34"/>
                          <a:pt x="117" y="34"/>
                        </a:cubicBezTo>
                        <a:close/>
                        <a:moveTo>
                          <a:pt x="116" y="35"/>
                        </a:moveTo>
                        <a:cubicBezTo>
                          <a:pt x="116" y="35"/>
                          <a:pt x="116" y="35"/>
                          <a:pt x="117" y="35"/>
                        </a:cubicBezTo>
                        <a:cubicBezTo>
                          <a:pt x="117" y="35"/>
                          <a:pt x="116" y="35"/>
                          <a:pt x="116" y="35"/>
                        </a:cubicBezTo>
                        <a:close/>
                        <a:moveTo>
                          <a:pt x="116" y="37"/>
                        </a:moveTo>
                        <a:cubicBezTo>
                          <a:pt x="116" y="37"/>
                          <a:pt x="116" y="37"/>
                          <a:pt x="116" y="37"/>
                        </a:cubicBezTo>
                        <a:cubicBezTo>
                          <a:pt x="116" y="37"/>
                          <a:pt x="115" y="37"/>
                          <a:pt x="115" y="37"/>
                        </a:cubicBezTo>
                        <a:cubicBezTo>
                          <a:pt x="115" y="37"/>
                          <a:pt x="115" y="37"/>
                          <a:pt x="115" y="37"/>
                        </a:cubicBezTo>
                        <a:cubicBezTo>
                          <a:pt x="115" y="37"/>
                          <a:pt x="116" y="37"/>
                          <a:pt x="116" y="37"/>
                        </a:cubicBezTo>
                        <a:close/>
                        <a:moveTo>
                          <a:pt x="115" y="41"/>
                        </a:moveTo>
                        <a:cubicBezTo>
                          <a:pt x="115" y="41"/>
                          <a:pt x="115" y="41"/>
                          <a:pt x="115" y="41"/>
                        </a:cubicBezTo>
                        <a:cubicBezTo>
                          <a:pt x="114" y="41"/>
                          <a:pt x="114" y="41"/>
                          <a:pt x="114" y="41"/>
                        </a:cubicBezTo>
                        <a:cubicBezTo>
                          <a:pt x="114" y="41"/>
                          <a:pt x="114" y="41"/>
                          <a:pt x="114" y="41"/>
                        </a:cubicBezTo>
                        <a:cubicBezTo>
                          <a:pt x="114" y="41"/>
                          <a:pt x="114" y="41"/>
                          <a:pt x="115" y="41"/>
                        </a:cubicBezTo>
                        <a:close/>
                        <a:moveTo>
                          <a:pt x="116" y="33"/>
                        </a:moveTo>
                        <a:cubicBezTo>
                          <a:pt x="116" y="33"/>
                          <a:pt x="116" y="33"/>
                          <a:pt x="115" y="33"/>
                        </a:cubicBezTo>
                        <a:cubicBezTo>
                          <a:pt x="116" y="33"/>
                          <a:pt x="116" y="33"/>
                          <a:pt x="117" y="33"/>
                        </a:cubicBezTo>
                        <a:lnTo>
                          <a:pt x="116" y="33"/>
                        </a:lnTo>
                        <a:close/>
                        <a:moveTo>
                          <a:pt x="117" y="29"/>
                        </a:moveTo>
                        <a:cubicBezTo>
                          <a:pt x="117" y="29"/>
                          <a:pt x="117" y="29"/>
                          <a:pt x="118" y="29"/>
                        </a:cubicBezTo>
                        <a:cubicBezTo>
                          <a:pt x="118" y="30"/>
                          <a:pt x="117" y="29"/>
                          <a:pt x="117" y="29"/>
                        </a:cubicBezTo>
                        <a:close/>
                        <a:moveTo>
                          <a:pt x="115" y="36"/>
                        </a:moveTo>
                        <a:cubicBezTo>
                          <a:pt x="115" y="37"/>
                          <a:pt x="115" y="37"/>
                          <a:pt x="115" y="37"/>
                        </a:cubicBezTo>
                        <a:cubicBezTo>
                          <a:pt x="115" y="37"/>
                          <a:pt x="115" y="37"/>
                          <a:pt x="115" y="36"/>
                        </a:cubicBezTo>
                        <a:close/>
                        <a:moveTo>
                          <a:pt x="114" y="41"/>
                        </a:moveTo>
                        <a:cubicBezTo>
                          <a:pt x="114" y="41"/>
                          <a:pt x="114" y="41"/>
                          <a:pt x="114" y="41"/>
                        </a:cubicBezTo>
                        <a:cubicBezTo>
                          <a:pt x="114" y="41"/>
                          <a:pt x="113" y="41"/>
                          <a:pt x="113" y="41"/>
                        </a:cubicBezTo>
                        <a:cubicBezTo>
                          <a:pt x="113" y="41"/>
                          <a:pt x="113" y="41"/>
                          <a:pt x="113" y="41"/>
                        </a:cubicBezTo>
                        <a:cubicBezTo>
                          <a:pt x="114" y="41"/>
                          <a:pt x="114" y="41"/>
                          <a:pt x="114" y="41"/>
                        </a:cubicBezTo>
                        <a:close/>
                        <a:moveTo>
                          <a:pt x="113" y="40"/>
                        </a:moveTo>
                        <a:cubicBezTo>
                          <a:pt x="113" y="40"/>
                          <a:pt x="113" y="40"/>
                          <a:pt x="114" y="40"/>
                        </a:cubicBezTo>
                        <a:cubicBezTo>
                          <a:pt x="113" y="41"/>
                          <a:pt x="113" y="41"/>
                          <a:pt x="113" y="41"/>
                        </a:cubicBezTo>
                        <a:cubicBezTo>
                          <a:pt x="113" y="41"/>
                          <a:pt x="113" y="41"/>
                          <a:pt x="113" y="41"/>
                        </a:cubicBezTo>
                        <a:cubicBezTo>
                          <a:pt x="113" y="41"/>
                          <a:pt x="113" y="41"/>
                          <a:pt x="113" y="41"/>
                        </a:cubicBezTo>
                        <a:cubicBezTo>
                          <a:pt x="113" y="40"/>
                          <a:pt x="113" y="40"/>
                          <a:pt x="112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lose/>
                        <a:moveTo>
                          <a:pt x="115" y="33"/>
                        </a:moveTo>
                        <a:cubicBezTo>
                          <a:pt x="115" y="33"/>
                          <a:pt x="115" y="33"/>
                          <a:pt x="116" y="33"/>
                        </a:cubicBezTo>
                        <a:cubicBezTo>
                          <a:pt x="115" y="34"/>
                          <a:pt x="115" y="33"/>
                          <a:pt x="115" y="33"/>
                        </a:cubicBezTo>
                        <a:close/>
                        <a:moveTo>
                          <a:pt x="113" y="41"/>
                        </a:moveTo>
                        <a:cubicBezTo>
                          <a:pt x="113" y="41"/>
                          <a:pt x="113" y="41"/>
                          <a:pt x="113" y="41"/>
                        </a:cubicBezTo>
                        <a:cubicBezTo>
                          <a:pt x="113" y="41"/>
                          <a:pt x="113" y="41"/>
                          <a:pt x="113" y="41"/>
                        </a:cubicBezTo>
                        <a:close/>
                        <a:moveTo>
                          <a:pt x="114" y="33"/>
                        </a:moveTo>
                        <a:cubicBezTo>
                          <a:pt x="115" y="34"/>
                          <a:pt x="114" y="33"/>
                          <a:pt x="115" y="34"/>
                        </a:cubicBezTo>
                        <a:cubicBezTo>
                          <a:pt x="115" y="34"/>
                          <a:pt x="115" y="34"/>
                          <a:pt x="115" y="34"/>
                        </a:cubicBezTo>
                        <a:cubicBezTo>
                          <a:pt x="114" y="34"/>
                          <a:pt x="114" y="34"/>
                          <a:pt x="114" y="33"/>
                        </a:cubicBezTo>
                        <a:close/>
                        <a:moveTo>
                          <a:pt x="114" y="35"/>
                        </a:moveTo>
                        <a:cubicBezTo>
                          <a:pt x="114" y="35"/>
                          <a:pt x="114" y="34"/>
                          <a:pt x="114" y="35"/>
                        </a:cubicBezTo>
                        <a:cubicBezTo>
                          <a:pt x="114" y="35"/>
                          <a:pt x="114" y="35"/>
                          <a:pt x="114" y="35"/>
                        </a:cubicBezTo>
                        <a:cubicBezTo>
                          <a:pt x="114" y="35"/>
                          <a:pt x="114" y="35"/>
                          <a:pt x="114" y="35"/>
                        </a:cubicBezTo>
                        <a:cubicBezTo>
                          <a:pt x="114" y="35"/>
                          <a:pt x="113" y="35"/>
                          <a:pt x="113" y="35"/>
                        </a:cubicBezTo>
                        <a:cubicBezTo>
                          <a:pt x="113" y="35"/>
                          <a:pt x="113" y="35"/>
                          <a:pt x="113" y="34"/>
                        </a:cubicBezTo>
                        <a:cubicBezTo>
                          <a:pt x="113" y="34"/>
                          <a:pt x="113" y="35"/>
                          <a:pt x="113" y="35"/>
                        </a:cubicBezTo>
                        <a:cubicBezTo>
                          <a:pt x="114" y="35"/>
                          <a:pt x="113" y="34"/>
                          <a:pt x="113" y="34"/>
                        </a:cubicBezTo>
                        <a:cubicBezTo>
                          <a:pt x="114" y="34"/>
                          <a:pt x="114" y="34"/>
                          <a:pt x="114" y="35"/>
                        </a:cubicBezTo>
                        <a:close/>
                        <a:moveTo>
                          <a:pt x="112" y="41"/>
                        </a:moveTo>
                        <a:cubicBezTo>
                          <a:pt x="112" y="41"/>
                          <a:pt x="112" y="41"/>
                          <a:pt x="112" y="41"/>
                        </a:cubicBezTo>
                        <a:cubicBezTo>
                          <a:pt x="112" y="41"/>
                          <a:pt x="112" y="40"/>
                          <a:pt x="112" y="41"/>
                        </a:cubicBezTo>
                        <a:close/>
                        <a:moveTo>
                          <a:pt x="112" y="39"/>
                        </a:move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1" y="39"/>
                          <a:pt x="111" y="39"/>
                          <a:pt x="111" y="39"/>
                        </a:cubicBezTo>
                        <a:cubicBezTo>
                          <a:pt x="111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8"/>
                        </a:cubicBezTo>
                        <a:cubicBezTo>
                          <a:pt x="112" y="39"/>
                          <a:pt x="112" y="38"/>
                          <a:pt x="113" y="39"/>
                        </a:cubicBezTo>
                        <a:cubicBezTo>
                          <a:pt x="113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ubicBezTo>
                          <a:pt x="112" y="39"/>
                          <a:pt x="112" y="39"/>
                          <a:pt x="112" y="39"/>
                        </a:cubicBezTo>
                        <a:close/>
                        <a:moveTo>
                          <a:pt x="112" y="40"/>
                        </a:moveTo>
                        <a:cubicBezTo>
                          <a:pt x="112" y="40"/>
                          <a:pt x="112" y="40"/>
                          <a:pt x="112" y="40"/>
                        </a:cubicBezTo>
                        <a:cubicBezTo>
                          <a:pt x="112" y="40"/>
                          <a:pt x="112" y="40"/>
                          <a:pt x="112" y="40"/>
                        </a:cubicBezTo>
                        <a:cubicBezTo>
                          <a:pt x="112" y="40"/>
                          <a:pt x="112" y="40"/>
                          <a:pt x="112" y="40"/>
                        </a:cubicBezTo>
                        <a:cubicBezTo>
                          <a:pt x="112" y="40"/>
                          <a:pt x="112" y="40"/>
                          <a:pt x="112" y="40"/>
                        </a:cubicBezTo>
                        <a:cubicBezTo>
                          <a:pt x="112" y="40"/>
                          <a:pt x="112" y="40"/>
                          <a:pt x="112" y="40"/>
                        </a:cubicBezTo>
                        <a:cubicBezTo>
                          <a:pt x="112" y="40"/>
                          <a:pt x="112" y="40"/>
                          <a:pt x="112" y="40"/>
                        </a:cubicBezTo>
                        <a:cubicBezTo>
                          <a:pt x="112" y="40"/>
                          <a:pt x="111" y="40"/>
                          <a:pt x="111" y="40"/>
                        </a:cubicBezTo>
                        <a:cubicBezTo>
                          <a:pt x="111" y="40"/>
                          <a:pt x="111" y="40"/>
                          <a:pt x="111" y="40"/>
                        </a:cubicBezTo>
                        <a:cubicBezTo>
                          <a:pt x="111" y="40"/>
                          <a:pt x="111" y="40"/>
                          <a:pt x="111" y="40"/>
                        </a:cubicBezTo>
                        <a:cubicBezTo>
                          <a:pt x="112" y="40"/>
                          <a:pt x="111" y="40"/>
                          <a:pt x="112" y="40"/>
                        </a:cubicBezTo>
                        <a:cubicBezTo>
                          <a:pt x="112" y="40"/>
                          <a:pt x="112" y="40"/>
                          <a:pt x="112" y="40"/>
                        </a:cubicBezTo>
                        <a:close/>
                        <a:moveTo>
                          <a:pt x="112" y="41"/>
                        </a:moveTo>
                        <a:cubicBezTo>
                          <a:pt x="112" y="41"/>
                          <a:pt x="111" y="41"/>
                          <a:pt x="111" y="41"/>
                        </a:cubicBezTo>
                        <a:cubicBezTo>
                          <a:pt x="111" y="40"/>
                          <a:pt x="111" y="41"/>
                          <a:pt x="111" y="41"/>
                        </a:cubicBezTo>
                        <a:cubicBezTo>
                          <a:pt x="112" y="41"/>
                          <a:pt x="112" y="41"/>
                          <a:pt x="112" y="41"/>
                        </a:cubicBezTo>
                        <a:close/>
                        <a:moveTo>
                          <a:pt x="114" y="32"/>
                        </a:moveTo>
                        <a:cubicBezTo>
                          <a:pt x="114" y="33"/>
                          <a:pt x="114" y="33"/>
                          <a:pt x="114" y="33"/>
                        </a:cubicBezTo>
                        <a:cubicBezTo>
                          <a:pt x="114" y="33"/>
                          <a:pt x="114" y="33"/>
                          <a:pt x="114" y="33"/>
                        </a:cubicBezTo>
                        <a:cubicBezTo>
                          <a:pt x="114" y="33"/>
                          <a:pt x="114" y="33"/>
                          <a:pt x="114" y="32"/>
                        </a:cubicBezTo>
                        <a:close/>
                        <a:moveTo>
                          <a:pt x="115" y="29"/>
                        </a:moveTo>
                        <a:cubicBezTo>
                          <a:pt x="115" y="28"/>
                          <a:pt x="115" y="29"/>
                          <a:pt x="115" y="28"/>
                        </a:cubicBezTo>
                        <a:cubicBezTo>
                          <a:pt x="115" y="28"/>
                          <a:pt x="115" y="29"/>
                          <a:pt x="115" y="29"/>
                        </a:cubicBezTo>
                        <a:cubicBezTo>
                          <a:pt x="115" y="29"/>
                          <a:pt x="115" y="29"/>
                          <a:pt x="115" y="29"/>
                        </a:cubicBezTo>
                        <a:close/>
                        <a:moveTo>
                          <a:pt x="113" y="33"/>
                        </a:moveTo>
                        <a:cubicBezTo>
                          <a:pt x="113" y="33"/>
                          <a:pt x="113" y="33"/>
                          <a:pt x="113" y="33"/>
                        </a:cubicBezTo>
                        <a:cubicBezTo>
                          <a:pt x="113" y="32"/>
                          <a:pt x="113" y="33"/>
                          <a:pt x="113" y="33"/>
                        </a:cubicBezTo>
                        <a:cubicBezTo>
                          <a:pt x="113" y="33"/>
                          <a:pt x="113" y="33"/>
                          <a:pt x="113" y="33"/>
                        </a:cubicBezTo>
                        <a:cubicBezTo>
                          <a:pt x="113" y="33"/>
                          <a:pt x="113" y="33"/>
                          <a:pt x="113" y="33"/>
                        </a:cubicBezTo>
                        <a:close/>
                        <a:moveTo>
                          <a:pt x="112" y="38"/>
                        </a:moveTo>
                        <a:cubicBezTo>
                          <a:pt x="112" y="38"/>
                          <a:pt x="111" y="39"/>
                          <a:pt x="111" y="39"/>
                        </a:cubicBezTo>
                        <a:cubicBezTo>
                          <a:pt x="111" y="39"/>
                          <a:pt x="110" y="38"/>
                          <a:pt x="110" y="38"/>
                        </a:cubicBezTo>
                        <a:cubicBezTo>
                          <a:pt x="110" y="38"/>
                          <a:pt x="110" y="38"/>
                          <a:pt x="111" y="38"/>
                        </a:cubicBezTo>
                        <a:cubicBezTo>
                          <a:pt x="111" y="38"/>
                          <a:pt x="111" y="38"/>
                          <a:pt x="111" y="38"/>
                        </a:cubicBezTo>
                        <a:cubicBezTo>
                          <a:pt x="111" y="38"/>
                          <a:pt x="111" y="38"/>
                          <a:pt x="112" y="38"/>
                        </a:cubicBezTo>
                        <a:close/>
                        <a:moveTo>
                          <a:pt x="111" y="39"/>
                        </a:moveTo>
                        <a:cubicBezTo>
                          <a:pt x="111" y="39"/>
                          <a:pt x="111" y="39"/>
                          <a:pt x="111" y="39"/>
                        </a:cubicBezTo>
                        <a:cubicBezTo>
                          <a:pt x="111" y="39"/>
                          <a:pt x="111" y="39"/>
                          <a:pt x="111" y="39"/>
                        </a:cubicBezTo>
                        <a:cubicBezTo>
                          <a:pt x="111" y="39"/>
                          <a:pt x="111" y="39"/>
                          <a:pt x="111" y="39"/>
                        </a:cubicBezTo>
                        <a:cubicBezTo>
                          <a:pt x="111" y="39"/>
                          <a:pt x="111" y="39"/>
                          <a:pt x="111" y="39"/>
                        </a:cubicBezTo>
                        <a:cubicBezTo>
                          <a:pt x="111" y="39"/>
                          <a:pt x="111" y="39"/>
                          <a:pt x="111" y="39"/>
                        </a:cubicBezTo>
                        <a:close/>
                        <a:moveTo>
                          <a:pt x="113" y="34"/>
                        </a:moveTo>
                        <a:cubicBezTo>
                          <a:pt x="113" y="34"/>
                          <a:pt x="112" y="34"/>
                          <a:pt x="112" y="34"/>
                        </a:cubicBezTo>
                        <a:cubicBezTo>
                          <a:pt x="112" y="34"/>
                          <a:pt x="112" y="34"/>
                          <a:pt x="113" y="34"/>
                        </a:cubicBezTo>
                        <a:close/>
                        <a:moveTo>
                          <a:pt x="113" y="32"/>
                        </a:moveTo>
                        <a:cubicBezTo>
                          <a:pt x="113" y="32"/>
                          <a:pt x="113" y="32"/>
                          <a:pt x="113" y="32"/>
                        </a:cubicBezTo>
                        <a:cubicBezTo>
                          <a:pt x="113" y="32"/>
                          <a:pt x="112" y="32"/>
                          <a:pt x="112" y="32"/>
                        </a:cubicBezTo>
                        <a:cubicBezTo>
                          <a:pt x="113" y="32"/>
                          <a:pt x="113" y="32"/>
                          <a:pt x="113" y="32"/>
                        </a:cubicBezTo>
                        <a:close/>
                        <a:moveTo>
                          <a:pt x="111" y="39"/>
                        </a:moveTo>
                        <a:cubicBezTo>
                          <a:pt x="111" y="39"/>
                          <a:pt x="110" y="39"/>
                          <a:pt x="110" y="39"/>
                        </a:cubicBezTo>
                        <a:cubicBezTo>
                          <a:pt x="110" y="38"/>
                          <a:pt x="111" y="39"/>
                          <a:pt x="111" y="39"/>
                        </a:cubicBezTo>
                        <a:close/>
                        <a:moveTo>
                          <a:pt x="111" y="32"/>
                        </a:moveTo>
                        <a:cubicBezTo>
                          <a:pt x="112" y="32"/>
                          <a:pt x="113" y="33"/>
                          <a:pt x="112" y="32"/>
                        </a:cubicBezTo>
                        <a:cubicBezTo>
                          <a:pt x="112" y="33"/>
                          <a:pt x="112" y="32"/>
                          <a:pt x="112" y="33"/>
                        </a:cubicBezTo>
                        <a:cubicBezTo>
                          <a:pt x="112" y="32"/>
                          <a:pt x="111" y="32"/>
                          <a:pt x="111" y="32"/>
                        </a:cubicBezTo>
                        <a:close/>
                        <a:moveTo>
                          <a:pt x="112" y="32"/>
                        </a:moveTo>
                        <a:cubicBezTo>
                          <a:pt x="112" y="31"/>
                          <a:pt x="112" y="31"/>
                          <a:pt x="112" y="31"/>
                        </a:cubicBezTo>
                        <a:cubicBezTo>
                          <a:pt x="112" y="32"/>
                          <a:pt x="112" y="32"/>
                          <a:pt x="112" y="32"/>
                        </a:cubicBezTo>
                        <a:cubicBezTo>
                          <a:pt x="112" y="32"/>
                          <a:pt x="112" y="32"/>
                          <a:pt x="112" y="32"/>
                        </a:cubicBezTo>
                        <a:close/>
                        <a:moveTo>
                          <a:pt x="111" y="37"/>
                        </a:moveTo>
                        <a:cubicBezTo>
                          <a:pt x="111" y="37"/>
                          <a:pt x="110" y="37"/>
                          <a:pt x="110" y="37"/>
                        </a:cubicBezTo>
                        <a:cubicBezTo>
                          <a:pt x="110" y="37"/>
                          <a:pt x="111" y="37"/>
                          <a:pt x="111" y="37"/>
                        </a:cubicBezTo>
                        <a:close/>
                        <a:moveTo>
                          <a:pt x="112" y="33"/>
                        </a:moveTo>
                        <a:cubicBezTo>
                          <a:pt x="112" y="33"/>
                          <a:pt x="112" y="33"/>
                          <a:pt x="111" y="33"/>
                        </a:cubicBezTo>
                        <a:cubicBezTo>
                          <a:pt x="111" y="33"/>
                          <a:pt x="111" y="33"/>
                          <a:pt x="111" y="33"/>
                        </a:cubicBezTo>
                        <a:cubicBezTo>
                          <a:pt x="112" y="33"/>
                          <a:pt x="112" y="33"/>
                          <a:pt x="112" y="33"/>
                        </a:cubicBezTo>
                        <a:close/>
                        <a:moveTo>
                          <a:pt x="111" y="31"/>
                        </a:moveTo>
                        <a:cubicBezTo>
                          <a:pt x="111" y="31"/>
                          <a:pt x="110" y="31"/>
                          <a:pt x="111" y="31"/>
                        </a:cubicBezTo>
                        <a:cubicBezTo>
                          <a:pt x="110" y="31"/>
                          <a:pt x="110" y="31"/>
                          <a:pt x="110" y="31"/>
                        </a:cubicBezTo>
                        <a:cubicBezTo>
                          <a:pt x="110" y="31"/>
                          <a:pt x="110" y="31"/>
                          <a:pt x="109" y="31"/>
                        </a:cubicBezTo>
                        <a:cubicBezTo>
                          <a:pt x="110" y="31"/>
                          <a:pt x="109" y="31"/>
                          <a:pt x="109" y="31"/>
                        </a:cubicBezTo>
                        <a:cubicBezTo>
                          <a:pt x="108" y="30"/>
                          <a:pt x="109" y="31"/>
                          <a:pt x="109" y="31"/>
                        </a:cubicBezTo>
                        <a:cubicBezTo>
                          <a:pt x="109" y="31"/>
                          <a:pt x="110" y="31"/>
                          <a:pt x="110" y="31"/>
                        </a:cubicBezTo>
                        <a:cubicBezTo>
                          <a:pt x="110" y="31"/>
                          <a:pt x="111" y="31"/>
                          <a:pt x="111" y="31"/>
                        </a:cubicBezTo>
                        <a:cubicBezTo>
                          <a:pt x="111" y="31"/>
                          <a:pt x="111" y="31"/>
                          <a:pt x="111" y="31"/>
                        </a:cubicBezTo>
                        <a:cubicBezTo>
                          <a:pt x="111" y="31"/>
                          <a:pt x="111" y="31"/>
                          <a:pt x="112" y="31"/>
                        </a:cubicBezTo>
                        <a:cubicBezTo>
                          <a:pt x="111" y="32"/>
                          <a:pt x="111" y="31"/>
                          <a:pt x="111" y="31"/>
                        </a:cubicBezTo>
                        <a:close/>
                        <a:moveTo>
                          <a:pt x="108" y="39"/>
                        </a:moveTo>
                        <a:cubicBezTo>
                          <a:pt x="108" y="39"/>
                          <a:pt x="109" y="39"/>
                          <a:pt x="109" y="39"/>
                        </a:cubicBezTo>
                        <a:cubicBezTo>
                          <a:pt x="109" y="39"/>
                          <a:pt x="109" y="39"/>
                          <a:pt x="108" y="39"/>
                        </a:cubicBezTo>
                        <a:close/>
                        <a:moveTo>
                          <a:pt x="110" y="34"/>
                        </a:moveTo>
                        <a:cubicBezTo>
                          <a:pt x="110" y="34"/>
                          <a:pt x="110" y="34"/>
                          <a:pt x="110" y="34"/>
                        </a:cubicBezTo>
                        <a:cubicBezTo>
                          <a:pt x="110" y="34"/>
                          <a:pt x="110" y="34"/>
                          <a:pt x="110" y="34"/>
                        </a:cubicBezTo>
                        <a:close/>
                        <a:moveTo>
                          <a:pt x="108" y="40"/>
                        </a:moveTo>
                        <a:cubicBezTo>
                          <a:pt x="108" y="40"/>
                          <a:pt x="108" y="40"/>
                          <a:pt x="108" y="40"/>
                        </a:cubicBezTo>
                        <a:cubicBezTo>
                          <a:pt x="108" y="40"/>
                          <a:pt x="108" y="40"/>
                          <a:pt x="108" y="40"/>
                        </a:cubicBezTo>
                        <a:cubicBezTo>
                          <a:pt x="108" y="40"/>
                          <a:pt x="108" y="40"/>
                          <a:pt x="108" y="40"/>
                        </a:cubicBezTo>
                        <a:close/>
                        <a:moveTo>
                          <a:pt x="109" y="36"/>
                        </a:moveTo>
                        <a:cubicBezTo>
                          <a:pt x="109" y="36"/>
                          <a:pt x="109" y="36"/>
                          <a:pt x="109" y="36"/>
                        </a:cubicBezTo>
                        <a:cubicBezTo>
                          <a:pt x="109" y="36"/>
                          <a:pt x="108" y="36"/>
                          <a:pt x="108" y="36"/>
                        </a:cubicBezTo>
                        <a:cubicBezTo>
                          <a:pt x="108" y="36"/>
                          <a:pt x="109" y="36"/>
                          <a:pt x="109" y="36"/>
                        </a:cubicBezTo>
                        <a:close/>
                        <a:moveTo>
                          <a:pt x="108" y="40"/>
                        </a:moveTo>
                        <a:cubicBezTo>
                          <a:pt x="108" y="40"/>
                          <a:pt x="108" y="40"/>
                          <a:pt x="107" y="40"/>
                        </a:cubicBezTo>
                        <a:cubicBezTo>
                          <a:pt x="107" y="40"/>
                          <a:pt x="108" y="39"/>
                          <a:pt x="108" y="40"/>
                        </a:cubicBezTo>
                        <a:close/>
                        <a:moveTo>
                          <a:pt x="109" y="35"/>
                        </a:moveTo>
                        <a:cubicBezTo>
                          <a:pt x="109" y="35"/>
                          <a:pt x="109" y="35"/>
                          <a:pt x="109" y="35"/>
                        </a:cubicBezTo>
                        <a:cubicBezTo>
                          <a:pt x="109" y="35"/>
                          <a:pt x="109" y="35"/>
                          <a:pt x="109" y="35"/>
                        </a:cubicBezTo>
                        <a:close/>
                        <a:moveTo>
                          <a:pt x="107" y="39"/>
                        </a:moveTo>
                        <a:cubicBezTo>
                          <a:pt x="107" y="39"/>
                          <a:pt x="107" y="39"/>
                          <a:pt x="107" y="39"/>
                        </a:cubicBezTo>
                        <a:cubicBezTo>
                          <a:pt x="107" y="39"/>
                          <a:pt x="107" y="39"/>
                          <a:pt x="107" y="39"/>
                        </a:cubicBezTo>
                        <a:cubicBezTo>
                          <a:pt x="107" y="39"/>
                          <a:pt x="107" y="39"/>
                          <a:pt x="107" y="39"/>
                        </a:cubicBezTo>
                        <a:close/>
                        <a:moveTo>
                          <a:pt x="110" y="28"/>
                        </a:moveTo>
                        <a:cubicBezTo>
                          <a:pt x="110" y="28"/>
                          <a:pt x="110" y="28"/>
                          <a:pt x="110" y="28"/>
                        </a:cubicBezTo>
                        <a:cubicBezTo>
                          <a:pt x="110" y="28"/>
                          <a:pt x="110" y="28"/>
                          <a:pt x="110" y="28"/>
                        </a:cubicBezTo>
                        <a:close/>
                        <a:moveTo>
                          <a:pt x="108" y="31"/>
                        </a:moveTo>
                        <a:cubicBezTo>
                          <a:pt x="109" y="31"/>
                          <a:pt x="109" y="31"/>
                          <a:pt x="109" y="31"/>
                        </a:cubicBezTo>
                        <a:cubicBezTo>
                          <a:pt x="109" y="31"/>
                          <a:pt x="108" y="31"/>
                          <a:pt x="108" y="31"/>
                        </a:cubicBezTo>
                        <a:close/>
                        <a:moveTo>
                          <a:pt x="108" y="30"/>
                        </a:moveTo>
                        <a:cubicBezTo>
                          <a:pt x="108" y="30"/>
                          <a:pt x="108" y="30"/>
                          <a:pt x="108" y="30"/>
                        </a:cubicBezTo>
                        <a:cubicBezTo>
                          <a:pt x="108" y="30"/>
                          <a:pt x="108" y="30"/>
                          <a:pt x="108" y="30"/>
                        </a:cubicBezTo>
                        <a:cubicBezTo>
                          <a:pt x="108" y="30"/>
                          <a:pt x="107" y="30"/>
                          <a:pt x="107" y="30"/>
                        </a:cubicBezTo>
                        <a:cubicBezTo>
                          <a:pt x="107" y="30"/>
                          <a:pt x="107" y="30"/>
                          <a:pt x="107" y="30"/>
                        </a:cubicBezTo>
                        <a:cubicBezTo>
                          <a:pt x="107" y="30"/>
                          <a:pt x="107" y="30"/>
                          <a:pt x="107" y="30"/>
                        </a:cubicBezTo>
                        <a:cubicBezTo>
                          <a:pt x="107" y="30"/>
                          <a:pt x="108" y="30"/>
                          <a:pt x="108" y="30"/>
                        </a:cubicBezTo>
                        <a:close/>
                        <a:moveTo>
                          <a:pt x="107" y="36"/>
                        </a:moveTo>
                        <a:cubicBezTo>
                          <a:pt x="106" y="36"/>
                          <a:pt x="106" y="36"/>
                          <a:pt x="106" y="36"/>
                        </a:cubicBezTo>
                        <a:cubicBezTo>
                          <a:pt x="106" y="36"/>
                          <a:pt x="106" y="35"/>
                          <a:pt x="106" y="35"/>
                        </a:cubicBezTo>
                        <a:cubicBezTo>
                          <a:pt x="106" y="35"/>
                          <a:pt x="107" y="35"/>
                          <a:pt x="107" y="36"/>
                        </a:cubicBezTo>
                        <a:close/>
                        <a:moveTo>
                          <a:pt x="106" y="33"/>
                        </a:moveTo>
                        <a:cubicBezTo>
                          <a:pt x="106" y="33"/>
                          <a:pt x="107" y="34"/>
                          <a:pt x="106" y="33"/>
                        </a:cubicBezTo>
                        <a:cubicBezTo>
                          <a:pt x="107" y="33"/>
                          <a:pt x="107" y="34"/>
                          <a:pt x="107" y="34"/>
                        </a:cubicBezTo>
                        <a:cubicBezTo>
                          <a:pt x="107" y="34"/>
                          <a:pt x="106" y="34"/>
                          <a:pt x="106" y="34"/>
                        </a:cubicBezTo>
                        <a:cubicBezTo>
                          <a:pt x="106" y="33"/>
                          <a:pt x="106" y="33"/>
                          <a:pt x="106" y="33"/>
                        </a:cubicBezTo>
                        <a:close/>
                        <a:moveTo>
                          <a:pt x="107" y="30"/>
                        </a:moveTo>
                        <a:cubicBezTo>
                          <a:pt x="107" y="30"/>
                          <a:pt x="107" y="30"/>
                          <a:pt x="107" y="30"/>
                        </a:cubicBezTo>
                        <a:cubicBezTo>
                          <a:pt x="107" y="31"/>
                          <a:pt x="107" y="30"/>
                          <a:pt x="107" y="30"/>
                        </a:cubicBezTo>
                        <a:close/>
                        <a:moveTo>
                          <a:pt x="105" y="35"/>
                        </a:moveTo>
                        <a:cubicBezTo>
                          <a:pt x="106" y="35"/>
                          <a:pt x="106" y="35"/>
                          <a:pt x="106" y="35"/>
                        </a:cubicBezTo>
                        <a:cubicBezTo>
                          <a:pt x="106" y="36"/>
                          <a:pt x="105" y="35"/>
                          <a:pt x="105" y="35"/>
                        </a:cubicBezTo>
                        <a:close/>
                        <a:moveTo>
                          <a:pt x="107" y="30"/>
                        </a:moveTo>
                        <a:cubicBezTo>
                          <a:pt x="107" y="30"/>
                          <a:pt x="107" y="30"/>
                          <a:pt x="107" y="29"/>
                        </a:cubicBezTo>
                        <a:cubicBezTo>
                          <a:pt x="107" y="29"/>
                          <a:pt x="107" y="29"/>
                          <a:pt x="107" y="30"/>
                        </a:cubicBezTo>
                        <a:close/>
                        <a:moveTo>
                          <a:pt x="106" y="34"/>
                        </a:moveTo>
                        <a:cubicBezTo>
                          <a:pt x="105" y="34"/>
                          <a:pt x="105" y="34"/>
                          <a:pt x="105" y="34"/>
                        </a:cubicBezTo>
                        <a:cubicBezTo>
                          <a:pt x="105" y="34"/>
                          <a:pt x="105" y="34"/>
                          <a:pt x="105" y="34"/>
                        </a:cubicBezTo>
                        <a:cubicBezTo>
                          <a:pt x="105" y="34"/>
                          <a:pt x="105" y="34"/>
                          <a:pt x="106" y="34"/>
                        </a:cubicBezTo>
                        <a:close/>
                        <a:moveTo>
                          <a:pt x="106" y="32"/>
                        </a:moveTo>
                        <a:cubicBezTo>
                          <a:pt x="106" y="32"/>
                          <a:pt x="105" y="32"/>
                          <a:pt x="105" y="31"/>
                        </a:cubicBezTo>
                        <a:cubicBezTo>
                          <a:pt x="106" y="31"/>
                          <a:pt x="106" y="31"/>
                          <a:pt x="106" y="32"/>
                        </a:cubicBezTo>
                        <a:close/>
                        <a:moveTo>
                          <a:pt x="106" y="31"/>
                        </a:moveTo>
                        <a:cubicBezTo>
                          <a:pt x="106" y="30"/>
                          <a:pt x="106" y="31"/>
                          <a:pt x="106" y="31"/>
                        </a:cubicBezTo>
                        <a:cubicBezTo>
                          <a:pt x="106" y="31"/>
                          <a:pt x="106" y="31"/>
                          <a:pt x="106" y="31"/>
                        </a:cubicBezTo>
                        <a:close/>
                        <a:moveTo>
                          <a:pt x="106" y="28"/>
                        </a:moveTo>
                        <a:cubicBezTo>
                          <a:pt x="106" y="28"/>
                          <a:pt x="107" y="28"/>
                          <a:pt x="107" y="28"/>
                        </a:cubicBezTo>
                        <a:cubicBezTo>
                          <a:pt x="107" y="28"/>
                          <a:pt x="106" y="28"/>
                          <a:pt x="106" y="28"/>
                        </a:cubicBezTo>
                        <a:close/>
                        <a:moveTo>
                          <a:pt x="104" y="35"/>
                        </a:moveTo>
                        <a:cubicBezTo>
                          <a:pt x="104" y="35"/>
                          <a:pt x="104" y="35"/>
                          <a:pt x="104" y="36"/>
                        </a:cubicBezTo>
                        <a:cubicBezTo>
                          <a:pt x="104" y="36"/>
                          <a:pt x="104" y="35"/>
                          <a:pt x="104" y="35"/>
                        </a:cubicBezTo>
                        <a:close/>
                        <a:moveTo>
                          <a:pt x="103" y="38"/>
                        </a:moveTo>
                        <a:cubicBezTo>
                          <a:pt x="103" y="38"/>
                          <a:pt x="103" y="38"/>
                          <a:pt x="103" y="38"/>
                        </a:cubicBezTo>
                        <a:cubicBezTo>
                          <a:pt x="103" y="38"/>
                          <a:pt x="103" y="38"/>
                          <a:pt x="103" y="38"/>
                        </a:cubicBezTo>
                        <a:cubicBezTo>
                          <a:pt x="103" y="38"/>
                          <a:pt x="103" y="38"/>
                          <a:pt x="103" y="38"/>
                        </a:cubicBezTo>
                        <a:close/>
                        <a:moveTo>
                          <a:pt x="104" y="33"/>
                        </a:moveTo>
                        <a:cubicBezTo>
                          <a:pt x="104" y="33"/>
                          <a:pt x="104" y="33"/>
                          <a:pt x="104" y="33"/>
                        </a:cubicBezTo>
                        <a:cubicBezTo>
                          <a:pt x="103" y="33"/>
                          <a:pt x="103" y="33"/>
                          <a:pt x="103" y="33"/>
                        </a:cubicBezTo>
                        <a:cubicBezTo>
                          <a:pt x="103" y="33"/>
                          <a:pt x="103" y="33"/>
                          <a:pt x="103" y="33"/>
                        </a:cubicBezTo>
                        <a:cubicBezTo>
                          <a:pt x="103" y="33"/>
                          <a:pt x="103" y="33"/>
                          <a:pt x="103" y="33"/>
                        </a:cubicBezTo>
                        <a:cubicBezTo>
                          <a:pt x="103" y="33"/>
                          <a:pt x="103" y="33"/>
                          <a:pt x="103" y="33"/>
                        </a:cubicBezTo>
                        <a:cubicBezTo>
                          <a:pt x="103" y="33"/>
                          <a:pt x="103" y="33"/>
                          <a:pt x="103" y="33"/>
                        </a:cubicBezTo>
                        <a:cubicBezTo>
                          <a:pt x="103" y="33"/>
                          <a:pt x="103" y="33"/>
                          <a:pt x="103" y="33"/>
                        </a:cubicBezTo>
                        <a:cubicBezTo>
                          <a:pt x="104" y="33"/>
                          <a:pt x="104" y="33"/>
                          <a:pt x="104" y="33"/>
                        </a:cubicBezTo>
                        <a:cubicBezTo>
                          <a:pt x="104" y="33"/>
                          <a:pt x="104" y="33"/>
                          <a:pt x="104" y="33"/>
                        </a:cubicBezTo>
                        <a:cubicBezTo>
                          <a:pt x="104" y="33"/>
                          <a:pt x="104" y="33"/>
                          <a:pt x="104" y="33"/>
                        </a:cubicBezTo>
                        <a:close/>
                        <a:moveTo>
                          <a:pt x="104" y="35"/>
                        </a:moveTo>
                        <a:cubicBezTo>
                          <a:pt x="104" y="35"/>
                          <a:pt x="104" y="35"/>
                          <a:pt x="103" y="35"/>
                        </a:cubicBezTo>
                        <a:cubicBezTo>
                          <a:pt x="104" y="35"/>
                          <a:pt x="103" y="35"/>
                          <a:pt x="103" y="35"/>
                        </a:cubicBezTo>
                        <a:cubicBezTo>
                          <a:pt x="103" y="35"/>
                          <a:pt x="103" y="35"/>
                          <a:pt x="103" y="35"/>
                        </a:cubicBezTo>
                        <a:cubicBezTo>
                          <a:pt x="103" y="35"/>
                          <a:pt x="103" y="35"/>
                          <a:pt x="103" y="35"/>
                        </a:cubicBezTo>
                        <a:cubicBezTo>
                          <a:pt x="103" y="35"/>
                          <a:pt x="103" y="35"/>
                          <a:pt x="103" y="35"/>
                        </a:cubicBezTo>
                        <a:cubicBezTo>
                          <a:pt x="103" y="35"/>
                          <a:pt x="103" y="35"/>
                          <a:pt x="103" y="35"/>
                        </a:cubicBezTo>
                        <a:cubicBezTo>
                          <a:pt x="103" y="35"/>
                          <a:pt x="103" y="35"/>
                          <a:pt x="104" y="35"/>
                        </a:cubicBezTo>
                        <a:cubicBezTo>
                          <a:pt x="104" y="35"/>
                          <a:pt x="103" y="35"/>
                          <a:pt x="104" y="35"/>
                        </a:cubicBezTo>
                        <a:cubicBezTo>
                          <a:pt x="104" y="35"/>
                          <a:pt x="104" y="35"/>
                          <a:pt x="104" y="35"/>
                        </a:cubicBezTo>
                        <a:close/>
                        <a:moveTo>
                          <a:pt x="103" y="34"/>
                        </a:moveTo>
                        <a:cubicBezTo>
                          <a:pt x="103" y="34"/>
                          <a:pt x="104" y="34"/>
                          <a:pt x="104" y="34"/>
                        </a:cubicBezTo>
                        <a:cubicBezTo>
                          <a:pt x="104" y="34"/>
                          <a:pt x="103" y="34"/>
                          <a:pt x="103" y="34"/>
                        </a:cubicBezTo>
                        <a:cubicBezTo>
                          <a:pt x="103" y="34"/>
                          <a:pt x="103" y="34"/>
                          <a:pt x="103" y="34"/>
                        </a:cubicBezTo>
                        <a:cubicBezTo>
                          <a:pt x="103" y="34"/>
                          <a:pt x="103" y="34"/>
                          <a:pt x="103" y="34"/>
                        </a:cubicBezTo>
                        <a:close/>
                        <a:moveTo>
                          <a:pt x="102" y="36"/>
                        </a:moveTo>
                        <a:cubicBezTo>
                          <a:pt x="102" y="36"/>
                          <a:pt x="102" y="36"/>
                          <a:pt x="103" y="36"/>
                        </a:cubicBezTo>
                        <a:cubicBezTo>
                          <a:pt x="102" y="36"/>
                          <a:pt x="102" y="36"/>
                          <a:pt x="102" y="36"/>
                        </a:cubicBezTo>
                        <a:cubicBezTo>
                          <a:pt x="102" y="36"/>
                          <a:pt x="102" y="36"/>
                          <a:pt x="102" y="36"/>
                        </a:cubicBezTo>
                        <a:cubicBezTo>
                          <a:pt x="102" y="36"/>
                          <a:pt x="102" y="36"/>
                          <a:pt x="102" y="36"/>
                        </a:cubicBezTo>
                        <a:cubicBezTo>
                          <a:pt x="102" y="36"/>
                          <a:pt x="102" y="36"/>
                          <a:pt x="102" y="35"/>
                        </a:cubicBezTo>
                        <a:cubicBezTo>
                          <a:pt x="102" y="35"/>
                          <a:pt x="102" y="36"/>
                          <a:pt x="102" y="36"/>
                        </a:cubicBezTo>
                        <a:close/>
                        <a:moveTo>
                          <a:pt x="104" y="30"/>
                        </a:moveTo>
                        <a:cubicBezTo>
                          <a:pt x="104" y="30"/>
                          <a:pt x="104" y="29"/>
                          <a:pt x="104" y="30"/>
                        </a:cubicBezTo>
                        <a:cubicBezTo>
                          <a:pt x="104" y="29"/>
                          <a:pt x="104" y="30"/>
                          <a:pt x="104" y="30"/>
                        </a:cubicBezTo>
                        <a:close/>
                        <a:moveTo>
                          <a:pt x="103" y="32"/>
                        </a:moveTo>
                        <a:cubicBezTo>
                          <a:pt x="103" y="32"/>
                          <a:pt x="103" y="32"/>
                          <a:pt x="103" y="32"/>
                        </a:cubicBezTo>
                        <a:cubicBezTo>
                          <a:pt x="103" y="32"/>
                          <a:pt x="103" y="32"/>
                          <a:pt x="103" y="32"/>
                        </a:cubicBezTo>
                        <a:close/>
                        <a:moveTo>
                          <a:pt x="103" y="34"/>
                        </a:moveTo>
                        <a:cubicBezTo>
                          <a:pt x="103" y="34"/>
                          <a:pt x="102" y="34"/>
                          <a:pt x="102" y="33"/>
                        </a:cubicBezTo>
                        <a:cubicBezTo>
                          <a:pt x="103" y="33"/>
                          <a:pt x="102" y="34"/>
                          <a:pt x="103" y="34"/>
                        </a:cubicBezTo>
                        <a:close/>
                        <a:moveTo>
                          <a:pt x="103" y="32"/>
                        </a:moveTo>
                        <a:cubicBezTo>
                          <a:pt x="103" y="32"/>
                          <a:pt x="103" y="32"/>
                          <a:pt x="103" y="32"/>
                        </a:cubicBezTo>
                        <a:cubicBezTo>
                          <a:pt x="102" y="32"/>
                          <a:pt x="102" y="32"/>
                          <a:pt x="102" y="32"/>
                        </a:cubicBezTo>
                        <a:cubicBezTo>
                          <a:pt x="102" y="32"/>
                          <a:pt x="102" y="32"/>
                          <a:pt x="101" y="32"/>
                        </a:cubicBezTo>
                        <a:cubicBezTo>
                          <a:pt x="101" y="32"/>
                          <a:pt x="101" y="32"/>
                          <a:pt x="101" y="31"/>
                        </a:cubicBezTo>
                        <a:cubicBezTo>
                          <a:pt x="102" y="32"/>
                          <a:pt x="102" y="32"/>
                          <a:pt x="103" y="32"/>
                        </a:cubicBezTo>
                        <a:close/>
                        <a:moveTo>
                          <a:pt x="101" y="37"/>
                        </a:moveTo>
                        <a:cubicBezTo>
                          <a:pt x="101" y="37"/>
                          <a:pt x="101" y="37"/>
                          <a:pt x="101" y="37"/>
                        </a:cubicBezTo>
                        <a:cubicBezTo>
                          <a:pt x="101" y="37"/>
                          <a:pt x="101" y="37"/>
                          <a:pt x="101" y="37"/>
                        </a:cubicBezTo>
                        <a:cubicBezTo>
                          <a:pt x="101" y="37"/>
                          <a:pt x="101" y="37"/>
                          <a:pt x="101" y="37"/>
                        </a:cubicBezTo>
                        <a:close/>
                        <a:moveTo>
                          <a:pt x="101" y="36"/>
                        </a:moveTo>
                        <a:cubicBezTo>
                          <a:pt x="102" y="36"/>
                          <a:pt x="102" y="36"/>
                          <a:pt x="102" y="36"/>
                        </a:cubicBezTo>
                        <a:cubicBezTo>
                          <a:pt x="101" y="36"/>
                          <a:pt x="101" y="36"/>
                          <a:pt x="101" y="36"/>
                        </a:cubicBezTo>
                        <a:close/>
                        <a:moveTo>
                          <a:pt x="100" y="37"/>
                        </a:moveTo>
                        <a:cubicBezTo>
                          <a:pt x="99" y="37"/>
                          <a:pt x="98" y="37"/>
                          <a:pt x="98" y="37"/>
                        </a:cubicBezTo>
                        <a:cubicBezTo>
                          <a:pt x="99" y="37"/>
                          <a:pt x="100" y="37"/>
                          <a:pt x="100" y="38"/>
                        </a:cubicBezTo>
                        <a:cubicBezTo>
                          <a:pt x="100" y="38"/>
                          <a:pt x="100" y="38"/>
                          <a:pt x="100" y="37"/>
                        </a:cubicBezTo>
                        <a:close/>
                        <a:moveTo>
                          <a:pt x="102" y="29"/>
                        </a:moveTo>
                        <a:cubicBezTo>
                          <a:pt x="102" y="29"/>
                          <a:pt x="102" y="29"/>
                          <a:pt x="103" y="29"/>
                        </a:cubicBezTo>
                        <a:cubicBezTo>
                          <a:pt x="102" y="29"/>
                          <a:pt x="102" y="29"/>
                          <a:pt x="102" y="29"/>
                        </a:cubicBezTo>
                        <a:close/>
                        <a:moveTo>
                          <a:pt x="101" y="35"/>
                        </a:moveTo>
                        <a:cubicBezTo>
                          <a:pt x="100" y="35"/>
                          <a:pt x="100" y="35"/>
                          <a:pt x="100" y="34"/>
                        </a:cubicBezTo>
                        <a:cubicBezTo>
                          <a:pt x="100" y="34"/>
                          <a:pt x="101" y="35"/>
                          <a:pt x="101" y="34"/>
                        </a:cubicBezTo>
                        <a:cubicBezTo>
                          <a:pt x="101" y="35"/>
                          <a:pt x="101" y="35"/>
                          <a:pt x="101" y="35"/>
                        </a:cubicBezTo>
                        <a:close/>
                        <a:moveTo>
                          <a:pt x="101" y="30"/>
                        </a:moveTo>
                        <a:cubicBezTo>
                          <a:pt x="101" y="30"/>
                          <a:pt x="101" y="30"/>
                          <a:pt x="101" y="30"/>
                        </a:cubicBezTo>
                        <a:cubicBezTo>
                          <a:pt x="101" y="31"/>
                          <a:pt x="101" y="30"/>
                          <a:pt x="100" y="30"/>
                        </a:cubicBezTo>
                        <a:cubicBezTo>
                          <a:pt x="100" y="30"/>
                          <a:pt x="101" y="30"/>
                          <a:pt x="101" y="30"/>
                        </a:cubicBezTo>
                        <a:close/>
                        <a:moveTo>
                          <a:pt x="101" y="30"/>
                        </a:moveTo>
                        <a:cubicBezTo>
                          <a:pt x="101" y="30"/>
                          <a:pt x="101" y="30"/>
                          <a:pt x="100" y="30"/>
                        </a:cubicBezTo>
                        <a:cubicBezTo>
                          <a:pt x="100" y="30"/>
                          <a:pt x="100" y="30"/>
                          <a:pt x="100" y="30"/>
                        </a:cubicBezTo>
                        <a:cubicBezTo>
                          <a:pt x="100" y="30"/>
                          <a:pt x="100" y="30"/>
                          <a:pt x="100" y="30"/>
                        </a:cubicBezTo>
                        <a:cubicBezTo>
                          <a:pt x="100" y="30"/>
                          <a:pt x="100" y="30"/>
                          <a:pt x="101" y="30"/>
                        </a:cubicBezTo>
                        <a:close/>
                        <a:moveTo>
                          <a:pt x="96" y="37"/>
                        </a:moveTo>
                        <a:cubicBezTo>
                          <a:pt x="96" y="36"/>
                          <a:pt x="97" y="37"/>
                          <a:pt x="96" y="37"/>
                        </a:cubicBezTo>
                        <a:close/>
                        <a:moveTo>
                          <a:pt x="98" y="33"/>
                        </a:moveTo>
                        <a:cubicBezTo>
                          <a:pt x="98" y="33"/>
                          <a:pt x="97" y="33"/>
                          <a:pt x="97" y="33"/>
                        </a:cubicBezTo>
                        <a:cubicBezTo>
                          <a:pt x="97" y="33"/>
                          <a:pt x="97" y="32"/>
                          <a:pt x="97" y="32"/>
                        </a:cubicBezTo>
                        <a:cubicBezTo>
                          <a:pt x="97" y="32"/>
                          <a:pt x="97" y="33"/>
                          <a:pt x="98" y="33"/>
                        </a:cubicBezTo>
                        <a:close/>
                        <a:moveTo>
                          <a:pt x="98" y="30"/>
                        </a:moveTo>
                        <a:cubicBezTo>
                          <a:pt x="98" y="30"/>
                          <a:pt x="98" y="30"/>
                          <a:pt x="98" y="30"/>
                        </a:cubicBezTo>
                        <a:cubicBezTo>
                          <a:pt x="98" y="31"/>
                          <a:pt x="98" y="30"/>
                          <a:pt x="98" y="30"/>
                        </a:cubicBezTo>
                        <a:close/>
                        <a:moveTo>
                          <a:pt x="97" y="34"/>
                        </a:moveTo>
                        <a:cubicBezTo>
                          <a:pt x="97" y="34"/>
                          <a:pt x="96" y="34"/>
                          <a:pt x="97" y="34"/>
                        </a:cubicBezTo>
                        <a:cubicBezTo>
                          <a:pt x="97" y="34"/>
                          <a:pt x="97" y="34"/>
                          <a:pt x="97" y="34"/>
                        </a:cubicBezTo>
                        <a:close/>
                        <a:moveTo>
                          <a:pt x="98" y="28"/>
                        </a:moveTo>
                        <a:cubicBezTo>
                          <a:pt x="98" y="28"/>
                          <a:pt x="98" y="28"/>
                          <a:pt x="98" y="28"/>
                        </a:cubicBezTo>
                        <a:cubicBezTo>
                          <a:pt x="98" y="28"/>
                          <a:pt x="98" y="29"/>
                          <a:pt x="98" y="28"/>
                        </a:cubicBezTo>
                        <a:close/>
                        <a:moveTo>
                          <a:pt x="96" y="30"/>
                        </a:moveTo>
                        <a:cubicBezTo>
                          <a:pt x="96" y="30"/>
                          <a:pt x="96" y="30"/>
                          <a:pt x="96" y="30"/>
                        </a:cubicBezTo>
                        <a:cubicBezTo>
                          <a:pt x="96" y="30"/>
                          <a:pt x="97" y="30"/>
                          <a:pt x="97" y="30"/>
                        </a:cubicBezTo>
                        <a:cubicBezTo>
                          <a:pt x="97" y="30"/>
                          <a:pt x="97" y="30"/>
                          <a:pt x="98" y="31"/>
                        </a:cubicBezTo>
                        <a:cubicBezTo>
                          <a:pt x="97" y="31"/>
                          <a:pt x="97" y="30"/>
                          <a:pt x="96" y="30"/>
                        </a:cubicBezTo>
                        <a:close/>
                        <a:moveTo>
                          <a:pt x="97" y="29"/>
                        </a:moveTo>
                        <a:cubicBezTo>
                          <a:pt x="97" y="29"/>
                          <a:pt x="97" y="29"/>
                          <a:pt x="97" y="29"/>
                        </a:cubicBezTo>
                        <a:cubicBezTo>
                          <a:pt x="98" y="29"/>
                          <a:pt x="97" y="30"/>
                          <a:pt x="97" y="29"/>
                        </a:cubicBezTo>
                        <a:close/>
                        <a:moveTo>
                          <a:pt x="96" y="32"/>
                        </a:moveTo>
                        <a:cubicBezTo>
                          <a:pt x="96" y="32"/>
                          <a:pt x="96" y="32"/>
                          <a:pt x="96" y="32"/>
                        </a:cubicBezTo>
                        <a:cubicBezTo>
                          <a:pt x="96" y="32"/>
                          <a:pt x="96" y="32"/>
                          <a:pt x="96" y="32"/>
                        </a:cubicBezTo>
                        <a:cubicBezTo>
                          <a:pt x="97" y="32"/>
                          <a:pt x="97" y="32"/>
                          <a:pt x="97" y="32"/>
                        </a:cubicBezTo>
                        <a:cubicBezTo>
                          <a:pt x="97" y="32"/>
                          <a:pt x="96" y="32"/>
                          <a:pt x="96" y="32"/>
                        </a:cubicBezTo>
                        <a:close/>
                        <a:moveTo>
                          <a:pt x="96" y="32"/>
                        </a:moveTo>
                        <a:cubicBezTo>
                          <a:pt x="96" y="32"/>
                          <a:pt x="96" y="32"/>
                          <a:pt x="96" y="32"/>
                        </a:cubicBezTo>
                        <a:cubicBezTo>
                          <a:pt x="96" y="33"/>
                          <a:pt x="96" y="32"/>
                          <a:pt x="96" y="32"/>
                        </a:cubicBezTo>
                        <a:close/>
                        <a:moveTo>
                          <a:pt x="96" y="31"/>
                        </a:moveTo>
                        <a:cubicBezTo>
                          <a:pt x="96" y="31"/>
                          <a:pt x="96" y="31"/>
                          <a:pt x="97" y="31"/>
                        </a:cubicBezTo>
                        <a:cubicBezTo>
                          <a:pt x="97" y="31"/>
                          <a:pt x="96" y="31"/>
                          <a:pt x="96" y="31"/>
                        </a:cubicBezTo>
                        <a:close/>
                        <a:moveTo>
                          <a:pt x="94" y="36"/>
                        </a:moveTo>
                        <a:cubicBezTo>
                          <a:pt x="94" y="36"/>
                          <a:pt x="94" y="36"/>
                          <a:pt x="95" y="36"/>
                        </a:cubicBezTo>
                        <a:cubicBezTo>
                          <a:pt x="94" y="36"/>
                          <a:pt x="94" y="36"/>
                          <a:pt x="94" y="36"/>
                        </a:cubicBezTo>
                        <a:close/>
                        <a:moveTo>
                          <a:pt x="98" y="26"/>
                        </a:moveTo>
                        <a:cubicBezTo>
                          <a:pt x="98" y="26"/>
                          <a:pt x="97" y="25"/>
                          <a:pt x="97" y="25"/>
                        </a:cubicBezTo>
                        <a:cubicBezTo>
                          <a:pt x="97" y="25"/>
                          <a:pt x="97" y="25"/>
                          <a:pt x="98" y="25"/>
                        </a:cubicBezTo>
                        <a:cubicBezTo>
                          <a:pt x="97" y="26"/>
                          <a:pt x="97" y="26"/>
                          <a:pt x="98" y="26"/>
                        </a:cubicBezTo>
                        <a:close/>
                        <a:moveTo>
                          <a:pt x="96" y="32"/>
                        </a:moveTo>
                        <a:cubicBezTo>
                          <a:pt x="96" y="32"/>
                          <a:pt x="96" y="32"/>
                          <a:pt x="96" y="32"/>
                        </a:cubicBezTo>
                        <a:cubicBezTo>
                          <a:pt x="96" y="31"/>
                          <a:pt x="96" y="32"/>
                          <a:pt x="95" y="31"/>
                        </a:cubicBezTo>
                        <a:cubicBezTo>
                          <a:pt x="95" y="31"/>
                          <a:pt x="96" y="32"/>
                          <a:pt x="96" y="31"/>
                        </a:cubicBezTo>
                        <a:cubicBezTo>
                          <a:pt x="96" y="31"/>
                          <a:pt x="96" y="32"/>
                          <a:pt x="96" y="32"/>
                        </a:cubicBezTo>
                        <a:close/>
                        <a:moveTo>
                          <a:pt x="97" y="27"/>
                        </a:moveTo>
                        <a:cubicBezTo>
                          <a:pt x="97" y="27"/>
                          <a:pt x="96" y="27"/>
                          <a:pt x="97" y="27"/>
                        </a:cubicBezTo>
                        <a:cubicBezTo>
                          <a:pt x="97" y="27"/>
                          <a:pt x="97" y="27"/>
                          <a:pt x="97" y="27"/>
                        </a:cubicBezTo>
                        <a:cubicBezTo>
                          <a:pt x="97" y="27"/>
                          <a:pt x="97" y="27"/>
                          <a:pt x="97" y="27"/>
                        </a:cubicBezTo>
                        <a:close/>
                        <a:moveTo>
                          <a:pt x="96" y="29"/>
                        </a:moveTo>
                        <a:cubicBezTo>
                          <a:pt x="96" y="29"/>
                          <a:pt x="96" y="29"/>
                          <a:pt x="96" y="29"/>
                        </a:cubicBezTo>
                        <a:cubicBezTo>
                          <a:pt x="96" y="29"/>
                          <a:pt x="97" y="29"/>
                          <a:pt x="96" y="29"/>
                        </a:cubicBezTo>
                        <a:close/>
                        <a:moveTo>
                          <a:pt x="94" y="34"/>
                        </a:moveTo>
                        <a:cubicBezTo>
                          <a:pt x="94" y="35"/>
                          <a:pt x="94" y="35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lose/>
                        <a:moveTo>
                          <a:pt x="95" y="30"/>
                        </a:moveTo>
                        <a:cubicBezTo>
                          <a:pt x="95" y="30"/>
                          <a:pt x="95" y="30"/>
                          <a:pt x="95" y="30"/>
                        </a:cubicBezTo>
                        <a:cubicBezTo>
                          <a:pt x="95" y="30"/>
                          <a:pt x="95" y="30"/>
                          <a:pt x="95" y="30"/>
                        </a:cubicBezTo>
                        <a:close/>
                        <a:moveTo>
                          <a:pt x="95" y="30"/>
                        </a:moveTo>
                        <a:cubicBezTo>
                          <a:pt x="95" y="30"/>
                          <a:pt x="95" y="31"/>
                          <a:pt x="95" y="31"/>
                        </a:cubicBezTo>
                        <a:cubicBezTo>
                          <a:pt x="95" y="31"/>
                          <a:pt x="95" y="31"/>
                          <a:pt x="95" y="30"/>
                        </a:cubicBezTo>
                        <a:close/>
                        <a:moveTo>
                          <a:pt x="95" y="26"/>
                        </a:moveTo>
                        <a:cubicBezTo>
                          <a:pt x="96" y="26"/>
                          <a:pt x="96" y="26"/>
                          <a:pt x="96" y="26"/>
                        </a:cubicBezTo>
                        <a:cubicBezTo>
                          <a:pt x="96" y="26"/>
                          <a:pt x="96" y="26"/>
                          <a:pt x="95" y="26"/>
                        </a:cubicBezTo>
                        <a:close/>
                        <a:moveTo>
                          <a:pt x="93" y="34"/>
                        </a:moveTo>
                        <a:cubicBezTo>
                          <a:pt x="93" y="34"/>
                          <a:pt x="93" y="34"/>
                          <a:pt x="93" y="34"/>
                        </a:cubicBezTo>
                        <a:cubicBezTo>
                          <a:pt x="93" y="34"/>
                          <a:pt x="93" y="34"/>
                          <a:pt x="94" y="34"/>
                        </a:cubicBezTo>
                        <a:cubicBezTo>
                          <a:pt x="93" y="34"/>
                          <a:pt x="93" y="34"/>
                          <a:pt x="94" y="34"/>
                        </a:cubicBezTo>
                        <a:cubicBezTo>
                          <a:pt x="94" y="35"/>
                          <a:pt x="93" y="34"/>
                          <a:pt x="93" y="34"/>
                        </a:cubicBezTo>
                        <a:cubicBezTo>
                          <a:pt x="93" y="34"/>
                          <a:pt x="93" y="34"/>
                          <a:pt x="93" y="34"/>
                        </a:cubicBezTo>
                        <a:cubicBezTo>
                          <a:pt x="93" y="34"/>
                          <a:pt x="93" y="34"/>
                          <a:pt x="93" y="34"/>
                        </a:cubicBezTo>
                        <a:close/>
                        <a:moveTo>
                          <a:pt x="95" y="27"/>
                        </a:moveTo>
                        <a:cubicBezTo>
                          <a:pt x="95" y="27"/>
                          <a:pt x="95" y="27"/>
                          <a:pt x="95" y="27"/>
                        </a:cubicBezTo>
                        <a:cubicBezTo>
                          <a:pt x="95" y="27"/>
                          <a:pt x="95" y="27"/>
                          <a:pt x="96" y="27"/>
                        </a:cubicBezTo>
                        <a:cubicBezTo>
                          <a:pt x="96" y="27"/>
                          <a:pt x="95" y="27"/>
                          <a:pt x="95" y="27"/>
                        </a:cubicBezTo>
                        <a:close/>
                        <a:moveTo>
                          <a:pt x="96" y="24"/>
                        </a:moveTo>
                        <a:cubicBezTo>
                          <a:pt x="96" y="24"/>
                          <a:pt x="96" y="24"/>
                          <a:pt x="96" y="24"/>
                        </a:cubicBezTo>
                        <a:cubicBezTo>
                          <a:pt x="96" y="24"/>
                          <a:pt x="96" y="24"/>
                          <a:pt x="96" y="24"/>
                        </a:cubicBezTo>
                        <a:cubicBezTo>
                          <a:pt x="96" y="24"/>
                          <a:pt x="96" y="24"/>
                          <a:pt x="96" y="24"/>
                        </a:cubicBezTo>
                        <a:close/>
                        <a:moveTo>
                          <a:pt x="95" y="24"/>
                        </a:moveTo>
                        <a:cubicBezTo>
                          <a:pt x="94" y="24"/>
                          <a:pt x="93" y="24"/>
                          <a:pt x="93" y="24"/>
                        </a:cubicBezTo>
                        <a:cubicBezTo>
                          <a:pt x="94" y="24"/>
                          <a:pt x="94" y="24"/>
                          <a:pt x="95" y="24"/>
                        </a:cubicBezTo>
                        <a:cubicBezTo>
                          <a:pt x="95" y="24"/>
                          <a:pt x="96" y="25"/>
                          <a:pt x="96" y="25"/>
                        </a:cubicBezTo>
                        <a:cubicBezTo>
                          <a:pt x="95" y="25"/>
                          <a:pt x="95" y="24"/>
                          <a:pt x="95" y="24"/>
                        </a:cubicBezTo>
                        <a:close/>
                        <a:moveTo>
                          <a:pt x="95" y="28"/>
                        </a:moveTo>
                        <a:cubicBezTo>
                          <a:pt x="95" y="28"/>
                          <a:pt x="94" y="28"/>
                          <a:pt x="94" y="28"/>
                        </a:cubicBezTo>
                        <a:cubicBezTo>
                          <a:pt x="94" y="28"/>
                          <a:pt x="95" y="28"/>
                          <a:pt x="95" y="28"/>
                        </a:cubicBezTo>
                        <a:close/>
                        <a:moveTo>
                          <a:pt x="95" y="29"/>
                        </a:moveTo>
                        <a:cubicBezTo>
                          <a:pt x="95" y="29"/>
                          <a:pt x="94" y="29"/>
                          <a:pt x="94" y="28"/>
                        </a:cubicBezTo>
                        <a:cubicBezTo>
                          <a:pt x="94" y="28"/>
                          <a:pt x="94" y="28"/>
                          <a:pt x="94" y="28"/>
                        </a:cubicBezTo>
                        <a:cubicBezTo>
                          <a:pt x="94" y="29"/>
                          <a:pt x="94" y="28"/>
                          <a:pt x="95" y="29"/>
                        </a:cubicBezTo>
                        <a:close/>
                        <a:moveTo>
                          <a:pt x="96" y="24"/>
                        </a:moveTo>
                        <a:cubicBezTo>
                          <a:pt x="96" y="24"/>
                          <a:pt x="96" y="24"/>
                          <a:pt x="95" y="24"/>
                        </a:cubicBezTo>
                        <a:cubicBezTo>
                          <a:pt x="95" y="24"/>
                          <a:pt x="96" y="24"/>
                          <a:pt x="96" y="24"/>
                        </a:cubicBezTo>
                        <a:close/>
                        <a:moveTo>
                          <a:pt x="95" y="27"/>
                        </a:moveTo>
                        <a:cubicBezTo>
                          <a:pt x="95" y="26"/>
                          <a:pt x="95" y="27"/>
                          <a:pt x="95" y="27"/>
                        </a:cubicBezTo>
                        <a:cubicBezTo>
                          <a:pt x="95" y="27"/>
                          <a:pt x="95" y="27"/>
                          <a:pt x="95" y="27"/>
                        </a:cubicBezTo>
                        <a:cubicBezTo>
                          <a:pt x="95" y="27"/>
                          <a:pt x="95" y="27"/>
                          <a:pt x="95" y="27"/>
                        </a:cubicBezTo>
                        <a:close/>
                        <a:moveTo>
                          <a:pt x="95" y="27"/>
                        </a:moveTo>
                        <a:cubicBezTo>
                          <a:pt x="95" y="27"/>
                          <a:pt x="95" y="27"/>
                          <a:pt x="95" y="27"/>
                        </a:cubicBezTo>
                        <a:cubicBezTo>
                          <a:pt x="95" y="27"/>
                          <a:pt x="94" y="27"/>
                          <a:pt x="94" y="27"/>
                        </a:cubicBezTo>
                        <a:cubicBezTo>
                          <a:pt x="95" y="27"/>
                          <a:pt x="95" y="27"/>
                          <a:pt x="95" y="27"/>
                        </a:cubicBezTo>
                        <a:cubicBezTo>
                          <a:pt x="95" y="27"/>
                          <a:pt x="95" y="27"/>
                          <a:pt x="95" y="27"/>
                        </a:cubicBezTo>
                        <a:close/>
                        <a:moveTo>
                          <a:pt x="94" y="24"/>
                        </a:moveTo>
                        <a:cubicBezTo>
                          <a:pt x="95" y="24"/>
                          <a:pt x="95" y="24"/>
                          <a:pt x="95" y="25"/>
                        </a:cubicBezTo>
                        <a:cubicBezTo>
                          <a:pt x="95" y="25"/>
                          <a:pt x="95" y="25"/>
                          <a:pt x="95" y="25"/>
                        </a:cubicBezTo>
                        <a:cubicBezTo>
                          <a:pt x="95" y="24"/>
                          <a:pt x="94" y="25"/>
                          <a:pt x="94" y="24"/>
                        </a:cubicBezTo>
                        <a:close/>
                        <a:moveTo>
                          <a:pt x="95" y="25"/>
                        </a:moveTo>
                        <a:cubicBezTo>
                          <a:pt x="95" y="25"/>
                          <a:pt x="95" y="25"/>
                          <a:pt x="95" y="25"/>
                        </a:cubicBezTo>
                        <a:cubicBezTo>
                          <a:pt x="95" y="25"/>
                          <a:pt x="95" y="25"/>
                          <a:pt x="95" y="25"/>
                        </a:cubicBezTo>
                        <a:cubicBezTo>
                          <a:pt x="95" y="25"/>
                          <a:pt x="95" y="25"/>
                          <a:pt x="95" y="25"/>
                        </a:cubicBezTo>
                        <a:close/>
                        <a:moveTo>
                          <a:pt x="93" y="29"/>
                        </a:moveTo>
                        <a:cubicBezTo>
                          <a:pt x="93" y="29"/>
                          <a:pt x="94" y="29"/>
                          <a:pt x="93" y="29"/>
                        </a:cubicBezTo>
                        <a:cubicBezTo>
                          <a:pt x="93" y="29"/>
                          <a:pt x="94" y="29"/>
                          <a:pt x="94" y="29"/>
                        </a:cubicBezTo>
                        <a:cubicBezTo>
                          <a:pt x="94" y="29"/>
                          <a:pt x="94" y="29"/>
                          <a:pt x="94" y="29"/>
                        </a:cubicBezTo>
                        <a:cubicBezTo>
                          <a:pt x="93" y="29"/>
                          <a:pt x="93" y="29"/>
                          <a:pt x="93" y="29"/>
                        </a:cubicBezTo>
                        <a:close/>
                        <a:moveTo>
                          <a:pt x="93" y="31"/>
                        </a:moveTo>
                        <a:cubicBezTo>
                          <a:pt x="93" y="31"/>
                          <a:pt x="93" y="31"/>
                          <a:pt x="93" y="31"/>
                        </a:cubicBezTo>
                        <a:cubicBezTo>
                          <a:pt x="93" y="31"/>
                          <a:pt x="93" y="31"/>
                          <a:pt x="93" y="31"/>
                        </a:cubicBezTo>
                        <a:close/>
                        <a:moveTo>
                          <a:pt x="93" y="30"/>
                        </a:moveTo>
                        <a:cubicBezTo>
                          <a:pt x="93" y="30"/>
                          <a:pt x="93" y="30"/>
                          <a:pt x="93" y="30"/>
                        </a:cubicBezTo>
                        <a:cubicBezTo>
                          <a:pt x="93" y="31"/>
                          <a:pt x="92" y="30"/>
                          <a:pt x="93" y="30"/>
                        </a:cubicBezTo>
                        <a:close/>
                        <a:moveTo>
                          <a:pt x="94" y="28"/>
                        </a:moveTo>
                        <a:cubicBezTo>
                          <a:pt x="94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7"/>
                          <a:pt x="94" y="28"/>
                          <a:pt x="94" y="28"/>
                        </a:cubicBezTo>
                        <a:cubicBezTo>
                          <a:pt x="94" y="28"/>
                          <a:pt x="94" y="28"/>
                          <a:pt x="94" y="28"/>
                        </a:cubicBezTo>
                        <a:close/>
                        <a:moveTo>
                          <a:pt x="93" y="28"/>
                        </a:move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9"/>
                          <a:pt x="93" y="29"/>
                        </a:cubicBezTo>
                        <a:cubicBezTo>
                          <a:pt x="93" y="29"/>
                          <a:pt x="93" y="29"/>
                          <a:pt x="93" y="29"/>
                        </a:cubicBezTo>
                        <a:cubicBezTo>
                          <a:pt x="93" y="29"/>
                          <a:pt x="93" y="29"/>
                          <a:pt x="93" y="28"/>
                        </a:cubicBezTo>
                        <a:close/>
                        <a:moveTo>
                          <a:pt x="93" y="30"/>
                        </a:moveTo>
                        <a:cubicBezTo>
                          <a:pt x="93" y="30"/>
                          <a:pt x="92" y="30"/>
                          <a:pt x="92" y="30"/>
                        </a:cubicBezTo>
                        <a:cubicBezTo>
                          <a:pt x="92" y="30"/>
                          <a:pt x="93" y="30"/>
                          <a:pt x="93" y="30"/>
                        </a:cubicBezTo>
                        <a:close/>
                        <a:moveTo>
                          <a:pt x="93" y="30"/>
                        </a:moveTo>
                        <a:cubicBezTo>
                          <a:pt x="93" y="31"/>
                          <a:pt x="92" y="31"/>
                          <a:pt x="92" y="31"/>
                        </a:cubicBezTo>
                        <a:cubicBezTo>
                          <a:pt x="92" y="31"/>
                          <a:pt x="92" y="30"/>
                          <a:pt x="93" y="30"/>
                        </a:cubicBezTo>
                        <a:close/>
                        <a:moveTo>
                          <a:pt x="94" y="25"/>
                        </a:moveTo>
                        <a:cubicBezTo>
                          <a:pt x="94" y="25"/>
                          <a:pt x="94" y="24"/>
                          <a:pt x="94" y="25"/>
                        </a:cubicBezTo>
                        <a:cubicBezTo>
                          <a:pt x="94" y="25"/>
                          <a:pt x="94" y="25"/>
                          <a:pt x="94" y="25"/>
                        </a:cubicBezTo>
                        <a:close/>
                        <a:moveTo>
                          <a:pt x="94" y="25"/>
                        </a:moveTo>
                        <a:cubicBezTo>
                          <a:pt x="94" y="25"/>
                          <a:pt x="93" y="25"/>
                          <a:pt x="93" y="25"/>
                        </a:cubicBezTo>
                        <a:cubicBezTo>
                          <a:pt x="93" y="25"/>
                          <a:pt x="94" y="25"/>
                          <a:pt x="94" y="25"/>
                        </a:cubicBezTo>
                        <a:close/>
                        <a:moveTo>
                          <a:pt x="92" y="29"/>
                        </a:moveTo>
                        <a:cubicBezTo>
                          <a:pt x="92" y="28"/>
                          <a:pt x="92" y="29"/>
                          <a:pt x="92" y="28"/>
                        </a:cubicBezTo>
                        <a:cubicBezTo>
                          <a:pt x="92" y="28"/>
                          <a:pt x="92" y="28"/>
                          <a:pt x="92" y="28"/>
                        </a:cubicBezTo>
                        <a:cubicBezTo>
                          <a:pt x="92" y="28"/>
                          <a:pt x="92" y="28"/>
                          <a:pt x="92" y="28"/>
                        </a:cubicBezTo>
                        <a:cubicBezTo>
                          <a:pt x="92" y="28"/>
                          <a:pt x="92" y="28"/>
                          <a:pt x="92" y="28"/>
                        </a:cubicBezTo>
                        <a:cubicBezTo>
                          <a:pt x="92" y="28"/>
                          <a:pt x="92" y="28"/>
                          <a:pt x="92" y="28"/>
                        </a:cubicBezTo>
                        <a:cubicBezTo>
                          <a:pt x="92" y="28"/>
                          <a:pt x="92" y="28"/>
                          <a:pt x="92" y="29"/>
                        </a:cubicBezTo>
                        <a:close/>
                        <a:moveTo>
                          <a:pt x="92" y="26"/>
                        </a:moveTo>
                        <a:cubicBezTo>
                          <a:pt x="93" y="26"/>
                          <a:pt x="93" y="26"/>
                          <a:pt x="93" y="26"/>
                        </a:cubicBezTo>
                        <a:cubicBezTo>
                          <a:pt x="93" y="26"/>
                          <a:pt x="93" y="26"/>
                          <a:pt x="93" y="26"/>
                        </a:cubicBezTo>
                        <a:cubicBezTo>
                          <a:pt x="92" y="26"/>
                          <a:pt x="92" y="26"/>
                          <a:pt x="92" y="26"/>
                        </a:cubicBezTo>
                        <a:cubicBezTo>
                          <a:pt x="92" y="26"/>
                          <a:pt x="92" y="26"/>
                          <a:pt x="92" y="25"/>
                        </a:cubicBezTo>
                        <a:cubicBezTo>
                          <a:pt x="92" y="26"/>
                          <a:pt x="92" y="26"/>
                          <a:pt x="93" y="26"/>
                        </a:cubicBezTo>
                        <a:cubicBezTo>
                          <a:pt x="93" y="26"/>
                          <a:pt x="92" y="26"/>
                          <a:pt x="92" y="26"/>
                        </a:cubicBezTo>
                        <a:close/>
                        <a:moveTo>
                          <a:pt x="92" y="26"/>
                        </a:moveTo>
                        <a:cubicBezTo>
                          <a:pt x="92" y="26"/>
                          <a:pt x="92" y="25"/>
                          <a:pt x="92" y="26"/>
                        </a:cubicBezTo>
                        <a:cubicBezTo>
                          <a:pt x="92" y="26"/>
                          <a:pt x="92" y="26"/>
                          <a:pt x="92" y="26"/>
                        </a:cubicBezTo>
                        <a:close/>
                        <a:moveTo>
                          <a:pt x="91" y="29"/>
                        </a:moveTo>
                        <a:cubicBezTo>
                          <a:pt x="91" y="29"/>
                          <a:pt x="91" y="28"/>
                          <a:pt x="91" y="28"/>
                        </a:cubicBezTo>
                        <a:cubicBezTo>
                          <a:pt x="91" y="28"/>
                          <a:pt x="91" y="28"/>
                          <a:pt x="91" y="28"/>
                        </a:cubicBezTo>
                        <a:cubicBezTo>
                          <a:pt x="91" y="28"/>
                          <a:pt x="91" y="28"/>
                          <a:pt x="91" y="28"/>
                        </a:cubicBezTo>
                        <a:cubicBezTo>
                          <a:pt x="91" y="28"/>
                          <a:pt x="91" y="28"/>
                          <a:pt x="92" y="28"/>
                        </a:cubicBezTo>
                        <a:cubicBezTo>
                          <a:pt x="92" y="28"/>
                          <a:pt x="91" y="29"/>
                          <a:pt x="91" y="29"/>
                        </a:cubicBezTo>
                        <a:cubicBezTo>
                          <a:pt x="91" y="29"/>
                          <a:pt x="91" y="29"/>
                          <a:pt x="91" y="29"/>
                        </a:cubicBezTo>
                        <a:close/>
                        <a:moveTo>
                          <a:pt x="93" y="25"/>
                        </a:moveTo>
                        <a:cubicBezTo>
                          <a:pt x="92" y="25"/>
                          <a:pt x="92" y="24"/>
                          <a:pt x="93" y="25"/>
                        </a:cubicBezTo>
                        <a:cubicBezTo>
                          <a:pt x="93" y="25"/>
                          <a:pt x="93" y="25"/>
                          <a:pt x="93" y="25"/>
                        </a:cubicBezTo>
                        <a:close/>
                        <a:moveTo>
                          <a:pt x="90" y="30"/>
                        </a:moveTo>
                        <a:cubicBezTo>
                          <a:pt x="90" y="30"/>
                          <a:pt x="91" y="30"/>
                          <a:pt x="91" y="30"/>
                        </a:cubicBezTo>
                        <a:cubicBezTo>
                          <a:pt x="91" y="31"/>
                          <a:pt x="90" y="30"/>
                          <a:pt x="90" y="30"/>
                        </a:cubicBezTo>
                        <a:close/>
                        <a:moveTo>
                          <a:pt x="90" y="32"/>
                        </a:moveTo>
                        <a:cubicBezTo>
                          <a:pt x="90" y="32"/>
                          <a:pt x="90" y="32"/>
                          <a:pt x="90" y="32"/>
                        </a:cubicBezTo>
                        <a:cubicBezTo>
                          <a:pt x="90" y="32"/>
                          <a:pt x="90" y="31"/>
                          <a:pt x="89" y="31"/>
                        </a:cubicBezTo>
                        <a:cubicBezTo>
                          <a:pt x="89" y="31"/>
                          <a:pt x="89" y="31"/>
                          <a:pt x="89" y="31"/>
                        </a:cubicBezTo>
                        <a:cubicBezTo>
                          <a:pt x="89" y="31"/>
                          <a:pt x="89" y="31"/>
                          <a:pt x="89" y="31"/>
                        </a:cubicBezTo>
                        <a:cubicBezTo>
                          <a:pt x="89" y="31"/>
                          <a:pt x="89" y="31"/>
                          <a:pt x="89" y="31"/>
                        </a:cubicBezTo>
                        <a:cubicBezTo>
                          <a:pt x="90" y="31"/>
                          <a:pt x="90" y="31"/>
                          <a:pt x="90" y="32"/>
                        </a:cubicBezTo>
                        <a:cubicBezTo>
                          <a:pt x="90" y="31"/>
                          <a:pt x="90" y="32"/>
                          <a:pt x="91" y="32"/>
                        </a:cubicBezTo>
                        <a:cubicBezTo>
                          <a:pt x="91" y="32"/>
                          <a:pt x="91" y="32"/>
                          <a:pt x="91" y="32"/>
                        </a:cubicBezTo>
                        <a:cubicBezTo>
                          <a:pt x="91" y="32"/>
                          <a:pt x="91" y="32"/>
                          <a:pt x="92" y="32"/>
                        </a:cubicBezTo>
                        <a:cubicBezTo>
                          <a:pt x="91" y="32"/>
                          <a:pt x="92" y="32"/>
                          <a:pt x="93" y="32"/>
                        </a:cubicBezTo>
                        <a:cubicBezTo>
                          <a:pt x="93" y="33"/>
                          <a:pt x="93" y="33"/>
                          <a:pt x="93" y="33"/>
                        </a:cubicBezTo>
                        <a:cubicBezTo>
                          <a:pt x="92" y="32"/>
                          <a:pt x="91" y="32"/>
                          <a:pt x="90" y="32"/>
                        </a:cubicBezTo>
                        <a:cubicBezTo>
                          <a:pt x="90" y="32"/>
                          <a:pt x="90" y="32"/>
                          <a:pt x="90" y="32"/>
                        </a:cubicBezTo>
                        <a:cubicBezTo>
                          <a:pt x="90" y="32"/>
                          <a:pt x="90" y="32"/>
                          <a:pt x="90" y="32"/>
                        </a:cubicBezTo>
                        <a:cubicBezTo>
                          <a:pt x="90" y="32"/>
                          <a:pt x="90" y="32"/>
                          <a:pt x="90" y="32"/>
                        </a:cubicBezTo>
                        <a:close/>
                        <a:moveTo>
                          <a:pt x="92" y="24"/>
                        </a:moveTo>
                        <a:cubicBezTo>
                          <a:pt x="92" y="24"/>
                          <a:pt x="92" y="24"/>
                          <a:pt x="92" y="24"/>
                        </a:cubicBezTo>
                        <a:cubicBezTo>
                          <a:pt x="92" y="25"/>
                          <a:pt x="92" y="24"/>
                          <a:pt x="92" y="25"/>
                        </a:cubicBezTo>
                        <a:cubicBezTo>
                          <a:pt x="92" y="25"/>
                          <a:pt x="92" y="24"/>
                          <a:pt x="92" y="24"/>
                        </a:cubicBezTo>
                        <a:cubicBezTo>
                          <a:pt x="92" y="24"/>
                          <a:pt x="92" y="24"/>
                          <a:pt x="92" y="24"/>
                        </a:cubicBezTo>
                        <a:close/>
                        <a:moveTo>
                          <a:pt x="91" y="29"/>
                        </a:moveTo>
                        <a:cubicBezTo>
                          <a:pt x="91" y="29"/>
                          <a:pt x="91" y="29"/>
                          <a:pt x="91" y="29"/>
                        </a:cubicBezTo>
                        <a:cubicBezTo>
                          <a:pt x="91" y="29"/>
                          <a:pt x="91" y="29"/>
                          <a:pt x="91" y="29"/>
                        </a:cubicBezTo>
                        <a:close/>
                        <a:moveTo>
                          <a:pt x="92" y="23"/>
                        </a:moveTo>
                        <a:cubicBezTo>
                          <a:pt x="92" y="23"/>
                          <a:pt x="92" y="23"/>
                          <a:pt x="92" y="23"/>
                        </a:cubicBezTo>
                        <a:cubicBezTo>
                          <a:pt x="92" y="23"/>
                          <a:pt x="92" y="23"/>
                          <a:pt x="92" y="23"/>
                        </a:cubicBezTo>
                        <a:close/>
                        <a:moveTo>
                          <a:pt x="92" y="24"/>
                        </a:moveTo>
                        <a:cubicBezTo>
                          <a:pt x="92" y="24"/>
                          <a:pt x="91" y="24"/>
                          <a:pt x="91" y="23"/>
                        </a:cubicBezTo>
                        <a:cubicBezTo>
                          <a:pt x="92" y="24"/>
                          <a:pt x="92" y="24"/>
                          <a:pt x="92" y="24"/>
                        </a:cubicBezTo>
                        <a:cubicBezTo>
                          <a:pt x="92" y="24"/>
                          <a:pt x="92" y="24"/>
                          <a:pt x="92" y="24"/>
                        </a:cubicBezTo>
                        <a:close/>
                        <a:moveTo>
                          <a:pt x="91" y="28"/>
                        </a:moveTo>
                        <a:cubicBezTo>
                          <a:pt x="91" y="29"/>
                          <a:pt x="91" y="29"/>
                          <a:pt x="91" y="29"/>
                        </a:cubicBezTo>
                        <a:cubicBezTo>
                          <a:pt x="90" y="29"/>
                          <a:pt x="90" y="28"/>
                          <a:pt x="91" y="28"/>
                        </a:cubicBezTo>
                        <a:close/>
                        <a:moveTo>
                          <a:pt x="90" y="27"/>
                        </a:moveTo>
                        <a:cubicBezTo>
                          <a:pt x="90" y="27"/>
                          <a:pt x="91" y="27"/>
                          <a:pt x="91" y="27"/>
                        </a:cubicBezTo>
                        <a:cubicBezTo>
                          <a:pt x="90" y="27"/>
                          <a:pt x="90" y="27"/>
                          <a:pt x="90" y="27"/>
                        </a:cubicBezTo>
                        <a:cubicBezTo>
                          <a:pt x="90" y="27"/>
                          <a:pt x="90" y="27"/>
                          <a:pt x="91" y="27"/>
                        </a:cubicBezTo>
                        <a:cubicBezTo>
                          <a:pt x="91" y="27"/>
                          <a:pt x="91" y="27"/>
                          <a:pt x="91" y="27"/>
                        </a:cubicBezTo>
                        <a:cubicBezTo>
                          <a:pt x="90" y="27"/>
                          <a:pt x="91" y="27"/>
                          <a:pt x="90" y="27"/>
                        </a:cubicBezTo>
                        <a:close/>
                        <a:moveTo>
                          <a:pt x="89" y="31"/>
                        </a:moveTo>
                        <a:cubicBezTo>
                          <a:pt x="89" y="30"/>
                          <a:pt x="89" y="30"/>
                          <a:pt x="89" y="31"/>
                        </a:cubicBezTo>
                        <a:cubicBezTo>
                          <a:pt x="89" y="30"/>
                          <a:pt x="89" y="30"/>
                          <a:pt x="89" y="30"/>
                        </a:cubicBezTo>
                        <a:cubicBezTo>
                          <a:pt x="89" y="30"/>
                          <a:pt x="90" y="31"/>
                          <a:pt x="90" y="31"/>
                        </a:cubicBezTo>
                        <a:cubicBezTo>
                          <a:pt x="89" y="31"/>
                          <a:pt x="89" y="31"/>
                          <a:pt x="89" y="31"/>
                        </a:cubicBezTo>
                        <a:cubicBezTo>
                          <a:pt x="89" y="31"/>
                          <a:pt x="88" y="31"/>
                          <a:pt x="89" y="30"/>
                        </a:cubicBezTo>
                        <a:cubicBezTo>
                          <a:pt x="89" y="30"/>
                          <a:pt x="89" y="31"/>
                          <a:pt x="89" y="31"/>
                        </a:cubicBezTo>
                        <a:close/>
                        <a:moveTo>
                          <a:pt x="90" y="28"/>
                        </a:moveTo>
                        <a:cubicBezTo>
                          <a:pt x="90" y="28"/>
                          <a:pt x="90" y="28"/>
                          <a:pt x="90" y="28"/>
                        </a:cubicBezTo>
                        <a:cubicBezTo>
                          <a:pt x="90" y="28"/>
                          <a:pt x="90" y="29"/>
                          <a:pt x="90" y="28"/>
                        </a:cubicBezTo>
                        <a:cubicBezTo>
                          <a:pt x="90" y="28"/>
                          <a:pt x="90" y="29"/>
                          <a:pt x="90" y="29"/>
                        </a:cubicBezTo>
                        <a:cubicBezTo>
                          <a:pt x="90" y="29"/>
                          <a:pt x="90" y="28"/>
                          <a:pt x="90" y="28"/>
                        </a:cubicBezTo>
                        <a:close/>
                        <a:moveTo>
                          <a:pt x="90" y="25"/>
                        </a:moveTo>
                        <a:cubicBezTo>
                          <a:pt x="91" y="25"/>
                          <a:pt x="90" y="25"/>
                          <a:pt x="91" y="25"/>
                        </a:cubicBezTo>
                        <a:cubicBezTo>
                          <a:pt x="91" y="25"/>
                          <a:pt x="90" y="25"/>
                          <a:pt x="90" y="25"/>
                        </a:cubicBezTo>
                        <a:cubicBezTo>
                          <a:pt x="90" y="25"/>
                          <a:pt x="90" y="25"/>
                          <a:pt x="90" y="25"/>
                        </a:cubicBezTo>
                        <a:close/>
                        <a:moveTo>
                          <a:pt x="91" y="23"/>
                        </a:moveTo>
                        <a:cubicBezTo>
                          <a:pt x="91" y="23"/>
                          <a:pt x="91" y="23"/>
                          <a:pt x="91" y="23"/>
                        </a:cubicBezTo>
                        <a:cubicBezTo>
                          <a:pt x="91" y="24"/>
                          <a:pt x="90" y="23"/>
                          <a:pt x="91" y="23"/>
                        </a:cubicBezTo>
                        <a:close/>
                        <a:moveTo>
                          <a:pt x="90" y="25"/>
                        </a:moveTo>
                        <a:cubicBezTo>
                          <a:pt x="90" y="25"/>
                          <a:pt x="90" y="25"/>
                          <a:pt x="90" y="25"/>
                        </a:cubicBezTo>
                        <a:cubicBezTo>
                          <a:pt x="90" y="25"/>
                          <a:pt x="90" y="25"/>
                          <a:pt x="90" y="25"/>
                        </a:cubicBezTo>
                        <a:close/>
                        <a:moveTo>
                          <a:pt x="88" y="28"/>
                        </a:moveTo>
                        <a:cubicBezTo>
                          <a:pt x="88" y="28"/>
                          <a:pt x="88" y="28"/>
                          <a:pt x="89" y="28"/>
                        </a:cubicBezTo>
                        <a:cubicBezTo>
                          <a:pt x="89" y="28"/>
                          <a:pt x="89" y="28"/>
                          <a:pt x="88" y="28"/>
                        </a:cubicBezTo>
                        <a:cubicBezTo>
                          <a:pt x="88" y="28"/>
                          <a:pt x="88" y="28"/>
                          <a:pt x="89" y="28"/>
                        </a:cubicBezTo>
                        <a:cubicBezTo>
                          <a:pt x="88" y="29"/>
                          <a:pt x="88" y="28"/>
                          <a:pt x="88" y="28"/>
                        </a:cubicBezTo>
                        <a:cubicBezTo>
                          <a:pt x="88" y="28"/>
                          <a:pt x="88" y="28"/>
                          <a:pt x="88" y="28"/>
                        </a:cubicBezTo>
                        <a:close/>
                        <a:moveTo>
                          <a:pt x="88" y="29"/>
                        </a:moveTo>
                        <a:cubicBezTo>
                          <a:pt x="88" y="29"/>
                          <a:pt x="88" y="29"/>
                          <a:pt x="89" y="29"/>
                        </a:cubicBezTo>
                        <a:cubicBezTo>
                          <a:pt x="88" y="29"/>
                          <a:pt x="88" y="29"/>
                          <a:pt x="88" y="29"/>
                        </a:cubicBezTo>
                        <a:close/>
                        <a:moveTo>
                          <a:pt x="90" y="23"/>
                        </a:moveTo>
                        <a:cubicBezTo>
                          <a:pt x="90" y="23"/>
                          <a:pt x="90" y="23"/>
                          <a:pt x="90" y="23"/>
                        </a:cubicBezTo>
                        <a:cubicBezTo>
                          <a:pt x="90" y="23"/>
                          <a:pt x="90" y="23"/>
                          <a:pt x="90" y="23"/>
                        </a:cubicBezTo>
                        <a:cubicBezTo>
                          <a:pt x="90" y="23"/>
                          <a:pt x="90" y="23"/>
                          <a:pt x="90" y="23"/>
                        </a:cubicBezTo>
                        <a:close/>
                        <a:moveTo>
                          <a:pt x="88" y="29"/>
                        </a:moveTo>
                        <a:cubicBezTo>
                          <a:pt x="88" y="29"/>
                          <a:pt x="87" y="29"/>
                          <a:pt x="87" y="29"/>
                        </a:cubicBezTo>
                        <a:cubicBezTo>
                          <a:pt x="87" y="29"/>
                          <a:pt x="88" y="29"/>
                          <a:pt x="88" y="29"/>
                        </a:cubicBezTo>
                        <a:close/>
                        <a:moveTo>
                          <a:pt x="88" y="28"/>
                        </a:moveTo>
                        <a:cubicBezTo>
                          <a:pt x="88" y="28"/>
                          <a:pt x="88" y="28"/>
                          <a:pt x="88" y="28"/>
                        </a:cubicBezTo>
                        <a:cubicBezTo>
                          <a:pt x="87" y="28"/>
                          <a:pt x="87" y="28"/>
                          <a:pt x="86" y="27"/>
                        </a:cubicBezTo>
                        <a:cubicBezTo>
                          <a:pt x="87" y="27"/>
                          <a:pt x="88" y="28"/>
                          <a:pt x="88" y="28"/>
                        </a:cubicBezTo>
                        <a:close/>
                        <a:moveTo>
                          <a:pt x="88" y="25"/>
                        </a:moveTo>
                        <a:cubicBezTo>
                          <a:pt x="88" y="25"/>
                          <a:pt x="88" y="25"/>
                          <a:pt x="89" y="25"/>
                        </a:cubicBezTo>
                        <a:cubicBezTo>
                          <a:pt x="88" y="25"/>
                          <a:pt x="88" y="25"/>
                          <a:pt x="88" y="25"/>
                        </a:cubicBezTo>
                        <a:close/>
                        <a:moveTo>
                          <a:pt x="86" y="29"/>
                        </a:moveTo>
                        <a:cubicBezTo>
                          <a:pt x="86" y="29"/>
                          <a:pt x="87" y="29"/>
                          <a:pt x="87" y="29"/>
                        </a:cubicBezTo>
                        <a:cubicBezTo>
                          <a:pt x="87" y="30"/>
                          <a:pt x="86" y="30"/>
                          <a:pt x="86" y="29"/>
                        </a:cubicBezTo>
                        <a:close/>
                        <a:moveTo>
                          <a:pt x="86" y="30"/>
                        </a:moveTo>
                        <a:cubicBezTo>
                          <a:pt x="86" y="30"/>
                          <a:pt x="86" y="30"/>
                          <a:pt x="86" y="30"/>
                        </a:cubicBezTo>
                        <a:cubicBezTo>
                          <a:pt x="86" y="30"/>
                          <a:pt x="87" y="30"/>
                          <a:pt x="87" y="30"/>
                        </a:cubicBezTo>
                        <a:cubicBezTo>
                          <a:pt x="87" y="30"/>
                          <a:pt x="86" y="30"/>
                          <a:pt x="86" y="30"/>
                        </a:cubicBezTo>
                        <a:cubicBezTo>
                          <a:pt x="86" y="30"/>
                          <a:pt x="86" y="30"/>
                          <a:pt x="86" y="30"/>
                        </a:cubicBezTo>
                        <a:close/>
                        <a:moveTo>
                          <a:pt x="88" y="23"/>
                        </a:moveTo>
                        <a:cubicBezTo>
                          <a:pt x="88" y="23"/>
                          <a:pt x="88" y="23"/>
                          <a:pt x="89" y="23"/>
                        </a:cubicBezTo>
                        <a:cubicBezTo>
                          <a:pt x="88" y="23"/>
                          <a:pt x="88" y="23"/>
                          <a:pt x="88" y="23"/>
                        </a:cubicBezTo>
                        <a:cubicBezTo>
                          <a:pt x="88" y="23"/>
                          <a:pt x="88" y="23"/>
                          <a:pt x="88" y="23"/>
                        </a:cubicBezTo>
                        <a:cubicBezTo>
                          <a:pt x="88" y="23"/>
                          <a:pt x="88" y="23"/>
                          <a:pt x="88" y="23"/>
                        </a:cubicBezTo>
                        <a:close/>
                        <a:moveTo>
                          <a:pt x="86" y="27"/>
                        </a:moveTo>
                        <a:cubicBezTo>
                          <a:pt x="86" y="27"/>
                          <a:pt x="86" y="27"/>
                          <a:pt x="86" y="27"/>
                        </a:cubicBezTo>
                        <a:cubicBezTo>
                          <a:pt x="86" y="27"/>
                          <a:pt x="86" y="27"/>
                          <a:pt x="86" y="27"/>
                        </a:cubicBezTo>
                        <a:cubicBezTo>
                          <a:pt x="86" y="27"/>
                          <a:pt x="86" y="27"/>
                          <a:pt x="86" y="27"/>
                        </a:cubicBezTo>
                        <a:close/>
                        <a:moveTo>
                          <a:pt x="87" y="22"/>
                        </a:moveTo>
                        <a:cubicBezTo>
                          <a:pt x="88" y="22"/>
                          <a:pt x="87" y="22"/>
                          <a:pt x="87" y="22"/>
                        </a:cubicBezTo>
                        <a:cubicBezTo>
                          <a:pt x="87" y="22"/>
                          <a:pt x="87" y="22"/>
                          <a:pt x="87" y="22"/>
                        </a:cubicBezTo>
                        <a:close/>
                        <a:moveTo>
                          <a:pt x="86" y="24"/>
                        </a:moveTo>
                        <a:cubicBezTo>
                          <a:pt x="86" y="24"/>
                          <a:pt x="86" y="24"/>
                          <a:pt x="86" y="24"/>
                        </a:cubicBezTo>
                        <a:cubicBezTo>
                          <a:pt x="87" y="24"/>
                          <a:pt x="87" y="24"/>
                          <a:pt x="87" y="24"/>
                        </a:cubicBezTo>
                        <a:cubicBezTo>
                          <a:pt x="87" y="24"/>
                          <a:pt x="87" y="24"/>
                          <a:pt x="86" y="24"/>
                        </a:cubicBezTo>
                        <a:close/>
                        <a:moveTo>
                          <a:pt x="86" y="27"/>
                        </a:moveTo>
                        <a:cubicBezTo>
                          <a:pt x="86" y="27"/>
                          <a:pt x="85" y="27"/>
                          <a:pt x="85" y="27"/>
                        </a:cubicBezTo>
                        <a:cubicBezTo>
                          <a:pt x="85" y="27"/>
                          <a:pt x="85" y="27"/>
                          <a:pt x="86" y="27"/>
                        </a:cubicBezTo>
                        <a:close/>
                        <a:moveTo>
                          <a:pt x="86" y="25"/>
                        </a:moveTo>
                        <a:cubicBezTo>
                          <a:pt x="86" y="25"/>
                          <a:pt x="86" y="25"/>
                          <a:pt x="86" y="24"/>
                        </a:cubicBezTo>
                        <a:cubicBezTo>
                          <a:pt x="86" y="24"/>
                          <a:pt x="86" y="24"/>
                          <a:pt x="86" y="25"/>
                        </a:cubicBezTo>
                        <a:close/>
                        <a:moveTo>
                          <a:pt x="85" y="26"/>
                        </a:moveTo>
                        <a:cubicBezTo>
                          <a:pt x="85" y="26"/>
                          <a:pt x="85" y="26"/>
                          <a:pt x="85" y="26"/>
                        </a:cubicBezTo>
                        <a:cubicBezTo>
                          <a:pt x="85" y="26"/>
                          <a:pt x="85" y="26"/>
                          <a:pt x="85" y="26"/>
                        </a:cubicBezTo>
                        <a:close/>
                        <a:moveTo>
                          <a:pt x="86" y="24"/>
                        </a:moveTo>
                        <a:cubicBezTo>
                          <a:pt x="86" y="24"/>
                          <a:pt x="86" y="24"/>
                          <a:pt x="86" y="24"/>
                        </a:cubicBezTo>
                        <a:cubicBezTo>
                          <a:pt x="85" y="24"/>
                          <a:pt x="86" y="24"/>
                          <a:pt x="86" y="24"/>
                        </a:cubicBezTo>
                        <a:close/>
                        <a:moveTo>
                          <a:pt x="84" y="22"/>
                        </a:moveTo>
                        <a:cubicBezTo>
                          <a:pt x="85" y="22"/>
                          <a:pt x="85" y="22"/>
                          <a:pt x="85" y="22"/>
                        </a:cubicBezTo>
                        <a:cubicBezTo>
                          <a:pt x="85" y="23"/>
                          <a:pt x="85" y="22"/>
                          <a:pt x="84" y="22"/>
                        </a:cubicBezTo>
                        <a:close/>
                        <a:moveTo>
                          <a:pt x="84" y="24"/>
                        </a:moveTo>
                        <a:cubicBezTo>
                          <a:pt x="84" y="24"/>
                          <a:pt x="84" y="24"/>
                          <a:pt x="84" y="24"/>
                        </a:cubicBezTo>
                        <a:cubicBezTo>
                          <a:pt x="84" y="24"/>
                          <a:pt x="84" y="23"/>
                          <a:pt x="84" y="23"/>
                        </a:cubicBezTo>
                        <a:cubicBezTo>
                          <a:pt x="84" y="23"/>
                          <a:pt x="84" y="23"/>
                          <a:pt x="84" y="23"/>
                        </a:cubicBezTo>
                        <a:cubicBezTo>
                          <a:pt x="84" y="24"/>
                          <a:pt x="84" y="23"/>
                          <a:pt x="85" y="23"/>
                        </a:cubicBezTo>
                        <a:cubicBezTo>
                          <a:pt x="85" y="24"/>
                          <a:pt x="85" y="24"/>
                          <a:pt x="85" y="24"/>
                        </a:cubicBezTo>
                        <a:cubicBezTo>
                          <a:pt x="85" y="24"/>
                          <a:pt x="85" y="24"/>
                          <a:pt x="84" y="24"/>
                        </a:cubicBezTo>
                        <a:cubicBezTo>
                          <a:pt x="84" y="24"/>
                          <a:pt x="84" y="24"/>
                          <a:pt x="84" y="24"/>
                        </a:cubicBezTo>
                        <a:cubicBezTo>
                          <a:pt x="84" y="24"/>
                          <a:pt x="84" y="24"/>
                          <a:pt x="84" y="24"/>
                        </a:cubicBezTo>
                        <a:close/>
                        <a:moveTo>
                          <a:pt x="82" y="28"/>
                        </a:moveTo>
                        <a:cubicBezTo>
                          <a:pt x="82" y="28"/>
                          <a:pt x="83" y="28"/>
                          <a:pt x="83" y="29"/>
                        </a:cubicBezTo>
                        <a:cubicBezTo>
                          <a:pt x="82" y="29"/>
                          <a:pt x="82" y="28"/>
                          <a:pt x="82" y="28"/>
                        </a:cubicBezTo>
                        <a:close/>
                        <a:moveTo>
                          <a:pt x="83" y="24"/>
                        </a:moveTo>
                        <a:cubicBezTo>
                          <a:pt x="84" y="24"/>
                          <a:pt x="83" y="24"/>
                          <a:pt x="83" y="24"/>
                        </a:cubicBezTo>
                        <a:cubicBezTo>
                          <a:pt x="84" y="25"/>
                          <a:pt x="84" y="25"/>
                          <a:pt x="84" y="24"/>
                        </a:cubicBezTo>
                        <a:cubicBezTo>
                          <a:pt x="84" y="25"/>
                          <a:pt x="84" y="25"/>
                          <a:pt x="84" y="25"/>
                        </a:cubicBezTo>
                        <a:cubicBezTo>
                          <a:pt x="84" y="25"/>
                          <a:pt x="84" y="25"/>
                          <a:pt x="83" y="24"/>
                        </a:cubicBezTo>
                        <a:cubicBezTo>
                          <a:pt x="83" y="24"/>
                          <a:pt x="83" y="24"/>
                          <a:pt x="83" y="24"/>
                        </a:cubicBezTo>
                        <a:close/>
                        <a:moveTo>
                          <a:pt x="85" y="22"/>
                        </a:moveTo>
                        <a:cubicBezTo>
                          <a:pt x="85" y="22"/>
                          <a:pt x="84" y="22"/>
                          <a:pt x="84" y="21"/>
                        </a:cubicBezTo>
                        <a:cubicBezTo>
                          <a:pt x="84" y="21"/>
                          <a:pt x="84" y="21"/>
                          <a:pt x="85" y="22"/>
                        </a:cubicBezTo>
                        <a:close/>
                        <a:moveTo>
                          <a:pt x="84" y="23"/>
                        </a:moveTo>
                        <a:cubicBezTo>
                          <a:pt x="84" y="23"/>
                          <a:pt x="84" y="23"/>
                          <a:pt x="84" y="23"/>
                        </a:cubicBezTo>
                        <a:cubicBezTo>
                          <a:pt x="84" y="23"/>
                          <a:pt x="84" y="23"/>
                          <a:pt x="83" y="23"/>
                        </a:cubicBezTo>
                        <a:cubicBezTo>
                          <a:pt x="83" y="23"/>
                          <a:pt x="83" y="23"/>
                          <a:pt x="83" y="23"/>
                        </a:cubicBezTo>
                        <a:cubicBezTo>
                          <a:pt x="84" y="23"/>
                          <a:pt x="84" y="23"/>
                          <a:pt x="84" y="23"/>
                        </a:cubicBezTo>
                        <a:close/>
                        <a:moveTo>
                          <a:pt x="82" y="27"/>
                        </a:moveTo>
                        <a:cubicBezTo>
                          <a:pt x="82" y="26"/>
                          <a:pt x="83" y="27"/>
                          <a:pt x="83" y="27"/>
                        </a:cubicBezTo>
                        <a:cubicBezTo>
                          <a:pt x="83" y="27"/>
                          <a:pt x="82" y="27"/>
                          <a:pt x="82" y="27"/>
                        </a:cubicBezTo>
                        <a:close/>
                        <a:moveTo>
                          <a:pt x="83" y="23"/>
                        </a:moveTo>
                        <a:cubicBezTo>
                          <a:pt x="83" y="23"/>
                          <a:pt x="83" y="23"/>
                          <a:pt x="82" y="23"/>
                        </a:cubicBezTo>
                        <a:cubicBezTo>
                          <a:pt x="83" y="23"/>
                          <a:pt x="83" y="23"/>
                          <a:pt x="84" y="23"/>
                        </a:cubicBezTo>
                        <a:cubicBezTo>
                          <a:pt x="84" y="23"/>
                          <a:pt x="83" y="23"/>
                          <a:pt x="83" y="23"/>
                        </a:cubicBezTo>
                        <a:close/>
                        <a:moveTo>
                          <a:pt x="81" y="24"/>
                        </a:moveTo>
                        <a:cubicBezTo>
                          <a:pt x="82" y="24"/>
                          <a:pt x="83" y="24"/>
                          <a:pt x="83" y="24"/>
                        </a:cubicBezTo>
                        <a:cubicBezTo>
                          <a:pt x="83" y="24"/>
                          <a:pt x="82" y="24"/>
                          <a:pt x="81" y="24"/>
                        </a:cubicBezTo>
                        <a:close/>
                        <a:moveTo>
                          <a:pt x="82" y="27"/>
                        </a:moveTo>
                        <a:cubicBezTo>
                          <a:pt x="82" y="28"/>
                          <a:pt x="81" y="27"/>
                          <a:pt x="81" y="27"/>
                        </a:cubicBezTo>
                        <a:cubicBezTo>
                          <a:pt x="82" y="27"/>
                          <a:pt x="82" y="27"/>
                          <a:pt x="82" y="27"/>
                        </a:cubicBezTo>
                        <a:close/>
                        <a:moveTo>
                          <a:pt x="83" y="21"/>
                        </a:moveTo>
                        <a:cubicBezTo>
                          <a:pt x="83" y="21"/>
                          <a:pt x="83" y="21"/>
                          <a:pt x="83" y="21"/>
                        </a:cubicBezTo>
                        <a:cubicBezTo>
                          <a:pt x="83" y="21"/>
                          <a:pt x="83" y="21"/>
                          <a:pt x="83" y="21"/>
                        </a:cubicBezTo>
                        <a:cubicBezTo>
                          <a:pt x="83" y="21"/>
                          <a:pt x="84" y="21"/>
                          <a:pt x="83" y="21"/>
                        </a:cubicBezTo>
                        <a:close/>
                        <a:moveTo>
                          <a:pt x="83" y="23"/>
                        </a:moveTo>
                        <a:cubicBezTo>
                          <a:pt x="83" y="23"/>
                          <a:pt x="83" y="23"/>
                          <a:pt x="83" y="24"/>
                        </a:cubicBezTo>
                        <a:cubicBezTo>
                          <a:pt x="83" y="24"/>
                          <a:pt x="83" y="24"/>
                          <a:pt x="83" y="24"/>
                        </a:cubicBezTo>
                        <a:cubicBezTo>
                          <a:pt x="83" y="24"/>
                          <a:pt x="82" y="23"/>
                          <a:pt x="82" y="23"/>
                        </a:cubicBezTo>
                        <a:cubicBezTo>
                          <a:pt x="82" y="23"/>
                          <a:pt x="83" y="23"/>
                          <a:pt x="83" y="23"/>
                        </a:cubicBezTo>
                        <a:close/>
                        <a:moveTo>
                          <a:pt x="81" y="26"/>
                        </a:moveTo>
                        <a:cubicBezTo>
                          <a:pt x="81" y="26"/>
                          <a:pt x="81" y="26"/>
                          <a:pt x="81" y="26"/>
                        </a:cubicBezTo>
                        <a:cubicBezTo>
                          <a:pt x="81" y="26"/>
                          <a:pt x="81" y="26"/>
                          <a:pt x="81" y="26"/>
                        </a:cubicBezTo>
                        <a:cubicBezTo>
                          <a:pt x="81" y="26"/>
                          <a:pt x="81" y="26"/>
                          <a:pt x="81" y="26"/>
                        </a:cubicBezTo>
                        <a:close/>
                        <a:moveTo>
                          <a:pt x="82" y="22"/>
                        </a:moveTo>
                        <a:cubicBezTo>
                          <a:pt x="82" y="21"/>
                          <a:pt x="82" y="22"/>
                          <a:pt x="82" y="22"/>
                        </a:cubicBezTo>
                        <a:cubicBezTo>
                          <a:pt x="82" y="22"/>
                          <a:pt x="82" y="22"/>
                          <a:pt x="82" y="22"/>
                        </a:cubicBezTo>
                        <a:close/>
                        <a:moveTo>
                          <a:pt x="79" y="32"/>
                        </a:moveTo>
                        <a:cubicBezTo>
                          <a:pt x="79" y="32"/>
                          <a:pt x="79" y="31"/>
                          <a:pt x="79" y="31"/>
                        </a:cubicBezTo>
                        <a:cubicBezTo>
                          <a:pt x="79" y="31"/>
                          <a:pt x="79" y="31"/>
                          <a:pt x="79" y="31"/>
                        </a:cubicBezTo>
                        <a:cubicBezTo>
                          <a:pt x="79" y="32"/>
                          <a:pt x="79" y="32"/>
                          <a:pt x="79" y="32"/>
                        </a:cubicBezTo>
                        <a:close/>
                        <a:moveTo>
                          <a:pt x="80" y="27"/>
                        </a:moveTo>
                        <a:cubicBezTo>
                          <a:pt x="80" y="28"/>
                          <a:pt x="80" y="27"/>
                          <a:pt x="80" y="27"/>
                        </a:cubicBezTo>
                        <a:cubicBezTo>
                          <a:pt x="80" y="27"/>
                          <a:pt x="80" y="27"/>
                          <a:pt x="80" y="27"/>
                        </a:cubicBezTo>
                        <a:close/>
                        <a:moveTo>
                          <a:pt x="79" y="30"/>
                        </a:moveTo>
                        <a:cubicBezTo>
                          <a:pt x="79" y="30"/>
                          <a:pt x="79" y="30"/>
                          <a:pt x="79" y="30"/>
                        </a:cubicBezTo>
                        <a:cubicBezTo>
                          <a:pt x="79" y="30"/>
                          <a:pt x="79" y="30"/>
                          <a:pt x="79" y="30"/>
                        </a:cubicBezTo>
                        <a:cubicBezTo>
                          <a:pt x="79" y="30"/>
                          <a:pt x="79" y="30"/>
                          <a:pt x="79" y="30"/>
                        </a:cubicBezTo>
                        <a:close/>
                        <a:moveTo>
                          <a:pt x="80" y="26"/>
                        </a:moveTo>
                        <a:cubicBezTo>
                          <a:pt x="80" y="26"/>
                          <a:pt x="80" y="26"/>
                          <a:pt x="80" y="26"/>
                        </a:cubicBezTo>
                        <a:cubicBezTo>
                          <a:pt x="80" y="26"/>
                          <a:pt x="80" y="26"/>
                          <a:pt x="80" y="26"/>
                        </a:cubicBezTo>
                        <a:cubicBezTo>
                          <a:pt x="80" y="26"/>
                          <a:pt x="80" y="26"/>
                          <a:pt x="80" y="26"/>
                        </a:cubicBezTo>
                        <a:close/>
                        <a:moveTo>
                          <a:pt x="79" y="30"/>
                        </a:moveTo>
                        <a:cubicBezTo>
                          <a:pt x="79" y="30"/>
                          <a:pt x="78" y="30"/>
                          <a:pt x="78" y="30"/>
                        </a:cubicBezTo>
                        <a:cubicBezTo>
                          <a:pt x="78" y="30"/>
                          <a:pt x="79" y="30"/>
                          <a:pt x="79" y="30"/>
                        </a:cubicBezTo>
                        <a:close/>
                        <a:moveTo>
                          <a:pt x="80" y="24"/>
                        </a:moveTo>
                        <a:cubicBezTo>
                          <a:pt x="80" y="24"/>
                          <a:pt x="80" y="24"/>
                          <a:pt x="80" y="24"/>
                        </a:cubicBezTo>
                        <a:cubicBezTo>
                          <a:pt x="80" y="24"/>
                          <a:pt x="79" y="24"/>
                          <a:pt x="80" y="24"/>
                        </a:cubicBezTo>
                        <a:close/>
                        <a:moveTo>
                          <a:pt x="81" y="22"/>
                        </a:moveTo>
                        <a:cubicBezTo>
                          <a:pt x="81" y="22"/>
                          <a:pt x="81" y="22"/>
                          <a:pt x="81" y="22"/>
                        </a:cubicBezTo>
                        <a:cubicBezTo>
                          <a:pt x="81" y="22"/>
                          <a:pt x="81" y="22"/>
                          <a:pt x="81" y="22"/>
                        </a:cubicBezTo>
                        <a:cubicBezTo>
                          <a:pt x="81" y="22"/>
                          <a:pt x="81" y="22"/>
                          <a:pt x="81" y="22"/>
                        </a:cubicBezTo>
                        <a:close/>
                        <a:moveTo>
                          <a:pt x="78" y="30"/>
                        </a:moveTo>
                        <a:cubicBezTo>
                          <a:pt x="78" y="30"/>
                          <a:pt x="78" y="30"/>
                          <a:pt x="78" y="30"/>
                        </a:cubicBezTo>
                        <a:cubicBezTo>
                          <a:pt x="78" y="30"/>
                          <a:pt x="78" y="30"/>
                          <a:pt x="78" y="30"/>
                        </a:cubicBezTo>
                        <a:cubicBezTo>
                          <a:pt x="78" y="30"/>
                          <a:pt x="78" y="30"/>
                          <a:pt x="78" y="30"/>
                        </a:cubicBezTo>
                        <a:cubicBezTo>
                          <a:pt x="77" y="30"/>
                          <a:pt x="77" y="30"/>
                          <a:pt x="77" y="30"/>
                        </a:cubicBezTo>
                        <a:cubicBezTo>
                          <a:pt x="78" y="30"/>
                          <a:pt x="77" y="30"/>
                          <a:pt x="78" y="30"/>
                        </a:cubicBezTo>
                        <a:close/>
                        <a:moveTo>
                          <a:pt x="79" y="21"/>
                        </a:moveTo>
                        <a:cubicBezTo>
                          <a:pt x="79" y="21"/>
                          <a:pt x="80" y="21"/>
                          <a:pt x="80" y="21"/>
                        </a:cubicBezTo>
                        <a:cubicBezTo>
                          <a:pt x="80" y="21"/>
                          <a:pt x="79" y="21"/>
                          <a:pt x="79" y="21"/>
                        </a:cubicBezTo>
                        <a:close/>
                        <a:moveTo>
                          <a:pt x="79" y="21"/>
                        </a:moveTo>
                        <a:cubicBezTo>
                          <a:pt x="79" y="21"/>
                          <a:pt x="78" y="21"/>
                          <a:pt x="78" y="21"/>
                        </a:cubicBezTo>
                        <a:cubicBezTo>
                          <a:pt x="78" y="21"/>
                          <a:pt x="79" y="21"/>
                          <a:pt x="79" y="21"/>
                        </a:cubicBezTo>
                        <a:cubicBezTo>
                          <a:pt x="79" y="21"/>
                          <a:pt x="79" y="21"/>
                          <a:pt x="79" y="21"/>
                        </a:cubicBezTo>
                        <a:cubicBezTo>
                          <a:pt x="79" y="21"/>
                          <a:pt x="79" y="21"/>
                          <a:pt x="79" y="21"/>
                        </a:cubicBezTo>
                        <a:close/>
                        <a:moveTo>
                          <a:pt x="79" y="22"/>
                        </a:moveTo>
                        <a:cubicBezTo>
                          <a:pt x="79" y="22"/>
                          <a:pt x="79" y="22"/>
                          <a:pt x="79" y="22"/>
                        </a:cubicBezTo>
                        <a:cubicBezTo>
                          <a:pt x="79" y="22"/>
                          <a:pt x="79" y="22"/>
                          <a:pt x="78" y="22"/>
                        </a:cubicBezTo>
                        <a:cubicBezTo>
                          <a:pt x="78" y="21"/>
                          <a:pt x="79" y="22"/>
                          <a:pt x="79" y="22"/>
                        </a:cubicBezTo>
                        <a:close/>
                        <a:moveTo>
                          <a:pt x="78" y="21"/>
                        </a:moveTo>
                        <a:cubicBezTo>
                          <a:pt x="78" y="21"/>
                          <a:pt x="78" y="21"/>
                          <a:pt x="78" y="21"/>
                        </a:cubicBezTo>
                        <a:cubicBezTo>
                          <a:pt x="78" y="21"/>
                          <a:pt x="78" y="21"/>
                          <a:pt x="78" y="21"/>
                        </a:cubicBezTo>
                        <a:cubicBezTo>
                          <a:pt x="78" y="21"/>
                          <a:pt x="78" y="21"/>
                          <a:pt x="78" y="21"/>
                        </a:cubicBezTo>
                        <a:close/>
                        <a:moveTo>
                          <a:pt x="76" y="23"/>
                        </a:moveTo>
                        <a:cubicBezTo>
                          <a:pt x="77" y="23"/>
                          <a:pt x="77" y="23"/>
                          <a:pt x="77" y="23"/>
                        </a:cubicBezTo>
                        <a:cubicBezTo>
                          <a:pt x="77" y="23"/>
                          <a:pt x="77" y="23"/>
                          <a:pt x="76" y="2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lose/>
                        <a:moveTo>
                          <a:pt x="77" y="21"/>
                        </a:moveTo>
                        <a:cubicBezTo>
                          <a:pt x="77" y="21"/>
                          <a:pt x="77" y="21"/>
                          <a:pt x="77" y="21"/>
                        </a:cubicBezTo>
                        <a:cubicBezTo>
                          <a:pt x="77" y="21"/>
                          <a:pt x="77" y="21"/>
                          <a:pt x="78" y="21"/>
                        </a:cubicBezTo>
                        <a:cubicBezTo>
                          <a:pt x="78" y="21"/>
                          <a:pt x="77" y="21"/>
                          <a:pt x="77" y="21"/>
                        </a:cubicBezTo>
                        <a:close/>
                        <a:moveTo>
                          <a:pt x="76" y="25"/>
                        </a:moveTo>
                        <a:cubicBezTo>
                          <a:pt x="76" y="25"/>
                          <a:pt x="76" y="25"/>
                          <a:pt x="76" y="25"/>
                        </a:cubicBezTo>
                        <a:cubicBezTo>
                          <a:pt x="75" y="25"/>
                          <a:pt x="75" y="25"/>
                          <a:pt x="75" y="25"/>
                        </a:cubicBezTo>
                        <a:cubicBezTo>
                          <a:pt x="75" y="25"/>
                          <a:pt x="76" y="25"/>
                          <a:pt x="76" y="25"/>
                        </a:cubicBezTo>
                        <a:close/>
                        <a:moveTo>
                          <a:pt x="71" y="29"/>
                        </a:moveTo>
                        <a:cubicBezTo>
                          <a:pt x="71" y="29"/>
                          <a:pt x="70" y="29"/>
                          <a:pt x="70" y="29"/>
                        </a:cubicBezTo>
                        <a:cubicBezTo>
                          <a:pt x="71" y="29"/>
                          <a:pt x="73" y="29"/>
                          <a:pt x="74" y="30"/>
                        </a:cubicBezTo>
                        <a:cubicBezTo>
                          <a:pt x="74" y="30"/>
                          <a:pt x="74" y="30"/>
                          <a:pt x="74" y="30"/>
                        </a:cubicBezTo>
                        <a:cubicBezTo>
                          <a:pt x="73" y="29"/>
                          <a:pt x="72" y="29"/>
                          <a:pt x="71" y="29"/>
                        </a:cubicBezTo>
                        <a:cubicBezTo>
                          <a:pt x="71" y="29"/>
                          <a:pt x="71" y="29"/>
                          <a:pt x="71" y="29"/>
                        </a:cubicBezTo>
                        <a:close/>
                        <a:moveTo>
                          <a:pt x="75" y="21"/>
                        </a:moveTo>
                        <a:cubicBezTo>
                          <a:pt x="75" y="21"/>
                          <a:pt x="75" y="22"/>
                          <a:pt x="75" y="22"/>
                        </a:cubicBezTo>
                        <a:cubicBezTo>
                          <a:pt x="75" y="21"/>
                          <a:pt x="75" y="21"/>
                          <a:pt x="75" y="21"/>
                        </a:cubicBezTo>
                        <a:cubicBezTo>
                          <a:pt x="75" y="21"/>
                          <a:pt x="75" y="21"/>
                          <a:pt x="75" y="21"/>
                        </a:cubicBezTo>
                        <a:cubicBezTo>
                          <a:pt x="75" y="21"/>
                          <a:pt x="75" y="21"/>
                          <a:pt x="75" y="21"/>
                        </a:cubicBezTo>
                        <a:cubicBezTo>
                          <a:pt x="75" y="21"/>
                          <a:pt x="75" y="21"/>
                          <a:pt x="76" y="21"/>
                        </a:cubicBezTo>
                        <a:cubicBezTo>
                          <a:pt x="76" y="21"/>
                          <a:pt x="76" y="21"/>
                          <a:pt x="76" y="21"/>
                        </a:cubicBezTo>
                        <a:cubicBezTo>
                          <a:pt x="76" y="22"/>
                          <a:pt x="76" y="22"/>
                          <a:pt x="76" y="22"/>
                        </a:cubicBezTo>
                        <a:cubicBezTo>
                          <a:pt x="76" y="22"/>
                          <a:pt x="76" y="22"/>
                          <a:pt x="76" y="22"/>
                        </a:cubicBezTo>
                        <a:cubicBezTo>
                          <a:pt x="76" y="22"/>
                          <a:pt x="75" y="22"/>
                          <a:pt x="75" y="21"/>
                        </a:cubicBezTo>
                        <a:close/>
                        <a:moveTo>
                          <a:pt x="74" y="21"/>
                        </a:moveTo>
                        <a:cubicBezTo>
                          <a:pt x="74" y="21"/>
                          <a:pt x="74" y="21"/>
                          <a:pt x="74" y="21"/>
                        </a:cubicBezTo>
                        <a:cubicBezTo>
                          <a:pt x="74" y="21"/>
                          <a:pt x="73" y="21"/>
                          <a:pt x="73" y="20"/>
                        </a:cubicBezTo>
                        <a:cubicBezTo>
                          <a:pt x="73" y="20"/>
                          <a:pt x="73" y="21"/>
                          <a:pt x="73" y="20"/>
                        </a:cubicBezTo>
                        <a:cubicBezTo>
                          <a:pt x="73" y="20"/>
                          <a:pt x="74" y="20"/>
                          <a:pt x="73" y="21"/>
                        </a:cubicBezTo>
                        <a:cubicBezTo>
                          <a:pt x="74" y="21"/>
                          <a:pt x="74" y="21"/>
                          <a:pt x="75" y="21"/>
                        </a:cubicBezTo>
                        <a:cubicBezTo>
                          <a:pt x="74" y="21"/>
                          <a:pt x="74" y="21"/>
                          <a:pt x="74" y="21"/>
                        </a:cubicBezTo>
                        <a:cubicBezTo>
                          <a:pt x="74" y="21"/>
                          <a:pt x="74" y="21"/>
                          <a:pt x="74" y="21"/>
                        </a:cubicBezTo>
                        <a:close/>
                        <a:moveTo>
                          <a:pt x="73" y="24"/>
                        </a:moveTo>
                        <a:cubicBezTo>
                          <a:pt x="74" y="24"/>
                          <a:pt x="73" y="24"/>
                          <a:pt x="73" y="24"/>
                        </a:cubicBezTo>
                        <a:cubicBezTo>
                          <a:pt x="73" y="24"/>
                          <a:pt x="73" y="24"/>
                          <a:pt x="73" y="24"/>
                        </a:cubicBezTo>
                        <a:cubicBezTo>
                          <a:pt x="73" y="23"/>
                          <a:pt x="73" y="24"/>
                          <a:pt x="73" y="24"/>
                        </a:cubicBezTo>
                        <a:close/>
                        <a:moveTo>
                          <a:pt x="74" y="21"/>
                        </a:moveTo>
                        <a:cubicBezTo>
                          <a:pt x="74" y="21"/>
                          <a:pt x="74" y="21"/>
                          <a:pt x="74" y="21"/>
                        </a:cubicBezTo>
                        <a:cubicBezTo>
                          <a:pt x="74" y="21"/>
                          <a:pt x="74" y="21"/>
                          <a:pt x="74" y="21"/>
                        </a:cubicBezTo>
                        <a:cubicBezTo>
                          <a:pt x="74" y="21"/>
                          <a:pt x="74" y="21"/>
                          <a:pt x="74" y="21"/>
                        </a:cubicBezTo>
                        <a:close/>
                        <a:moveTo>
                          <a:pt x="74" y="20"/>
                        </a:moveTo>
                        <a:cubicBezTo>
                          <a:pt x="73" y="20"/>
                          <a:pt x="74" y="20"/>
                          <a:pt x="74" y="20"/>
                        </a:cubicBezTo>
                        <a:cubicBezTo>
                          <a:pt x="74" y="20"/>
                          <a:pt x="74" y="20"/>
                          <a:pt x="74" y="20"/>
                        </a:cubicBezTo>
                        <a:close/>
                        <a:moveTo>
                          <a:pt x="74" y="20"/>
                        </a:moveTo>
                        <a:cubicBezTo>
                          <a:pt x="74" y="20"/>
                          <a:pt x="74" y="20"/>
                          <a:pt x="74" y="20"/>
                        </a:cubicBezTo>
                        <a:cubicBezTo>
                          <a:pt x="74" y="20"/>
                          <a:pt x="73" y="20"/>
                          <a:pt x="74" y="20"/>
                        </a:cubicBezTo>
                        <a:close/>
                        <a:moveTo>
                          <a:pt x="72" y="23"/>
                        </a:moveTo>
                        <a:cubicBezTo>
                          <a:pt x="72" y="23"/>
                          <a:pt x="72" y="23"/>
                          <a:pt x="72" y="23"/>
                        </a:cubicBezTo>
                        <a:cubicBezTo>
                          <a:pt x="72" y="23"/>
                          <a:pt x="72" y="23"/>
                          <a:pt x="72" y="23"/>
                        </a:cubicBezTo>
                        <a:cubicBezTo>
                          <a:pt x="72" y="23"/>
                          <a:pt x="72" y="23"/>
                          <a:pt x="72" y="23"/>
                        </a:cubicBezTo>
                        <a:close/>
                        <a:moveTo>
                          <a:pt x="72" y="19"/>
                        </a:moveTo>
                        <a:cubicBezTo>
                          <a:pt x="73" y="19"/>
                          <a:pt x="73" y="19"/>
                          <a:pt x="73" y="19"/>
                        </a:cubicBezTo>
                        <a:cubicBezTo>
                          <a:pt x="73" y="19"/>
                          <a:pt x="72" y="19"/>
                          <a:pt x="72" y="19"/>
                        </a:cubicBezTo>
                        <a:close/>
                        <a:moveTo>
                          <a:pt x="72" y="21"/>
                        </a:moveTo>
                        <a:cubicBezTo>
                          <a:pt x="72" y="21"/>
                          <a:pt x="72" y="21"/>
                          <a:pt x="72" y="21"/>
                        </a:cubicBezTo>
                        <a:cubicBezTo>
                          <a:pt x="72" y="21"/>
                          <a:pt x="72" y="21"/>
                          <a:pt x="72" y="21"/>
                        </a:cubicBezTo>
                        <a:cubicBezTo>
                          <a:pt x="72" y="21"/>
                          <a:pt x="72" y="21"/>
                          <a:pt x="72" y="21"/>
                        </a:cubicBezTo>
                        <a:close/>
                        <a:moveTo>
                          <a:pt x="72" y="19"/>
                        </a:moveTo>
                        <a:cubicBezTo>
                          <a:pt x="72" y="19"/>
                          <a:pt x="71" y="19"/>
                          <a:pt x="71" y="19"/>
                        </a:cubicBezTo>
                        <a:cubicBezTo>
                          <a:pt x="72" y="19"/>
                          <a:pt x="72" y="19"/>
                          <a:pt x="72" y="19"/>
                        </a:cubicBezTo>
                        <a:cubicBezTo>
                          <a:pt x="73" y="19"/>
                          <a:pt x="73" y="19"/>
                          <a:pt x="73" y="19"/>
                        </a:cubicBezTo>
                        <a:cubicBezTo>
                          <a:pt x="73" y="19"/>
                          <a:pt x="72" y="19"/>
                          <a:pt x="72" y="19"/>
                        </a:cubicBezTo>
                        <a:cubicBezTo>
                          <a:pt x="72" y="19"/>
                          <a:pt x="72" y="19"/>
                          <a:pt x="72" y="19"/>
                        </a:cubicBezTo>
                        <a:close/>
                        <a:moveTo>
                          <a:pt x="72" y="19"/>
                        </a:moveTo>
                        <a:cubicBezTo>
                          <a:pt x="72" y="19"/>
                          <a:pt x="72" y="20"/>
                          <a:pt x="72" y="20"/>
                        </a:cubicBezTo>
                        <a:cubicBezTo>
                          <a:pt x="72" y="20"/>
                          <a:pt x="72" y="20"/>
                          <a:pt x="72" y="19"/>
                        </a:cubicBezTo>
                        <a:close/>
                        <a:moveTo>
                          <a:pt x="71" y="23"/>
                        </a:moveTo>
                        <a:cubicBezTo>
                          <a:pt x="70" y="23"/>
                          <a:pt x="69" y="23"/>
                          <a:pt x="69" y="23"/>
                        </a:cubicBezTo>
                        <a:cubicBezTo>
                          <a:pt x="70" y="23"/>
                          <a:pt x="70" y="23"/>
                          <a:pt x="71" y="23"/>
                        </a:cubicBezTo>
                        <a:cubicBezTo>
                          <a:pt x="71" y="23"/>
                          <a:pt x="71" y="23"/>
                          <a:pt x="71" y="23"/>
                        </a:cubicBezTo>
                        <a:close/>
                        <a:moveTo>
                          <a:pt x="70" y="22"/>
                        </a:moveTo>
                        <a:cubicBezTo>
                          <a:pt x="71" y="22"/>
                          <a:pt x="71" y="22"/>
                          <a:pt x="71" y="21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2"/>
                          <a:pt x="71" y="22"/>
                          <a:pt x="70" y="22"/>
                        </a:cubicBezTo>
                        <a:cubicBezTo>
                          <a:pt x="70" y="22"/>
                          <a:pt x="70" y="22"/>
                          <a:pt x="70" y="22"/>
                        </a:cubicBezTo>
                        <a:close/>
                        <a:moveTo>
                          <a:pt x="70" y="21"/>
                        </a:moveTo>
                        <a:cubicBezTo>
                          <a:pt x="70" y="21"/>
                          <a:pt x="71" y="21"/>
                          <a:pt x="71" y="21"/>
                        </a:cubicBezTo>
                        <a:cubicBezTo>
                          <a:pt x="71" y="21"/>
                          <a:pt x="71" y="21"/>
                          <a:pt x="71" y="21"/>
                        </a:cubicBezTo>
                        <a:cubicBezTo>
                          <a:pt x="71" y="21"/>
                          <a:pt x="70" y="21"/>
                          <a:pt x="70" y="21"/>
                        </a:cubicBezTo>
                        <a:close/>
                        <a:moveTo>
                          <a:pt x="71" y="21"/>
                        </a:moveTo>
                        <a:cubicBezTo>
                          <a:pt x="71" y="21"/>
                          <a:pt x="70" y="21"/>
                          <a:pt x="70" y="21"/>
                        </a:cubicBezTo>
                        <a:cubicBezTo>
                          <a:pt x="70" y="20"/>
                          <a:pt x="71" y="21"/>
                          <a:pt x="71" y="21"/>
                        </a:cubicBezTo>
                        <a:close/>
                        <a:moveTo>
                          <a:pt x="69" y="21"/>
                        </a:moveTo>
                        <a:cubicBezTo>
                          <a:pt x="70" y="21"/>
                          <a:pt x="70" y="20"/>
                          <a:pt x="69" y="20"/>
                        </a:cubicBezTo>
                        <a:cubicBezTo>
                          <a:pt x="70" y="20"/>
                          <a:pt x="70" y="21"/>
                          <a:pt x="70" y="21"/>
                        </a:cubicBezTo>
                        <a:cubicBezTo>
                          <a:pt x="70" y="21"/>
                          <a:pt x="70" y="21"/>
                          <a:pt x="69" y="21"/>
                        </a:cubicBezTo>
                        <a:close/>
                        <a:moveTo>
                          <a:pt x="69" y="22"/>
                        </a:moveTo>
                        <a:cubicBezTo>
                          <a:pt x="69" y="22"/>
                          <a:pt x="69" y="22"/>
                          <a:pt x="69" y="22"/>
                        </a:cubicBezTo>
                        <a:cubicBezTo>
                          <a:pt x="69" y="22"/>
                          <a:pt x="69" y="22"/>
                          <a:pt x="69" y="22"/>
                        </a:cubicBezTo>
                        <a:cubicBezTo>
                          <a:pt x="69" y="22"/>
                          <a:pt x="69" y="22"/>
                          <a:pt x="69" y="22"/>
                        </a:cubicBezTo>
                        <a:cubicBezTo>
                          <a:pt x="69" y="21"/>
                          <a:pt x="68" y="21"/>
                          <a:pt x="67" y="21"/>
                        </a:cubicBezTo>
                        <a:cubicBezTo>
                          <a:pt x="67" y="21"/>
                          <a:pt x="66" y="21"/>
                          <a:pt x="66" y="21"/>
                        </a:cubicBezTo>
                        <a:cubicBezTo>
                          <a:pt x="67" y="21"/>
                          <a:pt x="68" y="21"/>
                          <a:pt x="70" y="22"/>
                        </a:cubicBezTo>
                        <a:cubicBezTo>
                          <a:pt x="69" y="22"/>
                          <a:pt x="69" y="22"/>
                          <a:pt x="69" y="22"/>
                        </a:cubicBezTo>
                        <a:close/>
                        <a:moveTo>
                          <a:pt x="70" y="18"/>
                        </a:moveTo>
                        <a:cubicBezTo>
                          <a:pt x="70" y="18"/>
                          <a:pt x="70" y="19"/>
                          <a:pt x="70" y="18"/>
                        </a:cubicBezTo>
                        <a:cubicBezTo>
                          <a:pt x="70" y="18"/>
                          <a:pt x="70" y="18"/>
                          <a:pt x="70" y="18"/>
                        </a:cubicBezTo>
                        <a:cubicBezTo>
                          <a:pt x="70" y="18"/>
                          <a:pt x="70" y="18"/>
                          <a:pt x="71" y="18"/>
                        </a:cubicBezTo>
                        <a:cubicBezTo>
                          <a:pt x="70" y="18"/>
                          <a:pt x="70" y="18"/>
                          <a:pt x="70" y="18"/>
                        </a:cubicBezTo>
                        <a:close/>
                        <a:moveTo>
                          <a:pt x="69" y="21"/>
                        </a:moveTo>
                        <a:cubicBezTo>
                          <a:pt x="69" y="21"/>
                          <a:pt x="69" y="21"/>
                          <a:pt x="70" y="21"/>
                        </a:cubicBezTo>
                        <a:cubicBezTo>
                          <a:pt x="70" y="21"/>
                          <a:pt x="69" y="21"/>
                          <a:pt x="69" y="21"/>
                        </a:cubicBezTo>
                        <a:close/>
                        <a:moveTo>
                          <a:pt x="70" y="19"/>
                        </a:moveTo>
                        <a:cubicBezTo>
                          <a:pt x="70" y="19"/>
                          <a:pt x="70" y="19"/>
                          <a:pt x="70" y="19"/>
                        </a:cubicBezTo>
                        <a:cubicBezTo>
                          <a:pt x="70" y="19"/>
                          <a:pt x="70" y="19"/>
                          <a:pt x="70" y="19"/>
                        </a:cubicBezTo>
                        <a:cubicBezTo>
                          <a:pt x="70" y="19"/>
                          <a:pt x="70" y="19"/>
                          <a:pt x="70" y="19"/>
                        </a:cubicBezTo>
                        <a:cubicBezTo>
                          <a:pt x="70" y="19"/>
                          <a:pt x="70" y="19"/>
                          <a:pt x="70" y="19"/>
                        </a:cubicBezTo>
                        <a:close/>
                        <a:moveTo>
                          <a:pt x="70" y="18"/>
                        </a:moveTo>
                        <a:cubicBezTo>
                          <a:pt x="70" y="18"/>
                          <a:pt x="70" y="18"/>
                          <a:pt x="70" y="18"/>
                        </a:cubicBezTo>
                        <a:cubicBezTo>
                          <a:pt x="70" y="19"/>
                          <a:pt x="69" y="19"/>
                          <a:pt x="70" y="18"/>
                        </a:cubicBezTo>
                        <a:close/>
                        <a:moveTo>
                          <a:pt x="68" y="24"/>
                        </a:moveTo>
                        <a:cubicBezTo>
                          <a:pt x="68" y="24"/>
                          <a:pt x="68" y="24"/>
                          <a:pt x="67" y="24"/>
                        </a:cubicBezTo>
                        <a:cubicBezTo>
                          <a:pt x="67" y="24"/>
                          <a:pt x="68" y="24"/>
                          <a:pt x="68" y="24"/>
                        </a:cubicBezTo>
                        <a:cubicBezTo>
                          <a:pt x="68" y="24"/>
                          <a:pt x="68" y="24"/>
                          <a:pt x="68" y="24"/>
                        </a:cubicBezTo>
                        <a:close/>
                        <a:moveTo>
                          <a:pt x="69" y="23"/>
                        </a:moveTo>
                        <a:cubicBezTo>
                          <a:pt x="68" y="23"/>
                          <a:pt x="68" y="22"/>
                          <a:pt x="68" y="22"/>
                        </a:cubicBezTo>
                        <a:cubicBezTo>
                          <a:pt x="68" y="22"/>
                          <a:pt x="68" y="22"/>
                          <a:pt x="69" y="22"/>
                        </a:cubicBezTo>
                        <a:cubicBezTo>
                          <a:pt x="69" y="23"/>
                          <a:pt x="69" y="23"/>
                          <a:pt x="69" y="23"/>
                        </a:cubicBezTo>
                        <a:close/>
                        <a:moveTo>
                          <a:pt x="69" y="18"/>
                        </a:moveTo>
                        <a:cubicBezTo>
                          <a:pt x="70" y="18"/>
                          <a:pt x="70" y="18"/>
                          <a:pt x="70" y="18"/>
                        </a:cubicBezTo>
                        <a:cubicBezTo>
                          <a:pt x="70" y="18"/>
                          <a:pt x="69" y="18"/>
                          <a:pt x="69" y="18"/>
                        </a:cubicBezTo>
                        <a:close/>
                        <a:moveTo>
                          <a:pt x="69" y="20"/>
                        </a:moveTo>
                        <a:cubicBezTo>
                          <a:pt x="69" y="21"/>
                          <a:pt x="68" y="20"/>
                          <a:pt x="68" y="20"/>
                        </a:cubicBezTo>
                        <a:cubicBezTo>
                          <a:pt x="68" y="20"/>
                          <a:pt x="68" y="20"/>
                          <a:pt x="68" y="20"/>
                        </a:cubicBezTo>
                        <a:cubicBezTo>
                          <a:pt x="68" y="20"/>
                          <a:pt x="69" y="20"/>
                          <a:pt x="69" y="20"/>
                        </a:cubicBezTo>
                        <a:close/>
                        <a:moveTo>
                          <a:pt x="68" y="19"/>
                        </a:moveTo>
                        <a:cubicBezTo>
                          <a:pt x="68" y="19"/>
                          <a:pt x="69" y="19"/>
                          <a:pt x="69" y="19"/>
                        </a:cubicBezTo>
                        <a:cubicBezTo>
                          <a:pt x="68" y="19"/>
                          <a:pt x="68" y="19"/>
                          <a:pt x="68" y="19"/>
                        </a:cubicBezTo>
                        <a:close/>
                        <a:moveTo>
                          <a:pt x="68" y="22"/>
                        </a:moveTo>
                        <a:cubicBezTo>
                          <a:pt x="68" y="22"/>
                          <a:pt x="68" y="22"/>
                          <a:pt x="68" y="22"/>
                        </a:cubicBezTo>
                        <a:cubicBezTo>
                          <a:pt x="67" y="22"/>
                          <a:pt x="67" y="22"/>
                          <a:pt x="67" y="22"/>
                        </a:cubicBezTo>
                        <a:cubicBezTo>
                          <a:pt x="67" y="22"/>
                          <a:pt x="68" y="22"/>
                          <a:pt x="68" y="22"/>
                        </a:cubicBezTo>
                        <a:close/>
                        <a:moveTo>
                          <a:pt x="67" y="24"/>
                        </a:moveTo>
                        <a:cubicBezTo>
                          <a:pt x="67" y="24"/>
                          <a:pt x="67" y="24"/>
                          <a:pt x="67" y="24"/>
                        </a:cubicBezTo>
                        <a:cubicBezTo>
                          <a:pt x="66" y="24"/>
                          <a:pt x="67" y="23"/>
                          <a:pt x="67" y="24"/>
                        </a:cubicBezTo>
                        <a:close/>
                        <a:moveTo>
                          <a:pt x="66" y="19"/>
                        </a:moveTo>
                        <a:cubicBezTo>
                          <a:pt x="66" y="19"/>
                          <a:pt x="66" y="19"/>
                          <a:pt x="66" y="19"/>
                        </a:cubicBezTo>
                        <a:cubicBezTo>
                          <a:pt x="66" y="19"/>
                          <a:pt x="66" y="19"/>
                          <a:pt x="66" y="19"/>
                        </a:cubicBezTo>
                        <a:close/>
                        <a:moveTo>
                          <a:pt x="65" y="23"/>
                        </a:moveTo>
                        <a:cubicBezTo>
                          <a:pt x="65" y="23"/>
                          <a:pt x="65" y="24"/>
                          <a:pt x="65" y="24"/>
                        </a:cubicBezTo>
                        <a:cubicBezTo>
                          <a:pt x="65" y="24"/>
                          <a:pt x="65" y="24"/>
                          <a:pt x="65" y="23"/>
                        </a:cubicBezTo>
                        <a:close/>
                        <a:moveTo>
                          <a:pt x="64" y="23"/>
                        </a:moveTo>
                        <a:cubicBezTo>
                          <a:pt x="64" y="23"/>
                          <a:pt x="64" y="23"/>
                          <a:pt x="64" y="23"/>
                        </a:cubicBezTo>
                        <a:cubicBezTo>
                          <a:pt x="64" y="23"/>
                          <a:pt x="64" y="23"/>
                          <a:pt x="64" y="23"/>
                        </a:cubicBezTo>
                        <a:close/>
                        <a:moveTo>
                          <a:pt x="63" y="22"/>
                        </a:moveTo>
                        <a:cubicBezTo>
                          <a:pt x="63" y="22"/>
                          <a:pt x="64" y="22"/>
                          <a:pt x="64" y="22"/>
                        </a:cubicBezTo>
                        <a:cubicBezTo>
                          <a:pt x="64" y="22"/>
                          <a:pt x="63" y="22"/>
                          <a:pt x="63" y="22"/>
                        </a:cubicBezTo>
                        <a:close/>
                        <a:moveTo>
                          <a:pt x="64" y="19"/>
                        </a:moveTo>
                        <a:cubicBezTo>
                          <a:pt x="64" y="19"/>
                          <a:pt x="64" y="19"/>
                          <a:pt x="64" y="19"/>
                        </a:cubicBezTo>
                        <a:cubicBezTo>
                          <a:pt x="64" y="19"/>
                          <a:pt x="64" y="19"/>
                          <a:pt x="64" y="19"/>
                        </a:cubicBezTo>
                        <a:close/>
                        <a:moveTo>
                          <a:pt x="61" y="23"/>
                        </a:moveTo>
                        <a:cubicBezTo>
                          <a:pt x="61" y="23"/>
                          <a:pt x="62" y="23"/>
                          <a:pt x="62" y="24"/>
                        </a:cubicBezTo>
                        <a:cubicBezTo>
                          <a:pt x="62" y="24"/>
                          <a:pt x="62" y="23"/>
                          <a:pt x="62" y="23"/>
                        </a:cubicBezTo>
                        <a:cubicBezTo>
                          <a:pt x="61" y="24"/>
                          <a:pt x="62" y="24"/>
                          <a:pt x="62" y="24"/>
                        </a:cubicBezTo>
                        <a:cubicBezTo>
                          <a:pt x="63" y="24"/>
                          <a:pt x="63" y="24"/>
                          <a:pt x="63" y="24"/>
                        </a:cubicBezTo>
                        <a:cubicBezTo>
                          <a:pt x="63" y="24"/>
                          <a:pt x="62" y="24"/>
                          <a:pt x="62" y="24"/>
                        </a:cubicBezTo>
                        <a:cubicBezTo>
                          <a:pt x="62" y="24"/>
                          <a:pt x="62" y="24"/>
                          <a:pt x="62" y="24"/>
                        </a:cubicBezTo>
                        <a:cubicBezTo>
                          <a:pt x="62" y="24"/>
                          <a:pt x="62" y="24"/>
                          <a:pt x="62" y="24"/>
                        </a:cubicBezTo>
                        <a:cubicBezTo>
                          <a:pt x="62" y="24"/>
                          <a:pt x="61" y="24"/>
                          <a:pt x="61" y="24"/>
                        </a:cubicBezTo>
                        <a:cubicBezTo>
                          <a:pt x="61" y="23"/>
                          <a:pt x="61" y="23"/>
                          <a:pt x="61" y="23"/>
                        </a:cubicBezTo>
                        <a:cubicBezTo>
                          <a:pt x="60" y="23"/>
                          <a:pt x="60" y="23"/>
                          <a:pt x="60" y="23"/>
                        </a:cubicBezTo>
                        <a:cubicBezTo>
                          <a:pt x="60" y="23"/>
                          <a:pt x="60" y="23"/>
                          <a:pt x="60" y="23"/>
                        </a:cubicBezTo>
                        <a:cubicBezTo>
                          <a:pt x="60" y="23"/>
                          <a:pt x="61" y="23"/>
                          <a:pt x="61" y="23"/>
                        </a:cubicBezTo>
                        <a:cubicBezTo>
                          <a:pt x="61" y="23"/>
                          <a:pt x="61" y="23"/>
                          <a:pt x="61" y="23"/>
                        </a:cubicBezTo>
                        <a:cubicBezTo>
                          <a:pt x="61" y="23"/>
                          <a:pt x="61" y="23"/>
                          <a:pt x="61" y="23"/>
                        </a:cubicBezTo>
                        <a:close/>
                        <a:moveTo>
                          <a:pt x="63" y="22"/>
                        </a:moveTo>
                        <a:cubicBezTo>
                          <a:pt x="63" y="22"/>
                          <a:pt x="63" y="22"/>
                          <a:pt x="63" y="22"/>
                        </a:cubicBezTo>
                        <a:close/>
                        <a:moveTo>
                          <a:pt x="62" y="22"/>
                        </a:moveTo>
                        <a:cubicBezTo>
                          <a:pt x="62" y="22"/>
                          <a:pt x="62" y="22"/>
                          <a:pt x="62" y="22"/>
                        </a:cubicBezTo>
                        <a:cubicBezTo>
                          <a:pt x="62" y="22"/>
                          <a:pt x="63" y="22"/>
                          <a:pt x="63" y="23"/>
                        </a:cubicBezTo>
                        <a:cubicBezTo>
                          <a:pt x="63" y="23"/>
                          <a:pt x="62" y="22"/>
                          <a:pt x="63" y="23"/>
                        </a:cubicBezTo>
                        <a:cubicBezTo>
                          <a:pt x="62" y="23"/>
                          <a:pt x="62" y="22"/>
                          <a:pt x="62" y="22"/>
                        </a:cubicBezTo>
                        <a:close/>
                        <a:moveTo>
                          <a:pt x="62" y="23"/>
                        </a:moveTo>
                        <a:cubicBezTo>
                          <a:pt x="62" y="23"/>
                          <a:pt x="62" y="23"/>
                          <a:pt x="62" y="23"/>
                        </a:cubicBezTo>
                        <a:cubicBezTo>
                          <a:pt x="62" y="23"/>
                          <a:pt x="62" y="23"/>
                          <a:pt x="62" y="23"/>
                        </a:cubicBezTo>
                        <a:close/>
                        <a:moveTo>
                          <a:pt x="62" y="23"/>
                        </a:moveTo>
                        <a:cubicBezTo>
                          <a:pt x="62" y="24"/>
                          <a:pt x="62" y="23"/>
                          <a:pt x="62" y="23"/>
                        </a:cubicBezTo>
                        <a:cubicBezTo>
                          <a:pt x="62" y="23"/>
                          <a:pt x="62" y="23"/>
                          <a:pt x="62" y="23"/>
                        </a:cubicBezTo>
                        <a:close/>
                        <a:moveTo>
                          <a:pt x="62" y="25"/>
                        </a:moveTo>
                        <a:cubicBezTo>
                          <a:pt x="62" y="25"/>
                          <a:pt x="62" y="25"/>
                          <a:pt x="62" y="25"/>
                        </a:cubicBezTo>
                        <a:cubicBezTo>
                          <a:pt x="62" y="25"/>
                          <a:pt x="62" y="25"/>
                          <a:pt x="62" y="25"/>
                        </a:cubicBezTo>
                        <a:cubicBezTo>
                          <a:pt x="62" y="25"/>
                          <a:pt x="62" y="25"/>
                          <a:pt x="62" y="25"/>
                        </a:cubicBezTo>
                        <a:close/>
                        <a:moveTo>
                          <a:pt x="62" y="25"/>
                        </a:move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2" y="25"/>
                          <a:pt x="62" y="25"/>
                        </a:cubicBezTo>
                        <a:cubicBezTo>
                          <a:pt x="62" y="25"/>
                          <a:pt x="62" y="25"/>
                          <a:pt x="62" y="25"/>
                        </a:cubicBezTo>
                        <a:close/>
                        <a:moveTo>
                          <a:pt x="62" y="19"/>
                        </a:moveTo>
                        <a:cubicBezTo>
                          <a:pt x="63" y="19"/>
                          <a:pt x="63" y="19"/>
                          <a:pt x="63" y="19"/>
                        </a:cubicBezTo>
                        <a:cubicBezTo>
                          <a:pt x="63" y="20"/>
                          <a:pt x="63" y="19"/>
                          <a:pt x="62" y="19"/>
                        </a:cubicBezTo>
                        <a:close/>
                        <a:moveTo>
                          <a:pt x="62" y="23"/>
                        </a:moveTo>
                        <a:cubicBezTo>
                          <a:pt x="62" y="23"/>
                          <a:pt x="62" y="23"/>
                          <a:pt x="61" y="23"/>
                        </a:cubicBezTo>
                        <a:cubicBezTo>
                          <a:pt x="62" y="23"/>
                          <a:pt x="62" y="23"/>
                          <a:pt x="62" y="23"/>
                        </a:cubicBezTo>
                        <a:close/>
                        <a:moveTo>
                          <a:pt x="62" y="22"/>
                        </a:moveTo>
                        <a:cubicBezTo>
                          <a:pt x="62" y="22"/>
                          <a:pt x="62" y="22"/>
                          <a:pt x="61" y="22"/>
                        </a:cubicBezTo>
                        <a:cubicBezTo>
                          <a:pt x="62" y="22"/>
                          <a:pt x="62" y="22"/>
                          <a:pt x="62" y="22"/>
                        </a:cubicBezTo>
                        <a:close/>
                        <a:moveTo>
                          <a:pt x="63" y="16"/>
                        </a:moveTo>
                        <a:cubicBezTo>
                          <a:pt x="63" y="16"/>
                          <a:pt x="63" y="16"/>
                          <a:pt x="63" y="16"/>
                        </a:cubicBezTo>
                        <a:cubicBezTo>
                          <a:pt x="63" y="16"/>
                          <a:pt x="63" y="16"/>
                          <a:pt x="63" y="16"/>
                        </a:cubicBezTo>
                        <a:close/>
                        <a:moveTo>
                          <a:pt x="62" y="19"/>
                        </a:moveTo>
                        <a:cubicBezTo>
                          <a:pt x="62" y="19"/>
                          <a:pt x="62" y="19"/>
                          <a:pt x="62" y="20"/>
                        </a:cubicBezTo>
                        <a:cubicBezTo>
                          <a:pt x="62" y="20"/>
                          <a:pt x="62" y="20"/>
                          <a:pt x="62" y="20"/>
                        </a:cubicBezTo>
                        <a:cubicBezTo>
                          <a:pt x="62" y="19"/>
                          <a:pt x="62" y="19"/>
                          <a:pt x="62" y="19"/>
                        </a:cubicBezTo>
                        <a:close/>
                        <a:moveTo>
                          <a:pt x="62" y="16"/>
                        </a:moveTo>
                        <a:cubicBezTo>
                          <a:pt x="62" y="15"/>
                          <a:pt x="63" y="16"/>
                          <a:pt x="63" y="16"/>
                        </a:cubicBezTo>
                        <a:cubicBezTo>
                          <a:pt x="63" y="16"/>
                          <a:pt x="62" y="16"/>
                          <a:pt x="62" y="16"/>
                        </a:cubicBezTo>
                        <a:close/>
                        <a:moveTo>
                          <a:pt x="60" y="21"/>
                        </a:moveTo>
                        <a:cubicBezTo>
                          <a:pt x="61" y="21"/>
                          <a:pt x="61" y="21"/>
                          <a:pt x="61" y="21"/>
                        </a:cubicBezTo>
                        <a:cubicBezTo>
                          <a:pt x="61" y="21"/>
                          <a:pt x="61" y="21"/>
                          <a:pt x="61" y="21"/>
                        </a:cubicBezTo>
                        <a:cubicBezTo>
                          <a:pt x="61" y="21"/>
                          <a:pt x="61" y="21"/>
                          <a:pt x="61" y="21"/>
                        </a:cubicBezTo>
                        <a:cubicBezTo>
                          <a:pt x="61" y="21"/>
                          <a:pt x="60" y="21"/>
                          <a:pt x="60" y="21"/>
                        </a:cubicBezTo>
                        <a:cubicBezTo>
                          <a:pt x="60" y="21"/>
                          <a:pt x="60" y="21"/>
                          <a:pt x="60" y="21"/>
                        </a:cubicBezTo>
                        <a:close/>
                        <a:moveTo>
                          <a:pt x="60" y="24"/>
                        </a:moveTo>
                        <a:cubicBezTo>
                          <a:pt x="59" y="24"/>
                          <a:pt x="59" y="24"/>
                          <a:pt x="59" y="24"/>
                        </a:cubicBezTo>
                        <a:cubicBezTo>
                          <a:pt x="59" y="24"/>
                          <a:pt x="59" y="24"/>
                          <a:pt x="59" y="24"/>
                        </a:cubicBezTo>
                        <a:cubicBezTo>
                          <a:pt x="59" y="24"/>
                          <a:pt x="59" y="24"/>
                          <a:pt x="60" y="24"/>
                        </a:cubicBezTo>
                        <a:cubicBezTo>
                          <a:pt x="59" y="24"/>
                          <a:pt x="60" y="24"/>
                          <a:pt x="60" y="24"/>
                        </a:cubicBezTo>
                        <a:close/>
                        <a:moveTo>
                          <a:pt x="60" y="20"/>
                        </a:moveTo>
                        <a:cubicBezTo>
                          <a:pt x="60" y="20"/>
                          <a:pt x="60" y="20"/>
                          <a:pt x="60" y="20"/>
                        </a:cubicBezTo>
                        <a:cubicBezTo>
                          <a:pt x="60" y="20"/>
                          <a:pt x="60" y="20"/>
                          <a:pt x="60" y="20"/>
                        </a:cubicBezTo>
                        <a:cubicBezTo>
                          <a:pt x="60" y="20"/>
                          <a:pt x="60" y="20"/>
                          <a:pt x="61" y="20"/>
                        </a:cubicBezTo>
                        <a:cubicBezTo>
                          <a:pt x="61" y="20"/>
                          <a:pt x="60" y="20"/>
                          <a:pt x="60" y="20"/>
                        </a:cubicBezTo>
                        <a:close/>
                        <a:moveTo>
                          <a:pt x="59" y="24"/>
                        </a:moveTo>
                        <a:cubicBezTo>
                          <a:pt x="59" y="24"/>
                          <a:pt x="59" y="24"/>
                          <a:pt x="59" y="24"/>
                        </a:cubicBezTo>
                        <a:cubicBezTo>
                          <a:pt x="59" y="24"/>
                          <a:pt x="59" y="23"/>
                          <a:pt x="58" y="23"/>
                        </a:cubicBezTo>
                        <a:cubicBezTo>
                          <a:pt x="58" y="23"/>
                          <a:pt x="58" y="23"/>
                          <a:pt x="58" y="23"/>
                        </a:cubicBezTo>
                        <a:cubicBezTo>
                          <a:pt x="59" y="23"/>
                          <a:pt x="59" y="23"/>
                          <a:pt x="59" y="24"/>
                        </a:cubicBezTo>
                        <a:cubicBezTo>
                          <a:pt x="59" y="24"/>
                          <a:pt x="59" y="24"/>
                          <a:pt x="60" y="24"/>
                        </a:cubicBezTo>
                        <a:cubicBezTo>
                          <a:pt x="59" y="24"/>
                          <a:pt x="59" y="24"/>
                          <a:pt x="59" y="24"/>
                        </a:cubicBezTo>
                        <a:cubicBezTo>
                          <a:pt x="59" y="24"/>
                          <a:pt x="59" y="24"/>
                          <a:pt x="59" y="24"/>
                        </a:cubicBezTo>
                        <a:close/>
                        <a:moveTo>
                          <a:pt x="59" y="25"/>
                        </a:moveTo>
                        <a:cubicBezTo>
                          <a:pt x="59" y="24"/>
                          <a:pt x="59" y="25"/>
                          <a:pt x="59" y="25"/>
                        </a:cubicBezTo>
                        <a:cubicBezTo>
                          <a:pt x="59" y="25"/>
                          <a:pt x="59" y="25"/>
                          <a:pt x="59" y="25"/>
                        </a:cubicBezTo>
                        <a:cubicBezTo>
                          <a:pt x="59" y="25"/>
                          <a:pt x="59" y="25"/>
                          <a:pt x="59" y="25"/>
                        </a:cubicBezTo>
                        <a:close/>
                        <a:moveTo>
                          <a:pt x="59" y="23"/>
                        </a:moveTo>
                        <a:cubicBezTo>
                          <a:pt x="60" y="23"/>
                          <a:pt x="60" y="23"/>
                          <a:pt x="60" y="23"/>
                        </a:cubicBezTo>
                        <a:cubicBezTo>
                          <a:pt x="60" y="23"/>
                          <a:pt x="60" y="23"/>
                          <a:pt x="60" y="23"/>
                        </a:cubicBezTo>
                        <a:cubicBezTo>
                          <a:pt x="59" y="23"/>
                          <a:pt x="59" y="23"/>
                          <a:pt x="59" y="23"/>
                        </a:cubicBezTo>
                        <a:cubicBezTo>
                          <a:pt x="59" y="23"/>
                          <a:pt x="59" y="23"/>
                          <a:pt x="59" y="23"/>
                        </a:cubicBezTo>
                        <a:close/>
                        <a:moveTo>
                          <a:pt x="60" y="19"/>
                        </a:moveTo>
                        <a:cubicBezTo>
                          <a:pt x="60" y="19"/>
                          <a:pt x="60" y="19"/>
                          <a:pt x="60" y="19"/>
                        </a:cubicBezTo>
                        <a:cubicBezTo>
                          <a:pt x="60" y="19"/>
                          <a:pt x="60" y="19"/>
                          <a:pt x="60" y="19"/>
                        </a:cubicBezTo>
                        <a:cubicBezTo>
                          <a:pt x="61" y="19"/>
                          <a:pt x="61" y="19"/>
                          <a:pt x="61" y="19"/>
                        </a:cubicBezTo>
                        <a:cubicBezTo>
                          <a:pt x="61" y="19"/>
                          <a:pt x="60" y="19"/>
                          <a:pt x="60" y="19"/>
                        </a:cubicBezTo>
                        <a:close/>
                        <a:moveTo>
                          <a:pt x="59" y="22"/>
                        </a:moveTo>
                        <a:cubicBezTo>
                          <a:pt x="59" y="22"/>
                          <a:pt x="59" y="22"/>
                          <a:pt x="59" y="22"/>
                        </a:cubicBezTo>
                        <a:cubicBezTo>
                          <a:pt x="59" y="22"/>
                          <a:pt x="59" y="22"/>
                          <a:pt x="59" y="22"/>
                        </a:cubicBezTo>
                        <a:close/>
                        <a:moveTo>
                          <a:pt x="59" y="23"/>
                        </a:moveTo>
                        <a:cubicBezTo>
                          <a:pt x="59" y="23"/>
                          <a:pt x="59" y="23"/>
                          <a:pt x="58" y="22"/>
                        </a:cubicBezTo>
                        <a:cubicBezTo>
                          <a:pt x="59" y="22"/>
                          <a:pt x="59" y="23"/>
                          <a:pt x="59" y="23"/>
                        </a:cubicBezTo>
                        <a:close/>
                        <a:moveTo>
                          <a:pt x="59" y="20"/>
                        </a:moveTo>
                        <a:cubicBezTo>
                          <a:pt x="59" y="20"/>
                          <a:pt x="59" y="20"/>
                          <a:pt x="59" y="20"/>
                        </a:cubicBezTo>
                        <a:cubicBezTo>
                          <a:pt x="59" y="20"/>
                          <a:pt x="59" y="20"/>
                          <a:pt x="58" y="20"/>
                        </a:cubicBezTo>
                        <a:cubicBezTo>
                          <a:pt x="58" y="20"/>
                          <a:pt x="59" y="20"/>
                          <a:pt x="59" y="20"/>
                        </a:cubicBezTo>
                        <a:cubicBezTo>
                          <a:pt x="59" y="20"/>
                          <a:pt x="59" y="20"/>
                          <a:pt x="58" y="20"/>
                        </a:cubicBezTo>
                        <a:cubicBezTo>
                          <a:pt x="58" y="20"/>
                          <a:pt x="59" y="20"/>
                          <a:pt x="59" y="20"/>
                        </a:cubicBezTo>
                        <a:cubicBezTo>
                          <a:pt x="58" y="20"/>
                          <a:pt x="58" y="20"/>
                          <a:pt x="58" y="20"/>
                        </a:cubicBezTo>
                        <a:cubicBezTo>
                          <a:pt x="58" y="19"/>
                          <a:pt x="58" y="19"/>
                          <a:pt x="58" y="19"/>
                        </a:cubicBezTo>
                        <a:cubicBezTo>
                          <a:pt x="58" y="20"/>
                          <a:pt x="58" y="20"/>
                          <a:pt x="59" y="20"/>
                        </a:cubicBezTo>
                        <a:cubicBezTo>
                          <a:pt x="59" y="20"/>
                          <a:pt x="59" y="20"/>
                          <a:pt x="59" y="19"/>
                        </a:cubicBezTo>
                        <a:cubicBezTo>
                          <a:pt x="59" y="20"/>
                          <a:pt x="59" y="20"/>
                          <a:pt x="59" y="20"/>
                        </a:cubicBezTo>
                        <a:cubicBezTo>
                          <a:pt x="59" y="20"/>
                          <a:pt x="59" y="20"/>
                          <a:pt x="59" y="20"/>
                        </a:cubicBezTo>
                        <a:cubicBezTo>
                          <a:pt x="59" y="20"/>
                          <a:pt x="59" y="20"/>
                          <a:pt x="59" y="20"/>
                        </a:cubicBezTo>
                        <a:cubicBezTo>
                          <a:pt x="59" y="20"/>
                          <a:pt x="59" y="20"/>
                          <a:pt x="59" y="20"/>
                        </a:cubicBezTo>
                        <a:cubicBezTo>
                          <a:pt x="59" y="20"/>
                          <a:pt x="60" y="20"/>
                          <a:pt x="60" y="20"/>
                        </a:cubicBezTo>
                        <a:cubicBezTo>
                          <a:pt x="59" y="20"/>
                          <a:pt x="59" y="20"/>
                          <a:pt x="59" y="20"/>
                        </a:cubicBezTo>
                        <a:close/>
                        <a:moveTo>
                          <a:pt x="57" y="22"/>
                        </a:moveTo>
                        <a:cubicBezTo>
                          <a:pt x="58" y="22"/>
                          <a:pt x="58" y="23"/>
                          <a:pt x="59" y="23"/>
                        </a:cubicBezTo>
                        <a:cubicBezTo>
                          <a:pt x="58" y="23"/>
                          <a:pt x="58" y="22"/>
                          <a:pt x="57" y="22"/>
                        </a:cubicBezTo>
                        <a:close/>
                        <a:moveTo>
                          <a:pt x="59" y="21"/>
                        </a:moveTo>
                        <a:cubicBezTo>
                          <a:pt x="59" y="21"/>
                          <a:pt x="59" y="21"/>
                          <a:pt x="59" y="21"/>
                        </a:cubicBezTo>
                        <a:cubicBezTo>
                          <a:pt x="59" y="21"/>
                          <a:pt x="59" y="21"/>
                          <a:pt x="59" y="21"/>
                        </a:cubicBezTo>
                        <a:close/>
                        <a:moveTo>
                          <a:pt x="57" y="24"/>
                        </a:moveTo>
                        <a:cubicBezTo>
                          <a:pt x="57" y="24"/>
                          <a:pt x="58" y="24"/>
                          <a:pt x="58" y="24"/>
                        </a:cubicBezTo>
                        <a:cubicBezTo>
                          <a:pt x="57" y="24"/>
                          <a:pt x="57" y="24"/>
                          <a:pt x="57" y="24"/>
                        </a:cubicBezTo>
                        <a:close/>
                        <a:moveTo>
                          <a:pt x="58" y="20"/>
                        </a:moveTo>
                        <a:cubicBezTo>
                          <a:pt x="58" y="19"/>
                          <a:pt x="58" y="20"/>
                          <a:pt x="58" y="20"/>
                        </a:cubicBezTo>
                        <a:cubicBezTo>
                          <a:pt x="58" y="20"/>
                          <a:pt x="58" y="20"/>
                          <a:pt x="58" y="20"/>
                        </a:cubicBezTo>
                        <a:close/>
                        <a:moveTo>
                          <a:pt x="58" y="21"/>
                        </a:moveTo>
                        <a:cubicBezTo>
                          <a:pt x="58" y="21"/>
                          <a:pt x="58" y="21"/>
                          <a:pt x="58" y="21"/>
                        </a:cubicBezTo>
                        <a:cubicBezTo>
                          <a:pt x="58" y="21"/>
                          <a:pt x="58" y="21"/>
                          <a:pt x="58" y="21"/>
                        </a:cubicBezTo>
                        <a:cubicBezTo>
                          <a:pt x="58" y="21"/>
                          <a:pt x="58" y="21"/>
                          <a:pt x="58" y="21"/>
                        </a:cubicBezTo>
                        <a:cubicBezTo>
                          <a:pt x="58" y="21"/>
                          <a:pt x="58" y="21"/>
                          <a:pt x="58" y="21"/>
                        </a:cubicBezTo>
                        <a:close/>
                        <a:moveTo>
                          <a:pt x="57" y="22"/>
                        </a:moveTo>
                        <a:cubicBezTo>
                          <a:pt x="57" y="22"/>
                          <a:pt x="57" y="22"/>
                          <a:pt x="57" y="22"/>
                        </a:cubicBezTo>
                        <a:cubicBezTo>
                          <a:pt x="57" y="22"/>
                          <a:pt x="57" y="22"/>
                          <a:pt x="57" y="22"/>
                        </a:cubicBezTo>
                        <a:cubicBezTo>
                          <a:pt x="57" y="21"/>
                          <a:pt x="57" y="22"/>
                          <a:pt x="57" y="22"/>
                        </a:cubicBezTo>
                        <a:cubicBezTo>
                          <a:pt x="57" y="22"/>
                          <a:pt x="58" y="22"/>
                          <a:pt x="57" y="22"/>
                        </a:cubicBezTo>
                        <a:close/>
                        <a:moveTo>
                          <a:pt x="56" y="24"/>
                        </a:moveTo>
                        <a:cubicBezTo>
                          <a:pt x="57" y="24"/>
                          <a:pt x="57" y="24"/>
                          <a:pt x="57" y="24"/>
                        </a:cubicBezTo>
                        <a:cubicBezTo>
                          <a:pt x="57" y="24"/>
                          <a:pt x="56" y="24"/>
                          <a:pt x="56" y="24"/>
                        </a:cubicBezTo>
                        <a:cubicBezTo>
                          <a:pt x="56" y="24"/>
                          <a:pt x="56" y="24"/>
                          <a:pt x="56" y="24"/>
                        </a:cubicBezTo>
                        <a:close/>
                        <a:moveTo>
                          <a:pt x="56" y="24"/>
                        </a:moveTo>
                        <a:cubicBezTo>
                          <a:pt x="56" y="24"/>
                          <a:pt x="56" y="24"/>
                          <a:pt x="56" y="23"/>
                        </a:cubicBezTo>
                        <a:cubicBezTo>
                          <a:pt x="56" y="23"/>
                          <a:pt x="56" y="24"/>
                          <a:pt x="56" y="24"/>
                        </a:cubicBezTo>
                        <a:close/>
                        <a:moveTo>
                          <a:pt x="56" y="24"/>
                        </a:moveTo>
                        <a:cubicBezTo>
                          <a:pt x="56" y="24"/>
                          <a:pt x="56" y="24"/>
                          <a:pt x="56" y="24"/>
                        </a:cubicBezTo>
                        <a:cubicBezTo>
                          <a:pt x="56" y="24"/>
                          <a:pt x="56" y="24"/>
                          <a:pt x="56" y="24"/>
                        </a:cubicBezTo>
                        <a:cubicBezTo>
                          <a:pt x="56" y="24"/>
                          <a:pt x="56" y="24"/>
                          <a:pt x="56" y="24"/>
                        </a:cubicBezTo>
                        <a:close/>
                        <a:moveTo>
                          <a:pt x="57" y="18"/>
                        </a:moveTo>
                        <a:cubicBezTo>
                          <a:pt x="57" y="18"/>
                          <a:pt x="58" y="18"/>
                          <a:pt x="58" y="18"/>
                        </a:cubicBezTo>
                        <a:cubicBezTo>
                          <a:pt x="58" y="18"/>
                          <a:pt x="58" y="18"/>
                          <a:pt x="57" y="18"/>
                        </a:cubicBezTo>
                        <a:close/>
                        <a:moveTo>
                          <a:pt x="57" y="18"/>
                        </a:moveTo>
                        <a:cubicBezTo>
                          <a:pt x="57" y="18"/>
                          <a:pt x="57" y="18"/>
                          <a:pt x="57" y="18"/>
                        </a:cubicBezTo>
                        <a:cubicBezTo>
                          <a:pt x="57" y="18"/>
                          <a:pt x="57" y="18"/>
                          <a:pt x="57" y="18"/>
                        </a:cubicBezTo>
                        <a:cubicBezTo>
                          <a:pt x="57" y="18"/>
                          <a:pt x="57" y="18"/>
                          <a:pt x="57" y="18"/>
                        </a:cubicBezTo>
                        <a:cubicBezTo>
                          <a:pt x="57" y="18"/>
                          <a:pt x="57" y="18"/>
                          <a:pt x="57" y="19"/>
                        </a:cubicBezTo>
                        <a:cubicBezTo>
                          <a:pt x="57" y="19"/>
                          <a:pt x="57" y="18"/>
                          <a:pt x="57" y="18"/>
                        </a:cubicBezTo>
                        <a:close/>
                        <a:moveTo>
                          <a:pt x="57" y="18"/>
                        </a:moveTo>
                        <a:cubicBezTo>
                          <a:pt x="57" y="18"/>
                          <a:pt x="57" y="18"/>
                          <a:pt x="57" y="18"/>
                        </a:cubicBezTo>
                        <a:cubicBezTo>
                          <a:pt x="57" y="18"/>
                          <a:pt x="57" y="18"/>
                          <a:pt x="57" y="18"/>
                        </a:cubicBezTo>
                        <a:cubicBezTo>
                          <a:pt x="57" y="18"/>
                          <a:pt x="57" y="18"/>
                          <a:pt x="57" y="18"/>
                        </a:cubicBezTo>
                        <a:close/>
                        <a:moveTo>
                          <a:pt x="57" y="19"/>
                        </a:moveTo>
                        <a:cubicBezTo>
                          <a:pt x="57" y="19"/>
                          <a:pt x="57" y="19"/>
                          <a:pt x="57" y="19"/>
                        </a:cubicBezTo>
                        <a:cubicBezTo>
                          <a:pt x="57" y="19"/>
                          <a:pt x="57" y="19"/>
                          <a:pt x="57" y="19"/>
                        </a:cubicBezTo>
                        <a:cubicBezTo>
                          <a:pt x="57" y="19"/>
                          <a:pt x="57" y="19"/>
                          <a:pt x="57" y="19"/>
                        </a:cubicBezTo>
                        <a:cubicBezTo>
                          <a:pt x="57" y="19"/>
                          <a:pt x="57" y="19"/>
                          <a:pt x="57" y="19"/>
                        </a:cubicBezTo>
                        <a:close/>
                        <a:moveTo>
                          <a:pt x="58" y="16"/>
                        </a:moveTo>
                        <a:cubicBezTo>
                          <a:pt x="58" y="16"/>
                          <a:pt x="58" y="16"/>
                          <a:pt x="58" y="16"/>
                        </a:cubicBezTo>
                        <a:cubicBezTo>
                          <a:pt x="58" y="16"/>
                          <a:pt x="58" y="16"/>
                          <a:pt x="58" y="16"/>
                        </a:cubicBezTo>
                        <a:close/>
                        <a:moveTo>
                          <a:pt x="56" y="22"/>
                        </a:moveTo>
                        <a:cubicBezTo>
                          <a:pt x="56" y="22"/>
                          <a:pt x="55" y="22"/>
                          <a:pt x="56" y="22"/>
                        </a:cubicBezTo>
                        <a:cubicBezTo>
                          <a:pt x="56" y="22"/>
                          <a:pt x="56" y="22"/>
                          <a:pt x="55" y="22"/>
                        </a:cubicBezTo>
                        <a:cubicBezTo>
                          <a:pt x="56" y="22"/>
                          <a:pt x="55" y="22"/>
                          <a:pt x="55" y="22"/>
                        </a:cubicBezTo>
                        <a:cubicBezTo>
                          <a:pt x="56" y="22"/>
                          <a:pt x="56" y="22"/>
                          <a:pt x="56" y="22"/>
                        </a:cubicBezTo>
                        <a:close/>
                        <a:moveTo>
                          <a:pt x="55" y="24"/>
                        </a:moveTo>
                        <a:cubicBezTo>
                          <a:pt x="55" y="24"/>
                          <a:pt x="55" y="24"/>
                          <a:pt x="54" y="24"/>
                        </a:cubicBezTo>
                        <a:cubicBezTo>
                          <a:pt x="55" y="23"/>
                          <a:pt x="55" y="24"/>
                          <a:pt x="55" y="24"/>
                        </a:cubicBezTo>
                        <a:close/>
                        <a:moveTo>
                          <a:pt x="55" y="23"/>
                        </a:moveTo>
                        <a:cubicBezTo>
                          <a:pt x="55" y="24"/>
                          <a:pt x="55" y="23"/>
                          <a:pt x="55" y="23"/>
                        </a:cubicBezTo>
                        <a:cubicBezTo>
                          <a:pt x="55" y="23"/>
                          <a:pt x="55" y="23"/>
                          <a:pt x="55" y="23"/>
                        </a:cubicBezTo>
                        <a:close/>
                        <a:moveTo>
                          <a:pt x="55" y="22"/>
                        </a:moveTo>
                        <a:cubicBezTo>
                          <a:pt x="55" y="22"/>
                          <a:pt x="55" y="22"/>
                          <a:pt x="55" y="22"/>
                        </a:cubicBezTo>
                        <a:cubicBezTo>
                          <a:pt x="55" y="22"/>
                          <a:pt x="55" y="22"/>
                          <a:pt x="55" y="22"/>
                        </a:cubicBezTo>
                        <a:close/>
                        <a:moveTo>
                          <a:pt x="55" y="23"/>
                        </a:moveTo>
                        <a:cubicBezTo>
                          <a:pt x="55" y="23"/>
                          <a:pt x="55" y="23"/>
                          <a:pt x="55" y="23"/>
                        </a:cubicBezTo>
                        <a:cubicBezTo>
                          <a:pt x="55" y="23"/>
                          <a:pt x="55" y="23"/>
                          <a:pt x="54" y="23"/>
                        </a:cubicBezTo>
                        <a:cubicBezTo>
                          <a:pt x="55" y="23"/>
                          <a:pt x="55" y="23"/>
                          <a:pt x="55" y="23"/>
                        </a:cubicBezTo>
                        <a:cubicBezTo>
                          <a:pt x="55" y="23"/>
                          <a:pt x="55" y="23"/>
                          <a:pt x="55" y="23"/>
                        </a:cubicBezTo>
                        <a:close/>
                        <a:moveTo>
                          <a:pt x="55" y="18"/>
                        </a:moveTo>
                        <a:cubicBezTo>
                          <a:pt x="55" y="18"/>
                          <a:pt x="55" y="18"/>
                          <a:pt x="55" y="18"/>
                        </a:cubicBezTo>
                        <a:cubicBezTo>
                          <a:pt x="55" y="18"/>
                          <a:pt x="55" y="18"/>
                          <a:pt x="56" y="18"/>
                        </a:cubicBezTo>
                        <a:cubicBezTo>
                          <a:pt x="55" y="18"/>
                          <a:pt x="55" y="18"/>
                          <a:pt x="55" y="18"/>
                        </a:cubicBezTo>
                        <a:cubicBezTo>
                          <a:pt x="55" y="18"/>
                          <a:pt x="55" y="18"/>
                          <a:pt x="55" y="18"/>
                        </a:cubicBezTo>
                        <a:close/>
                        <a:moveTo>
                          <a:pt x="54" y="18"/>
                        </a:moveTo>
                        <a:cubicBezTo>
                          <a:pt x="54" y="18"/>
                          <a:pt x="55" y="18"/>
                          <a:pt x="54" y="18"/>
                        </a:cubicBezTo>
                        <a:cubicBezTo>
                          <a:pt x="54" y="17"/>
                          <a:pt x="54" y="17"/>
                          <a:pt x="54" y="17"/>
                        </a:cubicBezTo>
                        <a:cubicBezTo>
                          <a:pt x="55" y="17"/>
                          <a:pt x="54" y="18"/>
                          <a:pt x="55" y="18"/>
                        </a:cubicBezTo>
                        <a:cubicBezTo>
                          <a:pt x="55" y="18"/>
                          <a:pt x="55" y="18"/>
                          <a:pt x="55" y="18"/>
                        </a:cubicBezTo>
                        <a:lnTo>
                          <a:pt x="54" y="18"/>
                        </a:lnTo>
                        <a:close/>
                        <a:moveTo>
                          <a:pt x="53" y="20"/>
                        </a:moveTo>
                        <a:cubicBezTo>
                          <a:pt x="53" y="20"/>
                          <a:pt x="53" y="20"/>
                          <a:pt x="53" y="20"/>
                        </a:cubicBezTo>
                        <a:cubicBezTo>
                          <a:pt x="53" y="20"/>
                          <a:pt x="53" y="20"/>
                          <a:pt x="53" y="20"/>
                        </a:cubicBezTo>
                        <a:close/>
                        <a:moveTo>
                          <a:pt x="54" y="14"/>
                        </a:moveTo>
                        <a:cubicBezTo>
                          <a:pt x="55" y="14"/>
                          <a:pt x="55" y="14"/>
                          <a:pt x="55" y="14"/>
                        </a:cubicBezTo>
                        <a:cubicBezTo>
                          <a:pt x="55" y="14"/>
                          <a:pt x="54" y="14"/>
                          <a:pt x="54" y="14"/>
                        </a:cubicBezTo>
                        <a:close/>
                        <a:moveTo>
                          <a:pt x="53" y="17"/>
                        </a:moveTo>
                        <a:cubicBezTo>
                          <a:pt x="53" y="17"/>
                          <a:pt x="53" y="17"/>
                          <a:pt x="53" y="17"/>
                        </a:cubicBezTo>
                        <a:cubicBezTo>
                          <a:pt x="53" y="17"/>
                          <a:pt x="53" y="17"/>
                          <a:pt x="53" y="17"/>
                        </a:cubicBezTo>
                        <a:close/>
                        <a:moveTo>
                          <a:pt x="52" y="17"/>
                        </a:moveTo>
                        <a:cubicBezTo>
                          <a:pt x="52" y="17"/>
                          <a:pt x="53" y="17"/>
                          <a:pt x="53" y="17"/>
                        </a:cubicBezTo>
                        <a:cubicBezTo>
                          <a:pt x="53" y="17"/>
                          <a:pt x="53" y="17"/>
                          <a:pt x="53" y="17"/>
                        </a:cubicBezTo>
                        <a:cubicBezTo>
                          <a:pt x="52" y="17"/>
                          <a:pt x="53" y="17"/>
                          <a:pt x="52" y="17"/>
                        </a:cubicBezTo>
                        <a:close/>
                        <a:moveTo>
                          <a:pt x="52" y="14"/>
                        </a:moveTo>
                        <a:cubicBezTo>
                          <a:pt x="52" y="14"/>
                          <a:pt x="52" y="14"/>
                          <a:pt x="52" y="14"/>
                        </a:cubicBezTo>
                        <a:cubicBezTo>
                          <a:pt x="53" y="13"/>
                          <a:pt x="53" y="14"/>
                          <a:pt x="53" y="14"/>
                        </a:cubicBezTo>
                        <a:cubicBezTo>
                          <a:pt x="53" y="14"/>
                          <a:pt x="53" y="14"/>
                          <a:pt x="52" y="14"/>
                        </a:cubicBezTo>
                        <a:close/>
                        <a:moveTo>
                          <a:pt x="52" y="18"/>
                        </a:moveTo>
                        <a:cubicBezTo>
                          <a:pt x="52" y="18"/>
                          <a:pt x="52" y="17"/>
                          <a:pt x="52" y="17"/>
                        </a:cubicBezTo>
                        <a:cubicBezTo>
                          <a:pt x="52" y="17"/>
                          <a:pt x="52" y="17"/>
                          <a:pt x="52" y="18"/>
                        </a:cubicBezTo>
                        <a:close/>
                        <a:moveTo>
                          <a:pt x="52" y="17"/>
                        </a:moveTo>
                        <a:cubicBezTo>
                          <a:pt x="52" y="17"/>
                          <a:pt x="52" y="17"/>
                          <a:pt x="52" y="16"/>
                        </a:cubicBezTo>
                        <a:cubicBezTo>
                          <a:pt x="52" y="16"/>
                          <a:pt x="52" y="17"/>
                          <a:pt x="52" y="17"/>
                        </a:cubicBezTo>
                        <a:close/>
                        <a:moveTo>
                          <a:pt x="52" y="17"/>
                        </a:moveTo>
                        <a:cubicBezTo>
                          <a:pt x="52" y="17"/>
                          <a:pt x="51" y="16"/>
                          <a:pt x="52" y="17"/>
                        </a:cubicBezTo>
                        <a:close/>
                        <a:moveTo>
                          <a:pt x="52" y="13"/>
                        </a:moveTo>
                        <a:cubicBezTo>
                          <a:pt x="52" y="13"/>
                          <a:pt x="53" y="13"/>
                          <a:pt x="53" y="13"/>
                        </a:cubicBezTo>
                        <a:cubicBezTo>
                          <a:pt x="53" y="13"/>
                          <a:pt x="52" y="12"/>
                          <a:pt x="52" y="13"/>
                        </a:cubicBezTo>
                        <a:close/>
                        <a:moveTo>
                          <a:pt x="50" y="18"/>
                        </a:moveTo>
                        <a:cubicBezTo>
                          <a:pt x="50" y="18"/>
                          <a:pt x="50" y="18"/>
                          <a:pt x="50" y="18"/>
                        </a:cubicBezTo>
                        <a:cubicBezTo>
                          <a:pt x="50" y="19"/>
                          <a:pt x="50" y="18"/>
                          <a:pt x="50" y="18"/>
                        </a:cubicBezTo>
                        <a:close/>
                        <a:moveTo>
                          <a:pt x="48" y="19"/>
                        </a:moveTo>
                        <a:cubicBezTo>
                          <a:pt x="48" y="19"/>
                          <a:pt x="48" y="19"/>
                          <a:pt x="48" y="19"/>
                        </a:cubicBezTo>
                        <a:cubicBezTo>
                          <a:pt x="49" y="19"/>
                          <a:pt x="48" y="19"/>
                          <a:pt x="48" y="19"/>
                        </a:cubicBezTo>
                        <a:close/>
                        <a:moveTo>
                          <a:pt x="49" y="14"/>
                        </a:moveTo>
                        <a:cubicBezTo>
                          <a:pt x="49" y="14"/>
                          <a:pt x="49" y="14"/>
                          <a:pt x="49" y="14"/>
                        </a:cubicBezTo>
                        <a:cubicBezTo>
                          <a:pt x="49" y="15"/>
                          <a:pt x="49" y="14"/>
                          <a:pt x="49" y="14"/>
                        </a:cubicBezTo>
                        <a:close/>
                        <a:moveTo>
                          <a:pt x="48" y="15"/>
                        </a:moveTo>
                        <a:cubicBezTo>
                          <a:pt x="48" y="15"/>
                          <a:pt x="49" y="16"/>
                          <a:pt x="49" y="16"/>
                        </a:cubicBezTo>
                        <a:cubicBezTo>
                          <a:pt x="49" y="16"/>
                          <a:pt x="48" y="16"/>
                          <a:pt x="48" y="15"/>
                        </a:cubicBezTo>
                        <a:close/>
                        <a:moveTo>
                          <a:pt x="47" y="20"/>
                        </a:moveTo>
                        <a:cubicBezTo>
                          <a:pt x="47" y="20"/>
                          <a:pt x="47" y="20"/>
                          <a:pt x="47" y="20"/>
                        </a:cubicBezTo>
                        <a:cubicBezTo>
                          <a:pt x="47" y="20"/>
                          <a:pt x="47" y="20"/>
                          <a:pt x="47" y="20"/>
                        </a:cubicBezTo>
                        <a:cubicBezTo>
                          <a:pt x="47" y="20"/>
                          <a:pt x="47" y="20"/>
                          <a:pt x="47" y="20"/>
                        </a:cubicBezTo>
                        <a:close/>
                        <a:moveTo>
                          <a:pt x="47" y="19"/>
                        </a:moveTo>
                        <a:cubicBezTo>
                          <a:pt x="47" y="19"/>
                          <a:pt x="47" y="19"/>
                          <a:pt x="47" y="19"/>
                        </a:cubicBezTo>
                        <a:cubicBezTo>
                          <a:pt x="47" y="18"/>
                          <a:pt x="47" y="19"/>
                          <a:pt x="47" y="19"/>
                        </a:cubicBezTo>
                        <a:close/>
                        <a:moveTo>
                          <a:pt x="46" y="20"/>
                        </a:moveTo>
                        <a:cubicBezTo>
                          <a:pt x="47" y="20"/>
                          <a:pt x="46" y="20"/>
                          <a:pt x="46" y="20"/>
                        </a:cubicBezTo>
                        <a:cubicBezTo>
                          <a:pt x="46" y="20"/>
                          <a:pt x="46" y="20"/>
                          <a:pt x="46" y="20"/>
                        </a:cubicBezTo>
                        <a:cubicBezTo>
                          <a:pt x="46" y="20"/>
                          <a:pt x="46" y="20"/>
                          <a:pt x="46" y="20"/>
                        </a:cubicBezTo>
                        <a:close/>
                        <a:moveTo>
                          <a:pt x="47" y="14"/>
                        </a:moveTo>
                        <a:cubicBezTo>
                          <a:pt x="48" y="14"/>
                          <a:pt x="48" y="14"/>
                          <a:pt x="48" y="14"/>
                        </a:cubicBezTo>
                        <a:cubicBezTo>
                          <a:pt x="48" y="14"/>
                          <a:pt x="47" y="14"/>
                          <a:pt x="47" y="14"/>
                        </a:cubicBezTo>
                        <a:close/>
                        <a:moveTo>
                          <a:pt x="45" y="21"/>
                        </a:moveTo>
                        <a:cubicBezTo>
                          <a:pt x="45" y="21"/>
                          <a:pt x="45" y="21"/>
                          <a:pt x="45" y="21"/>
                        </a:cubicBezTo>
                        <a:cubicBezTo>
                          <a:pt x="45" y="21"/>
                          <a:pt x="45" y="21"/>
                          <a:pt x="45" y="21"/>
                        </a:cubicBezTo>
                        <a:close/>
                        <a:moveTo>
                          <a:pt x="46" y="19"/>
                        </a:move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8"/>
                          <a:pt x="46" y="19"/>
                          <a:pt x="46" y="19"/>
                        </a:cubicBezTo>
                        <a:close/>
                        <a:moveTo>
                          <a:pt x="43" y="13"/>
                        </a:moveTo>
                        <a:cubicBezTo>
                          <a:pt x="43" y="13"/>
                          <a:pt x="43" y="13"/>
                          <a:pt x="42" y="13"/>
                        </a:cubicBezTo>
                        <a:cubicBezTo>
                          <a:pt x="42" y="13"/>
                          <a:pt x="43" y="13"/>
                          <a:pt x="43" y="13"/>
                        </a:cubicBezTo>
                        <a:close/>
                        <a:moveTo>
                          <a:pt x="36" y="16"/>
                        </a:moveTo>
                        <a:cubicBezTo>
                          <a:pt x="36" y="16"/>
                          <a:pt x="36" y="16"/>
                          <a:pt x="36" y="16"/>
                        </a:cubicBezTo>
                        <a:cubicBezTo>
                          <a:pt x="36" y="16"/>
                          <a:pt x="36" y="16"/>
                          <a:pt x="36" y="16"/>
                        </a:cubicBezTo>
                        <a:close/>
                        <a:moveTo>
                          <a:pt x="37" y="12"/>
                        </a:moveTo>
                        <a:cubicBezTo>
                          <a:pt x="37" y="12"/>
                          <a:pt x="36" y="12"/>
                          <a:pt x="36" y="12"/>
                        </a:cubicBezTo>
                        <a:cubicBezTo>
                          <a:pt x="36" y="12"/>
                          <a:pt x="36" y="12"/>
                          <a:pt x="37" y="12"/>
                        </a:cubicBezTo>
                        <a:close/>
                        <a:moveTo>
                          <a:pt x="34" y="16"/>
                        </a:moveTo>
                        <a:cubicBezTo>
                          <a:pt x="34" y="16"/>
                          <a:pt x="34" y="16"/>
                          <a:pt x="34" y="16"/>
                        </a:cubicBezTo>
                        <a:cubicBezTo>
                          <a:pt x="34" y="16"/>
                          <a:pt x="34" y="16"/>
                          <a:pt x="34" y="15"/>
                        </a:cubicBezTo>
                        <a:cubicBezTo>
                          <a:pt x="35" y="16"/>
                          <a:pt x="34" y="16"/>
                          <a:pt x="35" y="16"/>
                        </a:cubicBezTo>
                        <a:cubicBezTo>
                          <a:pt x="35" y="16"/>
                          <a:pt x="35" y="16"/>
                          <a:pt x="34" y="16"/>
                        </a:cubicBezTo>
                        <a:close/>
                        <a:moveTo>
                          <a:pt x="30" y="14"/>
                        </a:moveTo>
                        <a:cubicBezTo>
                          <a:pt x="30" y="14"/>
                          <a:pt x="30" y="14"/>
                          <a:pt x="30" y="14"/>
                        </a:cubicBezTo>
                        <a:cubicBezTo>
                          <a:pt x="30" y="14"/>
                          <a:pt x="30" y="14"/>
                          <a:pt x="30" y="14"/>
                        </a:cubicBezTo>
                        <a:close/>
                        <a:moveTo>
                          <a:pt x="29" y="15"/>
                        </a:moveTo>
                        <a:cubicBezTo>
                          <a:pt x="28" y="15"/>
                          <a:pt x="28" y="15"/>
                          <a:pt x="28" y="15"/>
                        </a:cubicBezTo>
                        <a:cubicBezTo>
                          <a:pt x="28" y="15"/>
                          <a:pt x="28" y="15"/>
                          <a:pt x="29" y="15"/>
                        </a:cubicBezTo>
                        <a:close/>
                        <a:moveTo>
                          <a:pt x="27" y="14"/>
                        </a:moveTo>
                        <a:cubicBezTo>
                          <a:pt x="27" y="15"/>
                          <a:pt x="27" y="14"/>
                          <a:pt x="27" y="15"/>
                        </a:cubicBezTo>
                        <a:cubicBezTo>
                          <a:pt x="26" y="15"/>
                          <a:pt x="26" y="14"/>
                          <a:pt x="27" y="14"/>
                        </a:cubicBezTo>
                        <a:close/>
                        <a:moveTo>
                          <a:pt x="26" y="14"/>
                        </a:moveTo>
                        <a:cubicBezTo>
                          <a:pt x="26" y="14"/>
                          <a:pt x="26" y="14"/>
                          <a:pt x="26" y="14"/>
                        </a:cubicBezTo>
                        <a:cubicBezTo>
                          <a:pt x="26" y="14"/>
                          <a:pt x="26" y="14"/>
                          <a:pt x="26" y="14"/>
                        </a:cubicBezTo>
                        <a:cubicBezTo>
                          <a:pt x="26" y="14"/>
                          <a:pt x="26" y="14"/>
                          <a:pt x="26" y="14"/>
                        </a:cubicBezTo>
                        <a:close/>
                        <a:moveTo>
                          <a:pt x="26" y="13"/>
                        </a:moveTo>
                        <a:cubicBezTo>
                          <a:pt x="26" y="13"/>
                          <a:pt x="26" y="13"/>
                          <a:pt x="26" y="13"/>
                        </a:cubicBezTo>
                        <a:cubicBezTo>
                          <a:pt x="26" y="13"/>
                          <a:pt x="26" y="13"/>
                          <a:pt x="26" y="13"/>
                        </a:cubicBezTo>
                        <a:cubicBezTo>
                          <a:pt x="27" y="14"/>
                          <a:pt x="26" y="13"/>
                          <a:pt x="26" y="13"/>
                        </a:cubicBezTo>
                        <a:close/>
                        <a:moveTo>
                          <a:pt x="25" y="11"/>
                        </a:moveTo>
                        <a:cubicBezTo>
                          <a:pt x="26" y="11"/>
                          <a:pt x="26" y="11"/>
                          <a:pt x="26" y="11"/>
                        </a:cubicBezTo>
                        <a:cubicBezTo>
                          <a:pt x="26" y="11"/>
                          <a:pt x="26" y="11"/>
                          <a:pt x="25" y="11"/>
                        </a:cubicBezTo>
                        <a:close/>
                        <a:moveTo>
                          <a:pt x="22" y="13"/>
                        </a:moveTo>
                        <a:cubicBezTo>
                          <a:pt x="22" y="13"/>
                          <a:pt x="22" y="13"/>
                          <a:pt x="22" y="13"/>
                        </a:cubicBezTo>
                        <a:cubicBezTo>
                          <a:pt x="23" y="13"/>
                          <a:pt x="24" y="14"/>
                          <a:pt x="24" y="14"/>
                        </a:cubicBezTo>
                        <a:cubicBezTo>
                          <a:pt x="24" y="14"/>
                          <a:pt x="23" y="13"/>
                          <a:pt x="22" y="13"/>
                        </a:cubicBezTo>
                        <a:close/>
                        <a:moveTo>
                          <a:pt x="24" y="10"/>
                        </a:moveTo>
                        <a:cubicBezTo>
                          <a:pt x="24" y="10"/>
                          <a:pt x="24" y="10"/>
                          <a:pt x="24" y="10"/>
                        </a:cubicBezTo>
                        <a:cubicBezTo>
                          <a:pt x="24" y="11"/>
                          <a:pt x="24" y="10"/>
                          <a:pt x="24" y="10"/>
                        </a:cubicBezTo>
                        <a:close/>
                        <a:moveTo>
                          <a:pt x="22" y="13"/>
                        </a:moveTo>
                        <a:cubicBezTo>
                          <a:pt x="21" y="13"/>
                          <a:pt x="21" y="13"/>
                          <a:pt x="20" y="13"/>
                        </a:cubicBezTo>
                        <a:cubicBezTo>
                          <a:pt x="20" y="12"/>
                          <a:pt x="21" y="13"/>
                          <a:pt x="22" y="13"/>
                        </a:cubicBezTo>
                        <a:close/>
                        <a:moveTo>
                          <a:pt x="18" y="13"/>
                        </a:moveTo>
                        <a:cubicBezTo>
                          <a:pt x="18" y="12"/>
                          <a:pt x="18" y="13"/>
                          <a:pt x="19" y="13"/>
                        </a:cubicBezTo>
                        <a:cubicBezTo>
                          <a:pt x="19" y="13"/>
                          <a:pt x="19" y="13"/>
                          <a:pt x="19" y="13"/>
                        </a:cubicBezTo>
                        <a:cubicBezTo>
                          <a:pt x="19" y="13"/>
                          <a:pt x="18" y="13"/>
                          <a:pt x="18" y="13"/>
                        </a:cubicBezTo>
                        <a:close/>
                        <a:moveTo>
                          <a:pt x="18" y="12"/>
                        </a:moveTo>
                        <a:cubicBezTo>
                          <a:pt x="18" y="13"/>
                          <a:pt x="18" y="12"/>
                          <a:pt x="18" y="12"/>
                        </a:cubicBezTo>
                        <a:cubicBezTo>
                          <a:pt x="18" y="12"/>
                          <a:pt x="18" y="12"/>
                          <a:pt x="18" y="12"/>
                        </a:cubicBezTo>
                        <a:close/>
                        <a:moveTo>
                          <a:pt x="18" y="11"/>
                        </a:moveTo>
                        <a:cubicBezTo>
                          <a:pt x="18" y="11"/>
                          <a:pt x="18" y="11"/>
                          <a:pt x="18" y="11"/>
                        </a:cubicBezTo>
                        <a:cubicBezTo>
                          <a:pt x="18" y="11"/>
                          <a:pt x="18" y="11"/>
                          <a:pt x="18" y="11"/>
                        </a:cubicBezTo>
                        <a:cubicBezTo>
                          <a:pt x="18" y="11"/>
                          <a:pt x="18" y="11"/>
                          <a:pt x="18" y="11"/>
                        </a:cubicBezTo>
                        <a:cubicBezTo>
                          <a:pt x="18" y="11"/>
                          <a:pt x="18" y="11"/>
                          <a:pt x="18" y="11"/>
                        </a:cubicBezTo>
                        <a:cubicBezTo>
                          <a:pt x="18" y="11"/>
                          <a:pt x="18" y="11"/>
                          <a:pt x="18" y="11"/>
                        </a:cubicBezTo>
                        <a:close/>
                        <a:moveTo>
                          <a:pt x="19" y="7"/>
                        </a:moveTo>
                        <a:cubicBezTo>
                          <a:pt x="19" y="7"/>
                          <a:pt x="19" y="7"/>
                          <a:pt x="20" y="7"/>
                        </a:cubicBezTo>
                        <a:cubicBezTo>
                          <a:pt x="19" y="7"/>
                          <a:pt x="19" y="7"/>
                          <a:pt x="19" y="7"/>
                        </a:cubicBezTo>
                        <a:close/>
                        <a:moveTo>
                          <a:pt x="17" y="10"/>
                        </a:moveTo>
                        <a:cubicBezTo>
                          <a:pt x="17" y="10"/>
                          <a:pt x="18" y="10"/>
                          <a:pt x="18" y="10"/>
                        </a:cubicBezTo>
                        <a:cubicBezTo>
                          <a:pt x="18" y="10"/>
                          <a:pt x="17" y="10"/>
                          <a:pt x="17" y="10"/>
                        </a:cubicBezTo>
                        <a:close/>
                        <a:moveTo>
                          <a:pt x="18" y="12"/>
                        </a:moveTo>
                        <a:cubicBezTo>
                          <a:pt x="17" y="12"/>
                          <a:pt x="17" y="11"/>
                          <a:pt x="17" y="11"/>
                        </a:cubicBezTo>
                        <a:cubicBezTo>
                          <a:pt x="17" y="11"/>
                          <a:pt x="18" y="11"/>
                          <a:pt x="18" y="12"/>
                        </a:cubicBezTo>
                        <a:close/>
                        <a:moveTo>
                          <a:pt x="17" y="11"/>
                        </a:moveTo>
                        <a:cubicBezTo>
                          <a:pt x="17" y="11"/>
                          <a:pt x="17" y="11"/>
                          <a:pt x="17" y="11"/>
                        </a:cubicBezTo>
                        <a:cubicBezTo>
                          <a:pt x="17" y="11"/>
                          <a:pt x="17" y="11"/>
                          <a:pt x="16" y="11"/>
                        </a:cubicBezTo>
                        <a:cubicBezTo>
                          <a:pt x="17" y="11"/>
                          <a:pt x="17" y="11"/>
                          <a:pt x="17" y="11"/>
                        </a:cubicBezTo>
                        <a:close/>
                        <a:moveTo>
                          <a:pt x="16" y="10"/>
                        </a:moveTo>
                        <a:cubicBezTo>
                          <a:pt x="16" y="10"/>
                          <a:pt x="17" y="10"/>
                          <a:pt x="17" y="10"/>
                        </a:cubicBezTo>
                        <a:cubicBezTo>
                          <a:pt x="17" y="10"/>
                          <a:pt x="16" y="10"/>
                          <a:pt x="16" y="10"/>
                        </a:cubicBezTo>
                        <a:close/>
                        <a:moveTo>
                          <a:pt x="17" y="10"/>
                        </a:moveTo>
                        <a:cubicBezTo>
                          <a:pt x="17" y="10"/>
                          <a:pt x="16" y="10"/>
                          <a:pt x="16" y="10"/>
                        </a:cubicBezTo>
                        <a:cubicBezTo>
                          <a:pt x="16" y="10"/>
                          <a:pt x="16" y="10"/>
                          <a:pt x="17" y="10"/>
                        </a:cubicBezTo>
                        <a:close/>
                        <a:moveTo>
                          <a:pt x="16" y="11"/>
                        </a:moveTo>
                        <a:cubicBezTo>
                          <a:pt x="16" y="11"/>
                          <a:pt x="16" y="11"/>
                          <a:pt x="16" y="11"/>
                        </a:cubicBezTo>
                        <a:cubicBezTo>
                          <a:pt x="16" y="11"/>
                          <a:pt x="16" y="11"/>
                          <a:pt x="16" y="11"/>
                        </a:cubicBezTo>
                        <a:cubicBezTo>
                          <a:pt x="16" y="11"/>
                          <a:pt x="16" y="11"/>
                          <a:pt x="16" y="11"/>
                        </a:cubicBezTo>
                        <a:cubicBezTo>
                          <a:pt x="16" y="11"/>
                          <a:pt x="16" y="11"/>
                          <a:pt x="16" y="11"/>
                        </a:cubicBezTo>
                        <a:close/>
                        <a:moveTo>
                          <a:pt x="15" y="11"/>
                        </a:moveTo>
                        <a:cubicBezTo>
                          <a:pt x="15" y="11"/>
                          <a:pt x="15" y="11"/>
                          <a:pt x="15" y="11"/>
                        </a:cubicBezTo>
                        <a:cubicBezTo>
                          <a:pt x="15" y="11"/>
                          <a:pt x="15" y="11"/>
                          <a:pt x="15" y="11"/>
                        </a:cubicBezTo>
                        <a:close/>
                        <a:moveTo>
                          <a:pt x="16" y="6"/>
                        </a:moveTo>
                        <a:cubicBezTo>
                          <a:pt x="16" y="5"/>
                          <a:pt x="16" y="6"/>
                          <a:pt x="16" y="6"/>
                        </a:cubicBezTo>
                        <a:cubicBezTo>
                          <a:pt x="16" y="6"/>
                          <a:pt x="16" y="6"/>
                          <a:pt x="16" y="6"/>
                        </a:cubicBezTo>
                        <a:close/>
                        <a:moveTo>
                          <a:pt x="14" y="5"/>
                        </a:moveTo>
                        <a:cubicBezTo>
                          <a:pt x="15" y="5"/>
                          <a:pt x="15" y="5"/>
                          <a:pt x="15" y="5"/>
                        </a:cubicBezTo>
                        <a:cubicBezTo>
                          <a:pt x="15" y="5"/>
                          <a:pt x="15" y="5"/>
                          <a:pt x="14" y="5"/>
                        </a:cubicBezTo>
                        <a:close/>
                        <a:moveTo>
                          <a:pt x="12" y="10"/>
                        </a:moveTo>
                        <a:cubicBezTo>
                          <a:pt x="12" y="10"/>
                          <a:pt x="11" y="9"/>
                          <a:pt x="10" y="9"/>
                        </a:cubicBezTo>
                        <a:cubicBezTo>
                          <a:pt x="9" y="9"/>
                          <a:pt x="8" y="9"/>
                          <a:pt x="7" y="8"/>
                        </a:cubicBezTo>
                        <a:cubicBezTo>
                          <a:pt x="9" y="9"/>
                          <a:pt x="11" y="9"/>
                          <a:pt x="12" y="10"/>
                        </a:cubicBezTo>
                        <a:close/>
                        <a:moveTo>
                          <a:pt x="12" y="11"/>
                        </a:moveTo>
                        <a:cubicBezTo>
                          <a:pt x="11" y="11"/>
                          <a:pt x="11" y="11"/>
                          <a:pt x="11" y="11"/>
                        </a:cubicBezTo>
                        <a:cubicBezTo>
                          <a:pt x="11" y="11"/>
                          <a:pt x="12" y="11"/>
                          <a:pt x="12" y="11"/>
                        </a:cubicBezTo>
                        <a:close/>
                        <a:moveTo>
                          <a:pt x="12" y="8"/>
                        </a:moveTo>
                        <a:cubicBezTo>
                          <a:pt x="12" y="8"/>
                          <a:pt x="11" y="8"/>
                          <a:pt x="12" y="8"/>
                        </a:cubicBezTo>
                        <a:cubicBezTo>
                          <a:pt x="11" y="8"/>
                          <a:pt x="12" y="8"/>
                          <a:pt x="11" y="8"/>
                        </a:cubicBezTo>
                        <a:cubicBezTo>
                          <a:pt x="11" y="8"/>
                          <a:pt x="11" y="8"/>
                          <a:pt x="12" y="8"/>
                        </a:cubicBezTo>
                        <a:close/>
                        <a:moveTo>
                          <a:pt x="11" y="11"/>
                        </a:moveTo>
                        <a:cubicBezTo>
                          <a:pt x="11" y="10"/>
                          <a:pt x="11" y="11"/>
                          <a:pt x="11" y="11"/>
                        </a:cubicBezTo>
                        <a:cubicBezTo>
                          <a:pt x="11" y="11"/>
                          <a:pt x="11" y="11"/>
                          <a:pt x="11" y="11"/>
                        </a:cubicBezTo>
                        <a:close/>
                        <a:moveTo>
                          <a:pt x="10" y="10"/>
                        </a:moveTo>
                        <a:cubicBezTo>
                          <a:pt x="10" y="10"/>
                          <a:pt x="11" y="10"/>
                          <a:pt x="11" y="10"/>
                        </a:cubicBezTo>
                        <a:cubicBezTo>
                          <a:pt x="11" y="10"/>
                          <a:pt x="10" y="10"/>
                          <a:pt x="10" y="10"/>
                        </a:cubicBezTo>
                        <a:close/>
                        <a:moveTo>
                          <a:pt x="10" y="11"/>
                        </a:moveTo>
                        <a:cubicBezTo>
                          <a:pt x="10" y="10"/>
                          <a:pt x="10" y="10"/>
                          <a:pt x="9" y="10"/>
                        </a:cubicBezTo>
                        <a:cubicBezTo>
                          <a:pt x="9" y="10"/>
                          <a:pt x="10" y="10"/>
                          <a:pt x="10" y="10"/>
                        </a:cubicBezTo>
                        <a:cubicBezTo>
                          <a:pt x="9" y="10"/>
                          <a:pt x="10" y="10"/>
                          <a:pt x="11" y="10"/>
                        </a:cubicBezTo>
                        <a:lnTo>
                          <a:pt x="10" y="11"/>
                        </a:lnTo>
                        <a:close/>
                        <a:moveTo>
                          <a:pt x="10" y="8"/>
                        </a:moveTo>
                        <a:cubicBezTo>
                          <a:pt x="10" y="8"/>
                          <a:pt x="11" y="8"/>
                          <a:pt x="11" y="8"/>
                        </a:cubicBezTo>
                        <a:cubicBezTo>
                          <a:pt x="11" y="8"/>
                          <a:pt x="10" y="8"/>
                          <a:pt x="10" y="8"/>
                        </a:cubicBezTo>
                        <a:close/>
                        <a:moveTo>
                          <a:pt x="11" y="3"/>
                        </a:moveTo>
                        <a:cubicBezTo>
                          <a:pt x="11" y="3"/>
                          <a:pt x="11" y="3"/>
                          <a:pt x="10" y="3"/>
                        </a:cubicBezTo>
                        <a:cubicBezTo>
                          <a:pt x="10" y="3"/>
                          <a:pt x="11" y="3"/>
                          <a:pt x="11" y="3"/>
                        </a:cubicBezTo>
                        <a:close/>
                        <a:moveTo>
                          <a:pt x="8" y="7"/>
                        </a:moveTo>
                        <a:cubicBezTo>
                          <a:pt x="8" y="7"/>
                          <a:pt x="8" y="7"/>
                          <a:pt x="8" y="7"/>
                        </a:cubicBezTo>
                        <a:cubicBezTo>
                          <a:pt x="8" y="7"/>
                          <a:pt x="9" y="7"/>
                          <a:pt x="9" y="7"/>
                        </a:cubicBezTo>
                        <a:cubicBezTo>
                          <a:pt x="9" y="7"/>
                          <a:pt x="9" y="7"/>
                          <a:pt x="8" y="7"/>
                        </a:cubicBezTo>
                        <a:close/>
                        <a:moveTo>
                          <a:pt x="8" y="7"/>
                        </a:moveTo>
                        <a:cubicBezTo>
                          <a:pt x="8" y="7"/>
                          <a:pt x="8" y="7"/>
                          <a:pt x="8" y="7"/>
                        </a:cubicBezTo>
                        <a:cubicBezTo>
                          <a:pt x="8" y="7"/>
                          <a:pt x="8" y="7"/>
                          <a:pt x="8" y="7"/>
                        </a:cubicBezTo>
                        <a:cubicBezTo>
                          <a:pt x="8" y="7"/>
                          <a:pt x="8" y="7"/>
                          <a:pt x="8" y="7"/>
                        </a:cubicBezTo>
                        <a:cubicBezTo>
                          <a:pt x="8" y="7"/>
                          <a:pt x="8" y="7"/>
                          <a:pt x="8" y="7"/>
                        </a:cubicBezTo>
                        <a:close/>
                        <a:moveTo>
                          <a:pt x="8" y="7"/>
                        </a:moveTo>
                        <a:cubicBezTo>
                          <a:pt x="8" y="7"/>
                          <a:pt x="8" y="7"/>
                          <a:pt x="8" y="7"/>
                        </a:cubicBezTo>
                        <a:cubicBezTo>
                          <a:pt x="7" y="7"/>
                          <a:pt x="7" y="7"/>
                          <a:pt x="7" y="7"/>
                        </a:cubicBezTo>
                        <a:cubicBezTo>
                          <a:pt x="7" y="7"/>
                          <a:pt x="7" y="7"/>
                          <a:pt x="8" y="7"/>
                        </a:cubicBezTo>
                        <a:close/>
                        <a:moveTo>
                          <a:pt x="6" y="9"/>
                        </a:moveTo>
                        <a:cubicBezTo>
                          <a:pt x="6" y="9"/>
                          <a:pt x="7" y="9"/>
                          <a:pt x="7" y="9"/>
                        </a:cubicBezTo>
                        <a:cubicBezTo>
                          <a:pt x="7" y="10"/>
                          <a:pt x="6" y="9"/>
                          <a:pt x="6" y="9"/>
                        </a:cubicBezTo>
                        <a:close/>
                        <a:moveTo>
                          <a:pt x="8" y="2"/>
                        </a:moveTo>
                        <a:cubicBezTo>
                          <a:pt x="8" y="2"/>
                          <a:pt x="8" y="2"/>
                          <a:pt x="8" y="2"/>
                        </a:cubicBezTo>
                        <a:cubicBezTo>
                          <a:pt x="8" y="2"/>
                          <a:pt x="8" y="2"/>
                          <a:pt x="8" y="2"/>
                        </a:cubicBezTo>
                        <a:close/>
                        <a:moveTo>
                          <a:pt x="7" y="7"/>
                        </a:moveTo>
                        <a:cubicBezTo>
                          <a:pt x="6" y="7"/>
                          <a:pt x="7" y="7"/>
                          <a:pt x="6" y="7"/>
                        </a:cubicBezTo>
                        <a:cubicBezTo>
                          <a:pt x="6" y="7"/>
                          <a:pt x="6" y="7"/>
                          <a:pt x="6" y="7"/>
                        </a:cubicBezTo>
                        <a:cubicBezTo>
                          <a:pt x="7" y="7"/>
                          <a:pt x="7" y="7"/>
                          <a:pt x="7" y="7"/>
                        </a:cubicBezTo>
                        <a:cubicBezTo>
                          <a:pt x="7" y="7"/>
                          <a:pt x="7" y="7"/>
                          <a:pt x="7" y="7"/>
                        </a:cubicBezTo>
                        <a:cubicBezTo>
                          <a:pt x="7" y="7"/>
                          <a:pt x="7" y="7"/>
                          <a:pt x="7" y="7"/>
                        </a:cubicBezTo>
                        <a:close/>
                        <a:moveTo>
                          <a:pt x="6" y="9"/>
                        </a:moveTo>
                        <a:cubicBezTo>
                          <a:pt x="6" y="9"/>
                          <a:pt x="5" y="9"/>
                          <a:pt x="5" y="9"/>
                        </a:cubicBezTo>
                        <a:cubicBezTo>
                          <a:pt x="5" y="9"/>
                          <a:pt x="6" y="9"/>
                          <a:pt x="6" y="9"/>
                        </a:cubicBezTo>
                        <a:close/>
                        <a:moveTo>
                          <a:pt x="6" y="8"/>
                        </a:moveTo>
                        <a:cubicBezTo>
                          <a:pt x="6" y="8"/>
                          <a:pt x="6" y="8"/>
                          <a:pt x="6" y="8"/>
                        </a:cubicBezTo>
                        <a:cubicBezTo>
                          <a:pt x="6" y="8"/>
                          <a:pt x="6" y="8"/>
                          <a:pt x="6" y="8"/>
                        </a:cubicBezTo>
                        <a:close/>
                        <a:moveTo>
                          <a:pt x="8" y="2"/>
                        </a:moveTo>
                        <a:cubicBezTo>
                          <a:pt x="7" y="2"/>
                          <a:pt x="7" y="2"/>
                          <a:pt x="7" y="2"/>
                        </a:cubicBezTo>
                        <a:cubicBezTo>
                          <a:pt x="7" y="2"/>
                          <a:pt x="7" y="2"/>
                          <a:pt x="8" y="2"/>
                        </a:cubicBezTo>
                        <a:close/>
                        <a:moveTo>
                          <a:pt x="6" y="5"/>
                        </a:moveTo>
                        <a:cubicBezTo>
                          <a:pt x="6" y="5"/>
                          <a:pt x="6" y="5"/>
                          <a:pt x="7" y="5"/>
                        </a:cubicBezTo>
                        <a:cubicBezTo>
                          <a:pt x="7" y="5"/>
                          <a:pt x="6" y="5"/>
                          <a:pt x="6" y="5"/>
                        </a:cubicBezTo>
                        <a:close/>
                        <a:moveTo>
                          <a:pt x="6" y="6"/>
                        </a:moveTo>
                        <a:cubicBezTo>
                          <a:pt x="6" y="6"/>
                          <a:pt x="5" y="6"/>
                          <a:pt x="5" y="6"/>
                        </a:cubicBezTo>
                        <a:cubicBezTo>
                          <a:pt x="5" y="6"/>
                          <a:pt x="6" y="6"/>
                          <a:pt x="6" y="6"/>
                        </a:cubicBezTo>
                        <a:close/>
                        <a:moveTo>
                          <a:pt x="4" y="9"/>
                        </a:moveTo>
                        <a:cubicBezTo>
                          <a:pt x="4" y="8"/>
                          <a:pt x="5" y="9"/>
                          <a:pt x="5" y="9"/>
                        </a:cubicBezTo>
                        <a:cubicBezTo>
                          <a:pt x="5" y="9"/>
                          <a:pt x="4" y="9"/>
                          <a:pt x="4" y="9"/>
                        </a:cubicBezTo>
                        <a:close/>
                        <a:moveTo>
                          <a:pt x="5" y="4"/>
                        </a:moveTo>
                        <a:cubicBezTo>
                          <a:pt x="5" y="4"/>
                          <a:pt x="6" y="4"/>
                          <a:pt x="6" y="4"/>
                        </a:cubicBezTo>
                        <a:cubicBezTo>
                          <a:pt x="6" y="5"/>
                          <a:pt x="5" y="4"/>
                          <a:pt x="5" y="4"/>
                        </a:cubicBezTo>
                        <a:close/>
                        <a:moveTo>
                          <a:pt x="6" y="1"/>
                        </a:moveTo>
                        <a:cubicBezTo>
                          <a:pt x="6" y="1"/>
                          <a:pt x="7" y="1"/>
                          <a:pt x="7" y="2"/>
                        </a:cubicBezTo>
                        <a:cubicBezTo>
                          <a:pt x="7" y="2"/>
                          <a:pt x="6" y="1"/>
                          <a:pt x="6" y="1"/>
                        </a:cubicBezTo>
                        <a:close/>
                        <a:moveTo>
                          <a:pt x="3" y="8"/>
                        </a:moveTo>
                        <a:cubicBezTo>
                          <a:pt x="3" y="8"/>
                          <a:pt x="3" y="8"/>
                          <a:pt x="3" y="8"/>
                        </a:cubicBezTo>
                        <a:cubicBezTo>
                          <a:pt x="3" y="8"/>
                          <a:pt x="3" y="8"/>
                          <a:pt x="3" y="8"/>
                        </a:cubicBezTo>
                        <a:cubicBezTo>
                          <a:pt x="3" y="8"/>
                          <a:pt x="3" y="8"/>
                          <a:pt x="3" y="8"/>
                        </a:cubicBezTo>
                        <a:cubicBezTo>
                          <a:pt x="4" y="8"/>
                          <a:pt x="4" y="8"/>
                          <a:pt x="4" y="9"/>
                        </a:cubicBezTo>
                        <a:cubicBezTo>
                          <a:pt x="4" y="8"/>
                          <a:pt x="3" y="8"/>
                          <a:pt x="3" y="8"/>
                        </a:cubicBezTo>
                        <a:close/>
                        <a:moveTo>
                          <a:pt x="5" y="1"/>
                        </a:moveTo>
                        <a:cubicBezTo>
                          <a:pt x="5" y="1"/>
                          <a:pt x="5" y="1"/>
                          <a:pt x="5" y="1"/>
                        </a:cubicBezTo>
                        <a:cubicBezTo>
                          <a:pt x="6" y="1"/>
                          <a:pt x="6" y="1"/>
                          <a:pt x="6" y="1"/>
                        </a:cubicBezTo>
                        <a:cubicBezTo>
                          <a:pt x="6" y="1"/>
                          <a:pt x="5" y="1"/>
                          <a:pt x="5" y="1"/>
                        </a:cubicBezTo>
                        <a:cubicBezTo>
                          <a:pt x="5" y="1"/>
                          <a:pt x="5" y="1"/>
                          <a:pt x="5" y="1"/>
                        </a:cubicBezTo>
                        <a:close/>
                        <a:moveTo>
                          <a:pt x="4" y="6"/>
                        </a:moveTo>
                        <a:cubicBezTo>
                          <a:pt x="4" y="6"/>
                          <a:pt x="4" y="6"/>
                          <a:pt x="4" y="6"/>
                        </a:cubicBezTo>
                        <a:cubicBezTo>
                          <a:pt x="4" y="6"/>
                          <a:pt x="4" y="6"/>
                          <a:pt x="4" y="6"/>
                        </a:cubicBezTo>
                        <a:close/>
                        <a:moveTo>
                          <a:pt x="4" y="6"/>
                        </a:moveTo>
                        <a:cubicBezTo>
                          <a:pt x="4" y="6"/>
                          <a:pt x="4" y="6"/>
                          <a:pt x="4" y="6"/>
                        </a:cubicBezTo>
                        <a:cubicBezTo>
                          <a:pt x="4" y="6"/>
                          <a:pt x="4" y="6"/>
                          <a:pt x="4" y="6"/>
                        </a:cubicBezTo>
                        <a:close/>
                        <a:moveTo>
                          <a:pt x="4" y="1"/>
                        </a:moveTo>
                        <a:cubicBezTo>
                          <a:pt x="5" y="1"/>
                          <a:pt x="5" y="1"/>
                          <a:pt x="5" y="1"/>
                        </a:cubicBezTo>
                        <a:cubicBezTo>
                          <a:pt x="5" y="1"/>
                          <a:pt x="5" y="1"/>
                          <a:pt x="4" y="1"/>
                        </a:cubicBezTo>
                        <a:close/>
                        <a:moveTo>
                          <a:pt x="4" y="1"/>
                        </a:move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5" y="0"/>
                          <a:pt x="5" y="1"/>
                          <a:pt x="5" y="1"/>
                        </a:cubicBezTo>
                        <a:cubicBezTo>
                          <a:pt x="5" y="1"/>
                          <a:pt x="5" y="0"/>
                          <a:pt x="4" y="1"/>
                        </a:cubicBezTo>
                        <a:close/>
                        <a:moveTo>
                          <a:pt x="3" y="3"/>
                        </a:moveTo>
                        <a:cubicBezTo>
                          <a:pt x="3" y="3"/>
                          <a:pt x="3" y="3"/>
                          <a:pt x="3" y="3"/>
                        </a:cubicBezTo>
                        <a:cubicBezTo>
                          <a:pt x="3" y="4"/>
                          <a:pt x="3" y="4"/>
                          <a:pt x="3" y="4"/>
                        </a:cubicBezTo>
                        <a:cubicBezTo>
                          <a:pt x="3" y="4"/>
                          <a:pt x="3" y="3"/>
                          <a:pt x="3" y="3"/>
                        </a:cubicBezTo>
                        <a:close/>
                        <a:moveTo>
                          <a:pt x="4" y="0"/>
                        </a:moveTo>
                        <a:cubicBezTo>
                          <a:pt x="3" y="0"/>
                          <a:pt x="3" y="0"/>
                          <a:pt x="3" y="0"/>
                        </a:cubicBezTo>
                        <a:cubicBezTo>
                          <a:pt x="3" y="0"/>
                          <a:pt x="3" y="0"/>
                          <a:pt x="4" y="0"/>
                        </a:cubicBezTo>
                        <a:close/>
                        <a:moveTo>
                          <a:pt x="1" y="7"/>
                        </a:moveTo>
                        <a:cubicBezTo>
                          <a:pt x="2" y="7"/>
                          <a:pt x="2" y="7"/>
                          <a:pt x="2" y="7"/>
                        </a:cubicBezTo>
                        <a:cubicBezTo>
                          <a:pt x="1" y="7"/>
                          <a:pt x="1" y="7"/>
                          <a:pt x="1" y="7"/>
                        </a:cubicBezTo>
                        <a:cubicBezTo>
                          <a:pt x="1" y="7"/>
                          <a:pt x="1" y="7"/>
                          <a:pt x="1" y="7"/>
                        </a:cubicBezTo>
                        <a:close/>
                        <a:moveTo>
                          <a:pt x="0" y="6"/>
                        </a:moveTo>
                        <a:cubicBezTo>
                          <a:pt x="0" y="6"/>
                          <a:pt x="0" y="6"/>
                          <a:pt x="1" y="6"/>
                        </a:cubicBezTo>
                        <a:cubicBezTo>
                          <a:pt x="1" y="6"/>
                          <a:pt x="0" y="6"/>
                          <a:pt x="0" y="6"/>
                        </a:cubicBezTo>
                        <a:close/>
                        <a:moveTo>
                          <a:pt x="117" y="38"/>
                        </a:moveTo>
                        <a:cubicBezTo>
                          <a:pt x="117" y="38"/>
                          <a:pt x="117" y="38"/>
                          <a:pt x="117" y="38"/>
                        </a:cubicBezTo>
                        <a:cubicBezTo>
                          <a:pt x="117" y="38"/>
                          <a:pt x="117" y="38"/>
                          <a:pt x="117" y="38"/>
                        </a:cubicBezTo>
                        <a:close/>
                        <a:moveTo>
                          <a:pt x="145" y="54"/>
                        </a:moveTo>
                        <a:cubicBezTo>
                          <a:pt x="144" y="53"/>
                          <a:pt x="143" y="53"/>
                          <a:pt x="143" y="53"/>
                        </a:cubicBezTo>
                        <a:cubicBezTo>
                          <a:pt x="143" y="53"/>
                          <a:pt x="143" y="53"/>
                          <a:pt x="143" y="53"/>
                        </a:cubicBezTo>
                        <a:cubicBezTo>
                          <a:pt x="143" y="53"/>
                          <a:pt x="142" y="53"/>
                          <a:pt x="142" y="53"/>
                        </a:cubicBezTo>
                        <a:cubicBezTo>
                          <a:pt x="141" y="53"/>
                          <a:pt x="141" y="52"/>
                          <a:pt x="140" y="52"/>
                        </a:cubicBezTo>
                        <a:cubicBezTo>
                          <a:pt x="140" y="52"/>
                          <a:pt x="140" y="52"/>
                          <a:pt x="140" y="52"/>
                        </a:cubicBezTo>
                        <a:cubicBezTo>
                          <a:pt x="139" y="51"/>
                          <a:pt x="139" y="52"/>
                          <a:pt x="138" y="51"/>
                        </a:cubicBezTo>
                        <a:cubicBezTo>
                          <a:pt x="138" y="51"/>
                          <a:pt x="138" y="51"/>
                          <a:pt x="138" y="51"/>
                        </a:cubicBezTo>
                        <a:cubicBezTo>
                          <a:pt x="138" y="51"/>
                          <a:pt x="138" y="51"/>
                          <a:pt x="138" y="51"/>
                        </a:cubicBezTo>
                        <a:cubicBezTo>
                          <a:pt x="138" y="51"/>
                          <a:pt x="138" y="51"/>
                          <a:pt x="138" y="51"/>
                        </a:cubicBezTo>
                        <a:cubicBezTo>
                          <a:pt x="138" y="51"/>
                          <a:pt x="137" y="50"/>
                          <a:pt x="136" y="51"/>
                        </a:cubicBezTo>
                        <a:cubicBezTo>
                          <a:pt x="136" y="51"/>
                          <a:pt x="136" y="51"/>
                          <a:pt x="136" y="51"/>
                        </a:cubicBezTo>
                        <a:cubicBezTo>
                          <a:pt x="136" y="50"/>
                          <a:pt x="136" y="51"/>
                          <a:pt x="136" y="50"/>
                        </a:cubicBezTo>
                        <a:cubicBezTo>
                          <a:pt x="136" y="50"/>
                          <a:pt x="136" y="50"/>
                          <a:pt x="136" y="50"/>
                        </a:cubicBezTo>
                        <a:cubicBezTo>
                          <a:pt x="136" y="50"/>
                          <a:pt x="136" y="50"/>
                          <a:pt x="135" y="50"/>
                        </a:cubicBezTo>
                        <a:cubicBezTo>
                          <a:pt x="135" y="50"/>
                          <a:pt x="135" y="50"/>
                          <a:pt x="135" y="50"/>
                        </a:cubicBezTo>
                        <a:cubicBezTo>
                          <a:pt x="135" y="50"/>
                          <a:pt x="135" y="50"/>
                          <a:pt x="135" y="50"/>
                        </a:cubicBezTo>
                        <a:cubicBezTo>
                          <a:pt x="135" y="50"/>
                          <a:pt x="135" y="49"/>
                          <a:pt x="135" y="49"/>
                        </a:cubicBezTo>
                        <a:cubicBezTo>
                          <a:pt x="134" y="49"/>
                          <a:pt x="135" y="49"/>
                          <a:pt x="135" y="49"/>
                        </a:cubicBezTo>
                        <a:cubicBezTo>
                          <a:pt x="135" y="49"/>
                          <a:pt x="135" y="49"/>
                          <a:pt x="134" y="49"/>
                        </a:cubicBezTo>
                        <a:cubicBezTo>
                          <a:pt x="135" y="49"/>
                          <a:pt x="135" y="49"/>
                          <a:pt x="135" y="49"/>
                        </a:cubicBezTo>
                        <a:cubicBezTo>
                          <a:pt x="134" y="49"/>
                          <a:pt x="134" y="49"/>
                          <a:pt x="133" y="49"/>
                        </a:cubicBezTo>
                        <a:cubicBezTo>
                          <a:pt x="133" y="48"/>
                          <a:pt x="133" y="48"/>
                          <a:pt x="133" y="48"/>
                        </a:cubicBezTo>
                        <a:cubicBezTo>
                          <a:pt x="133" y="48"/>
                          <a:pt x="133" y="48"/>
                          <a:pt x="132" y="48"/>
                        </a:cubicBezTo>
                        <a:cubicBezTo>
                          <a:pt x="132" y="48"/>
                          <a:pt x="131" y="48"/>
                          <a:pt x="131" y="48"/>
                        </a:cubicBezTo>
                        <a:cubicBezTo>
                          <a:pt x="131" y="48"/>
                          <a:pt x="131" y="47"/>
                          <a:pt x="131" y="47"/>
                        </a:cubicBezTo>
                        <a:cubicBezTo>
                          <a:pt x="131" y="47"/>
                          <a:pt x="131" y="48"/>
                          <a:pt x="130" y="47"/>
                        </a:cubicBezTo>
                        <a:cubicBezTo>
                          <a:pt x="130" y="47"/>
                          <a:pt x="130" y="47"/>
                          <a:pt x="130" y="47"/>
                        </a:cubicBezTo>
                        <a:cubicBezTo>
                          <a:pt x="130" y="47"/>
                          <a:pt x="130" y="47"/>
                          <a:pt x="129" y="47"/>
                        </a:cubicBezTo>
                        <a:cubicBezTo>
                          <a:pt x="129" y="47"/>
                          <a:pt x="129" y="47"/>
                          <a:pt x="129" y="47"/>
                        </a:cubicBezTo>
                        <a:cubicBezTo>
                          <a:pt x="129" y="47"/>
                          <a:pt x="129" y="47"/>
                          <a:pt x="129" y="47"/>
                        </a:cubicBezTo>
                        <a:cubicBezTo>
                          <a:pt x="129" y="47"/>
                          <a:pt x="129" y="47"/>
                          <a:pt x="129" y="47"/>
                        </a:cubicBezTo>
                        <a:cubicBezTo>
                          <a:pt x="129" y="47"/>
                          <a:pt x="129" y="47"/>
                          <a:pt x="129" y="47"/>
                        </a:cubicBezTo>
                        <a:cubicBezTo>
                          <a:pt x="129" y="47"/>
                          <a:pt x="129" y="47"/>
                          <a:pt x="129" y="47"/>
                        </a:cubicBezTo>
                        <a:cubicBezTo>
                          <a:pt x="129" y="47"/>
                          <a:pt x="129" y="46"/>
                          <a:pt x="129" y="47"/>
                        </a:cubicBezTo>
                        <a:cubicBezTo>
                          <a:pt x="128" y="47"/>
                          <a:pt x="129" y="46"/>
                          <a:pt x="128" y="46"/>
                        </a:cubicBezTo>
                        <a:cubicBezTo>
                          <a:pt x="128" y="46"/>
                          <a:pt x="129" y="46"/>
                          <a:pt x="129" y="46"/>
                        </a:cubicBezTo>
                        <a:cubicBezTo>
                          <a:pt x="129" y="46"/>
                          <a:pt x="128" y="46"/>
                          <a:pt x="128" y="46"/>
                        </a:cubicBezTo>
                        <a:cubicBezTo>
                          <a:pt x="128" y="46"/>
                          <a:pt x="126" y="46"/>
                          <a:pt x="126" y="45"/>
                        </a:cubicBezTo>
                        <a:cubicBezTo>
                          <a:pt x="127" y="45"/>
                          <a:pt x="127" y="46"/>
                          <a:pt x="127" y="46"/>
                        </a:cubicBezTo>
                        <a:cubicBezTo>
                          <a:pt x="127" y="46"/>
                          <a:pt x="127" y="45"/>
                          <a:pt x="127" y="45"/>
                        </a:cubicBezTo>
                        <a:cubicBezTo>
                          <a:pt x="126" y="45"/>
                          <a:pt x="126" y="45"/>
                          <a:pt x="127" y="45"/>
                        </a:cubicBezTo>
                        <a:cubicBezTo>
                          <a:pt x="126" y="45"/>
                          <a:pt x="126" y="45"/>
                          <a:pt x="126" y="45"/>
                        </a:cubicBezTo>
                        <a:cubicBezTo>
                          <a:pt x="126" y="45"/>
                          <a:pt x="125" y="45"/>
                          <a:pt x="126" y="45"/>
                        </a:cubicBezTo>
                        <a:cubicBezTo>
                          <a:pt x="125" y="45"/>
                          <a:pt x="125" y="45"/>
                          <a:pt x="125" y="45"/>
                        </a:cubicBezTo>
                        <a:cubicBezTo>
                          <a:pt x="125" y="45"/>
                          <a:pt x="125" y="45"/>
                          <a:pt x="125" y="45"/>
                        </a:cubicBezTo>
                        <a:cubicBezTo>
                          <a:pt x="125" y="45"/>
                          <a:pt x="125" y="45"/>
                          <a:pt x="125" y="45"/>
                        </a:cubicBezTo>
                        <a:cubicBezTo>
                          <a:pt x="125" y="45"/>
                          <a:pt x="125" y="45"/>
                          <a:pt x="125" y="45"/>
                        </a:cubicBezTo>
                        <a:cubicBezTo>
                          <a:pt x="124" y="45"/>
                          <a:pt x="124" y="45"/>
                          <a:pt x="124" y="45"/>
                        </a:cubicBezTo>
                        <a:cubicBezTo>
                          <a:pt x="124" y="45"/>
                          <a:pt x="125" y="45"/>
                          <a:pt x="124" y="45"/>
                        </a:cubicBezTo>
                        <a:cubicBezTo>
                          <a:pt x="125" y="44"/>
                          <a:pt x="125" y="45"/>
                          <a:pt x="125" y="45"/>
                        </a:cubicBezTo>
                        <a:cubicBezTo>
                          <a:pt x="125" y="44"/>
                          <a:pt x="125" y="44"/>
                          <a:pt x="124" y="44"/>
                        </a:cubicBezTo>
                        <a:cubicBezTo>
                          <a:pt x="124" y="44"/>
                          <a:pt x="124" y="44"/>
                          <a:pt x="124" y="44"/>
                        </a:cubicBezTo>
                        <a:cubicBezTo>
                          <a:pt x="124" y="44"/>
                          <a:pt x="124" y="44"/>
                          <a:pt x="124" y="44"/>
                        </a:cubicBezTo>
                        <a:cubicBezTo>
                          <a:pt x="124" y="44"/>
                          <a:pt x="123" y="44"/>
                          <a:pt x="123" y="44"/>
                        </a:cubicBezTo>
                        <a:cubicBezTo>
                          <a:pt x="123" y="44"/>
                          <a:pt x="122" y="44"/>
                          <a:pt x="122" y="44"/>
                        </a:cubicBezTo>
                        <a:cubicBezTo>
                          <a:pt x="122" y="44"/>
                          <a:pt x="122" y="44"/>
                          <a:pt x="122" y="44"/>
                        </a:cubicBezTo>
                        <a:cubicBezTo>
                          <a:pt x="122" y="44"/>
                          <a:pt x="122" y="44"/>
                          <a:pt x="122" y="44"/>
                        </a:cubicBezTo>
                        <a:cubicBezTo>
                          <a:pt x="122" y="44"/>
                          <a:pt x="122" y="43"/>
                          <a:pt x="122" y="43"/>
                        </a:cubicBezTo>
                        <a:cubicBezTo>
                          <a:pt x="122" y="44"/>
                          <a:pt x="124" y="44"/>
                          <a:pt x="125" y="44"/>
                        </a:cubicBezTo>
                        <a:cubicBezTo>
                          <a:pt x="125" y="44"/>
                          <a:pt x="125" y="44"/>
                          <a:pt x="125" y="44"/>
                        </a:cubicBezTo>
                        <a:cubicBezTo>
                          <a:pt x="125" y="44"/>
                          <a:pt x="125" y="44"/>
                          <a:pt x="125" y="44"/>
                        </a:cubicBezTo>
                        <a:cubicBezTo>
                          <a:pt x="125" y="44"/>
                          <a:pt x="125" y="44"/>
                          <a:pt x="125" y="44"/>
                        </a:cubicBezTo>
                        <a:cubicBezTo>
                          <a:pt x="125" y="44"/>
                          <a:pt x="124" y="44"/>
                          <a:pt x="124" y="44"/>
                        </a:cubicBezTo>
                        <a:cubicBezTo>
                          <a:pt x="124" y="44"/>
                          <a:pt x="124" y="44"/>
                          <a:pt x="124" y="44"/>
                        </a:cubicBezTo>
                        <a:cubicBezTo>
                          <a:pt x="124" y="44"/>
                          <a:pt x="124" y="44"/>
                          <a:pt x="124" y="44"/>
                        </a:cubicBezTo>
                        <a:cubicBezTo>
                          <a:pt x="124" y="44"/>
                          <a:pt x="124" y="44"/>
                          <a:pt x="124" y="44"/>
                        </a:cubicBezTo>
                        <a:cubicBezTo>
                          <a:pt x="124" y="44"/>
                          <a:pt x="123" y="44"/>
                          <a:pt x="123" y="44"/>
                        </a:cubicBezTo>
                        <a:cubicBezTo>
                          <a:pt x="123" y="43"/>
                          <a:pt x="123" y="44"/>
                          <a:pt x="123" y="44"/>
                        </a:cubicBezTo>
                        <a:cubicBezTo>
                          <a:pt x="123" y="43"/>
                          <a:pt x="123" y="43"/>
                          <a:pt x="122" y="43"/>
                        </a:cubicBezTo>
                        <a:cubicBezTo>
                          <a:pt x="122" y="43"/>
                          <a:pt x="122" y="43"/>
                          <a:pt x="122" y="43"/>
                        </a:cubicBezTo>
                        <a:cubicBezTo>
                          <a:pt x="122" y="43"/>
                          <a:pt x="122" y="43"/>
                          <a:pt x="122" y="43"/>
                        </a:cubicBezTo>
                        <a:cubicBezTo>
                          <a:pt x="122" y="43"/>
                          <a:pt x="122" y="43"/>
                          <a:pt x="122" y="43"/>
                        </a:cubicBezTo>
                        <a:cubicBezTo>
                          <a:pt x="121" y="43"/>
                          <a:pt x="122" y="43"/>
                          <a:pt x="121" y="43"/>
                        </a:cubicBezTo>
                        <a:cubicBezTo>
                          <a:pt x="121" y="43"/>
                          <a:pt x="121" y="43"/>
                          <a:pt x="121" y="43"/>
                        </a:cubicBezTo>
                        <a:cubicBezTo>
                          <a:pt x="121" y="43"/>
                          <a:pt x="121" y="43"/>
                          <a:pt x="122" y="43"/>
                        </a:cubicBezTo>
                        <a:cubicBezTo>
                          <a:pt x="122" y="43"/>
                          <a:pt x="121" y="43"/>
                          <a:pt x="121" y="43"/>
                        </a:cubicBezTo>
                        <a:cubicBezTo>
                          <a:pt x="121" y="43"/>
                          <a:pt x="121" y="43"/>
                          <a:pt x="121" y="43"/>
                        </a:cubicBezTo>
                        <a:cubicBezTo>
                          <a:pt x="121" y="43"/>
                          <a:pt x="121" y="43"/>
                          <a:pt x="120" y="43"/>
                        </a:cubicBezTo>
                        <a:cubicBezTo>
                          <a:pt x="121" y="43"/>
                          <a:pt x="121" y="43"/>
                          <a:pt x="121" y="42"/>
                        </a:cubicBezTo>
                        <a:cubicBezTo>
                          <a:pt x="121" y="42"/>
                          <a:pt x="120" y="42"/>
                          <a:pt x="121" y="42"/>
                        </a:cubicBezTo>
                        <a:cubicBezTo>
                          <a:pt x="121" y="43"/>
                          <a:pt x="120" y="42"/>
                          <a:pt x="120" y="42"/>
                        </a:cubicBezTo>
                        <a:cubicBezTo>
                          <a:pt x="120" y="42"/>
                          <a:pt x="120" y="42"/>
                          <a:pt x="120" y="42"/>
                        </a:cubicBezTo>
                        <a:cubicBezTo>
                          <a:pt x="120" y="43"/>
                          <a:pt x="121" y="43"/>
                          <a:pt x="121" y="43"/>
                        </a:cubicBezTo>
                        <a:cubicBezTo>
                          <a:pt x="120" y="43"/>
                          <a:pt x="120" y="43"/>
                          <a:pt x="119" y="43"/>
                        </a:cubicBezTo>
                        <a:cubicBezTo>
                          <a:pt x="119" y="42"/>
                          <a:pt x="119" y="42"/>
                          <a:pt x="119" y="42"/>
                        </a:cubicBezTo>
                        <a:cubicBezTo>
                          <a:pt x="119" y="43"/>
                          <a:pt x="119" y="43"/>
                          <a:pt x="118" y="43"/>
                        </a:cubicBezTo>
                        <a:cubicBezTo>
                          <a:pt x="119" y="42"/>
                          <a:pt x="119" y="42"/>
                          <a:pt x="118" y="42"/>
                        </a:cubicBezTo>
                        <a:cubicBezTo>
                          <a:pt x="118" y="42"/>
                          <a:pt x="118" y="42"/>
                          <a:pt x="118" y="42"/>
                        </a:cubicBezTo>
                        <a:cubicBezTo>
                          <a:pt x="118" y="42"/>
                          <a:pt x="118" y="42"/>
                          <a:pt x="118" y="42"/>
                        </a:cubicBezTo>
                        <a:cubicBezTo>
                          <a:pt x="118" y="42"/>
                          <a:pt x="118" y="42"/>
                          <a:pt x="118" y="42"/>
                        </a:cubicBezTo>
                        <a:cubicBezTo>
                          <a:pt x="118" y="42"/>
                          <a:pt x="118" y="42"/>
                          <a:pt x="118" y="42"/>
                        </a:cubicBezTo>
                        <a:cubicBezTo>
                          <a:pt x="118" y="42"/>
                          <a:pt x="118" y="42"/>
                          <a:pt x="118" y="42"/>
                        </a:cubicBezTo>
                        <a:cubicBezTo>
                          <a:pt x="117" y="42"/>
                          <a:pt x="118" y="42"/>
                          <a:pt x="118" y="42"/>
                        </a:cubicBezTo>
                        <a:cubicBezTo>
                          <a:pt x="117" y="42"/>
                          <a:pt x="117" y="42"/>
                          <a:pt x="117" y="42"/>
                        </a:cubicBezTo>
                        <a:cubicBezTo>
                          <a:pt x="117" y="42"/>
                          <a:pt x="117" y="42"/>
                          <a:pt x="117" y="42"/>
                        </a:cubicBezTo>
                        <a:cubicBezTo>
                          <a:pt x="117" y="42"/>
                          <a:pt x="117" y="42"/>
                          <a:pt x="117" y="42"/>
                        </a:cubicBezTo>
                        <a:cubicBezTo>
                          <a:pt x="117" y="42"/>
                          <a:pt x="117" y="42"/>
                          <a:pt x="117" y="42"/>
                        </a:cubicBezTo>
                        <a:cubicBezTo>
                          <a:pt x="117" y="42"/>
                          <a:pt x="117" y="42"/>
                          <a:pt x="117" y="42"/>
                        </a:cubicBezTo>
                        <a:cubicBezTo>
                          <a:pt x="117" y="42"/>
                          <a:pt x="117" y="42"/>
                          <a:pt x="117" y="42"/>
                        </a:cubicBezTo>
                        <a:cubicBezTo>
                          <a:pt x="117" y="42"/>
                          <a:pt x="117" y="41"/>
                          <a:pt x="117" y="41"/>
                        </a:cubicBezTo>
                        <a:cubicBezTo>
                          <a:pt x="117" y="42"/>
                          <a:pt x="117" y="41"/>
                          <a:pt x="117" y="42"/>
                        </a:cubicBezTo>
                        <a:cubicBezTo>
                          <a:pt x="117" y="42"/>
                          <a:pt x="117" y="42"/>
                          <a:pt x="117" y="41"/>
                        </a:cubicBezTo>
                        <a:cubicBezTo>
                          <a:pt x="117" y="41"/>
                          <a:pt x="117" y="41"/>
                          <a:pt x="117" y="41"/>
                        </a:cubicBezTo>
                        <a:cubicBezTo>
                          <a:pt x="117" y="41"/>
                          <a:pt x="117" y="41"/>
                          <a:pt x="117" y="41"/>
                        </a:cubicBezTo>
                        <a:cubicBezTo>
                          <a:pt x="116" y="41"/>
                          <a:pt x="116" y="41"/>
                          <a:pt x="116" y="41"/>
                        </a:cubicBezTo>
                        <a:cubicBezTo>
                          <a:pt x="116" y="41"/>
                          <a:pt x="116" y="41"/>
                          <a:pt x="115" y="41"/>
                        </a:cubicBezTo>
                        <a:cubicBezTo>
                          <a:pt x="115" y="41"/>
                          <a:pt x="115" y="41"/>
                          <a:pt x="115" y="41"/>
                        </a:cubicBezTo>
                        <a:cubicBezTo>
                          <a:pt x="115" y="41"/>
                          <a:pt x="115" y="41"/>
                          <a:pt x="115" y="41"/>
                        </a:cubicBezTo>
                        <a:cubicBezTo>
                          <a:pt x="115" y="41"/>
                          <a:pt x="115" y="41"/>
                          <a:pt x="115" y="41"/>
                        </a:cubicBezTo>
                        <a:cubicBezTo>
                          <a:pt x="115" y="41"/>
                          <a:pt x="114" y="40"/>
                          <a:pt x="113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2" y="40"/>
                          <a:pt x="111" y="40"/>
                          <a:pt x="111" y="39"/>
                        </a:cubicBezTo>
                        <a:cubicBezTo>
                          <a:pt x="111" y="39"/>
                          <a:pt x="111" y="40"/>
                          <a:pt x="111" y="40"/>
                        </a:cubicBezTo>
                        <a:cubicBezTo>
                          <a:pt x="111" y="40"/>
                          <a:pt x="110" y="39"/>
                          <a:pt x="110" y="39"/>
                        </a:cubicBezTo>
                        <a:cubicBezTo>
                          <a:pt x="110" y="39"/>
                          <a:pt x="110" y="39"/>
                          <a:pt x="110" y="40"/>
                        </a:cubicBezTo>
                        <a:cubicBezTo>
                          <a:pt x="110" y="39"/>
                          <a:pt x="109" y="39"/>
                          <a:pt x="108" y="39"/>
                        </a:cubicBezTo>
                        <a:cubicBezTo>
                          <a:pt x="108" y="38"/>
                          <a:pt x="108" y="38"/>
                          <a:pt x="108" y="38"/>
                        </a:cubicBezTo>
                        <a:cubicBezTo>
                          <a:pt x="108" y="38"/>
                          <a:pt x="108" y="38"/>
                          <a:pt x="107" y="38"/>
                        </a:cubicBezTo>
                        <a:cubicBezTo>
                          <a:pt x="108" y="38"/>
                          <a:pt x="108" y="39"/>
                          <a:pt x="108" y="38"/>
                        </a:cubicBezTo>
                        <a:cubicBezTo>
                          <a:pt x="109" y="38"/>
                          <a:pt x="109" y="38"/>
                          <a:pt x="109" y="39"/>
                        </a:cubicBezTo>
                        <a:cubicBezTo>
                          <a:pt x="109" y="39"/>
                          <a:pt x="109" y="38"/>
                          <a:pt x="109" y="38"/>
                        </a:cubicBezTo>
                        <a:cubicBezTo>
                          <a:pt x="111" y="39"/>
                          <a:pt x="112" y="39"/>
                          <a:pt x="113" y="40"/>
                        </a:cubicBezTo>
                        <a:cubicBezTo>
                          <a:pt x="113" y="40"/>
                          <a:pt x="113" y="40"/>
                          <a:pt x="113" y="40"/>
                        </a:cubicBezTo>
                        <a:cubicBezTo>
                          <a:pt x="114" y="40"/>
                          <a:pt x="113" y="40"/>
                          <a:pt x="114" y="40"/>
                        </a:cubicBez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5" y="40"/>
                          <a:pt x="115" y="40"/>
                          <a:pt x="115" y="40"/>
                        </a:cubicBezTo>
                        <a:cubicBezTo>
                          <a:pt x="115" y="40"/>
                          <a:pt x="115" y="40"/>
                          <a:pt x="115" y="41"/>
                        </a:cubicBezTo>
                        <a:cubicBezTo>
                          <a:pt x="115" y="41"/>
                          <a:pt x="115" y="41"/>
                          <a:pt x="115" y="41"/>
                        </a:cubicBezTo>
                        <a:cubicBezTo>
                          <a:pt x="115" y="40"/>
                          <a:pt x="115" y="40"/>
                          <a:pt x="115" y="40"/>
                        </a:cubicBezTo>
                        <a:cubicBezTo>
                          <a:pt x="115" y="40"/>
                          <a:pt x="115" y="41"/>
                          <a:pt x="116" y="41"/>
                        </a:cubicBezTo>
                        <a:cubicBezTo>
                          <a:pt x="115" y="41"/>
                          <a:pt x="115" y="41"/>
                          <a:pt x="115" y="41"/>
                        </a:cubicBezTo>
                        <a:cubicBezTo>
                          <a:pt x="116" y="41"/>
                          <a:pt x="116" y="41"/>
                          <a:pt x="116" y="41"/>
                        </a:cubicBezTo>
                        <a:cubicBezTo>
                          <a:pt x="116" y="41"/>
                          <a:pt x="116" y="41"/>
                          <a:pt x="116" y="41"/>
                        </a:cubicBezTo>
                        <a:cubicBezTo>
                          <a:pt x="116" y="41"/>
                          <a:pt x="116" y="41"/>
                          <a:pt x="116" y="41"/>
                        </a:cubicBezTo>
                        <a:cubicBezTo>
                          <a:pt x="117" y="41"/>
                          <a:pt x="116" y="41"/>
                          <a:pt x="116" y="41"/>
                        </a:cubicBezTo>
                        <a:cubicBezTo>
                          <a:pt x="117" y="41"/>
                          <a:pt x="117" y="41"/>
                          <a:pt x="117" y="41"/>
                        </a:cubicBezTo>
                        <a:cubicBezTo>
                          <a:pt x="117" y="41"/>
                          <a:pt x="117" y="41"/>
                          <a:pt x="117" y="41"/>
                        </a:cubicBezTo>
                        <a:cubicBezTo>
                          <a:pt x="117" y="41"/>
                          <a:pt x="117" y="41"/>
                          <a:pt x="117" y="40"/>
                        </a:cubicBezTo>
                        <a:cubicBezTo>
                          <a:pt x="116" y="41"/>
                          <a:pt x="116" y="40"/>
                          <a:pt x="116" y="40"/>
                        </a:cubicBezTo>
                        <a:cubicBezTo>
                          <a:pt x="116" y="40"/>
                          <a:pt x="116" y="40"/>
                          <a:pt x="116" y="40"/>
                        </a:cubicBezTo>
                        <a:cubicBezTo>
                          <a:pt x="116" y="40"/>
                          <a:pt x="116" y="40"/>
                          <a:pt x="116" y="40"/>
                        </a:cubicBezTo>
                        <a:cubicBezTo>
                          <a:pt x="116" y="40"/>
                          <a:pt x="116" y="40"/>
                          <a:pt x="116" y="40"/>
                        </a:cubicBezTo>
                        <a:cubicBezTo>
                          <a:pt x="115" y="40"/>
                          <a:pt x="115" y="40"/>
                          <a:pt x="115" y="40"/>
                        </a:cubicBezTo>
                        <a:cubicBezTo>
                          <a:pt x="115" y="40"/>
                          <a:pt x="115" y="40"/>
                          <a:pt x="115" y="40"/>
                        </a:cubicBezTo>
                        <a:cubicBezTo>
                          <a:pt x="115" y="40"/>
                          <a:pt x="115" y="40"/>
                          <a:pt x="115" y="40"/>
                        </a:cubicBezTo>
                        <a:cubicBezTo>
                          <a:pt x="115" y="40"/>
                          <a:pt x="115" y="40"/>
                          <a:pt x="115" y="40"/>
                        </a:cubicBezTo>
                        <a:cubicBezTo>
                          <a:pt x="114" y="40"/>
                          <a:pt x="115" y="40"/>
                          <a:pt x="114" y="40"/>
                        </a:cubicBez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4" y="40"/>
                          <a:pt x="114" y="40"/>
                          <a:pt x="114" y="40"/>
                        </a:cubicBezTo>
                        <a:cubicBezTo>
                          <a:pt x="114" y="40"/>
                          <a:pt x="114" y="40"/>
                          <a:pt x="114" y="39"/>
                        </a:cubicBezTo>
                        <a:cubicBezTo>
                          <a:pt x="114" y="39"/>
                          <a:pt x="114" y="40"/>
                          <a:pt x="114" y="40"/>
                        </a:cubicBezTo>
                        <a:cubicBezTo>
                          <a:pt x="114" y="39"/>
                          <a:pt x="114" y="39"/>
                          <a:pt x="114" y="39"/>
                        </a:cubicBezTo>
                        <a:cubicBezTo>
                          <a:pt x="114" y="39"/>
                          <a:pt x="113" y="39"/>
                          <a:pt x="113" y="39"/>
                        </a:cubicBezTo>
                        <a:cubicBezTo>
                          <a:pt x="113" y="39"/>
                          <a:pt x="113" y="39"/>
                          <a:pt x="113" y="39"/>
                        </a:cubicBezTo>
                        <a:cubicBezTo>
                          <a:pt x="113" y="39"/>
                          <a:pt x="113" y="39"/>
                          <a:pt x="113" y="39"/>
                        </a:cubicBezTo>
                        <a:cubicBezTo>
                          <a:pt x="113" y="39"/>
                          <a:pt x="114" y="39"/>
                          <a:pt x="113" y="39"/>
                        </a:cubicBezTo>
                        <a:cubicBezTo>
                          <a:pt x="114" y="39"/>
                          <a:pt x="115" y="39"/>
                          <a:pt x="116" y="39"/>
                        </a:cubicBezTo>
                        <a:cubicBezTo>
                          <a:pt x="115" y="40"/>
                          <a:pt x="115" y="39"/>
                          <a:pt x="115" y="39"/>
                        </a:cubicBezTo>
                        <a:cubicBezTo>
                          <a:pt x="115" y="39"/>
                          <a:pt x="115" y="40"/>
                          <a:pt x="115" y="40"/>
                        </a:cubicBezTo>
                        <a:cubicBezTo>
                          <a:pt x="116" y="39"/>
                          <a:pt x="116" y="40"/>
                          <a:pt x="117" y="40"/>
                        </a:cubicBezTo>
                        <a:cubicBezTo>
                          <a:pt x="117" y="40"/>
                          <a:pt x="117" y="40"/>
                          <a:pt x="117" y="40"/>
                        </a:cubicBezTo>
                        <a:cubicBezTo>
                          <a:pt x="117" y="40"/>
                          <a:pt x="117" y="40"/>
                          <a:pt x="117" y="40"/>
                        </a:cubicBezTo>
                        <a:cubicBezTo>
                          <a:pt x="117" y="40"/>
                          <a:pt x="117" y="40"/>
                          <a:pt x="117" y="40"/>
                        </a:cubicBezTo>
                        <a:cubicBezTo>
                          <a:pt x="118" y="40"/>
                          <a:pt x="118" y="40"/>
                          <a:pt x="119" y="41"/>
                        </a:cubicBezTo>
                        <a:cubicBezTo>
                          <a:pt x="118" y="41"/>
                          <a:pt x="117" y="40"/>
                          <a:pt x="117" y="40"/>
                        </a:cubicBezTo>
                        <a:cubicBezTo>
                          <a:pt x="117" y="40"/>
                          <a:pt x="116" y="40"/>
                          <a:pt x="116" y="40"/>
                        </a:cubicBezTo>
                        <a:cubicBezTo>
                          <a:pt x="116" y="40"/>
                          <a:pt x="117" y="40"/>
                          <a:pt x="117" y="40"/>
                        </a:cubicBezTo>
                        <a:cubicBezTo>
                          <a:pt x="117" y="41"/>
                          <a:pt x="117" y="41"/>
                          <a:pt x="117" y="41"/>
                        </a:cubicBezTo>
                        <a:cubicBezTo>
                          <a:pt x="117" y="41"/>
                          <a:pt x="117" y="41"/>
                          <a:pt x="117" y="41"/>
                        </a:cubicBezTo>
                        <a:cubicBezTo>
                          <a:pt x="117" y="41"/>
                          <a:pt x="117" y="41"/>
                          <a:pt x="117" y="41"/>
                        </a:cubicBezTo>
                        <a:cubicBezTo>
                          <a:pt x="117" y="41"/>
                          <a:pt x="117" y="41"/>
                          <a:pt x="117" y="41"/>
                        </a:cubicBezTo>
                        <a:cubicBezTo>
                          <a:pt x="118" y="41"/>
                          <a:pt x="118" y="41"/>
                          <a:pt x="118" y="41"/>
                        </a:cubicBezTo>
                        <a:cubicBezTo>
                          <a:pt x="118" y="41"/>
                          <a:pt x="118" y="41"/>
                          <a:pt x="118" y="41"/>
                        </a:cubicBezTo>
                        <a:cubicBezTo>
                          <a:pt x="118" y="41"/>
                          <a:pt x="118" y="41"/>
                          <a:pt x="118" y="41"/>
                        </a:cubicBezTo>
                        <a:cubicBezTo>
                          <a:pt x="118" y="41"/>
                          <a:pt x="118" y="41"/>
                          <a:pt x="118" y="41"/>
                        </a:cubicBezTo>
                        <a:cubicBezTo>
                          <a:pt x="118" y="41"/>
                          <a:pt x="118" y="41"/>
                          <a:pt x="118" y="41"/>
                        </a:cubicBezTo>
                        <a:cubicBezTo>
                          <a:pt x="118" y="41"/>
                          <a:pt x="119" y="41"/>
                          <a:pt x="119" y="41"/>
                        </a:cubicBezTo>
                        <a:cubicBezTo>
                          <a:pt x="119" y="41"/>
                          <a:pt x="119" y="41"/>
                          <a:pt x="119" y="41"/>
                        </a:cubicBezTo>
                        <a:cubicBezTo>
                          <a:pt x="119" y="41"/>
                          <a:pt x="119" y="41"/>
                          <a:pt x="119" y="41"/>
                        </a:cubicBezTo>
                        <a:cubicBezTo>
                          <a:pt x="119" y="41"/>
                          <a:pt x="120" y="41"/>
                          <a:pt x="119" y="41"/>
                        </a:cubicBezTo>
                        <a:cubicBezTo>
                          <a:pt x="120" y="42"/>
                          <a:pt x="121" y="42"/>
                          <a:pt x="122" y="42"/>
                        </a:cubicBezTo>
                        <a:cubicBezTo>
                          <a:pt x="122" y="42"/>
                          <a:pt x="122" y="42"/>
                          <a:pt x="122" y="42"/>
                        </a:cubicBezTo>
                        <a:cubicBezTo>
                          <a:pt x="122" y="43"/>
                          <a:pt x="122" y="42"/>
                          <a:pt x="122" y="43"/>
                        </a:cubicBezTo>
                        <a:cubicBezTo>
                          <a:pt x="123" y="43"/>
                          <a:pt x="122" y="42"/>
                          <a:pt x="122" y="42"/>
                        </a:cubicBezTo>
                        <a:cubicBezTo>
                          <a:pt x="123" y="42"/>
                          <a:pt x="123" y="43"/>
                          <a:pt x="123" y="43"/>
                        </a:cubicBezTo>
                        <a:cubicBezTo>
                          <a:pt x="123" y="43"/>
                          <a:pt x="123" y="43"/>
                          <a:pt x="123" y="43"/>
                        </a:cubicBezTo>
                        <a:cubicBezTo>
                          <a:pt x="122" y="43"/>
                          <a:pt x="123" y="43"/>
                          <a:pt x="123" y="43"/>
                        </a:cubicBezTo>
                        <a:cubicBezTo>
                          <a:pt x="123" y="43"/>
                          <a:pt x="124" y="43"/>
                          <a:pt x="124" y="43"/>
                        </a:cubicBezTo>
                        <a:cubicBezTo>
                          <a:pt x="124" y="43"/>
                          <a:pt x="124" y="43"/>
                          <a:pt x="124" y="43"/>
                        </a:cubicBezTo>
                        <a:cubicBezTo>
                          <a:pt x="125" y="43"/>
                          <a:pt x="125" y="43"/>
                          <a:pt x="125" y="43"/>
                        </a:cubicBezTo>
                        <a:cubicBezTo>
                          <a:pt x="125" y="43"/>
                          <a:pt x="125" y="43"/>
                          <a:pt x="125" y="43"/>
                        </a:cubicBezTo>
                        <a:cubicBezTo>
                          <a:pt x="125" y="43"/>
                          <a:pt x="125" y="43"/>
                          <a:pt x="125" y="43"/>
                        </a:cubicBezTo>
                        <a:cubicBezTo>
                          <a:pt x="124" y="43"/>
                          <a:pt x="125" y="43"/>
                          <a:pt x="125" y="43"/>
                        </a:cubicBezTo>
                        <a:cubicBezTo>
                          <a:pt x="125" y="43"/>
                          <a:pt x="125" y="43"/>
                          <a:pt x="125" y="43"/>
                        </a:cubicBezTo>
                        <a:cubicBezTo>
                          <a:pt x="125" y="43"/>
                          <a:pt x="126" y="44"/>
                          <a:pt x="125" y="43"/>
                        </a:cubicBezTo>
                        <a:cubicBezTo>
                          <a:pt x="125" y="44"/>
                          <a:pt x="125" y="44"/>
                          <a:pt x="125" y="44"/>
                        </a:cubicBezTo>
                        <a:cubicBezTo>
                          <a:pt x="125" y="44"/>
                          <a:pt x="126" y="44"/>
                          <a:pt x="126" y="44"/>
                        </a:cubicBezTo>
                        <a:cubicBezTo>
                          <a:pt x="126" y="44"/>
                          <a:pt x="126" y="44"/>
                          <a:pt x="126" y="44"/>
                        </a:cubicBezTo>
                        <a:cubicBezTo>
                          <a:pt x="126" y="44"/>
                          <a:pt x="126" y="44"/>
                          <a:pt x="127" y="44"/>
                        </a:cubicBezTo>
                        <a:cubicBezTo>
                          <a:pt x="127" y="44"/>
                          <a:pt x="127" y="44"/>
                          <a:pt x="127" y="44"/>
                        </a:cubicBezTo>
                        <a:cubicBezTo>
                          <a:pt x="128" y="44"/>
                          <a:pt x="129" y="45"/>
                          <a:pt x="129" y="45"/>
                        </a:cubicBezTo>
                        <a:cubicBezTo>
                          <a:pt x="129" y="45"/>
                          <a:pt x="130" y="45"/>
                          <a:pt x="130" y="45"/>
                        </a:cubicBezTo>
                        <a:cubicBezTo>
                          <a:pt x="130" y="45"/>
                          <a:pt x="130" y="45"/>
                          <a:pt x="130" y="45"/>
                        </a:cubicBezTo>
                        <a:cubicBezTo>
                          <a:pt x="130" y="45"/>
                          <a:pt x="130" y="45"/>
                          <a:pt x="130" y="45"/>
                        </a:cubicBezTo>
                        <a:cubicBezTo>
                          <a:pt x="130" y="45"/>
                          <a:pt x="129" y="45"/>
                          <a:pt x="129" y="45"/>
                        </a:cubicBezTo>
                        <a:cubicBezTo>
                          <a:pt x="129" y="45"/>
                          <a:pt x="129" y="45"/>
                          <a:pt x="129" y="45"/>
                        </a:cubicBezTo>
                        <a:cubicBezTo>
                          <a:pt x="129" y="45"/>
                          <a:pt x="129" y="45"/>
                          <a:pt x="129" y="45"/>
                        </a:cubicBezTo>
                        <a:cubicBezTo>
                          <a:pt x="129" y="44"/>
                          <a:pt x="129" y="45"/>
                          <a:pt x="129" y="45"/>
                        </a:cubicBezTo>
                        <a:cubicBezTo>
                          <a:pt x="129" y="45"/>
                          <a:pt x="129" y="45"/>
                          <a:pt x="129" y="45"/>
                        </a:cubicBezTo>
                        <a:cubicBezTo>
                          <a:pt x="129" y="45"/>
                          <a:pt x="128" y="44"/>
                          <a:pt x="128" y="44"/>
                        </a:cubicBezTo>
                        <a:cubicBezTo>
                          <a:pt x="128" y="44"/>
                          <a:pt x="128" y="44"/>
                          <a:pt x="127" y="44"/>
                        </a:cubicBezTo>
                        <a:cubicBezTo>
                          <a:pt x="127" y="44"/>
                          <a:pt x="126" y="44"/>
                          <a:pt x="126" y="44"/>
                        </a:cubicBezTo>
                        <a:cubicBezTo>
                          <a:pt x="126" y="43"/>
                          <a:pt x="126" y="43"/>
                          <a:pt x="126" y="43"/>
                        </a:cubicBezTo>
                        <a:cubicBezTo>
                          <a:pt x="126" y="43"/>
                          <a:pt x="126" y="43"/>
                          <a:pt x="126" y="43"/>
                        </a:cubicBezTo>
                        <a:cubicBezTo>
                          <a:pt x="126" y="43"/>
                          <a:pt x="126" y="43"/>
                          <a:pt x="126" y="43"/>
                        </a:cubicBezTo>
                        <a:cubicBezTo>
                          <a:pt x="126" y="43"/>
                          <a:pt x="125" y="43"/>
                          <a:pt x="125" y="43"/>
                        </a:cubicBezTo>
                        <a:cubicBezTo>
                          <a:pt x="125" y="43"/>
                          <a:pt x="125" y="43"/>
                          <a:pt x="125" y="43"/>
                        </a:cubicBezTo>
                        <a:cubicBezTo>
                          <a:pt x="125" y="43"/>
                          <a:pt x="125" y="43"/>
                          <a:pt x="125" y="43"/>
                        </a:cubicBezTo>
                        <a:cubicBezTo>
                          <a:pt x="125" y="43"/>
                          <a:pt x="125" y="43"/>
                          <a:pt x="125" y="43"/>
                        </a:cubicBezTo>
                        <a:cubicBezTo>
                          <a:pt x="125" y="43"/>
                          <a:pt x="124" y="43"/>
                          <a:pt x="124" y="43"/>
                        </a:cubicBezTo>
                        <a:cubicBezTo>
                          <a:pt x="124" y="43"/>
                          <a:pt x="124" y="43"/>
                          <a:pt x="124" y="42"/>
                        </a:cubicBezTo>
                        <a:cubicBezTo>
                          <a:pt x="124" y="42"/>
                          <a:pt x="124" y="42"/>
                          <a:pt x="124" y="43"/>
                        </a:cubicBezTo>
                        <a:cubicBezTo>
                          <a:pt x="124" y="42"/>
                          <a:pt x="124" y="42"/>
                          <a:pt x="123" y="42"/>
                        </a:cubicBezTo>
                        <a:cubicBezTo>
                          <a:pt x="123" y="42"/>
                          <a:pt x="123" y="42"/>
                          <a:pt x="123" y="42"/>
                        </a:cubicBezTo>
                        <a:cubicBezTo>
                          <a:pt x="123" y="42"/>
                          <a:pt x="123" y="42"/>
                          <a:pt x="123" y="42"/>
                        </a:cubicBezTo>
                        <a:cubicBezTo>
                          <a:pt x="123" y="42"/>
                          <a:pt x="123" y="42"/>
                          <a:pt x="122" y="42"/>
                        </a:cubicBezTo>
                        <a:cubicBezTo>
                          <a:pt x="122" y="41"/>
                          <a:pt x="122" y="42"/>
                          <a:pt x="122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1" y="41"/>
                          <a:pt x="121" y="41"/>
                        </a:cubicBezTo>
                        <a:cubicBezTo>
                          <a:pt x="122" y="41"/>
                          <a:pt x="122" y="41"/>
                          <a:pt x="121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3" y="41"/>
                          <a:pt x="122" y="41"/>
                        </a:cubicBezTo>
                        <a:cubicBezTo>
                          <a:pt x="123" y="41"/>
                          <a:pt x="123" y="41"/>
                          <a:pt x="123" y="41"/>
                        </a:cubicBezTo>
                        <a:cubicBezTo>
                          <a:pt x="123" y="41"/>
                          <a:pt x="123" y="41"/>
                          <a:pt x="124" y="41"/>
                        </a:cubicBezTo>
                        <a:cubicBezTo>
                          <a:pt x="124" y="41"/>
                          <a:pt x="124" y="41"/>
                          <a:pt x="124" y="41"/>
                        </a:cubicBezTo>
                        <a:cubicBezTo>
                          <a:pt x="124" y="41"/>
                          <a:pt x="123" y="41"/>
                          <a:pt x="122" y="41"/>
                        </a:cubicBezTo>
                        <a:cubicBezTo>
                          <a:pt x="122" y="41"/>
                          <a:pt x="122" y="41"/>
                          <a:pt x="123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2" y="41"/>
                          <a:pt x="122" y="41"/>
                        </a:cubicBezTo>
                        <a:cubicBezTo>
                          <a:pt x="122" y="41"/>
                          <a:pt x="122" y="41"/>
                          <a:pt x="122" y="40"/>
                        </a:cubicBezTo>
                        <a:cubicBezTo>
                          <a:pt x="122" y="40"/>
                          <a:pt x="122" y="40"/>
                          <a:pt x="122" y="40"/>
                        </a:cubicBezTo>
                        <a:cubicBezTo>
                          <a:pt x="122" y="40"/>
                          <a:pt x="122" y="40"/>
                          <a:pt x="122" y="40"/>
                        </a:cubicBezTo>
                        <a:cubicBezTo>
                          <a:pt x="122" y="40"/>
                          <a:pt x="122" y="40"/>
                          <a:pt x="122" y="40"/>
                        </a:cubicBezTo>
                        <a:cubicBezTo>
                          <a:pt x="121" y="40"/>
                          <a:pt x="121" y="40"/>
                          <a:pt x="121" y="40"/>
                        </a:cubicBezTo>
                        <a:cubicBezTo>
                          <a:pt x="121" y="39"/>
                          <a:pt x="121" y="39"/>
                          <a:pt x="120" y="39"/>
                        </a:cubicBezTo>
                        <a:cubicBezTo>
                          <a:pt x="120" y="39"/>
                          <a:pt x="120" y="39"/>
                          <a:pt x="120" y="39"/>
                        </a:cubicBezTo>
                        <a:cubicBezTo>
                          <a:pt x="120" y="39"/>
                          <a:pt x="120" y="39"/>
                          <a:pt x="120" y="39"/>
                        </a:cubicBezTo>
                        <a:cubicBezTo>
                          <a:pt x="120" y="39"/>
                          <a:pt x="120" y="39"/>
                          <a:pt x="120" y="40"/>
                        </a:cubicBezTo>
                        <a:cubicBezTo>
                          <a:pt x="120" y="39"/>
                          <a:pt x="120" y="39"/>
                          <a:pt x="120" y="39"/>
                        </a:cubicBezTo>
                        <a:cubicBezTo>
                          <a:pt x="120" y="39"/>
                          <a:pt x="120" y="39"/>
                          <a:pt x="120" y="39"/>
                        </a:cubicBezTo>
                        <a:cubicBezTo>
                          <a:pt x="120" y="39"/>
                          <a:pt x="120" y="39"/>
                          <a:pt x="120" y="39"/>
                        </a:cubicBezTo>
                        <a:cubicBezTo>
                          <a:pt x="119" y="40"/>
                          <a:pt x="119" y="39"/>
                          <a:pt x="119" y="39"/>
                        </a:cubicBezTo>
                        <a:cubicBezTo>
                          <a:pt x="119" y="39"/>
                          <a:pt x="119" y="39"/>
                          <a:pt x="119" y="39"/>
                        </a:cubicBezTo>
                        <a:cubicBezTo>
                          <a:pt x="119" y="39"/>
                          <a:pt x="119" y="39"/>
                          <a:pt x="119" y="39"/>
                        </a:cubicBezTo>
                        <a:cubicBezTo>
                          <a:pt x="119" y="39"/>
                          <a:pt x="119" y="39"/>
                          <a:pt x="120" y="39"/>
                        </a:cubicBezTo>
                        <a:cubicBezTo>
                          <a:pt x="120" y="39"/>
                          <a:pt x="119" y="39"/>
                          <a:pt x="119" y="38"/>
                        </a:cubicBezTo>
                        <a:cubicBezTo>
                          <a:pt x="119" y="38"/>
                          <a:pt x="119" y="39"/>
                          <a:pt x="119" y="39"/>
                        </a:cubicBezTo>
                        <a:cubicBezTo>
                          <a:pt x="119" y="39"/>
                          <a:pt x="119" y="39"/>
                          <a:pt x="119" y="39"/>
                        </a:cubicBezTo>
                        <a:cubicBezTo>
                          <a:pt x="119" y="39"/>
                          <a:pt x="118" y="39"/>
                          <a:pt x="118" y="39"/>
                        </a:cubicBezTo>
                        <a:cubicBezTo>
                          <a:pt x="118" y="39"/>
                          <a:pt x="118" y="39"/>
                          <a:pt x="118" y="39"/>
                        </a:cubicBezTo>
                        <a:cubicBezTo>
                          <a:pt x="118" y="39"/>
                          <a:pt x="118" y="39"/>
                          <a:pt x="118" y="39"/>
                        </a:cubicBezTo>
                        <a:cubicBezTo>
                          <a:pt x="118" y="39"/>
                          <a:pt x="118" y="39"/>
                          <a:pt x="118" y="38"/>
                        </a:cubicBezTo>
                        <a:cubicBezTo>
                          <a:pt x="118" y="38"/>
                          <a:pt x="118" y="38"/>
                          <a:pt x="118" y="38"/>
                        </a:cubicBezTo>
                        <a:cubicBezTo>
                          <a:pt x="118" y="38"/>
                          <a:pt x="117" y="38"/>
                          <a:pt x="117" y="38"/>
                        </a:cubicBezTo>
                        <a:cubicBezTo>
                          <a:pt x="117" y="38"/>
                          <a:pt x="117" y="38"/>
                          <a:pt x="117" y="38"/>
                        </a:cubicBezTo>
                        <a:cubicBezTo>
                          <a:pt x="117" y="38"/>
                          <a:pt x="118" y="39"/>
                          <a:pt x="118" y="39"/>
                        </a:cubicBezTo>
                        <a:cubicBezTo>
                          <a:pt x="118" y="39"/>
                          <a:pt x="118" y="39"/>
                          <a:pt x="118" y="39"/>
                        </a:cubicBezTo>
                        <a:cubicBezTo>
                          <a:pt x="118" y="39"/>
                          <a:pt x="118" y="39"/>
                          <a:pt x="119" y="39"/>
                        </a:cubicBezTo>
                        <a:cubicBezTo>
                          <a:pt x="119" y="40"/>
                          <a:pt x="118" y="40"/>
                          <a:pt x="118" y="40"/>
                        </a:cubicBezTo>
                        <a:cubicBezTo>
                          <a:pt x="118" y="40"/>
                          <a:pt x="119" y="40"/>
                          <a:pt x="118" y="40"/>
                        </a:cubicBezTo>
                        <a:cubicBezTo>
                          <a:pt x="118" y="40"/>
                          <a:pt x="118" y="40"/>
                          <a:pt x="118" y="40"/>
                        </a:cubicBezTo>
                        <a:cubicBezTo>
                          <a:pt x="118" y="40"/>
                          <a:pt x="118" y="40"/>
                          <a:pt x="118" y="40"/>
                        </a:cubicBezTo>
                        <a:cubicBezTo>
                          <a:pt x="118" y="39"/>
                          <a:pt x="118" y="40"/>
                          <a:pt x="118" y="39"/>
                        </a:cubicBezTo>
                        <a:cubicBezTo>
                          <a:pt x="118" y="39"/>
                          <a:pt x="117" y="39"/>
                          <a:pt x="118" y="39"/>
                        </a:cubicBezTo>
                        <a:cubicBezTo>
                          <a:pt x="118" y="39"/>
                          <a:pt x="118" y="39"/>
                          <a:pt x="118" y="39"/>
                        </a:cubicBezTo>
                        <a:cubicBezTo>
                          <a:pt x="118" y="39"/>
                          <a:pt x="117" y="39"/>
                          <a:pt x="118" y="39"/>
                        </a:cubicBezTo>
                        <a:cubicBezTo>
                          <a:pt x="117" y="39"/>
                          <a:pt x="117" y="39"/>
                          <a:pt x="117" y="39"/>
                        </a:cubicBezTo>
                        <a:cubicBezTo>
                          <a:pt x="117" y="39"/>
                          <a:pt x="117" y="39"/>
                          <a:pt x="117" y="39"/>
                        </a:cubicBezTo>
                        <a:cubicBezTo>
                          <a:pt x="117" y="39"/>
                          <a:pt x="117" y="39"/>
                          <a:pt x="117" y="39"/>
                        </a:cubicBezTo>
                        <a:cubicBezTo>
                          <a:pt x="116" y="39"/>
                          <a:pt x="116" y="39"/>
                          <a:pt x="117" y="39"/>
                        </a:cubicBezTo>
                        <a:cubicBezTo>
                          <a:pt x="116" y="39"/>
                          <a:pt x="116" y="39"/>
                          <a:pt x="115" y="39"/>
                        </a:cubicBezTo>
                        <a:cubicBezTo>
                          <a:pt x="115" y="38"/>
                          <a:pt x="115" y="39"/>
                          <a:pt x="115" y="38"/>
                        </a:cubicBezTo>
                        <a:cubicBezTo>
                          <a:pt x="115" y="38"/>
                          <a:pt x="114" y="38"/>
                          <a:pt x="114" y="38"/>
                        </a:cubicBezTo>
                        <a:cubicBezTo>
                          <a:pt x="114" y="38"/>
                          <a:pt x="114" y="38"/>
                          <a:pt x="114" y="38"/>
                        </a:cubicBezTo>
                        <a:cubicBezTo>
                          <a:pt x="114" y="38"/>
                          <a:pt x="114" y="38"/>
                          <a:pt x="113" y="38"/>
                        </a:cubicBezTo>
                        <a:cubicBezTo>
                          <a:pt x="113" y="38"/>
                          <a:pt x="114" y="38"/>
                          <a:pt x="114" y="38"/>
                        </a:cubicBezTo>
                        <a:cubicBezTo>
                          <a:pt x="113" y="38"/>
                          <a:pt x="113" y="38"/>
                          <a:pt x="113" y="38"/>
                        </a:cubicBezTo>
                        <a:cubicBezTo>
                          <a:pt x="113" y="38"/>
                          <a:pt x="113" y="38"/>
                          <a:pt x="113" y="38"/>
                        </a:cubicBezTo>
                        <a:cubicBezTo>
                          <a:pt x="113" y="38"/>
                          <a:pt x="113" y="38"/>
                          <a:pt x="113" y="38"/>
                        </a:cubicBezTo>
                        <a:cubicBezTo>
                          <a:pt x="112" y="37"/>
                          <a:pt x="112" y="37"/>
                          <a:pt x="113" y="37"/>
                        </a:cubicBezTo>
                        <a:cubicBezTo>
                          <a:pt x="112" y="37"/>
                          <a:pt x="112" y="37"/>
                          <a:pt x="112" y="37"/>
                        </a:cubicBezTo>
                        <a:cubicBezTo>
                          <a:pt x="112" y="37"/>
                          <a:pt x="112" y="37"/>
                          <a:pt x="112" y="37"/>
                        </a:cubicBezTo>
                        <a:cubicBezTo>
                          <a:pt x="112" y="37"/>
                          <a:pt x="112" y="37"/>
                          <a:pt x="112" y="37"/>
                        </a:cubicBezTo>
                        <a:cubicBezTo>
                          <a:pt x="112" y="37"/>
                          <a:pt x="111" y="37"/>
                          <a:pt x="111" y="37"/>
                        </a:cubicBezTo>
                        <a:cubicBezTo>
                          <a:pt x="112" y="37"/>
                          <a:pt x="112" y="37"/>
                          <a:pt x="112" y="37"/>
                        </a:cubicBezTo>
                        <a:cubicBezTo>
                          <a:pt x="112" y="37"/>
                          <a:pt x="112" y="37"/>
                          <a:pt x="112" y="37"/>
                        </a:cubicBezTo>
                        <a:cubicBezTo>
                          <a:pt x="112" y="37"/>
                          <a:pt x="112" y="37"/>
                          <a:pt x="112" y="37"/>
                        </a:cubicBezTo>
                        <a:cubicBezTo>
                          <a:pt x="113" y="37"/>
                          <a:pt x="113" y="37"/>
                          <a:pt x="113" y="37"/>
                        </a:cubicBezTo>
                        <a:cubicBezTo>
                          <a:pt x="113" y="37"/>
                          <a:pt x="113" y="37"/>
                          <a:pt x="113" y="37"/>
                        </a:cubicBezTo>
                        <a:cubicBezTo>
                          <a:pt x="114" y="37"/>
                          <a:pt x="113" y="37"/>
                          <a:pt x="113" y="37"/>
                        </a:cubicBezTo>
                        <a:cubicBezTo>
                          <a:pt x="114" y="37"/>
                          <a:pt x="114" y="37"/>
                          <a:pt x="114" y="38"/>
                        </a:cubicBezTo>
                        <a:cubicBezTo>
                          <a:pt x="114" y="38"/>
                          <a:pt x="114" y="38"/>
                          <a:pt x="114" y="37"/>
                        </a:cubicBezTo>
                        <a:cubicBezTo>
                          <a:pt x="114" y="37"/>
                          <a:pt x="114" y="38"/>
                          <a:pt x="114" y="38"/>
                        </a:cubicBezTo>
                        <a:cubicBezTo>
                          <a:pt x="114" y="38"/>
                          <a:pt x="114" y="38"/>
                          <a:pt x="114" y="38"/>
                        </a:cubicBezTo>
                        <a:cubicBezTo>
                          <a:pt x="114" y="38"/>
                          <a:pt x="115" y="38"/>
                          <a:pt x="115" y="38"/>
                        </a:cubicBezTo>
                        <a:cubicBezTo>
                          <a:pt x="115" y="38"/>
                          <a:pt x="115" y="38"/>
                          <a:pt x="115" y="38"/>
                        </a:cubicBezTo>
                        <a:cubicBezTo>
                          <a:pt x="115" y="37"/>
                          <a:pt x="114" y="37"/>
                          <a:pt x="115" y="37"/>
                        </a:cubicBezTo>
                        <a:cubicBezTo>
                          <a:pt x="115" y="37"/>
                          <a:pt x="115" y="38"/>
                          <a:pt x="116" y="38"/>
                        </a:cubicBezTo>
                        <a:cubicBezTo>
                          <a:pt x="116" y="38"/>
                          <a:pt x="116" y="38"/>
                          <a:pt x="116" y="38"/>
                        </a:cubicBezTo>
                        <a:cubicBezTo>
                          <a:pt x="116" y="38"/>
                          <a:pt x="115" y="38"/>
                          <a:pt x="115" y="38"/>
                        </a:cubicBezTo>
                        <a:cubicBezTo>
                          <a:pt x="115" y="38"/>
                          <a:pt x="115" y="38"/>
                          <a:pt x="115" y="38"/>
                        </a:cubicBezTo>
                        <a:cubicBezTo>
                          <a:pt x="116" y="38"/>
                          <a:pt x="116" y="38"/>
                          <a:pt x="116" y="38"/>
                        </a:cubicBezTo>
                        <a:cubicBezTo>
                          <a:pt x="116" y="38"/>
                          <a:pt x="116" y="38"/>
                          <a:pt x="116" y="38"/>
                        </a:cubicBezTo>
                        <a:cubicBezTo>
                          <a:pt x="117" y="38"/>
                          <a:pt x="116" y="38"/>
                          <a:pt x="117" y="39"/>
                        </a:cubicBezTo>
                        <a:cubicBezTo>
                          <a:pt x="117" y="38"/>
                          <a:pt x="117" y="39"/>
                          <a:pt x="117" y="39"/>
                        </a:cubicBezTo>
                        <a:cubicBezTo>
                          <a:pt x="117" y="39"/>
                          <a:pt x="117" y="39"/>
                          <a:pt x="117" y="38"/>
                        </a:cubicBezTo>
                        <a:cubicBezTo>
                          <a:pt x="117" y="38"/>
                          <a:pt x="117" y="38"/>
                          <a:pt x="117" y="38"/>
                        </a:cubicBezTo>
                        <a:cubicBezTo>
                          <a:pt x="117" y="38"/>
                          <a:pt x="117" y="38"/>
                          <a:pt x="117" y="38"/>
                        </a:cubicBezTo>
                        <a:cubicBezTo>
                          <a:pt x="117" y="38"/>
                          <a:pt x="118" y="38"/>
                          <a:pt x="117" y="38"/>
                        </a:cubicBezTo>
                        <a:cubicBezTo>
                          <a:pt x="117" y="38"/>
                          <a:pt x="117" y="38"/>
                          <a:pt x="117" y="38"/>
                        </a:cubicBezTo>
                        <a:cubicBezTo>
                          <a:pt x="117" y="38"/>
                          <a:pt x="117" y="38"/>
                          <a:pt x="116" y="38"/>
                        </a:cubicBezTo>
                        <a:cubicBezTo>
                          <a:pt x="116" y="38"/>
                          <a:pt x="116" y="38"/>
                          <a:pt x="117" y="38"/>
                        </a:cubicBezTo>
                        <a:cubicBezTo>
                          <a:pt x="117" y="38"/>
                          <a:pt x="116" y="37"/>
                          <a:pt x="116" y="38"/>
                        </a:cubicBezTo>
                        <a:cubicBezTo>
                          <a:pt x="116" y="37"/>
                          <a:pt x="116" y="37"/>
                          <a:pt x="116" y="37"/>
                        </a:cubicBezTo>
                        <a:cubicBezTo>
                          <a:pt x="116" y="37"/>
                          <a:pt x="117" y="37"/>
                          <a:pt x="117" y="38"/>
                        </a:cubicBezTo>
                        <a:cubicBezTo>
                          <a:pt x="117" y="38"/>
                          <a:pt x="117" y="37"/>
                          <a:pt x="117" y="37"/>
                        </a:cubicBezTo>
                        <a:cubicBezTo>
                          <a:pt x="118" y="37"/>
                          <a:pt x="118" y="37"/>
                          <a:pt x="118" y="37"/>
                        </a:cubicBezTo>
                        <a:cubicBezTo>
                          <a:pt x="118" y="38"/>
                          <a:pt x="118" y="38"/>
                          <a:pt x="118" y="38"/>
                        </a:cubicBezTo>
                        <a:cubicBezTo>
                          <a:pt x="118" y="38"/>
                          <a:pt x="119" y="38"/>
                          <a:pt x="119" y="38"/>
                        </a:cubicBezTo>
                        <a:cubicBezTo>
                          <a:pt x="119" y="38"/>
                          <a:pt x="119" y="38"/>
                          <a:pt x="120" y="38"/>
                        </a:cubicBezTo>
                        <a:cubicBezTo>
                          <a:pt x="119" y="38"/>
                          <a:pt x="119" y="38"/>
                          <a:pt x="120" y="38"/>
                        </a:cubicBezTo>
                        <a:cubicBezTo>
                          <a:pt x="120" y="38"/>
                          <a:pt x="120" y="38"/>
                          <a:pt x="120" y="38"/>
                        </a:cubicBezTo>
                        <a:cubicBezTo>
                          <a:pt x="120" y="38"/>
                          <a:pt x="120" y="38"/>
                          <a:pt x="120" y="38"/>
                        </a:cubicBezTo>
                        <a:cubicBezTo>
                          <a:pt x="120" y="38"/>
                          <a:pt x="120" y="38"/>
                          <a:pt x="120" y="38"/>
                        </a:cubicBezTo>
                        <a:cubicBezTo>
                          <a:pt x="120" y="38"/>
                          <a:pt x="120" y="39"/>
                          <a:pt x="120" y="38"/>
                        </a:cubicBezTo>
                        <a:cubicBezTo>
                          <a:pt x="120" y="39"/>
                          <a:pt x="120" y="39"/>
                          <a:pt x="120" y="39"/>
                        </a:cubicBezTo>
                        <a:cubicBezTo>
                          <a:pt x="120" y="39"/>
                          <a:pt x="120" y="39"/>
                          <a:pt x="120" y="39"/>
                        </a:cubicBezTo>
                        <a:cubicBezTo>
                          <a:pt x="120" y="39"/>
                          <a:pt x="120" y="38"/>
                          <a:pt x="120" y="39"/>
                        </a:cubicBezTo>
                        <a:cubicBezTo>
                          <a:pt x="120" y="39"/>
                          <a:pt x="121" y="39"/>
                          <a:pt x="121" y="39"/>
                        </a:cubicBezTo>
                        <a:cubicBezTo>
                          <a:pt x="121" y="39"/>
                          <a:pt x="121" y="39"/>
                          <a:pt x="121" y="39"/>
                        </a:cubicBezTo>
                        <a:cubicBezTo>
                          <a:pt x="121" y="39"/>
                          <a:pt x="121" y="39"/>
                          <a:pt x="121" y="40"/>
                        </a:cubicBezTo>
                        <a:cubicBezTo>
                          <a:pt x="121" y="39"/>
                          <a:pt x="121" y="39"/>
                          <a:pt x="121" y="39"/>
                        </a:cubicBezTo>
                        <a:cubicBezTo>
                          <a:pt x="121" y="39"/>
                          <a:pt x="121" y="39"/>
                          <a:pt x="121" y="39"/>
                        </a:cubicBezTo>
                        <a:cubicBezTo>
                          <a:pt x="121" y="39"/>
                          <a:pt x="121" y="39"/>
                          <a:pt x="121" y="39"/>
                        </a:cubicBezTo>
                        <a:cubicBezTo>
                          <a:pt x="121" y="39"/>
                          <a:pt x="122" y="39"/>
                          <a:pt x="122" y="39"/>
                        </a:cubicBezTo>
                        <a:cubicBezTo>
                          <a:pt x="122" y="39"/>
                          <a:pt x="122" y="39"/>
                          <a:pt x="122" y="39"/>
                        </a:cubicBezTo>
                        <a:cubicBezTo>
                          <a:pt x="122" y="39"/>
                          <a:pt x="121" y="39"/>
                          <a:pt x="121" y="39"/>
                        </a:cubicBezTo>
                        <a:cubicBezTo>
                          <a:pt x="122" y="39"/>
                          <a:pt x="123" y="39"/>
                          <a:pt x="123" y="39"/>
                        </a:cubicBezTo>
                        <a:cubicBezTo>
                          <a:pt x="123" y="39"/>
                          <a:pt x="123" y="39"/>
                          <a:pt x="123" y="39"/>
                        </a:cubicBezTo>
                        <a:cubicBezTo>
                          <a:pt x="123" y="39"/>
                          <a:pt x="123" y="39"/>
                          <a:pt x="123" y="39"/>
                        </a:cubicBezTo>
                        <a:cubicBezTo>
                          <a:pt x="123" y="39"/>
                          <a:pt x="124" y="39"/>
                          <a:pt x="124" y="39"/>
                        </a:cubicBezTo>
                        <a:cubicBezTo>
                          <a:pt x="124" y="40"/>
                          <a:pt x="124" y="40"/>
                          <a:pt x="124" y="40"/>
                        </a:cubicBezTo>
                        <a:cubicBezTo>
                          <a:pt x="124" y="40"/>
                          <a:pt x="124" y="40"/>
                          <a:pt x="125" y="40"/>
                        </a:cubicBezTo>
                        <a:cubicBezTo>
                          <a:pt x="125" y="40"/>
                          <a:pt x="125" y="40"/>
                          <a:pt x="125" y="40"/>
                        </a:cubicBezTo>
                        <a:cubicBezTo>
                          <a:pt x="125" y="40"/>
                          <a:pt x="125" y="40"/>
                          <a:pt x="125" y="40"/>
                        </a:cubicBezTo>
                        <a:cubicBezTo>
                          <a:pt x="125" y="40"/>
                          <a:pt x="124" y="40"/>
                          <a:pt x="124" y="40"/>
                        </a:cubicBezTo>
                        <a:cubicBezTo>
                          <a:pt x="125" y="40"/>
                          <a:pt x="125" y="40"/>
                          <a:pt x="125" y="40"/>
                        </a:cubicBezTo>
                        <a:cubicBezTo>
                          <a:pt x="125" y="40"/>
                          <a:pt x="125" y="40"/>
                          <a:pt x="125" y="40"/>
                        </a:cubicBezTo>
                        <a:cubicBezTo>
                          <a:pt x="126" y="40"/>
                          <a:pt x="125" y="40"/>
                          <a:pt x="125" y="40"/>
                        </a:cubicBezTo>
                        <a:cubicBezTo>
                          <a:pt x="125" y="40"/>
                          <a:pt x="125" y="40"/>
                          <a:pt x="125" y="40"/>
                        </a:cubicBezTo>
                        <a:cubicBezTo>
                          <a:pt x="125" y="40"/>
                          <a:pt x="126" y="40"/>
                          <a:pt x="126" y="41"/>
                        </a:cubicBezTo>
                        <a:cubicBezTo>
                          <a:pt x="126" y="41"/>
                          <a:pt x="126" y="41"/>
                          <a:pt x="126" y="41"/>
                        </a:cubicBezTo>
                        <a:cubicBezTo>
                          <a:pt x="126" y="41"/>
                          <a:pt x="126" y="40"/>
                          <a:pt x="126" y="40"/>
                        </a:cubicBezTo>
                        <a:cubicBezTo>
                          <a:pt x="126" y="40"/>
                          <a:pt x="126" y="40"/>
                          <a:pt x="126" y="40"/>
                        </a:cubicBezTo>
                        <a:cubicBezTo>
                          <a:pt x="126" y="40"/>
                          <a:pt x="126" y="40"/>
                          <a:pt x="126" y="40"/>
                        </a:cubicBezTo>
                        <a:cubicBezTo>
                          <a:pt x="126" y="40"/>
                          <a:pt x="126" y="40"/>
                          <a:pt x="126" y="40"/>
                        </a:cubicBezTo>
                        <a:cubicBezTo>
                          <a:pt x="126" y="40"/>
                          <a:pt x="126" y="40"/>
                          <a:pt x="126" y="40"/>
                        </a:cubicBezTo>
                        <a:cubicBezTo>
                          <a:pt x="126" y="40"/>
                          <a:pt x="126" y="40"/>
                          <a:pt x="126" y="40"/>
                        </a:cubicBezTo>
                        <a:cubicBezTo>
                          <a:pt x="126" y="40"/>
                          <a:pt x="126" y="40"/>
                          <a:pt x="127" y="40"/>
                        </a:cubicBezTo>
                        <a:cubicBezTo>
                          <a:pt x="127" y="40"/>
                          <a:pt x="126" y="40"/>
                          <a:pt x="126" y="40"/>
                        </a:cubicBezTo>
                        <a:cubicBezTo>
                          <a:pt x="127" y="40"/>
                          <a:pt x="127" y="40"/>
                          <a:pt x="127" y="40"/>
                        </a:cubicBezTo>
                        <a:cubicBezTo>
                          <a:pt x="127" y="40"/>
                          <a:pt x="126" y="40"/>
                          <a:pt x="126" y="40"/>
                        </a:cubicBezTo>
                        <a:cubicBezTo>
                          <a:pt x="127" y="40"/>
                          <a:pt x="127" y="40"/>
                          <a:pt x="127" y="40"/>
                        </a:cubicBezTo>
                        <a:cubicBezTo>
                          <a:pt x="127" y="40"/>
                          <a:pt x="127" y="40"/>
                          <a:pt x="127" y="40"/>
                        </a:cubicBezTo>
                        <a:cubicBezTo>
                          <a:pt x="127" y="40"/>
                          <a:pt x="127" y="40"/>
                          <a:pt x="128" y="40"/>
                        </a:cubicBezTo>
                        <a:cubicBezTo>
                          <a:pt x="128" y="40"/>
                          <a:pt x="128" y="40"/>
                          <a:pt x="128" y="40"/>
                        </a:cubicBezTo>
                        <a:cubicBezTo>
                          <a:pt x="128" y="40"/>
                          <a:pt x="128" y="40"/>
                          <a:pt x="127" y="40"/>
                        </a:cubicBezTo>
                        <a:cubicBezTo>
                          <a:pt x="127" y="40"/>
                          <a:pt x="128" y="40"/>
                          <a:pt x="128" y="40"/>
                        </a:cubicBezTo>
                        <a:cubicBezTo>
                          <a:pt x="128" y="40"/>
                          <a:pt x="128" y="40"/>
                          <a:pt x="128" y="40"/>
                        </a:cubicBezTo>
                        <a:cubicBezTo>
                          <a:pt x="128" y="40"/>
                          <a:pt x="128" y="39"/>
                          <a:pt x="128" y="40"/>
                        </a:cubicBezTo>
                        <a:cubicBezTo>
                          <a:pt x="128" y="40"/>
                          <a:pt x="128" y="40"/>
                          <a:pt x="128" y="40"/>
                        </a:cubicBezTo>
                        <a:cubicBezTo>
                          <a:pt x="128" y="40"/>
                          <a:pt x="128" y="40"/>
                          <a:pt x="128" y="40"/>
                        </a:cubicBezTo>
                        <a:cubicBezTo>
                          <a:pt x="128" y="40"/>
                          <a:pt x="128" y="40"/>
                          <a:pt x="129" y="40"/>
                        </a:cubicBezTo>
                        <a:cubicBezTo>
                          <a:pt x="128" y="39"/>
                          <a:pt x="128" y="39"/>
                          <a:pt x="127" y="39"/>
                        </a:cubicBezTo>
                        <a:cubicBezTo>
                          <a:pt x="127" y="39"/>
                          <a:pt x="128" y="39"/>
                          <a:pt x="128" y="39"/>
                        </a:cubicBezTo>
                        <a:cubicBezTo>
                          <a:pt x="128" y="39"/>
                          <a:pt x="128" y="39"/>
                          <a:pt x="128" y="39"/>
                        </a:cubicBezTo>
                        <a:cubicBezTo>
                          <a:pt x="128" y="39"/>
                          <a:pt x="128" y="39"/>
                          <a:pt x="129" y="39"/>
                        </a:cubicBezTo>
                        <a:cubicBezTo>
                          <a:pt x="129" y="39"/>
                          <a:pt x="128" y="39"/>
                          <a:pt x="128" y="39"/>
                        </a:cubicBezTo>
                        <a:cubicBezTo>
                          <a:pt x="128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9"/>
                          <a:pt x="129" y="40"/>
                        </a:cubicBezTo>
                        <a:cubicBezTo>
                          <a:pt x="129" y="39"/>
                          <a:pt x="129" y="40"/>
                          <a:pt x="129" y="40"/>
                        </a:cubicBezTo>
                        <a:cubicBezTo>
                          <a:pt x="129" y="40"/>
                          <a:pt x="128" y="40"/>
                          <a:pt x="128" y="40"/>
                        </a:cubicBezTo>
                        <a:cubicBezTo>
                          <a:pt x="128" y="40"/>
                          <a:pt x="128" y="40"/>
                          <a:pt x="128" y="40"/>
                        </a:cubicBezTo>
                        <a:cubicBezTo>
                          <a:pt x="128" y="40"/>
                          <a:pt x="128" y="40"/>
                          <a:pt x="128" y="40"/>
                        </a:cubicBezTo>
                        <a:cubicBezTo>
                          <a:pt x="128" y="40"/>
                          <a:pt x="128" y="40"/>
                          <a:pt x="128" y="40"/>
                        </a:cubicBezTo>
                        <a:cubicBezTo>
                          <a:pt x="128" y="40"/>
                          <a:pt x="128" y="40"/>
                          <a:pt x="128" y="40"/>
                        </a:cubicBezTo>
                        <a:cubicBezTo>
                          <a:pt x="128" y="40"/>
                          <a:pt x="129" y="40"/>
                          <a:pt x="129" y="41"/>
                        </a:cubicBezTo>
                        <a:cubicBezTo>
                          <a:pt x="129" y="40"/>
                          <a:pt x="129" y="40"/>
                          <a:pt x="129" y="40"/>
                        </a:cubicBezTo>
                        <a:cubicBezTo>
                          <a:pt x="129" y="40"/>
                          <a:pt x="129" y="40"/>
                          <a:pt x="129" y="40"/>
                        </a:cubicBezTo>
                        <a:cubicBezTo>
                          <a:pt x="129" y="40"/>
                          <a:pt x="129" y="40"/>
                          <a:pt x="129" y="40"/>
                        </a:cubicBezTo>
                        <a:cubicBezTo>
                          <a:pt x="129" y="40"/>
                          <a:pt x="129" y="40"/>
                          <a:pt x="129" y="40"/>
                        </a:cubicBezTo>
                        <a:cubicBezTo>
                          <a:pt x="129" y="40"/>
                          <a:pt x="129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1"/>
                        </a:cubicBezTo>
                        <a:cubicBezTo>
                          <a:pt x="130" y="41"/>
                          <a:pt x="130" y="41"/>
                          <a:pt x="130" y="40"/>
                        </a:cubicBezTo>
                        <a:cubicBezTo>
                          <a:pt x="129" y="40"/>
                          <a:pt x="129" y="40"/>
                          <a:pt x="129" y="40"/>
                        </a:cubicBezTo>
                        <a:cubicBezTo>
                          <a:pt x="129" y="41"/>
                          <a:pt x="130" y="41"/>
                          <a:pt x="130" y="41"/>
                        </a:cubicBezTo>
                        <a:cubicBezTo>
                          <a:pt x="130" y="41"/>
                          <a:pt x="130" y="41"/>
                          <a:pt x="130" y="41"/>
                        </a:cubicBezTo>
                        <a:cubicBezTo>
                          <a:pt x="131" y="41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29" y="40"/>
                          <a:pt x="129" y="40"/>
                          <a:pt x="129" y="40"/>
                        </a:cubicBezTo>
                        <a:cubicBezTo>
                          <a:pt x="129" y="40"/>
                          <a:pt x="129" y="40"/>
                          <a:pt x="130" y="40"/>
                        </a:cubicBezTo>
                        <a:cubicBezTo>
                          <a:pt x="130" y="40"/>
                          <a:pt x="129" y="40"/>
                          <a:pt x="129" y="40"/>
                        </a:cubicBezTo>
                        <a:cubicBezTo>
                          <a:pt x="129" y="40"/>
                          <a:pt x="129" y="40"/>
                          <a:pt x="129" y="39"/>
                        </a:cubicBezTo>
                        <a:cubicBezTo>
                          <a:pt x="130" y="39"/>
                          <a:pt x="129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39"/>
                        </a:cubicBezTo>
                        <a:cubicBezTo>
                          <a:pt x="129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9"/>
                          <a:pt x="130" y="39"/>
                        </a:cubicBezTo>
                        <a:cubicBezTo>
                          <a:pt x="130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8"/>
                          <a:pt x="129" y="38"/>
                        </a:cubicBezTo>
                        <a:cubicBezTo>
                          <a:pt x="129" y="38"/>
                          <a:pt x="129" y="39"/>
                          <a:pt x="129" y="39"/>
                        </a:cubicBezTo>
                        <a:cubicBezTo>
                          <a:pt x="129" y="38"/>
                          <a:pt x="128" y="39"/>
                          <a:pt x="128" y="39"/>
                        </a:cubicBezTo>
                        <a:cubicBezTo>
                          <a:pt x="128" y="39"/>
                          <a:pt x="129" y="39"/>
                          <a:pt x="129" y="39"/>
                        </a:cubicBezTo>
                        <a:cubicBezTo>
                          <a:pt x="129" y="39"/>
                          <a:pt x="129" y="39"/>
                          <a:pt x="128" y="39"/>
                        </a:cubicBezTo>
                        <a:cubicBezTo>
                          <a:pt x="128" y="39"/>
                          <a:pt x="128" y="39"/>
                          <a:pt x="128" y="39"/>
                        </a:cubicBezTo>
                        <a:cubicBezTo>
                          <a:pt x="128" y="39"/>
                          <a:pt x="128" y="39"/>
                          <a:pt x="128" y="39"/>
                        </a:cubicBezTo>
                        <a:cubicBezTo>
                          <a:pt x="127" y="39"/>
                          <a:pt x="127" y="39"/>
                          <a:pt x="127" y="39"/>
                        </a:cubicBezTo>
                        <a:cubicBezTo>
                          <a:pt x="127" y="39"/>
                          <a:pt x="127" y="39"/>
                          <a:pt x="127" y="39"/>
                        </a:cubicBezTo>
                        <a:cubicBezTo>
                          <a:pt x="127" y="39"/>
                          <a:pt x="127" y="39"/>
                          <a:pt x="127" y="39"/>
                        </a:cubicBezTo>
                        <a:cubicBezTo>
                          <a:pt x="127" y="39"/>
                          <a:pt x="127" y="39"/>
                          <a:pt x="127" y="39"/>
                        </a:cubicBezTo>
                        <a:cubicBezTo>
                          <a:pt x="127" y="39"/>
                          <a:pt x="127" y="39"/>
                          <a:pt x="127" y="38"/>
                        </a:cubicBezTo>
                        <a:cubicBezTo>
                          <a:pt x="127" y="38"/>
                          <a:pt x="127" y="39"/>
                          <a:pt x="126" y="39"/>
                        </a:cubicBezTo>
                        <a:cubicBezTo>
                          <a:pt x="126" y="39"/>
                          <a:pt x="126" y="38"/>
                          <a:pt x="126" y="38"/>
                        </a:cubicBez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5" y="38"/>
                          <a:pt x="125" y="38"/>
                          <a:pt x="125" y="38"/>
                        </a:cubicBezTo>
                        <a:cubicBezTo>
                          <a:pt x="125" y="38"/>
                          <a:pt x="125" y="38"/>
                          <a:pt x="125" y="38"/>
                        </a:cubicBezTo>
                        <a:cubicBezTo>
                          <a:pt x="124" y="38"/>
                          <a:pt x="124" y="38"/>
                          <a:pt x="123" y="37"/>
                        </a:cubicBezTo>
                        <a:cubicBezTo>
                          <a:pt x="123" y="38"/>
                          <a:pt x="124" y="38"/>
                          <a:pt x="124" y="38"/>
                        </a:cubicBezTo>
                        <a:cubicBezTo>
                          <a:pt x="124" y="38"/>
                          <a:pt x="124" y="38"/>
                          <a:pt x="124" y="38"/>
                        </a:cubicBezTo>
                        <a:cubicBezTo>
                          <a:pt x="124" y="38"/>
                          <a:pt x="124" y="38"/>
                          <a:pt x="124" y="38"/>
                        </a:cubicBezTo>
                        <a:cubicBezTo>
                          <a:pt x="124" y="38"/>
                          <a:pt x="124" y="38"/>
                          <a:pt x="124" y="38"/>
                        </a:cubicBezTo>
                        <a:cubicBezTo>
                          <a:pt x="124" y="38"/>
                          <a:pt x="123" y="38"/>
                          <a:pt x="123" y="38"/>
                        </a:cubicBezTo>
                        <a:cubicBezTo>
                          <a:pt x="123" y="37"/>
                          <a:pt x="123" y="37"/>
                          <a:pt x="123" y="37"/>
                        </a:cubicBezTo>
                        <a:cubicBezTo>
                          <a:pt x="123" y="37"/>
                          <a:pt x="123" y="38"/>
                          <a:pt x="123" y="37"/>
                        </a:cubicBezTo>
                        <a:cubicBezTo>
                          <a:pt x="123" y="37"/>
                          <a:pt x="123" y="38"/>
                          <a:pt x="123" y="38"/>
                        </a:cubicBezTo>
                        <a:cubicBezTo>
                          <a:pt x="123" y="38"/>
                          <a:pt x="123" y="37"/>
                          <a:pt x="122" y="37"/>
                        </a:cubicBezTo>
                        <a:cubicBezTo>
                          <a:pt x="122" y="37"/>
                          <a:pt x="123" y="37"/>
                          <a:pt x="123" y="37"/>
                        </a:cubicBezTo>
                        <a:cubicBezTo>
                          <a:pt x="123" y="37"/>
                          <a:pt x="122" y="37"/>
                          <a:pt x="122" y="37"/>
                        </a:cubicBezTo>
                        <a:cubicBezTo>
                          <a:pt x="122" y="37"/>
                          <a:pt x="122" y="37"/>
                          <a:pt x="122" y="37"/>
                        </a:cubicBezTo>
                        <a:cubicBezTo>
                          <a:pt x="122" y="37"/>
                          <a:pt x="122" y="37"/>
                          <a:pt x="122" y="37"/>
                        </a:cubicBezTo>
                        <a:cubicBezTo>
                          <a:pt x="122" y="36"/>
                          <a:pt x="121" y="37"/>
                          <a:pt x="121" y="36"/>
                        </a:cubicBezTo>
                        <a:cubicBezTo>
                          <a:pt x="121" y="36"/>
                          <a:pt x="121" y="36"/>
                          <a:pt x="121" y="36"/>
                        </a:cubicBezTo>
                        <a:cubicBezTo>
                          <a:pt x="121" y="36"/>
                          <a:pt x="121" y="36"/>
                          <a:pt x="120" y="36"/>
                        </a:cubicBezTo>
                        <a:cubicBezTo>
                          <a:pt x="121" y="36"/>
                          <a:pt x="120" y="36"/>
                          <a:pt x="120" y="36"/>
                        </a:cubicBezTo>
                        <a:cubicBezTo>
                          <a:pt x="120" y="36"/>
                          <a:pt x="120" y="36"/>
                          <a:pt x="120" y="36"/>
                        </a:cubicBezTo>
                        <a:cubicBezTo>
                          <a:pt x="121" y="36"/>
                          <a:pt x="123" y="36"/>
                          <a:pt x="124" y="37"/>
                        </a:cubicBezTo>
                        <a:cubicBezTo>
                          <a:pt x="124" y="37"/>
                          <a:pt x="124" y="37"/>
                          <a:pt x="124" y="37"/>
                        </a:cubicBezTo>
                        <a:cubicBezTo>
                          <a:pt x="124" y="37"/>
                          <a:pt x="124" y="37"/>
                          <a:pt x="124" y="37"/>
                        </a:cubicBezTo>
                        <a:cubicBezTo>
                          <a:pt x="124" y="37"/>
                          <a:pt x="124" y="37"/>
                          <a:pt x="124" y="37"/>
                        </a:cubicBezTo>
                        <a:cubicBezTo>
                          <a:pt x="125" y="37"/>
                          <a:pt x="125" y="37"/>
                          <a:pt x="125" y="37"/>
                        </a:cubicBezTo>
                        <a:cubicBezTo>
                          <a:pt x="125" y="37"/>
                          <a:pt x="125" y="37"/>
                          <a:pt x="125" y="37"/>
                        </a:cubicBezTo>
                        <a:cubicBezTo>
                          <a:pt x="125" y="37"/>
                          <a:pt x="125" y="38"/>
                          <a:pt x="125" y="38"/>
                        </a:cubicBezTo>
                        <a:cubicBezTo>
                          <a:pt x="125" y="37"/>
                          <a:pt x="125" y="38"/>
                          <a:pt x="125" y="38"/>
                        </a:cubicBezTo>
                        <a:cubicBezTo>
                          <a:pt x="125" y="37"/>
                          <a:pt x="125" y="37"/>
                          <a:pt x="125" y="37"/>
                        </a:cubicBezTo>
                        <a:cubicBezTo>
                          <a:pt x="126" y="38"/>
                          <a:pt x="126" y="37"/>
                          <a:pt x="126" y="38"/>
                        </a:cubicBezTo>
                        <a:cubicBezTo>
                          <a:pt x="126" y="38"/>
                          <a:pt x="126" y="37"/>
                          <a:pt x="125" y="38"/>
                        </a:cubicBez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6" y="37"/>
                          <a:pt x="126" y="37"/>
                          <a:pt x="126" y="37"/>
                        </a:cubicBezTo>
                        <a:cubicBezTo>
                          <a:pt x="126" y="37"/>
                          <a:pt x="127" y="38"/>
                          <a:pt x="127" y="38"/>
                        </a:cubicBezTo>
                        <a:cubicBezTo>
                          <a:pt x="127" y="38"/>
                          <a:pt x="127" y="38"/>
                          <a:pt x="127" y="38"/>
                        </a:cubicBezTo>
                        <a:cubicBezTo>
                          <a:pt x="127" y="37"/>
                          <a:pt x="127" y="38"/>
                          <a:pt x="128" y="38"/>
                        </a:cubicBezTo>
                        <a:cubicBezTo>
                          <a:pt x="127" y="38"/>
                          <a:pt x="127" y="38"/>
                          <a:pt x="127" y="38"/>
                        </a:cubicBezTo>
                        <a:cubicBezTo>
                          <a:pt x="128" y="38"/>
                          <a:pt x="128" y="38"/>
                          <a:pt x="128" y="38"/>
                        </a:cubicBezTo>
                        <a:cubicBezTo>
                          <a:pt x="128" y="38"/>
                          <a:pt x="128" y="38"/>
                          <a:pt x="128" y="38"/>
                        </a:cubicBezTo>
                        <a:cubicBezTo>
                          <a:pt x="128" y="38"/>
                          <a:pt x="128" y="38"/>
                          <a:pt x="128" y="37"/>
                        </a:cubicBezTo>
                        <a:cubicBezTo>
                          <a:pt x="128" y="38"/>
                          <a:pt x="128" y="37"/>
                          <a:pt x="129" y="37"/>
                        </a:cubicBezTo>
                        <a:cubicBezTo>
                          <a:pt x="129" y="37"/>
                          <a:pt x="129" y="38"/>
                          <a:pt x="129" y="38"/>
                        </a:cubicBezTo>
                        <a:cubicBezTo>
                          <a:pt x="129" y="38"/>
                          <a:pt x="128" y="37"/>
                          <a:pt x="128" y="37"/>
                        </a:cubicBezTo>
                        <a:cubicBezTo>
                          <a:pt x="128" y="37"/>
                          <a:pt x="128" y="37"/>
                          <a:pt x="128" y="37"/>
                        </a:cubicBezTo>
                        <a:cubicBezTo>
                          <a:pt x="128" y="37"/>
                          <a:pt x="128" y="37"/>
                          <a:pt x="128" y="37"/>
                        </a:cubicBezTo>
                        <a:cubicBezTo>
                          <a:pt x="127" y="37"/>
                          <a:pt x="127" y="37"/>
                          <a:pt x="127" y="37"/>
                        </a:cubicBezTo>
                        <a:cubicBezTo>
                          <a:pt x="128" y="36"/>
                          <a:pt x="128" y="37"/>
                          <a:pt x="129" y="37"/>
                        </a:cubicBezTo>
                        <a:cubicBezTo>
                          <a:pt x="128" y="37"/>
                          <a:pt x="129" y="37"/>
                          <a:pt x="129" y="36"/>
                        </a:cubicBezTo>
                        <a:cubicBezTo>
                          <a:pt x="129" y="37"/>
                          <a:pt x="129" y="37"/>
                          <a:pt x="129" y="37"/>
                        </a:cubicBezTo>
                        <a:cubicBezTo>
                          <a:pt x="129" y="37"/>
                          <a:pt x="129" y="37"/>
                          <a:pt x="129" y="37"/>
                        </a:cubicBezTo>
                        <a:cubicBezTo>
                          <a:pt x="129" y="37"/>
                          <a:pt x="130" y="37"/>
                          <a:pt x="130" y="37"/>
                        </a:cubicBezTo>
                        <a:cubicBezTo>
                          <a:pt x="130" y="37"/>
                          <a:pt x="130" y="37"/>
                          <a:pt x="130" y="37"/>
                        </a:cubicBezTo>
                        <a:cubicBezTo>
                          <a:pt x="130" y="37"/>
                          <a:pt x="130" y="37"/>
                          <a:pt x="130" y="37"/>
                        </a:cubicBezTo>
                        <a:cubicBezTo>
                          <a:pt x="130" y="37"/>
                          <a:pt x="130" y="37"/>
                          <a:pt x="130" y="37"/>
                        </a:cubicBezTo>
                        <a:cubicBezTo>
                          <a:pt x="131" y="37"/>
                          <a:pt x="130" y="37"/>
                          <a:pt x="130" y="37"/>
                        </a:cubicBezTo>
                        <a:cubicBezTo>
                          <a:pt x="131" y="37"/>
                          <a:pt x="130" y="37"/>
                          <a:pt x="131" y="37"/>
                        </a:cubicBezTo>
                        <a:cubicBezTo>
                          <a:pt x="131" y="37"/>
                          <a:pt x="131" y="37"/>
                          <a:pt x="131" y="37"/>
                        </a:cubicBezTo>
                        <a:cubicBezTo>
                          <a:pt x="131" y="37"/>
                          <a:pt x="131" y="37"/>
                          <a:pt x="131" y="37"/>
                        </a:cubicBezTo>
                        <a:cubicBezTo>
                          <a:pt x="131" y="37"/>
                          <a:pt x="131" y="37"/>
                          <a:pt x="131" y="37"/>
                        </a:cubicBezTo>
                        <a:cubicBezTo>
                          <a:pt x="131" y="37"/>
                          <a:pt x="131" y="37"/>
                          <a:pt x="130" y="37"/>
                        </a:cubicBezTo>
                        <a:cubicBezTo>
                          <a:pt x="130" y="37"/>
                          <a:pt x="130" y="37"/>
                          <a:pt x="130" y="37"/>
                        </a:cubicBezTo>
                        <a:cubicBezTo>
                          <a:pt x="130" y="37"/>
                          <a:pt x="130" y="37"/>
                          <a:pt x="130" y="37"/>
                        </a:cubicBezTo>
                        <a:cubicBezTo>
                          <a:pt x="130" y="37"/>
                          <a:pt x="130" y="37"/>
                          <a:pt x="130" y="37"/>
                        </a:cubicBezTo>
                        <a:cubicBezTo>
                          <a:pt x="129" y="37"/>
                          <a:pt x="129" y="37"/>
                          <a:pt x="129" y="37"/>
                        </a:cubicBezTo>
                        <a:cubicBezTo>
                          <a:pt x="129" y="37"/>
                          <a:pt x="129" y="37"/>
                          <a:pt x="129" y="37"/>
                        </a:cubicBezTo>
                        <a:cubicBezTo>
                          <a:pt x="129" y="36"/>
                          <a:pt x="129" y="36"/>
                          <a:pt x="129" y="36"/>
                        </a:cubicBezTo>
                        <a:cubicBezTo>
                          <a:pt x="129" y="37"/>
                          <a:pt x="129" y="37"/>
                          <a:pt x="130" y="37"/>
                        </a:cubicBezTo>
                        <a:cubicBezTo>
                          <a:pt x="130" y="36"/>
                          <a:pt x="129" y="36"/>
                          <a:pt x="130" y="36"/>
                        </a:cubicBezTo>
                        <a:cubicBezTo>
                          <a:pt x="129" y="36"/>
                          <a:pt x="129" y="36"/>
                          <a:pt x="129" y="36"/>
                        </a:cubicBezTo>
                        <a:cubicBezTo>
                          <a:pt x="129" y="36"/>
                          <a:pt x="129" y="36"/>
                          <a:pt x="129" y="36"/>
                        </a:cubicBezTo>
                        <a:cubicBezTo>
                          <a:pt x="129" y="36"/>
                          <a:pt x="129" y="36"/>
                          <a:pt x="129" y="36"/>
                        </a:cubicBezTo>
                        <a:cubicBezTo>
                          <a:pt x="130" y="36"/>
                          <a:pt x="130" y="36"/>
                          <a:pt x="130" y="36"/>
                        </a:cubicBezTo>
                        <a:cubicBezTo>
                          <a:pt x="130" y="36"/>
                          <a:pt x="130" y="36"/>
                          <a:pt x="130" y="36"/>
                        </a:cubicBezTo>
                        <a:cubicBezTo>
                          <a:pt x="130" y="36"/>
                          <a:pt x="130" y="36"/>
                          <a:pt x="130" y="36"/>
                        </a:cubicBezTo>
                        <a:cubicBezTo>
                          <a:pt x="130" y="36"/>
                          <a:pt x="131" y="36"/>
                          <a:pt x="131" y="36"/>
                        </a:cubicBezTo>
                        <a:cubicBezTo>
                          <a:pt x="131" y="36"/>
                          <a:pt x="131" y="36"/>
                          <a:pt x="131" y="36"/>
                        </a:cubicBezTo>
                        <a:cubicBezTo>
                          <a:pt x="131" y="36"/>
                          <a:pt x="131" y="36"/>
                          <a:pt x="131" y="36"/>
                        </a:cubicBezTo>
                        <a:cubicBezTo>
                          <a:pt x="131" y="36"/>
                          <a:pt x="131" y="36"/>
                          <a:pt x="131" y="36"/>
                        </a:cubicBezTo>
                        <a:cubicBezTo>
                          <a:pt x="131" y="36"/>
                          <a:pt x="131" y="36"/>
                          <a:pt x="131" y="36"/>
                        </a:cubicBezTo>
                        <a:cubicBezTo>
                          <a:pt x="131" y="36"/>
                          <a:pt x="131" y="37"/>
                          <a:pt x="131" y="37"/>
                        </a:cubicBezTo>
                        <a:cubicBezTo>
                          <a:pt x="131" y="36"/>
                          <a:pt x="131" y="36"/>
                          <a:pt x="131" y="36"/>
                        </a:cubicBezTo>
                        <a:cubicBezTo>
                          <a:pt x="132" y="36"/>
                          <a:pt x="131" y="36"/>
                          <a:pt x="132" y="36"/>
                        </a:cubicBezTo>
                        <a:cubicBezTo>
                          <a:pt x="132" y="36"/>
                          <a:pt x="132" y="36"/>
                          <a:pt x="132" y="36"/>
                        </a:cubicBezTo>
                        <a:cubicBezTo>
                          <a:pt x="132" y="36"/>
                          <a:pt x="132" y="36"/>
                          <a:pt x="132" y="37"/>
                        </a:cubicBezTo>
                        <a:cubicBezTo>
                          <a:pt x="132" y="37"/>
                          <a:pt x="132" y="36"/>
                          <a:pt x="132" y="36"/>
                        </a:cubicBezTo>
                        <a:cubicBezTo>
                          <a:pt x="132" y="37"/>
                          <a:pt x="132" y="37"/>
                          <a:pt x="132" y="37"/>
                        </a:cubicBezTo>
                        <a:cubicBezTo>
                          <a:pt x="132" y="37"/>
                          <a:pt x="132" y="37"/>
                          <a:pt x="133" y="37"/>
                        </a:cubicBezTo>
                        <a:cubicBezTo>
                          <a:pt x="133" y="37"/>
                          <a:pt x="132" y="36"/>
                          <a:pt x="133" y="36"/>
                        </a:cubicBezTo>
                        <a:cubicBezTo>
                          <a:pt x="133" y="36"/>
                          <a:pt x="133" y="36"/>
                          <a:pt x="133" y="36"/>
                        </a:cubicBezTo>
                        <a:cubicBezTo>
                          <a:pt x="133" y="36"/>
                          <a:pt x="133" y="37"/>
                          <a:pt x="133" y="36"/>
                        </a:cubicBezTo>
                        <a:cubicBezTo>
                          <a:pt x="133" y="37"/>
                          <a:pt x="134" y="37"/>
                          <a:pt x="134" y="37"/>
                        </a:cubicBezTo>
                        <a:cubicBezTo>
                          <a:pt x="134" y="37"/>
                          <a:pt x="134" y="37"/>
                          <a:pt x="133" y="37"/>
                        </a:cubicBezTo>
                        <a:cubicBezTo>
                          <a:pt x="133" y="37"/>
                          <a:pt x="133" y="37"/>
                          <a:pt x="133" y="37"/>
                        </a:cubicBezTo>
                        <a:cubicBezTo>
                          <a:pt x="133" y="37"/>
                          <a:pt x="133" y="37"/>
                          <a:pt x="133" y="37"/>
                        </a:cubicBezTo>
                        <a:cubicBezTo>
                          <a:pt x="133" y="37"/>
                          <a:pt x="133" y="37"/>
                          <a:pt x="134" y="37"/>
                        </a:cubicBezTo>
                        <a:cubicBezTo>
                          <a:pt x="134" y="37"/>
                          <a:pt x="133" y="37"/>
                          <a:pt x="134" y="37"/>
                        </a:cubicBezTo>
                        <a:cubicBezTo>
                          <a:pt x="134" y="37"/>
                          <a:pt x="134" y="37"/>
                          <a:pt x="134" y="37"/>
                        </a:cubicBezTo>
                        <a:cubicBezTo>
                          <a:pt x="134" y="37"/>
                          <a:pt x="134" y="37"/>
                          <a:pt x="134" y="37"/>
                        </a:cubicBezTo>
                        <a:cubicBezTo>
                          <a:pt x="135" y="37"/>
                          <a:pt x="134" y="37"/>
                          <a:pt x="134" y="37"/>
                        </a:cubicBezTo>
                        <a:cubicBezTo>
                          <a:pt x="134" y="37"/>
                          <a:pt x="134" y="37"/>
                          <a:pt x="135" y="37"/>
                        </a:cubicBezTo>
                        <a:cubicBezTo>
                          <a:pt x="135" y="37"/>
                          <a:pt x="135" y="37"/>
                          <a:pt x="135" y="37"/>
                        </a:cubicBezTo>
                        <a:cubicBezTo>
                          <a:pt x="135" y="37"/>
                          <a:pt x="135" y="37"/>
                          <a:pt x="135" y="37"/>
                        </a:cubicBezTo>
                        <a:cubicBezTo>
                          <a:pt x="135" y="37"/>
                          <a:pt x="136" y="37"/>
                          <a:pt x="136" y="37"/>
                        </a:cubicBezTo>
                        <a:cubicBezTo>
                          <a:pt x="136" y="37"/>
                          <a:pt x="136" y="37"/>
                          <a:pt x="136" y="37"/>
                        </a:cubicBezTo>
                        <a:cubicBezTo>
                          <a:pt x="136" y="37"/>
                          <a:pt x="137" y="37"/>
                          <a:pt x="137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8" y="37"/>
                          <a:pt x="138" y="37"/>
                          <a:pt x="138" y="37"/>
                        </a:cubicBezTo>
                        <a:cubicBezTo>
                          <a:pt x="138" y="37"/>
                          <a:pt x="138" y="37"/>
                          <a:pt x="138" y="37"/>
                        </a:cubicBezTo>
                        <a:cubicBezTo>
                          <a:pt x="138" y="37"/>
                          <a:pt x="138" y="37"/>
                          <a:pt x="138" y="37"/>
                        </a:cubicBezTo>
                        <a:cubicBezTo>
                          <a:pt x="137" y="37"/>
                          <a:pt x="138" y="37"/>
                          <a:pt x="138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7" y="37"/>
                          <a:pt x="137" y="37"/>
                          <a:pt x="137" y="36"/>
                        </a:cubicBezTo>
                        <a:cubicBezTo>
                          <a:pt x="136" y="36"/>
                          <a:pt x="136" y="36"/>
                          <a:pt x="136" y="36"/>
                        </a:cubicBezTo>
                        <a:cubicBezTo>
                          <a:pt x="136" y="36"/>
                          <a:pt x="136" y="36"/>
                          <a:pt x="136" y="36"/>
                        </a:cubicBezTo>
                        <a:cubicBezTo>
                          <a:pt x="136" y="36"/>
                          <a:pt x="136" y="36"/>
                          <a:pt x="137" y="36"/>
                        </a:cubicBezTo>
                        <a:cubicBezTo>
                          <a:pt x="137" y="36"/>
                          <a:pt x="136" y="36"/>
                          <a:pt x="136" y="36"/>
                        </a:cubicBezTo>
                        <a:cubicBezTo>
                          <a:pt x="137" y="36"/>
                          <a:pt x="137" y="36"/>
                          <a:pt x="137" y="36"/>
                        </a:cubicBezTo>
                        <a:cubicBezTo>
                          <a:pt x="137" y="36"/>
                          <a:pt x="137" y="36"/>
                          <a:pt x="137" y="36"/>
                        </a:cubicBezTo>
                        <a:cubicBezTo>
                          <a:pt x="137" y="36"/>
                          <a:pt x="137" y="36"/>
                          <a:pt x="137" y="36"/>
                        </a:cubicBezTo>
                        <a:cubicBezTo>
                          <a:pt x="137" y="36"/>
                          <a:pt x="137" y="36"/>
                          <a:pt x="137" y="36"/>
                        </a:cubicBezTo>
                        <a:cubicBezTo>
                          <a:pt x="137" y="36"/>
                          <a:pt x="137" y="36"/>
                          <a:pt x="137" y="36"/>
                        </a:cubicBezTo>
                        <a:cubicBezTo>
                          <a:pt x="137" y="36"/>
                          <a:pt x="137" y="36"/>
                          <a:pt x="137" y="36"/>
                        </a:cubicBezTo>
                        <a:cubicBezTo>
                          <a:pt x="137" y="36"/>
                          <a:pt x="137" y="36"/>
                          <a:pt x="138" y="36"/>
                        </a:cubicBezTo>
                        <a:cubicBezTo>
                          <a:pt x="138" y="36"/>
                          <a:pt x="138" y="36"/>
                          <a:pt x="139" y="36"/>
                        </a:cubicBezTo>
                        <a:cubicBezTo>
                          <a:pt x="139" y="36"/>
                          <a:pt x="138" y="36"/>
                          <a:pt x="139" y="36"/>
                        </a:cubicBezTo>
                        <a:cubicBezTo>
                          <a:pt x="139" y="36"/>
                          <a:pt x="139" y="36"/>
                          <a:pt x="139" y="36"/>
                        </a:cubicBezTo>
                        <a:cubicBezTo>
                          <a:pt x="139" y="36"/>
                          <a:pt x="139" y="36"/>
                          <a:pt x="139" y="37"/>
                        </a:cubicBezTo>
                        <a:cubicBezTo>
                          <a:pt x="139" y="37"/>
                          <a:pt x="139" y="36"/>
                          <a:pt x="139" y="36"/>
                        </a:cubicBezTo>
                        <a:cubicBezTo>
                          <a:pt x="139" y="36"/>
                          <a:pt x="139" y="36"/>
                          <a:pt x="139" y="36"/>
                        </a:cubicBezTo>
                        <a:cubicBezTo>
                          <a:pt x="139" y="36"/>
                          <a:pt x="139" y="36"/>
                          <a:pt x="139" y="36"/>
                        </a:cubicBezTo>
                        <a:cubicBezTo>
                          <a:pt x="140" y="36"/>
                          <a:pt x="140" y="36"/>
                          <a:pt x="140" y="37"/>
                        </a:cubicBezTo>
                        <a:cubicBezTo>
                          <a:pt x="140" y="36"/>
                          <a:pt x="140" y="36"/>
                          <a:pt x="140" y="37"/>
                        </a:cubicBezTo>
                        <a:cubicBezTo>
                          <a:pt x="140" y="37"/>
                          <a:pt x="140" y="36"/>
                          <a:pt x="140" y="36"/>
                        </a:cubicBezTo>
                        <a:cubicBezTo>
                          <a:pt x="140" y="37"/>
                          <a:pt x="140" y="37"/>
                          <a:pt x="141" y="36"/>
                        </a:cubicBezTo>
                        <a:cubicBezTo>
                          <a:pt x="141" y="37"/>
                          <a:pt x="141" y="37"/>
                          <a:pt x="142" y="37"/>
                        </a:cubicBezTo>
                        <a:cubicBezTo>
                          <a:pt x="142" y="37"/>
                          <a:pt x="141" y="37"/>
                          <a:pt x="142" y="36"/>
                        </a:cubicBezTo>
                        <a:cubicBezTo>
                          <a:pt x="142" y="37"/>
                          <a:pt x="142" y="36"/>
                          <a:pt x="142" y="36"/>
                        </a:cubicBezTo>
                        <a:cubicBezTo>
                          <a:pt x="143" y="36"/>
                          <a:pt x="142" y="36"/>
                          <a:pt x="143" y="36"/>
                        </a:cubicBezTo>
                        <a:cubicBezTo>
                          <a:pt x="143" y="36"/>
                          <a:pt x="143" y="36"/>
                          <a:pt x="142" y="36"/>
                        </a:cubicBezTo>
                        <a:cubicBezTo>
                          <a:pt x="142" y="36"/>
                          <a:pt x="143" y="36"/>
                          <a:pt x="143" y="36"/>
                        </a:cubicBezTo>
                        <a:cubicBezTo>
                          <a:pt x="143" y="36"/>
                          <a:pt x="143" y="36"/>
                          <a:pt x="143" y="36"/>
                        </a:cubicBezTo>
                        <a:cubicBezTo>
                          <a:pt x="143" y="36"/>
                          <a:pt x="143" y="36"/>
                          <a:pt x="143" y="37"/>
                        </a:cubicBezTo>
                        <a:cubicBezTo>
                          <a:pt x="143" y="36"/>
                          <a:pt x="143" y="36"/>
                          <a:pt x="143" y="36"/>
                        </a:cubicBezTo>
                        <a:cubicBezTo>
                          <a:pt x="143" y="36"/>
                          <a:pt x="143" y="36"/>
                          <a:pt x="143" y="37"/>
                        </a:cubicBezTo>
                        <a:cubicBezTo>
                          <a:pt x="143" y="37"/>
                          <a:pt x="143" y="37"/>
                          <a:pt x="143" y="37"/>
                        </a:cubicBezTo>
                        <a:cubicBezTo>
                          <a:pt x="143" y="37"/>
                          <a:pt x="144" y="37"/>
                          <a:pt x="144" y="37"/>
                        </a:cubicBezTo>
                        <a:cubicBezTo>
                          <a:pt x="143" y="37"/>
                          <a:pt x="145" y="37"/>
                          <a:pt x="145" y="37"/>
                        </a:cubicBezTo>
                        <a:cubicBezTo>
                          <a:pt x="145" y="37"/>
                          <a:pt x="145" y="38"/>
                          <a:pt x="146" y="38"/>
                        </a:cubicBezTo>
                        <a:cubicBezTo>
                          <a:pt x="146" y="38"/>
                          <a:pt x="146" y="38"/>
                          <a:pt x="146" y="38"/>
                        </a:cubicBezTo>
                        <a:cubicBezTo>
                          <a:pt x="146" y="38"/>
                          <a:pt x="145" y="38"/>
                          <a:pt x="146" y="38"/>
                        </a:cubicBezTo>
                        <a:cubicBezTo>
                          <a:pt x="146" y="37"/>
                          <a:pt x="146" y="38"/>
                          <a:pt x="146" y="38"/>
                        </a:cubicBezTo>
                        <a:cubicBezTo>
                          <a:pt x="146" y="38"/>
                          <a:pt x="146" y="38"/>
                          <a:pt x="147" y="38"/>
                        </a:cubicBezTo>
                        <a:cubicBezTo>
                          <a:pt x="147" y="38"/>
                          <a:pt x="146" y="38"/>
                          <a:pt x="146" y="38"/>
                        </a:cubicBezTo>
                        <a:cubicBezTo>
                          <a:pt x="147" y="38"/>
                          <a:pt x="147" y="38"/>
                          <a:pt x="147" y="38"/>
                        </a:cubicBezTo>
                        <a:cubicBezTo>
                          <a:pt x="147" y="38"/>
                          <a:pt x="147" y="39"/>
                          <a:pt x="148" y="39"/>
                        </a:cubicBezTo>
                        <a:cubicBezTo>
                          <a:pt x="147" y="39"/>
                          <a:pt x="147" y="39"/>
                          <a:pt x="147" y="39"/>
                        </a:cubicBezTo>
                        <a:cubicBezTo>
                          <a:pt x="148" y="39"/>
                          <a:pt x="148" y="40"/>
                          <a:pt x="149" y="40"/>
                        </a:cubicBezTo>
                        <a:cubicBezTo>
                          <a:pt x="148" y="40"/>
                          <a:pt x="149" y="40"/>
                          <a:pt x="149" y="40"/>
                        </a:cubicBezTo>
                        <a:cubicBezTo>
                          <a:pt x="149" y="40"/>
                          <a:pt x="149" y="40"/>
                          <a:pt x="149" y="40"/>
                        </a:cubicBezTo>
                        <a:cubicBezTo>
                          <a:pt x="149" y="40"/>
                          <a:pt x="149" y="39"/>
                          <a:pt x="148" y="39"/>
                        </a:cubicBezTo>
                        <a:cubicBezTo>
                          <a:pt x="148" y="39"/>
                          <a:pt x="148" y="39"/>
                          <a:pt x="148" y="39"/>
                        </a:cubicBezTo>
                        <a:cubicBezTo>
                          <a:pt x="148" y="39"/>
                          <a:pt x="148" y="39"/>
                          <a:pt x="148" y="39"/>
                        </a:cubicBezTo>
                        <a:cubicBezTo>
                          <a:pt x="148" y="39"/>
                          <a:pt x="148" y="39"/>
                          <a:pt x="148" y="38"/>
                        </a:cubicBezTo>
                        <a:cubicBezTo>
                          <a:pt x="148" y="39"/>
                          <a:pt x="148" y="39"/>
                          <a:pt x="148" y="39"/>
                        </a:cubicBezTo>
                        <a:cubicBezTo>
                          <a:pt x="149" y="39"/>
                          <a:pt x="149" y="39"/>
                          <a:pt x="149" y="39"/>
                        </a:cubicBezTo>
                        <a:cubicBezTo>
                          <a:pt x="148" y="39"/>
                          <a:pt x="149" y="39"/>
                          <a:pt x="149" y="39"/>
                        </a:cubicBezTo>
                        <a:cubicBezTo>
                          <a:pt x="149" y="39"/>
                          <a:pt x="149" y="40"/>
                          <a:pt x="150" y="40"/>
                        </a:cubicBezTo>
                        <a:cubicBezTo>
                          <a:pt x="150" y="40"/>
                          <a:pt x="150" y="40"/>
                          <a:pt x="150" y="40"/>
                        </a:cubicBezTo>
                        <a:cubicBezTo>
                          <a:pt x="150" y="40"/>
                          <a:pt x="150" y="40"/>
                          <a:pt x="150" y="39"/>
                        </a:cubicBezTo>
                        <a:cubicBezTo>
                          <a:pt x="150" y="40"/>
                          <a:pt x="151" y="40"/>
                          <a:pt x="151" y="40"/>
                        </a:cubicBezTo>
                        <a:cubicBezTo>
                          <a:pt x="151" y="40"/>
                          <a:pt x="152" y="40"/>
                          <a:pt x="152" y="41"/>
                        </a:cubicBezTo>
                        <a:cubicBezTo>
                          <a:pt x="153" y="41"/>
                          <a:pt x="153" y="41"/>
                          <a:pt x="153" y="41"/>
                        </a:cubicBezTo>
                        <a:cubicBezTo>
                          <a:pt x="153" y="41"/>
                          <a:pt x="153" y="41"/>
                          <a:pt x="152" y="40"/>
                        </a:cubicBezTo>
                        <a:cubicBezTo>
                          <a:pt x="153" y="40"/>
                          <a:pt x="153" y="41"/>
                          <a:pt x="153" y="41"/>
                        </a:cubicBezTo>
                        <a:cubicBezTo>
                          <a:pt x="153" y="40"/>
                          <a:pt x="153" y="40"/>
                          <a:pt x="153" y="40"/>
                        </a:cubicBezTo>
                        <a:cubicBezTo>
                          <a:pt x="154" y="40"/>
                          <a:pt x="154" y="41"/>
                          <a:pt x="154" y="41"/>
                        </a:cubicBezTo>
                        <a:cubicBezTo>
                          <a:pt x="154" y="41"/>
                          <a:pt x="154" y="41"/>
                          <a:pt x="153" y="41"/>
                        </a:cubicBezTo>
                        <a:cubicBezTo>
                          <a:pt x="153" y="41"/>
                          <a:pt x="154" y="41"/>
                          <a:pt x="154" y="41"/>
                        </a:cubicBezTo>
                        <a:cubicBezTo>
                          <a:pt x="154" y="41"/>
                          <a:pt x="154" y="42"/>
                          <a:pt x="154" y="42"/>
                        </a:cubicBezTo>
                        <a:cubicBezTo>
                          <a:pt x="154" y="41"/>
                          <a:pt x="154" y="41"/>
                          <a:pt x="154" y="41"/>
                        </a:cubicBezTo>
                        <a:cubicBezTo>
                          <a:pt x="154" y="41"/>
                          <a:pt x="154" y="41"/>
                          <a:pt x="154" y="41"/>
                        </a:cubicBezTo>
                        <a:cubicBezTo>
                          <a:pt x="154" y="41"/>
                          <a:pt x="155" y="41"/>
                          <a:pt x="154" y="41"/>
                        </a:cubicBezTo>
                        <a:cubicBezTo>
                          <a:pt x="155" y="40"/>
                          <a:pt x="155" y="41"/>
                          <a:pt x="155" y="41"/>
                        </a:cubicBezTo>
                        <a:cubicBezTo>
                          <a:pt x="155" y="41"/>
                          <a:pt x="155" y="42"/>
                          <a:pt x="155" y="42"/>
                        </a:cubicBezTo>
                        <a:cubicBezTo>
                          <a:pt x="155" y="42"/>
                          <a:pt x="155" y="42"/>
                          <a:pt x="156" y="42"/>
                        </a:cubicBezTo>
                        <a:cubicBezTo>
                          <a:pt x="156" y="42"/>
                          <a:pt x="156" y="42"/>
                          <a:pt x="156" y="42"/>
                        </a:cubicBezTo>
                        <a:cubicBezTo>
                          <a:pt x="156" y="42"/>
                          <a:pt x="156" y="42"/>
                          <a:pt x="156" y="41"/>
                        </a:cubicBezTo>
                        <a:cubicBezTo>
                          <a:pt x="156" y="41"/>
                          <a:pt x="156" y="41"/>
                          <a:pt x="156" y="42"/>
                        </a:cubicBezTo>
                        <a:cubicBezTo>
                          <a:pt x="156" y="42"/>
                          <a:pt x="156" y="42"/>
                          <a:pt x="156" y="42"/>
                        </a:cubicBezTo>
                        <a:cubicBezTo>
                          <a:pt x="156" y="42"/>
                          <a:pt x="156" y="42"/>
                          <a:pt x="156" y="42"/>
                        </a:cubicBezTo>
                        <a:cubicBezTo>
                          <a:pt x="157" y="42"/>
                          <a:pt x="157" y="42"/>
                          <a:pt x="157" y="42"/>
                        </a:cubicBezTo>
                        <a:cubicBezTo>
                          <a:pt x="157" y="42"/>
                          <a:pt x="158" y="42"/>
                          <a:pt x="158" y="43"/>
                        </a:cubicBezTo>
                        <a:cubicBezTo>
                          <a:pt x="158" y="43"/>
                          <a:pt x="159" y="43"/>
                          <a:pt x="159" y="43"/>
                        </a:cubicBezTo>
                        <a:cubicBezTo>
                          <a:pt x="159" y="43"/>
                          <a:pt x="159" y="43"/>
                          <a:pt x="159" y="43"/>
                        </a:cubicBezTo>
                        <a:cubicBezTo>
                          <a:pt x="160" y="44"/>
                          <a:pt x="161" y="44"/>
                          <a:pt x="161" y="44"/>
                        </a:cubicBezTo>
                        <a:cubicBezTo>
                          <a:pt x="161" y="45"/>
                          <a:pt x="161" y="44"/>
                          <a:pt x="161" y="45"/>
                        </a:cubicBezTo>
                        <a:cubicBezTo>
                          <a:pt x="163" y="46"/>
                          <a:pt x="164" y="47"/>
                          <a:pt x="163" y="49"/>
                        </a:cubicBezTo>
                        <a:cubicBezTo>
                          <a:pt x="164" y="49"/>
                          <a:pt x="164" y="49"/>
                          <a:pt x="164" y="49"/>
                        </a:cubicBezTo>
                        <a:cubicBezTo>
                          <a:pt x="164" y="49"/>
                          <a:pt x="164" y="49"/>
                          <a:pt x="164" y="49"/>
                        </a:cubicBezTo>
                        <a:cubicBezTo>
                          <a:pt x="164" y="49"/>
                          <a:pt x="164" y="50"/>
                          <a:pt x="164" y="50"/>
                        </a:cubicBezTo>
                        <a:cubicBezTo>
                          <a:pt x="164" y="51"/>
                          <a:pt x="164" y="51"/>
                          <a:pt x="163" y="52"/>
                        </a:cubicBezTo>
                        <a:cubicBezTo>
                          <a:pt x="163" y="52"/>
                          <a:pt x="163" y="52"/>
                          <a:pt x="163" y="52"/>
                        </a:cubicBezTo>
                        <a:cubicBezTo>
                          <a:pt x="163" y="52"/>
                          <a:pt x="163" y="52"/>
                          <a:pt x="163" y="52"/>
                        </a:cubicBezTo>
                        <a:cubicBezTo>
                          <a:pt x="163" y="53"/>
                          <a:pt x="162" y="53"/>
                          <a:pt x="162" y="54"/>
                        </a:cubicBezTo>
                        <a:cubicBezTo>
                          <a:pt x="162" y="54"/>
                          <a:pt x="161" y="54"/>
                          <a:pt x="161" y="54"/>
                        </a:cubicBezTo>
                        <a:cubicBezTo>
                          <a:pt x="161" y="55"/>
                          <a:pt x="159" y="54"/>
                          <a:pt x="158" y="55"/>
                        </a:cubicBezTo>
                        <a:cubicBezTo>
                          <a:pt x="158" y="55"/>
                          <a:pt x="159" y="55"/>
                          <a:pt x="159" y="55"/>
                        </a:cubicBezTo>
                        <a:cubicBezTo>
                          <a:pt x="159" y="55"/>
                          <a:pt x="158" y="55"/>
                          <a:pt x="158" y="55"/>
                        </a:cubicBezTo>
                        <a:cubicBezTo>
                          <a:pt x="158" y="55"/>
                          <a:pt x="158" y="55"/>
                          <a:pt x="157" y="55"/>
                        </a:cubicBezTo>
                        <a:cubicBezTo>
                          <a:pt x="156" y="55"/>
                          <a:pt x="155" y="56"/>
                          <a:pt x="154" y="56"/>
                        </a:cubicBezTo>
                        <a:cubicBezTo>
                          <a:pt x="154" y="56"/>
                          <a:pt x="153" y="56"/>
                          <a:pt x="153" y="56"/>
                        </a:cubicBezTo>
                        <a:cubicBezTo>
                          <a:pt x="152" y="55"/>
                          <a:pt x="152" y="55"/>
                          <a:pt x="152" y="55"/>
                        </a:cubicBezTo>
                        <a:cubicBezTo>
                          <a:pt x="151" y="55"/>
                          <a:pt x="151" y="55"/>
                          <a:pt x="150" y="55"/>
                        </a:cubicBezTo>
                        <a:cubicBezTo>
                          <a:pt x="150" y="55"/>
                          <a:pt x="149" y="55"/>
                          <a:pt x="149" y="55"/>
                        </a:cubicBezTo>
                        <a:cubicBezTo>
                          <a:pt x="149" y="55"/>
                          <a:pt x="149" y="55"/>
                          <a:pt x="148" y="54"/>
                        </a:cubicBezTo>
                        <a:cubicBezTo>
                          <a:pt x="147" y="54"/>
                          <a:pt x="146" y="54"/>
                          <a:pt x="145" y="54"/>
                        </a:cubicBezTo>
                        <a:cubicBezTo>
                          <a:pt x="145" y="54"/>
                          <a:pt x="145" y="54"/>
                          <a:pt x="145" y="54"/>
                        </a:cubicBezTo>
                        <a:close/>
                        <a:moveTo>
                          <a:pt x="141" y="37"/>
                        </a:moveTo>
                        <a:cubicBezTo>
                          <a:pt x="141" y="37"/>
                          <a:pt x="141" y="37"/>
                          <a:pt x="141" y="37"/>
                        </a:cubicBezTo>
                        <a:cubicBezTo>
                          <a:pt x="141" y="37"/>
                          <a:pt x="141" y="37"/>
                          <a:pt x="141" y="37"/>
                        </a:cubicBezTo>
                        <a:close/>
                        <a:moveTo>
                          <a:pt x="141" y="37"/>
                        </a:moveTo>
                        <a:cubicBezTo>
                          <a:pt x="141" y="37"/>
                          <a:pt x="141" y="37"/>
                          <a:pt x="141" y="37"/>
                        </a:cubicBezTo>
                        <a:cubicBezTo>
                          <a:pt x="141" y="37"/>
                          <a:pt x="141" y="37"/>
                          <a:pt x="141" y="37"/>
                        </a:cubicBezTo>
                        <a:close/>
                        <a:moveTo>
                          <a:pt x="137" y="37"/>
                        </a:move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7" y="36"/>
                          <a:pt x="137" y="37"/>
                          <a:pt x="137" y="37"/>
                        </a:cubicBezTo>
                        <a:close/>
                        <a:moveTo>
                          <a:pt x="140" y="38"/>
                        </a:moveTo>
                        <a:cubicBezTo>
                          <a:pt x="140" y="38"/>
                          <a:pt x="140" y="38"/>
                          <a:pt x="140" y="38"/>
                        </a:cubicBezTo>
                        <a:cubicBezTo>
                          <a:pt x="140" y="38"/>
                          <a:pt x="140" y="38"/>
                          <a:pt x="140" y="38"/>
                        </a:cubicBezTo>
                        <a:cubicBezTo>
                          <a:pt x="140" y="38"/>
                          <a:pt x="140" y="38"/>
                          <a:pt x="140" y="38"/>
                        </a:cubicBezTo>
                        <a:close/>
                        <a:moveTo>
                          <a:pt x="139" y="37"/>
                        </a:moveTo>
                        <a:cubicBezTo>
                          <a:pt x="139" y="37"/>
                          <a:pt x="139" y="37"/>
                          <a:pt x="139" y="37"/>
                        </a:cubicBezTo>
                        <a:cubicBezTo>
                          <a:pt x="139" y="37"/>
                          <a:pt x="139" y="38"/>
                          <a:pt x="139" y="37"/>
                        </a:cubicBezTo>
                        <a:cubicBezTo>
                          <a:pt x="139" y="37"/>
                          <a:pt x="139" y="37"/>
                          <a:pt x="139" y="37"/>
                        </a:cubicBezTo>
                        <a:cubicBezTo>
                          <a:pt x="139" y="37"/>
                          <a:pt x="139" y="37"/>
                          <a:pt x="139" y="37"/>
                        </a:cubicBezTo>
                        <a:cubicBezTo>
                          <a:pt x="139" y="37"/>
                          <a:pt x="139" y="37"/>
                          <a:pt x="139" y="37"/>
                        </a:cubicBezTo>
                        <a:close/>
                        <a:moveTo>
                          <a:pt x="138" y="37"/>
                        </a:moveTo>
                        <a:cubicBezTo>
                          <a:pt x="138" y="37"/>
                          <a:pt x="139" y="37"/>
                          <a:pt x="139" y="37"/>
                        </a:cubicBezTo>
                        <a:cubicBezTo>
                          <a:pt x="139" y="37"/>
                          <a:pt x="138" y="37"/>
                          <a:pt x="138" y="37"/>
                        </a:cubicBezTo>
                        <a:close/>
                        <a:moveTo>
                          <a:pt x="138" y="37"/>
                        </a:moveTo>
                        <a:cubicBezTo>
                          <a:pt x="138" y="37"/>
                          <a:pt x="138" y="37"/>
                          <a:pt x="138" y="37"/>
                        </a:cubicBezTo>
                        <a:cubicBezTo>
                          <a:pt x="138" y="37"/>
                          <a:pt x="138" y="37"/>
                          <a:pt x="138" y="37"/>
                        </a:cubicBezTo>
                        <a:cubicBezTo>
                          <a:pt x="138" y="37"/>
                          <a:pt x="138" y="37"/>
                          <a:pt x="138" y="37"/>
                        </a:cubicBezTo>
                        <a:cubicBezTo>
                          <a:pt x="138" y="37"/>
                          <a:pt x="138" y="37"/>
                          <a:pt x="138" y="37"/>
                        </a:cubicBezTo>
                        <a:close/>
                        <a:moveTo>
                          <a:pt x="139" y="38"/>
                        </a:moveTo>
                        <a:cubicBezTo>
                          <a:pt x="139" y="38"/>
                          <a:pt x="139" y="38"/>
                          <a:pt x="139" y="38"/>
                        </a:cubicBezTo>
                        <a:cubicBezTo>
                          <a:pt x="140" y="38"/>
                          <a:pt x="139" y="38"/>
                          <a:pt x="139" y="38"/>
                        </a:cubicBezTo>
                        <a:cubicBezTo>
                          <a:pt x="139" y="38"/>
                          <a:pt x="139" y="38"/>
                          <a:pt x="139" y="38"/>
                        </a:cubicBezTo>
                        <a:cubicBezTo>
                          <a:pt x="139" y="38"/>
                          <a:pt x="139" y="38"/>
                          <a:pt x="139" y="38"/>
                        </a:cubicBezTo>
                        <a:close/>
                        <a:moveTo>
                          <a:pt x="137" y="37"/>
                        </a:moveTo>
                        <a:cubicBezTo>
                          <a:pt x="137" y="38"/>
                          <a:pt x="137" y="38"/>
                          <a:pt x="137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ubicBezTo>
                          <a:pt x="137" y="37"/>
                          <a:pt x="137" y="37"/>
                          <a:pt x="137" y="37"/>
                        </a:cubicBezTo>
                        <a:close/>
                        <a:moveTo>
                          <a:pt x="139" y="38"/>
                        </a:moveTo>
                        <a:cubicBezTo>
                          <a:pt x="139" y="38"/>
                          <a:pt x="139" y="38"/>
                          <a:pt x="139" y="38"/>
                        </a:cubicBezTo>
                        <a:cubicBezTo>
                          <a:pt x="139" y="38"/>
                          <a:pt x="139" y="38"/>
                          <a:pt x="139" y="38"/>
                        </a:cubicBezTo>
                        <a:cubicBezTo>
                          <a:pt x="139" y="38"/>
                          <a:pt x="139" y="38"/>
                          <a:pt x="139" y="38"/>
                        </a:cubicBezTo>
                        <a:close/>
                        <a:moveTo>
                          <a:pt x="136" y="38"/>
                        </a:moveTo>
                        <a:cubicBezTo>
                          <a:pt x="136" y="38"/>
                          <a:pt x="136" y="38"/>
                          <a:pt x="136" y="38"/>
                        </a:cubicBezTo>
                        <a:cubicBezTo>
                          <a:pt x="136" y="38"/>
                          <a:pt x="137" y="38"/>
                          <a:pt x="136" y="37"/>
                        </a:cubicBezTo>
                        <a:cubicBezTo>
                          <a:pt x="136" y="38"/>
                          <a:pt x="136" y="38"/>
                          <a:pt x="136" y="37"/>
                        </a:cubicBezTo>
                        <a:cubicBezTo>
                          <a:pt x="136" y="37"/>
                          <a:pt x="136" y="37"/>
                          <a:pt x="136" y="38"/>
                        </a:cubicBezTo>
                        <a:close/>
                        <a:moveTo>
                          <a:pt x="135" y="38"/>
                        </a:moveTo>
                        <a:cubicBezTo>
                          <a:pt x="135" y="38"/>
                          <a:pt x="135" y="37"/>
                          <a:pt x="135" y="37"/>
                        </a:cubicBezTo>
                        <a:cubicBezTo>
                          <a:pt x="135" y="37"/>
                          <a:pt x="135" y="37"/>
                          <a:pt x="135" y="38"/>
                        </a:cubicBezTo>
                        <a:close/>
                        <a:moveTo>
                          <a:pt x="134" y="37"/>
                        </a:moveTo>
                        <a:cubicBezTo>
                          <a:pt x="134" y="38"/>
                          <a:pt x="135" y="38"/>
                          <a:pt x="135" y="38"/>
                        </a:cubicBezTo>
                        <a:cubicBezTo>
                          <a:pt x="134" y="38"/>
                          <a:pt x="135" y="37"/>
                          <a:pt x="134" y="37"/>
                        </a:cubicBezTo>
                        <a:cubicBezTo>
                          <a:pt x="134" y="38"/>
                          <a:pt x="134" y="37"/>
                          <a:pt x="134" y="37"/>
                        </a:cubicBezTo>
                        <a:cubicBezTo>
                          <a:pt x="134" y="37"/>
                          <a:pt x="134" y="37"/>
                          <a:pt x="134" y="37"/>
                        </a:cubicBezTo>
                        <a:close/>
                        <a:moveTo>
                          <a:pt x="133" y="37"/>
                        </a:moveTo>
                        <a:cubicBezTo>
                          <a:pt x="132" y="37"/>
                          <a:pt x="132" y="37"/>
                          <a:pt x="132" y="37"/>
                        </a:cubicBezTo>
                        <a:cubicBezTo>
                          <a:pt x="132" y="37"/>
                          <a:pt x="133" y="37"/>
                          <a:pt x="133" y="37"/>
                        </a:cubicBezTo>
                        <a:close/>
                        <a:moveTo>
                          <a:pt x="134" y="38"/>
                        </a:moveTo>
                        <a:cubicBezTo>
                          <a:pt x="134" y="38"/>
                          <a:pt x="134" y="38"/>
                          <a:pt x="134" y="38"/>
                        </a:cubicBezTo>
                        <a:cubicBezTo>
                          <a:pt x="134" y="38"/>
                          <a:pt x="134" y="38"/>
                          <a:pt x="134" y="38"/>
                        </a:cubicBezTo>
                        <a:cubicBezTo>
                          <a:pt x="134" y="38"/>
                          <a:pt x="134" y="38"/>
                          <a:pt x="134" y="38"/>
                        </a:cubicBezTo>
                        <a:close/>
                        <a:moveTo>
                          <a:pt x="134" y="38"/>
                        </a:moveTo>
                        <a:cubicBezTo>
                          <a:pt x="134" y="38"/>
                          <a:pt x="134" y="38"/>
                          <a:pt x="134" y="38"/>
                        </a:cubicBezTo>
                        <a:cubicBezTo>
                          <a:pt x="134" y="38"/>
                          <a:pt x="134" y="38"/>
                          <a:pt x="134" y="38"/>
                        </a:cubicBezTo>
                        <a:cubicBezTo>
                          <a:pt x="134" y="38"/>
                          <a:pt x="134" y="38"/>
                          <a:pt x="134" y="38"/>
                        </a:cubicBezTo>
                        <a:cubicBezTo>
                          <a:pt x="134" y="38"/>
                          <a:pt x="134" y="38"/>
                          <a:pt x="134" y="38"/>
                        </a:cubicBezTo>
                        <a:close/>
                        <a:moveTo>
                          <a:pt x="133" y="38"/>
                        </a:moveTo>
                        <a:cubicBezTo>
                          <a:pt x="133" y="38"/>
                          <a:pt x="133" y="38"/>
                          <a:pt x="133" y="38"/>
                        </a:cubicBezTo>
                        <a:cubicBezTo>
                          <a:pt x="133" y="38"/>
                          <a:pt x="133" y="38"/>
                          <a:pt x="133" y="38"/>
                        </a:cubicBezTo>
                        <a:close/>
                        <a:moveTo>
                          <a:pt x="133" y="38"/>
                        </a:moveTo>
                        <a:cubicBezTo>
                          <a:pt x="133" y="38"/>
                          <a:pt x="133" y="38"/>
                          <a:pt x="133" y="38"/>
                        </a:cubicBezTo>
                        <a:cubicBezTo>
                          <a:pt x="133" y="38"/>
                          <a:pt x="133" y="38"/>
                          <a:pt x="133" y="38"/>
                        </a:cubicBezTo>
                        <a:cubicBezTo>
                          <a:pt x="133" y="38"/>
                          <a:pt x="133" y="38"/>
                          <a:pt x="133" y="38"/>
                        </a:cubicBezTo>
                        <a:cubicBezTo>
                          <a:pt x="133" y="38"/>
                          <a:pt x="133" y="38"/>
                          <a:pt x="133" y="38"/>
                        </a:cubicBezTo>
                        <a:cubicBezTo>
                          <a:pt x="133" y="38"/>
                          <a:pt x="133" y="38"/>
                          <a:pt x="133" y="38"/>
                        </a:cubicBezTo>
                        <a:close/>
                        <a:moveTo>
                          <a:pt x="131" y="38"/>
                        </a:moveTo>
                        <a:cubicBezTo>
                          <a:pt x="132" y="38"/>
                          <a:pt x="132" y="38"/>
                          <a:pt x="132" y="38"/>
                        </a:cubicBezTo>
                        <a:cubicBezTo>
                          <a:pt x="132" y="38"/>
                          <a:pt x="132" y="38"/>
                          <a:pt x="132" y="38"/>
                        </a:cubicBezTo>
                        <a:cubicBezTo>
                          <a:pt x="132" y="38"/>
                          <a:pt x="131" y="38"/>
                          <a:pt x="131" y="38"/>
                        </a:cubicBezTo>
                        <a:close/>
                        <a:moveTo>
                          <a:pt x="129" y="38"/>
                        </a:moveTo>
                        <a:cubicBezTo>
                          <a:pt x="129" y="38"/>
                          <a:pt x="129" y="38"/>
                          <a:pt x="129" y="38"/>
                        </a:cubicBezTo>
                        <a:cubicBezTo>
                          <a:pt x="129" y="38"/>
                          <a:pt x="128" y="38"/>
                          <a:pt x="128" y="38"/>
                        </a:cubicBezTo>
                        <a:cubicBezTo>
                          <a:pt x="128" y="38"/>
                          <a:pt x="129" y="38"/>
                          <a:pt x="129" y="38"/>
                        </a:cubicBezTo>
                        <a:cubicBezTo>
                          <a:pt x="128" y="38"/>
                          <a:pt x="128" y="38"/>
                          <a:pt x="128" y="38"/>
                        </a:cubicBezTo>
                        <a:cubicBezTo>
                          <a:pt x="128" y="38"/>
                          <a:pt x="128" y="38"/>
                          <a:pt x="129" y="38"/>
                        </a:cubicBezTo>
                        <a:close/>
                        <a:moveTo>
                          <a:pt x="129" y="38"/>
                        </a:moveTo>
                        <a:cubicBezTo>
                          <a:pt x="129" y="38"/>
                          <a:pt x="129" y="38"/>
                          <a:pt x="130" y="38"/>
                        </a:cubicBezTo>
                        <a:cubicBezTo>
                          <a:pt x="129" y="38"/>
                          <a:pt x="130" y="38"/>
                          <a:pt x="129" y="37"/>
                        </a:cubicBezTo>
                        <a:cubicBezTo>
                          <a:pt x="129" y="38"/>
                          <a:pt x="130" y="38"/>
                          <a:pt x="129" y="38"/>
                        </a:cubicBezTo>
                        <a:cubicBezTo>
                          <a:pt x="129" y="38"/>
                          <a:pt x="129" y="38"/>
                          <a:pt x="129" y="38"/>
                        </a:cubicBezTo>
                        <a:cubicBezTo>
                          <a:pt x="129" y="38"/>
                          <a:pt x="129" y="38"/>
                          <a:pt x="129" y="38"/>
                        </a:cubicBezTo>
                        <a:close/>
                        <a:moveTo>
                          <a:pt x="126" y="38"/>
                        </a:move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6" y="38"/>
                          <a:pt x="127" y="38"/>
                          <a:pt x="126" y="38"/>
                        </a:cubicBezTo>
                        <a:close/>
                        <a:moveTo>
                          <a:pt x="126" y="38"/>
                        </a:moveTo>
                        <a:cubicBezTo>
                          <a:pt x="126" y="38"/>
                          <a:pt x="126" y="38"/>
                          <a:pt x="126" y="38"/>
                        </a:cubicBezTo>
                        <a:cubicBezTo>
                          <a:pt x="126" y="38"/>
                          <a:pt x="126" y="38"/>
                          <a:pt x="126" y="38"/>
                        </a:cubicBezTo>
                        <a:close/>
                        <a:moveTo>
                          <a:pt x="124" y="37"/>
                        </a:moveTo>
                        <a:cubicBezTo>
                          <a:pt x="124" y="37"/>
                          <a:pt x="124" y="37"/>
                          <a:pt x="124" y="37"/>
                        </a:cubicBezTo>
                        <a:cubicBezTo>
                          <a:pt x="124" y="37"/>
                          <a:pt x="124" y="37"/>
                          <a:pt x="124" y="37"/>
                        </a:cubicBezTo>
                        <a:cubicBezTo>
                          <a:pt x="124" y="37"/>
                          <a:pt x="124" y="37"/>
                          <a:pt x="124" y="37"/>
                        </a:cubicBezTo>
                        <a:close/>
                        <a:moveTo>
                          <a:pt x="127" y="38"/>
                        </a:moveTo>
                        <a:cubicBezTo>
                          <a:pt x="127" y="38"/>
                          <a:pt x="127" y="38"/>
                          <a:pt x="127" y="38"/>
                        </a:cubicBezTo>
                        <a:cubicBezTo>
                          <a:pt x="127" y="38"/>
                          <a:pt x="127" y="38"/>
                          <a:pt x="127" y="38"/>
                        </a:cubicBezTo>
                        <a:close/>
                        <a:moveTo>
                          <a:pt x="127" y="38"/>
                        </a:moveTo>
                        <a:cubicBezTo>
                          <a:pt x="126" y="38"/>
                          <a:pt x="127" y="38"/>
                          <a:pt x="127" y="38"/>
                        </a:cubicBezTo>
                        <a:cubicBezTo>
                          <a:pt x="127" y="38"/>
                          <a:pt x="127" y="38"/>
                          <a:pt x="127" y="38"/>
                        </a:cubicBezTo>
                        <a:close/>
                        <a:moveTo>
                          <a:pt x="127" y="38"/>
                        </a:moveTo>
                        <a:cubicBezTo>
                          <a:pt x="127" y="38"/>
                          <a:pt x="127" y="38"/>
                          <a:pt x="127" y="38"/>
                        </a:cubicBezTo>
                        <a:cubicBezTo>
                          <a:pt x="127" y="38"/>
                          <a:pt x="127" y="38"/>
                          <a:pt x="127" y="38"/>
                        </a:cubicBezTo>
                        <a:cubicBezTo>
                          <a:pt x="127" y="38"/>
                          <a:pt x="127" y="38"/>
                          <a:pt x="127" y="38"/>
                        </a:cubicBezTo>
                        <a:close/>
                        <a:moveTo>
                          <a:pt x="132" y="39"/>
                        </a:moveTo>
                        <a:cubicBezTo>
                          <a:pt x="131" y="39"/>
                          <a:pt x="131" y="39"/>
                          <a:pt x="131" y="39"/>
                        </a:cubicBezTo>
                        <a:cubicBezTo>
                          <a:pt x="131" y="39"/>
                          <a:pt x="131" y="39"/>
                          <a:pt x="132" y="39"/>
                        </a:cubicBezTo>
                        <a:close/>
                        <a:moveTo>
                          <a:pt x="142" y="43"/>
                        </a:moveTo>
                        <a:cubicBezTo>
                          <a:pt x="141" y="43"/>
                          <a:pt x="141" y="43"/>
                          <a:pt x="141" y="43"/>
                        </a:cubicBezTo>
                        <a:cubicBezTo>
                          <a:pt x="141" y="43"/>
                          <a:pt x="141" y="43"/>
                          <a:pt x="142" y="43"/>
                        </a:cubicBezTo>
                        <a:close/>
                        <a:moveTo>
                          <a:pt x="132" y="41"/>
                        </a:moveTo>
                        <a:cubicBezTo>
                          <a:pt x="132" y="41"/>
                          <a:pt x="132" y="41"/>
                          <a:pt x="132" y="41"/>
                        </a:cubicBezTo>
                        <a:cubicBezTo>
                          <a:pt x="132" y="41"/>
                          <a:pt x="132" y="41"/>
                          <a:pt x="132" y="41"/>
                        </a:cubicBezTo>
                        <a:cubicBezTo>
                          <a:pt x="132" y="41"/>
                          <a:pt x="132" y="41"/>
                          <a:pt x="132" y="41"/>
                        </a:cubicBezTo>
                        <a:cubicBezTo>
                          <a:pt x="132" y="41"/>
                          <a:pt x="132" y="41"/>
                          <a:pt x="132" y="41"/>
                        </a:cubicBezTo>
                        <a:cubicBezTo>
                          <a:pt x="132" y="41"/>
                          <a:pt x="132" y="41"/>
                          <a:pt x="132" y="41"/>
                        </a:cubicBezTo>
                        <a:cubicBezTo>
                          <a:pt x="132" y="41"/>
                          <a:pt x="132" y="41"/>
                          <a:pt x="132" y="41"/>
                        </a:cubicBezTo>
                        <a:close/>
                        <a:moveTo>
                          <a:pt x="132" y="41"/>
                        </a:moveTo>
                        <a:cubicBezTo>
                          <a:pt x="133" y="41"/>
                          <a:pt x="132" y="41"/>
                          <a:pt x="132" y="41"/>
                        </a:cubicBezTo>
                        <a:cubicBezTo>
                          <a:pt x="132" y="41"/>
                          <a:pt x="132" y="41"/>
                          <a:pt x="133" y="41"/>
                        </a:cubicBezTo>
                        <a:cubicBezTo>
                          <a:pt x="132" y="41"/>
                          <a:pt x="133" y="41"/>
                          <a:pt x="133" y="41"/>
                        </a:cubicBezTo>
                        <a:cubicBezTo>
                          <a:pt x="133" y="41"/>
                          <a:pt x="133" y="41"/>
                          <a:pt x="133" y="41"/>
                        </a:cubicBezTo>
                        <a:cubicBezTo>
                          <a:pt x="133" y="41"/>
                          <a:pt x="133" y="41"/>
                          <a:pt x="133" y="41"/>
                        </a:cubicBezTo>
                        <a:cubicBezTo>
                          <a:pt x="133" y="41"/>
                          <a:pt x="132" y="41"/>
                          <a:pt x="132" y="41"/>
                        </a:cubicBezTo>
                        <a:close/>
                        <a:moveTo>
                          <a:pt x="132" y="40"/>
                        </a:moveTo>
                        <a:cubicBezTo>
                          <a:pt x="132" y="40"/>
                          <a:pt x="132" y="40"/>
                          <a:pt x="131" y="40"/>
                        </a:cubicBezTo>
                        <a:cubicBezTo>
                          <a:pt x="131" y="40"/>
                          <a:pt x="132" y="41"/>
                          <a:pt x="132" y="40"/>
                        </a:cubicBezTo>
                        <a:cubicBezTo>
                          <a:pt x="132" y="40"/>
                          <a:pt x="131" y="40"/>
                          <a:pt x="132" y="40"/>
                        </a:cubicBezTo>
                        <a:cubicBezTo>
                          <a:pt x="132" y="40"/>
                          <a:pt x="132" y="40"/>
                          <a:pt x="132" y="41"/>
                        </a:cubicBezTo>
                        <a:cubicBezTo>
                          <a:pt x="132" y="40"/>
                          <a:pt x="132" y="41"/>
                          <a:pt x="132" y="41"/>
                        </a:cubicBezTo>
                        <a:cubicBezTo>
                          <a:pt x="132" y="41"/>
                          <a:pt x="132" y="40"/>
                          <a:pt x="132" y="40"/>
                        </a:cubicBezTo>
                        <a:close/>
                        <a:moveTo>
                          <a:pt x="131" y="40"/>
                        </a:moveTo>
                        <a:cubicBezTo>
                          <a:pt x="131" y="40"/>
                          <a:pt x="131" y="40"/>
                          <a:pt x="131" y="40"/>
                        </a:cubicBezTo>
                        <a:cubicBezTo>
                          <a:pt x="131" y="40"/>
                          <a:pt x="131" y="40"/>
                          <a:pt x="131" y="40"/>
                        </a:cubicBezTo>
                        <a:cubicBezTo>
                          <a:pt x="131" y="40"/>
                          <a:pt x="131" y="40"/>
                          <a:pt x="131" y="40"/>
                        </a:cubicBezTo>
                        <a:close/>
                        <a:moveTo>
                          <a:pt x="134" y="41"/>
                        </a:moveTo>
                        <a:cubicBezTo>
                          <a:pt x="134" y="41"/>
                          <a:pt x="134" y="41"/>
                          <a:pt x="134" y="41"/>
                        </a:cubicBezTo>
                        <a:cubicBezTo>
                          <a:pt x="134" y="41"/>
                          <a:pt x="134" y="41"/>
                          <a:pt x="134" y="41"/>
                        </a:cubicBezTo>
                        <a:cubicBezTo>
                          <a:pt x="134" y="41"/>
                          <a:pt x="134" y="41"/>
                          <a:pt x="134" y="41"/>
                        </a:cubicBezTo>
                        <a:close/>
                        <a:moveTo>
                          <a:pt x="130" y="40"/>
                        </a:moveTo>
                        <a:cubicBezTo>
                          <a:pt x="130" y="40"/>
                          <a:pt x="131" y="40"/>
                          <a:pt x="131" y="40"/>
                        </a:cubicBezTo>
                        <a:cubicBezTo>
                          <a:pt x="131" y="40"/>
                          <a:pt x="131" y="40"/>
                          <a:pt x="130" y="40"/>
                        </a:cubicBezTo>
                        <a:cubicBezTo>
                          <a:pt x="130" y="40"/>
                          <a:pt x="131" y="40"/>
                          <a:pt x="131" y="40"/>
                        </a:cubicBezTo>
                        <a:cubicBezTo>
                          <a:pt x="131" y="40"/>
                          <a:pt x="131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39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ubicBezTo>
                          <a:pt x="130" y="40"/>
                          <a:pt x="130" y="40"/>
                          <a:pt x="130" y="40"/>
                        </a:cubicBezTo>
                        <a:close/>
                        <a:moveTo>
                          <a:pt x="131" y="41"/>
                        </a:moveTo>
                        <a:cubicBezTo>
                          <a:pt x="131" y="40"/>
                          <a:pt x="131" y="40"/>
                          <a:pt x="131" y="40"/>
                        </a:cubicBezTo>
                        <a:cubicBezTo>
                          <a:pt x="131" y="40"/>
                          <a:pt x="131" y="41"/>
                          <a:pt x="131" y="41"/>
                        </a:cubicBezTo>
                        <a:close/>
                        <a:moveTo>
                          <a:pt x="131" y="41"/>
                        </a:moveTo>
                        <a:cubicBezTo>
                          <a:pt x="131" y="41"/>
                          <a:pt x="131" y="41"/>
                          <a:pt x="131" y="41"/>
                        </a:cubicBezTo>
                        <a:cubicBezTo>
                          <a:pt x="131" y="41"/>
                          <a:pt x="132" y="41"/>
                          <a:pt x="131" y="41"/>
                        </a:cubicBezTo>
                        <a:cubicBezTo>
                          <a:pt x="131" y="41"/>
                          <a:pt x="131" y="41"/>
                          <a:pt x="131" y="41"/>
                        </a:cubicBezTo>
                        <a:close/>
                        <a:moveTo>
                          <a:pt x="131" y="41"/>
                        </a:moveTo>
                        <a:cubicBezTo>
                          <a:pt x="131" y="41"/>
                          <a:pt x="131" y="41"/>
                          <a:pt x="131" y="41"/>
                        </a:cubicBezTo>
                        <a:cubicBezTo>
                          <a:pt x="131" y="41"/>
                          <a:pt x="131" y="41"/>
                          <a:pt x="131" y="41"/>
                        </a:cubicBezTo>
                        <a:cubicBezTo>
                          <a:pt x="131" y="41"/>
                          <a:pt x="131" y="41"/>
                          <a:pt x="131" y="41"/>
                        </a:cubicBezTo>
                        <a:cubicBezTo>
                          <a:pt x="131" y="41"/>
                          <a:pt x="131" y="41"/>
                          <a:pt x="131" y="41"/>
                        </a:cubicBezTo>
                        <a:close/>
                        <a:moveTo>
                          <a:pt x="131" y="41"/>
                        </a:moveTo>
                        <a:cubicBezTo>
                          <a:pt x="131" y="41"/>
                          <a:pt x="131" y="41"/>
                          <a:pt x="131" y="41"/>
                        </a:cubicBezTo>
                        <a:cubicBezTo>
                          <a:pt x="131" y="41"/>
                          <a:pt x="131" y="41"/>
                          <a:pt x="131" y="42"/>
                        </a:cubicBezTo>
                        <a:cubicBezTo>
                          <a:pt x="131" y="42"/>
                          <a:pt x="131" y="41"/>
                          <a:pt x="131" y="41"/>
                        </a:cubicBezTo>
                        <a:close/>
                        <a:moveTo>
                          <a:pt x="133" y="42"/>
                        </a:moveTo>
                        <a:cubicBezTo>
                          <a:pt x="134" y="42"/>
                          <a:pt x="134" y="42"/>
                          <a:pt x="134" y="42"/>
                        </a:cubicBezTo>
                        <a:cubicBezTo>
                          <a:pt x="134" y="42"/>
                          <a:pt x="134" y="42"/>
                          <a:pt x="134" y="42"/>
                        </a:cubicBezTo>
                        <a:cubicBezTo>
                          <a:pt x="134" y="42"/>
                          <a:pt x="133" y="42"/>
                          <a:pt x="133" y="42"/>
                        </a:cubicBezTo>
                        <a:close/>
                        <a:moveTo>
                          <a:pt x="130" y="41"/>
                        </a:moveTo>
                        <a:cubicBezTo>
                          <a:pt x="130" y="41"/>
                          <a:pt x="130" y="41"/>
                          <a:pt x="130" y="41"/>
                        </a:cubicBezTo>
                        <a:cubicBezTo>
                          <a:pt x="130" y="41"/>
                          <a:pt x="130" y="41"/>
                          <a:pt x="130" y="41"/>
                        </a:cubicBezTo>
                        <a:cubicBezTo>
                          <a:pt x="130" y="41"/>
                          <a:pt x="130" y="41"/>
                          <a:pt x="130" y="41"/>
                        </a:cubicBezTo>
                        <a:cubicBezTo>
                          <a:pt x="130" y="41"/>
                          <a:pt x="130" y="41"/>
                          <a:pt x="130" y="41"/>
                        </a:cubicBezTo>
                        <a:close/>
                        <a:moveTo>
                          <a:pt x="128" y="41"/>
                        </a:moveTo>
                        <a:cubicBezTo>
                          <a:pt x="128" y="40"/>
                          <a:pt x="128" y="40"/>
                          <a:pt x="128" y="40"/>
                        </a:cubicBezTo>
                        <a:cubicBezTo>
                          <a:pt x="128" y="41"/>
                          <a:pt x="128" y="40"/>
                          <a:pt x="128" y="40"/>
                        </a:cubicBezTo>
                        <a:cubicBezTo>
                          <a:pt x="128" y="40"/>
                          <a:pt x="128" y="41"/>
                          <a:pt x="128" y="41"/>
                        </a:cubicBezTo>
                        <a:close/>
                        <a:moveTo>
                          <a:pt x="127" y="40"/>
                        </a:moveTo>
                        <a:cubicBezTo>
                          <a:pt x="127" y="40"/>
                          <a:pt x="127" y="41"/>
                          <a:pt x="127" y="40"/>
                        </a:cubicBezTo>
                        <a:cubicBezTo>
                          <a:pt x="127" y="40"/>
                          <a:pt x="127" y="40"/>
                          <a:pt x="127" y="40"/>
                        </a:cubicBezTo>
                        <a:cubicBezTo>
                          <a:pt x="127" y="40"/>
                          <a:pt x="127" y="40"/>
                          <a:pt x="127" y="40"/>
                        </a:cubicBezTo>
                        <a:close/>
                        <a:moveTo>
                          <a:pt x="128" y="41"/>
                        </a:moveTo>
                        <a:cubicBezTo>
                          <a:pt x="129" y="41"/>
                          <a:pt x="129" y="41"/>
                          <a:pt x="129" y="41"/>
                        </a:cubicBezTo>
                        <a:cubicBezTo>
                          <a:pt x="129" y="41"/>
                          <a:pt x="129" y="41"/>
                          <a:pt x="128" y="41"/>
                        </a:cubicBezTo>
                        <a:close/>
                        <a:moveTo>
                          <a:pt x="113" y="38"/>
                        </a:moveTo>
                        <a:cubicBezTo>
                          <a:pt x="113" y="37"/>
                          <a:pt x="113" y="38"/>
                          <a:pt x="113" y="37"/>
                        </a:cubicBezTo>
                        <a:cubicBezTo>
                          <a:pt x="113" y="37"/>
                          <a:pt x="113" y="37"/>
                          <a:pt x="113" y="37"/>
                        </a:cubicBezTo>
                        <a:cubicBezTo>
                          <a:pt x="113" y="37"/>
                          <a:pt x="113" y="37"/>
                          <a:pt x="113" y="38"/>
                        </a:cubicBezTo>
                        <a:close/>
                        <a:moveTo>
                          <a:pt x="116" y="39"/>
                        </a:moveTo>
                        <a:cubicBezTo>
                          <a:pt x="116" y="39"/>
                          <a:pt x="116" y="39"/>
                          <a:pt x="116" y="39"/>
                        </a:cubicBezTo>
                        <a:cubicBezTo>
                          <a:pt x="116" y="39"/>
                          <a:pt x="116" y="38"/>
                          <a:pt x="116" y="39"/>
                        </a:cubicBezTo>
                        <a:close/>
                        <a:moveTo>
                          <a:pt x="118" y="38"/>
                        </a:moveTo>
                        <a:cubicBezTo>
                          <a:pt x="118" y="38"/>
                          <a:pt x="119" y="38"/>
                          <a:pt x="119" y="38"/>
                        </a:cubicBezTo>
                        <a:cubicBezTo>
                          <a:pt x="118" y="38"/>
                          <a:pt x="118" y="38"/>
                          <a:pt x="118" y="38"/>
                        </a:cubicBezTo>
                        <a:cubicBezTo>
                          <a:pt x="118" y="38"/>
                          <a:pt x="118" y="38"/>
                          <a:pt x="118" y="38"/>
                        </a:cubicBezTo>
                        <a:close/>
                        <a:moveTo>
                          <a:pt x="128" y="41"/>
                        </a:moveTo>
                        <a:cubicBezTo>
                          <a:pt x="128" y="41"/>
                          <a:pt x="128" y="41"/>
                          <a:pt x="128" y="41"/>
                        </a:cubicBezTo>
                        <a:cubicBezTo>
                          <a:pt x="128" y="41"/>
                          <a:pt x="127" y="41"/>
                          <a:pt x="128" y="41"/>
                        </a:cubicBezTo>
                        <a:cubicBezTo>
                          <a:pt x="128" y="41"/>
                          <a:pt x="128" y="41"/>
                          <a:pt x="128" y="41"/>
                        </a:cubicBezTo>
                        <a:cubicBezTo>
                          <a:pt x="128" y="41"/>
                          <a:pt x="128" y="41"/>
                          <a:pt x="128" y="41"/>
                        </a:cubicBezTo>
                        <a:close/>
                        <a:moveTo>
                          <a:pt x="124" y="40"/>
                        </a:moveTo>
                        <a:cubicBezTo>
                          <a:pt x="124" y="40"/>
                          <a:pt x="124" y="40"/>
                          <a:pt x="124" y="40"/>
                        </a:cubicBezTo>
                        <a:cubicBezTo>
                          <a:pt x="124" y="40"/>
                          <a:pt x="124" y="40"/>
                          <a:pt x="124" y="40"/>
                        </a:cubicBezTo>
                        <a:close/>
                        <a:moveTo>
                          <a:pt x="122" y="39"/>
                        </a:moveTo>
                        <a:cubicBezTo>
                          <a:pt x="122" y="39"/>
                          <a:pt x="122" y="39"/>
                          <a:pt x="122" y="39"/>
                        </a:cubicBezTo>
                        <a:cubicBezTo>
                          <a:pt x="122" y="39"/>
                          <a:pt x="122" y="40"/>
                          <a:pt x="122" y="39"/>
                        </a:cubicBezTo>
                        <a:close/>
                        <a:moveTo>
                          <a:pt x="121" y="40"/>
                        </a:moveTo>
                        <a:cubicBezTo>
                          <a:pt x="122" y="40"/>
                          <a:pt x="122" y="40"/>
                          <a:pt x="122" y="40"/>
                        </a:cubicBezTo>
                        <a:cubicBezTo>
                          <a:pt x="122" y="39"/>
                          <a:pt x="121" y="39"/>
                          <a:pt x="121" y="39"/>
                        </a:cubicBezTo>
                        <a:cubicBezTo>
                          <a:pt x="121" y="39"/>
                          <a:pt x="121" y="39"/>
                          <a:pt x="121" y="39"/>
                        </a:cubicBezTo>
                        <a:cubicBezTo>
                          <a:pt x="121" y="40"/>
                          <a:pt x="122" y="40"/>
                          <a:pt x="121" y="40"/>
                        </a:cubicBezTo>
                        <a:close/>
                        <a:moveTo>
                          <a:pt x="122" y="40"/>
                        </a:moveTo>
                        <a:cubicBezTo>
                          <a:pt x="122" y="40"/>
                          <a:pt x="122" y="40"/>
                          <a:pt x="122" y="40"/>
                        </a:cubicBezTo>
                        <a:cubicBezTo>
                          <a:pt x="122" y="40"/>
                          <a:pt x="123" y="40"/>
                          <a:pt x="123" y="40"/>
                        </a:cubicBezTo>
                        <a:cubicBezTo>
                          <a:pt x="123" y="40"/>
                          <a:pt x="123" y="40"/>
                          <a:pt x="123" y="40"/>
                        </a:cubicBezTo>
                        <a:cubicBezTo>
                          <a:pt x="123" y="40"/>
                          <a:pt x="123" y="40"/>
                          <a:pt x="123" y="40"/>
                        </a:cubicBezTo>
                        <a:cubicBezTo>
                          <a:pt x="123" y="40"/>
                          <a:pt x="123" y="40"/>
                          <a:pt x="123" y="40"/>
                        </a:cubicBezTo>
                        <a:cubicBezTo>
                          <a:pt x="123" y="40"/>
                          <a:pt x="124" y="40"/>
                          <a:pt x="123" y="40"/>
                        </a:cubicBezTo>
                        <a:cubicBezTo>
                          <a:pt x="123" y="40"/>
                          <a:pt x="124" y="40"/>
                          <a:pt x="124" y="40"/>
                        </a:cubicBezTo>
                        <a:cubicBezTo>
                          <a:pt x="123" y="40"/>
                          <a:pt x="124" y="40"/>
                          <a:pt x="124" y="40"/>
                        </a:cubicBezTo>
                        <a:cubicBezTo>
                          <a:pt x="123" y="40"/>
                          <a:pt x="123" y="40"/>
                          <a:pt x="123" y="40"/>
                        </a:cubicBezTo>
                        <a:cubicBezTo>
                          <a:pt x="123" y="40"/>
                          <a:pt x="123" y="40"/>
                          <a:pt x="123" y="40"/>
                        </a:cubicBezTo>
                        <a:cubicBezTo>
                          <a:pt x="123" y="40"/>
                          <a:pt x="123" y="40"/>
                          <a:pt x="122" y="40"/>
                        </a:cubicBezTo>
                        <a:cubicBezTo>
                          <a:pt x="122" y="40"/>
                          <a:pt x="122" y="40"/>
                          <a:pt x="122" y="40"/>
                        </a:cubicBezTo>
                        <a:close/>
                        <a:moveTo>
                          <a:pt x="125" y="41"/>
                        </a:moveTo>
                        <a:cubicBezTo>
                          <a:pt x="125" y="41"/>
                          <a:pt x="125" y="41"/>
                          <a:pt x="125" y="41"/>
                        </a:cubicBezTo>
                        <a:cubicBezTo>
                          <a:pt x="125" y="41"/>
                          <a:pt x="125" y="42"/>
                          <a:pt x="125" y="41"/>
                        </a:cubicBezTo>
                        <a:close/>
                        <a:moveTo>
                          <a:pt x="126" y="42"/>
                        </a:moveTo>
                        <a:cubicBezTo>
                          <a:pt x="126" y="42"/>
                          <a:pt x="126" y="42"/>
                          <a:pt x="126" y="42"/>
                        </a:cubicBezTo>
                        <a:cubicBezTo>
                          <a:pt x="126" y="42"/>
                          <a:pt x="126" y="42"/>
                          <a:pt x="126" y="42"/>
                        </a:cubicBezTo>
                        <a:close/>
                        <a:moveTo>
                          <a:pt x="124" y="42"/>
                        </a:moveTo>
                        <a:cubicBezTo>
                          <a:pt x="125" y="42"/>
                          <a:pt x="125" y="42"/>
                          <a:pt x="125" y="42"/>
                        </a:cubicBezTo>
                        <a:cubicBezTo>
                          <a:pt x="125" y="42"/>
                          <a:pt x="124" y="41"/>
                          <a:pt x="124" y="41"/>
                        </a:cubicBezTo>
                        <a:cubicBezTo>
                          <a:pt x="124" y="42"/>
                          <a:pt x="125" y="42"/>
                          <a:pt x="124" y="42"/>
                        </a:cubicBezTo>
                        <a:cubicBezTo>
                          <a:pt x="124" y="42"/>
                          <a:pt x="124" y="41"/>
                          <a:pt x="124" y="41"/>
                        </a:cubicBezTo>
                        <a:cubicBezTo>
                          <a:pt x="124" y="42"/>
                          <a:pt x="124" y="42"/>
                          <a:pt x="124" y="42"/>
                        </a:cubicBezTo>
                        <a:close/>
                        <a:moveTo>
                          <a:pt x="132" y="45"/>
                        </a:moveTo>
                        <a:cubicBezTo>
                          <a:pt x="132" y="45"/>
                          <a:pt x="132" y="45"/>
                          <a:pt x="132" y="45"/>
                        </a:cubicBezTo>
                        <a:cubicBezTo>
                          <a:pt x="132" y="45"/>
                          <a:pt x="133" y="45"/>
                          <a:pt x="132" y="45"/>
                        </a:cubicBezTo>
                        <a:close/>
                        <a:moveTo>
                          <a:pt x="130" y="45"/>
                        </a:moveTo>
                        <a:cubicBezTo>
                          <a:pt x="130" y="44"/>
                          <a:pt x="130" y="44"/>
                          <a:pt x="130" y="44"/>
                        </a:cubicBezTo>
                        <a:cubicBezTo>
                          <a:pt x="130" y="44"/>
                          <a:pt x="130" y="44"/>
                          <a:pt x="130" y="44"/>
                        </a:cubicBezTo>
                        <a:cubicBezTo>
                          <a:pt x="130" y="44"/>
                          <a:pt x="130" y="44"/>
                          <a:pt x="130" y="44"/>
                        </a:cubicBezTo>
                        <a:cubicBezTo>
                          <a:pt x="130" y="44"/>
                          <a:pt x="130" y="45"/>
                          <a:pt x="130" y="45"/>
                        </a:cubicBezTo>
                        <a:close/>
                        <a:moveTo>
                          <a:pt x="129" y="44"/>
                        </a:moveTo>
                        <a:cubicBezTo>
                          <a:pt x="129" y="44"/>
                          <a:pt x="129" y="44"/>
                          <a:pt x="129" y="44"/>
                        </a:cubicBezTo>
                        <a:cubicBezTo>
                          <a:pt x="129" y="44"/>
                          <a:pt x="129" y="44"/>
                          <a:pt x="129" y="44"/>
                        </a:cubicBezTo>
                        <a:cubicBezTo>
                          <a:pt x="129" y="44"/>
                          <a:pt x="129" y="44"/>
                          <a:pt x="129" y="44"/>
                        </a:cubicBezTo>
                        <a:cubicBezTo>
                          <a:pt x="129" y="44"/>
                          <a:pt x="129" y="44"/>
                          <a:pt x="129" y="44"/>
                        </a:cubicBezTo>
                        <a:close/>
                        <a:moveTo>
                          <a:pt x="131" y="45"/>
                        </a:moveTo>
                        <a:cubicBezTo>
                          <a:pt x="131" y="45"/>
                          <a:pt x="131" y="45"/>
                          <a:pt x="131" y="45"/>
                        </a:cubicBezTo>
                        <a:cubicBezTo>
                          <a:pt x="131" y="45"/>
                          <a:pt x="131" y="45"/>
                          <a:pt x="131" y="45"/>
                        </a:cubicBezTo>
                        <a:cubicBezTo>
                          <a:pt x="131" y="45"/>
                          <a:pt x="131" y="45"/>
                          <a:pt x="132" y="45"/>
                        </a:cubicBezTo>
                        <a:cubicBezTo>
                          <a:pt x="131" y="45"/>
                          <a:pt x="131" y="45"/>
                          <a:pt x="131" y="45"/>
                        </a:cubicBezTo>
                        <a:close/>
                        <a:moveTo>
                          <a:pt x="131" y="44"/>
                        </a:moveTo>
                        <a:cubicBezTo>
                          <a:pt x="131" y="45"/>
                          <a:pt x="130" y="45"/>
                          <a:pt x="131" y="45"/>
                        </a:cubicBezTo>
                        <a:cubicBezTo>
                          <a:pt x="131" y="45"/>
                          <a:pt x="131" y="45"/>
                          <a:pt x="131" y="44"/>
                        </a:cubicBezTo>
                        <a:close/>
                        <a:moveTo>
                          <a:pt x="130" y="44"/>
                        </a:moveTo>
                        <a:cubicBezTo>
                          <a:pt x="130" y="44"/>
                          <a:pt x="130" y="44"/>
                          <a:pt x="130" y="44"/>
                        </a:cubicBezTo>
                        <a:cubicBezTo>
                          <a:pt x="130" y="44"/>
                          <a:pt x="130" y="44"/>
                          <a:pt x="130" y="45"/>
                        </a:cubicBezTo>
                        <a:cubicBezTo>
                          <a:pt x="130" y="45"/>
                          <a:pt x="130" y="45"/>
                          <a:pt x="130" y="45"/>
                        </a:cubicBezTo>
                        <a:cubicBezTo>
                          <a:pt x="130" y="44"/>
                          <a:pt x="130" y="44"/>
                          <a:pt x="130" y="44"/>
                        </a:cubicBezTo>
                        <a:close/>
                        <a:moveTo>
                          <a:pt x="130" y="44"/>
                        </a:moveTo>
                        <a:cubicBezTo>
                          <a:pt x="130" y="44"/>
                          <a:pt x="130" y="44"/>
                          <a:pt x="130" y="44"/>
                        </a:cubicBezTo>
                        <a:cubicBezTo>
                          <a:pt x="130" y="44"/>
                          <a:pt x="130" y="44"/>
                          <a:pt x="130" y="44"/>
                        </a:cubicBezTo>
                        <a:cubicBezTo>
                          <a:pt x="130" y="44"/>
                          <a:pt x="130" y="44"/>
                          <a:pt x="130" y="44"/>
                        </a:cubicBezTo>
                        <a:close/>
                        <a:moveTo>
                          <a:pt x="126" y="43"/>
                        </a:moveTo>
                        <a:cubicBezTo>
                          <a:pt x="126" y="43"/>
                          <a:pt x="127" y="43"/>
                          <a:pt x="127" y="43"/>
                        </a:cubicBezTo>
                        <a:cubicBezTo>
                          <a:pt x="127" y="43"/>
                          <a:pt x="126" y="43"/>
                          <a:pt x="126" y="43"/>
                        </a:cubicBezTo>
                        <a:close/>
                        <a:moveTo>
                          <a:pt x="124" y="42"/>
                        </a:moveTo>
                        <a:cubicBezTo>
                          <a:pt x="124" y="43"/>
                          <a:pt x="125" y="43"/>
                          <a:pt x="125" y="43"/>
                        </a:cubicBezTo>
                        <a:cubicBezTo>
                          <a:pt x="125" y="43"/>
                          <a:pt x="125" y="42"/>
                          <a:pt x="124" y="42"/>
                        </a:cubicBezTo>
                        <a:close/>
                        <a:moveTo>
                          <a:pt x="125" y="42"/>
                        </a:moveTo>
                        <a:cubicBezTo>
                          <a:pt x="125" y="42"/>
                          <a:pt x="125" y="42"/>
                          <a:pt x="125" y="42"/>
                        </a:cubicBezTo>
                        <a:cubicBezTo>
                          <a:pt x="125" y="42"/>
                          <a:pt x="125" y="42"/>
                          <a:pt x="125" y="42"/>
                        </a:cubicBezTo>
                        <a:cubicBezTo>
                          <a:pt x="124" y="42"/>
                          <a:pt x="124" y="42"/>
                          <a:pt x="124" y="42"/>
                        </a:cubicBezTo>
                        <a:cubicBezTo>
                          <a:pt x="124" y="42"/>
                          <a:pt x="124" y="42"/>
                          <a:pt x="125" y="42"/>
                        </a:cubicBezTo>
                        <a:close/>
                        <a:moveTo>
                          <a:pt x="124" y="42"/>
                        </a:moveTo>
                        <a:cubicBezTo>
                          <a:pt x="124" y="42"/>
                          <a:pt x="124" y="42"/>
                          <a:pt x="124" y="42"/>
                        </a:cubicBezTo>
                        <a:cubicBezTo>
                          <a:pt x="123" y="42"/>
                          <a:pt x="124" y="42"/>
                          <a:pt x="124" y="42"/>
                        </a:cubicBezTo>
                        <a:close/>
                        <a:moveTo>
                          <a:pt x="129" y="44"/>
                        </a:moveTo>
                        <a:cubicBezTo>
                          <a:pt x="129" y="44"/>
                          <a:pt x="129" y="44"/>
                          <a:pt x="129" y="44"/>
                        </a:cubicBezTo>
                        <a:cubicBezTo>
                          <a:pt x="129" y="44"/>
                          <a:pt x="129" y="44"/>
                          <a:pt x="129" y="44"/>
                        </a:cubicBezTo>
                        <a:cubicBezTo>
                          <a:pt x="129" y="44"/>
                          <a:pt x="129" y="44"/>
                          <a:pt x="130" y="44"/>
                        </a:cubicBezTo>
                        <a:cubicBezTo>
                          <a:pt x="129" y="44"/>
                          <a:pt x="130" y="44"/>
                          <a:pt x="129" y="44"/>
                        </a:cubicBezTo>
                        <a:cubicBezTo>
                          <a:pt x="129" y="44"/>
                          <a:pt x="129" y="44"/>
                          <a:pt x="129" y="44"/>
                        </a:cubicBezTo>
                        <a:close/>
                        <a:moveTo>
                          <a:pt x="128" y="44"/>
                        </a:moveTo>
                        <a:cubicBezTo>
                          <a:pt x="129" y="44"/>
                          <a:pt x="129" y="44"/>
                          <a:pt x="129" y="44"/>
                        </a:cubicBezTo>
                        <a:cubicBezTo>
                          <a:pt x="129" y="44"/>
                          <a:pt x="128" y="44"/>
                          <a:pt x="128" y="44"/>
                        </a:cubicBezTo>
                        <a:close/>
                        <a:moveTo>
                          <a:pt x="126" y="43"/>
                        </a:moveTo>
                        <a:cubicBezTo>
                          <a:pt x="126" y="43"/>
                          <a:pt x="126" y="43"/>
                          <a:pt x="126" y="43"/>
                        </a:cubicBezTo>
                        <a:cubicBezTo>
                          <a:pt x="126" y="43"/>
                          <a:pt x="126" y="43"/>
                          <a:pt x="126" y="43"/>
                        </a:cubicBezTo>
                        <a:cubicBezTo>
                          <a:pt x="126" y="43"/>
                          <a:pt x="126" y="43"/>
                          <a:pt x="126" y="43"/>
                        </a:cubicBezTo>
                        <a:close/>
                        <a:moveTo>
                          <a:pt x="127" y="44"/>
                        </a:moveTo>
                        <a:cubicBezTo>
                          <a:pt x="127" y="44"/>
                          <a:pt x="127" y="44"/>
                          <a:pt x="127" y="44"/>
                        </a:cubicBezTo>
                        <a:cubicBezTo>
                          <a:pt x="128" y="44"/>
                          <a:pt x="128" y="44"/>
                          <a:pt x="128" y="44"/>
                        </a:cubicBezTo>
                        <a:cubicBezTo>
                          <a:pt x="127" y="44"/>
                          <a:pt x="127" y="44"/>
                          <a:pt x="127" y="44"/>
                        </a:cubicBezTo>
                        <a:cubicBezTo>
                          <a:pt x="127" y="44"/>
                          <a:pt x="127" y="43"/>
                          <a:pt x="127" y="43"/>
                        </a:cubicBezTo>
                        <a:cubicBezTo>
                          <a:pt x="127" y="43"/>
                          <a:pt x="127" y="44"/>
                          <a:pt x="127" y="44"/>
                        </a:cubicBezTo>
                        <a:cubicBezTo>
                          <a:pt x="127" y="44"/>
                          <a:pt x="127" y="44"/>
                          <a:pt x="127" y="44"/>
                        </a:cubicBezTo>
                        <a:cubicBezTo>
                          <a:pt x="127" y="44"/>
                          <a:pt x="127" y="44"/>
                          <a:pt x="127" y="44"/>
                        </a:cubicBezTo>
                        <a:close/>
                        <a:moveTo>
                          <a:pt x="133" y="46"/>
                        </a:moveTo>
                        <a:cubicBezTo>
                          <a:pt x="133" y="46"/>
                          <a:pt x="133" y="46"/>
                          <a:pt x="133" y="46"/>
                        </a:cubicBezTo>
                        <a:cubicBezTo>
                          <a:pt x="133" y="46"/>
                          <a:pt x="133" y="46"/>
                          <a:pt x="133" y="46"/>
                        </a:cubicBezTo>
                        <a:close/>
                        <a:moveTo>
                          <a:pt x="132" y="45"/>
                        </a:moveTo>
                        <a:cubicBezTo>
                          <a:pt x="132" y="46"/>
                          <a:pt x="132" y="46"/>
                          <a:pt x="132" y="46"/>
                        </a:cubicBezTo>
                        <a:cubicBezTo>
                          <a:pt x="132" y="46"/>
                          <a:pt x="132" y="46"/>
                          <a:pt x="132" y="46"/>
                        </a:cubicBezTo>
                        <a:lnTo>
                          <a:pt x="132" y="45"/>
                        </a:lnTo>
                        <a:close/>
                        <a:moveTo>
                          <a:pt x="131" y="45"/>
                        </a:moveTo>
                        <a:cubicBezTo>
                          <a:pt x="131" y="45"/>
                          <a:pt x="130" y="45"/>
                          <a:pt x="131" y="45"/>
                        </a:cubicBezTo>
                        <a:cubicBezTo>
                          <a:pt x="131" y="45"/>
                          <a:pt x="131" y="45"/>
                          <a:pt x="131" y="45"/>
                        </a:cubicBezTo>
                        <a:cubicBezTo>
                          <a:pt x="130" y="45"/>
                          <a:pt x="130" y="45"/>
                          <a:pt x="130" y="45"/>
                        </a:cubicBezTo>
                        <a:cubicBezTo>
                          <a:pt x="130" y="45"/>
                          <a:pt x="130" y="45"/>
                          <a:pt x="130" y="45"/>
                        </a:cubicBezTo>
                        <a:cubicBezTo>
                          <a:pt x="130" y="45"/>
                          <a:pt x="130" y="45"/>
                          <a:pt x="131" y="45"/>
                        </a:cubicBezTo>
                        <a:close/>
                        <a:moveTo>
                          <a:pt x="115" y="40"/>
                        </a:moveTo>
                        <a:cubicBezTo>
                          <a:pt x="115" y="40"/>
                          <a:pt x="116" y="40"/>
                          <a:pt x="116" y="40"/>
                        </a:cubicBezTo>
                        <a:cubicBezTo>
                          <a:pt x="116" y="40"/>
                          <a:pt x="116" y="40"/>
                          <a:pt x="116" y="40"/>
                        </a:cubicBezTo>
                        <a:cubicBezTo>
                          <a:pt x="115" y="40"/>
                          <a:pt x="115" y="39"/>
                          <a:pt x="115" y="40"/>
                        </a:cubicBezTo>
                        <a:cubicBezTo>
                          <a:pt x="115" y="40"/>
                          <a:pt x="115" y="40"/>
                          <a:pt x="115" y="40"/>
                        </a:cubicBezTo>
                        <a:close/>
                        <a:moveTo>
                          <a:pt x="119" y="42"/>
                        </a:moveTo>
                        <a:cubicBezTo>
                          <a:pt x="119" y="42"/>
                          <a:pt x="119" y="42"/>
                          <a:pt x="119" y="42"/>
                        </a:cubicBezTo>
                        <a:cubicBezTo>
                          <a:pt x="119" y="42"/>
                          <a:pt x="119" y="42"/>
                          <a:pt x="119" y="42"/>
                        </a:cubicBezTo>
                        <a:close/>
                        <a:moveTo>
                          <a:pt x="118" y="42"/>
                        </a:moveTo>
                        <a:cubicBezTo>
                          <a:pt x="118" y="42"/>
                          <a:pt x="119" y="42"/>
                          <a:pt x="119" y="42"/>
                        </a:cubicBezTo>
                        <a:cubicBezTo>
                          <a:pt x="118" y="42"/>
                          <a:pt x="118" y="42"/>
                          <a:pt x="118" y="42"/>
                        </a:cubicBezTo>
                        <a:close/>
                        <a:moveTo>
                          <a:pt x="119" y="42"/>
                        </a:moveTo>
                        <a:cubicBezTo>
                          <a:pt x="119" y="42"/>
                          <a:pt x="119" y="42"/>
                          <a:pt x="118" y="42"/>
                        </a:cubicBezTo>
                        <a:cubicBezTo>
                          <a:pt x="118" y="42"/>
                          <a:pt x="118" y="42"/>
                          <a:pt x="118" y="42"/>
                        </a:cubicBezTo>
                        <a:cubicBezTo>
                          <a:pt x="119" y="42"/>
                          <a:pt x="119" y="42"/>
                          <a:pt x="119" y="43"/>
                        </a:cubicBezTo>
                        <a:cubicBezTo>
                          <a:pt x="119" y="43"/>
                          <a:pt x="120" y="43"/>
                          <a:pt x="120" y="43"/>
                        </a:cubicBezTo>
                        <a:cubicBezTo>
                          <a:pt x="120" y="43"/>
                          <a:pt x="120" y="43"/>
                          <a:pt x="120" y="42"/>
                        </a:cubicBezTo>
                        <a:cubicBezTo>
                          <a:pt x="120" y="42"/>
                          <a:pt x="119" y="42"/>
                          <a:pt x="119" y="42"/>
                        </a:cubicBezTo>
                        <a:cubicBezTo>
                          <a:pt x="119" y="42"/>
                          <a:pt x="119" y="42"/>
                          <a:pt x="119" y="42"/>
                        </a:cubicBezTo>
                        <a:close/>
                        <a:moveTo>
                          <a:pt x="120" y="42"/>
                        </a:moveTo>
                        <a:cubicBezTo>
                          <a:pt x="120" y="42"/>
                          <a:pt x="120" y="42"/>
                          <a:pt x="120" y="42"/>
                        </a:cubicBezTo>
                        <a:cubicBezTo>
                          <a:pt x="120" y="42"/>
                          <a:pt x="120" y="42"/>
                          <a:pt x="120" y="42"/>
                        </a:cubicBezTo>
                        <a:cubicBezTo>
                          <a:pt x="120" y="42"/>
                          <a:pt x="120" y="42"/>
                          <a:pt x="120" y="42"/>
                        </a:cubicBezTo>
                        <a:close/>
                        <a:moveTo>
                          <a:pt x="128" y="45"/>
                        </a:moveTo>
                        <a:cubicBezTo>
                          <a:pt x="128" y="45"/>
                          <a:pt x="128" y="45"/>
                          <a:pt x="128" y="45"/>
                        </a:cubicBezTo>
                        <a:cubicBezTo>
                          <a:pt x="128" y="45"/>
                          <a:pt x="128" y="45"/>
                          <a:pt x="128" y="45"/>
                        </a:cubicBezTo>
                        <a:cubicBezTo>
                          <a:pt x="128" y="45"/>
                          <a:pt x="128" y="45"/>
                          <a:pt x="128" y="45"/>
                        </a:cubicBezTo>
                        <a:cubicBezTo>
                          <a:pt x="127" y="45"/>
                          <a:pt x="128" y="45"/>
                          <a:pt x="128" y="45"/>
                        </a:cubicBezTo>
                        <a:cubicBezTo>
                          <a:pt x="128" y="45"/>
                          <a:pt x="128" y="45"/>
                          <a:pt x="128" y="45"/>
                        </a:cubicBezTo>
                        <a:cubicBezTo>
                          <a:pt x="128" y="45"/>
                          <a:pt x="128" y="45"/>
                          <a:pt x="128" y="45"/>
                        </a:cubicBezTo>
                        <a:close/>
                        <a:moveTo>
                          <a:pt x="127" y="45"/>
                        </a:moveTo>
                        <a:cubicBezTo>
                          <a:pt x="127" y="45"/>
                          <a:pt x="127" y="45"/>
                          <a:pt x="127" y="45"/>
                        </a:cubicBezTo>
                        <a:cubicBezTo>
                          <a:pt x="127" y="45"/>
                          <a:pt x="127" y="45"/>
                          <a:pt x="127" y="45"/>
                        </a:cubicBezTo>
                        <a:cubicBezTo>
                          <a:pt x="127" y="45"/>
                          <a:pt x="127" y="45"/>
                          <a:pt x="128" y="45"/>
                        </a:cubicBezTo>
                        <a:cubicBezTo>
                          <a:pt x="128" y="45"/>
                          <a:pt x="127" y="45"/>
                          <a:pt x="127" y="45"/>
                        </a:cubicBezTo>
                        <a:cubicBezTo>
                          <a:pt x="127" y="45"/>
                          <a:pt x="127" y="45"/>
                          <a:pt x="127" y="45"/>
                        </a:cubicBezTo>
                        <a:close/>
                        <a:moveTo>
                          <a:pt x="126" y="44"/>
                        </a:moveTo>
                        <a:cubicBezTo>
                          <a:pt x="126" y="44"/>
                          <a:pt x="126" y="44"/>
                          <a:pt x="126" y="44"/>
                        </a:cubicBezTo>
                        <a:cubicBezTo>
                          <a:pt x="126" y="44"/>
                          <a:pt x="127" y="44"/>
                          <a:pt x="127" y="44"/>
                        </a:cubicBezTo>
                        <a:cubicBezTo>
                          <a:pt x="126" y="44"/>
                          <a:pt x="126" y="44"/>
                          <a:pt x="126" y="44"/>
                        </a:cubicBezTo>
                        <a:cubicBezTo>
                          <a:pt x="127" y="45"/>
                          <a:pt x="127" y="44"/>
                          <a:pt x="127" y="44"/>
                        </a:cubicBezTo>
                        <a:cubicBezTo>
                          <a:pt x="127" y="44"/>
                          <a:pt x="127" y="44"/>
                          <a:pt x="126" y="44"/>
                        </a:cubicBezTo>
                        <a:close/>
                        <a:moveTo>
                          <a:pt x="125" y="44"/>
                        </a:moveTo>
                        <a:cubicBezTo>
                          <a:pt x="125" y="44"/>
                          <a:pt x="125" y="44"/>
                          <a:pt x="125" y="44"/>
                        </a:cubicBezTo>
                        <a:cubicBezTo>
                          <a:pt x="125" y="44"/>
                          <a:pt x="125" y="44"/>
                          <a:pt x="125" y="44"/>
                        </a:cubicBezTo>
                        <a:close/>
                        <a:moveTo>
                          <a:pt x="127" y="45"/>
                        </a:moveTo>
                        <a:cubicBezTo>
                          <a:pt x="127" y="45"/>
                          <a:pt x="127" y="45"/>
                          <a:pt x="127" y="45"/>
                        </a:cubicBezTo>
                        <a:cubicBezTo>
                          <a:pt x="127" y="45"/>
                          <a:pt x="127" y="45"/>
                          <a:pt x="127" y="45"/>
                        </a:cubicBezTo>
                        <a:cubicBezTo>
                          <a:pt x="127" y="45"/>
                          <a:pt x="126" y="45"/>
                          <a:pt x="126" y="44"/>
                        </a:cubicBezTo>
                        <a:cubicBezTo>
                          <a:pt x="126" y="45"/>
                          <a:pt x="127" y="45"/>
                          <a:pt x="127" y="45"/>
                        </a:cubicBezTo>
                        <a:close/>
                        <a:moveTo>
                          <a:pt x="126" y="45"/>
                        </a:moveTo>
                        <a:cubicBezTo>
                          <a:pt x="126" y="45"/>
                          <a:pt x="126" y="45"/>
                          <a:pt x="126" y="45"/>
                        </a:cubicBezTo>
                        <a:cubicBezTo>
                          <a:pt x="126" y="44"/>
                          <a:pt x="126" y="44"/>
                          <a:pt x="126" y="44"/>
                        </a:cubicBezTo>
                        <a:cubicBezTo>
                          <a:pt x="125" y="44"/>
                          <a:pt x="125" y="44"/>
                          <a:pt x="125" y="44"/>
                        </a:cubicBezTo>
                        <a:cubicBezTo>
                          <a:pt x="126" y="44"/>
                          <a:pt x="126" y="45"/>
                          <a:pt x="126" y="45"/>
                        </a:cubicBezTo>
                        <a:close/>
                        <a:moveTo>
                          <a:pt x="129" y="45"/>
                        </a:moveTo>
                        <a:cubicBezTo>
                          <a:pt x="129" y="45"/>
                          <a:pt x="128" y="45"/>
                          <a:pt x="128" y="45"/>
                        </a:cubicBezTo>
                        <a:cubicBezTo>
                          <a:pt x="129" y="46"/>
                          <a:pt x="129" y="46"/>
                          <a:pt x="129" y="46"/>
                        </a:cubicBezTo>
                        <a:cubicBezTo>
                          <a:pt x="129" y="46"/>
                          <a:pt x="129" y="46"/>
                          <a:pt x="129" y="46"/>
                        </a:cubicBezTo>
                        <a:cubicBezTo>
                          <a:pt x="129" y="46"/>
                          <a:pt x="129" y="46"/>
                          <a:pt x="129" y="46"/>
                        </a:cubicBezTo>
                        <a:cubicBezTo>
                          <a:pt x="129" y="46"/>
                          <a:pt x="129" y="46"/>
                          <a:pt x="129" y="46"/>
                        </a:cubicBezTo>
                        <a:cubicBezTo>
                          <a:pt x="129" y="46"/>
                          <a:pt x="129" y="46"/>
                          <a:pt x="129" y="46"/>
                        </a:cubicBezTo>
                        <a:cubicBezTo>
                          <a:pt x="129" y="46"/>
                          <a:pt x="129" y="46"/>
                          <a:pt x="129" y="45"/>
                        </a:cubicBezTo>
                        <a:cubicBezTo>
                          <a:pt x="129" y="45"/>
                          <a:pt x="129" y="46"/>
                          <a:pt x="129" y="45"/>
                        </a:cubicBezTo>
                        <a:cubicBezTo>
                          <a:pt x="129" y="45"/>
                          <a:pt x="129" y="45"/>
                          <a:pt x="129" y="45"/>
                        </a:cubicBezTo>
                        <a:cubicBezTo>
                          <a:pt x="129" y="45"/>
                          <a:pt x="129" y="45"/>
                          <a:pt x="129" y="45"/>
                        </a:cubicBezTo>
                        <a:cubicBezTo>
                          <a:pt x="129" y="45"/>
                          <a:pt x="129" y="45"/>
                          <a:pt x="128" y="45"/>
                        </a:cubicBezTo>
                        <a:cubicBezTo>
                          <a:pt x="128" y="45"/>
                          <a:pt x="128" y="45"/>
                          <a:pt x="128" y="45"/>
                        </a:cubicBezTo>
                        <a:cubicBezTo>
                          <a:pt x="128" y="45"/>
                          <a:pt x="129" y="45"/>
                          <a:pt x="129" y="45"/>
                        </a:cubicBezTo>
                        <a:close/>
                        <a:moveTo>
                          <a:pt x="126" y="45"/>
                        </a:moveTo>
                        <a:cubicBezTo>
                          <a:pt x="126" y="45"/>
                          <a:pt x="126" y="45"/>
                          <a:pt x="126" y="45"/>
                        </a:cubicBezTo>
                        <a:cubicBezTo>
                          <a:pt x="126" y="45"/>
                          <a:pt x="126" y="45"/>
                          <a:pt x="126" y="45"/>
                        </a:cubicBezTo>
                        <a:close/>
                        <a:moveTo>
                          <a:pt x="127" y="46"/>
                        </a:moveTo>
                        <a:cubicBezTo>
                          <a:pt x="127" y="46"/>
                          <a:pt x="128" y="46"/>
                          <a:pt x="128" y="46"/>
                        </a:cubicBezTo>
                        <a:cubicBezTo>
                          <a:pt x="127" y="46"/>
                          <a:pt x="127" y="45"/>
                          <a:pt x="127" y="46"/>
                        </a:cubicBezTo>
                        <a:cubicBezTo>
                          <a:pt x="127" y="46"/>
                          <a:pt x="127" y="46"/>
                          <a:pt x="127" y="46"/>
                        </a:cubicBezTo>
                        <a:close/>
                        <a:moveTo>
                          <a:pt x="131" y="47"/>
                        </a:moveTo>
                        <a:cubicBezTo>
                          <a:pt x="131" y="47"/>
                          <a:pt x="131" y="47"/>
                          <a:pt x="131" y="47"/>
                        </a:cubicBezTo>
                        <a:cubicBezTo>
                          <a:pt x="131" y="47"/>
                          <a:pt x="131" y="47"/>
                          <a:pt x="131" y="47"/>
                        </a:cubicBezTo>
                        <a:close/>
                        <a:moveTo>
                          <a:pt x="136" y="50"/>
                        </a:moveTo>
                        <a:cubicBezTo>
                          <a:pt x="136" y="50"/>
                          <a:pt x="136" y="50"/>
                          <a:pt x="136" y="50"/>
                        </a:cubicBezTo>
                        <a:cubicBezTo>
                          <a:pt x="136" y="50"/>
                          <a:pt x="136" y="50"/>
                          <a:pt x="136" y="50"/>
                        </a:cubicBezTo>
                        <a:cubicBezTo>
                          <a:pt x="136" y="50"/>
                          <a:pt x="135" y="50"/>
                          <a:pt x="136" y="50"/>
                        </a:cubicBezTo>
                        <a:close/>
                        <a:moveTo>
                          <a:pt x="138" y="51"/>
                        </a:moveTo>
                        <a:cubicBezTo>
                          <a:pt x="138" y="51"/>
                          <a:pt x="138" y="51"/>
                          <a:pt x="138" y="51"/>
                        </a:cubicBezTo>
                        <a:cubicBezTo>
                          <a:pt x="138" y="51"/>
                          <a:pt x="138" y="51"/>
                          <a:pt x="138" y="50"/>
                        </a:cubicBezTo>
                        <a:cubicBezTo>
                          <a:pt x="138" y="50"/>
                          <a:pt x="138" y="50"/>
                          <a:pt x="138" y="50"/>
                        </a:cubicBezTo>
                        <a:cubicBezTo>
                          <a:pt x="138" y="50"/>
                          <a:pt x="138" y="50"/>
                          <a:pt x="138" y="50"/>
                        </a:cubicBezTo>
                        <a:cubicBezTo>
                          <a:pt x="138" y="50"/>
                          <a:pt x="137" y="50"/>
                          <a:pt x="137" y="50"/>
                        </a:cubicBezTo>
                        <a:cubicBezTo>
                          <a:pt x="137" y="50"/>
                          <a:pt x="137" y="50"/>
                          <a:pt x="137" y="50"/>
                        </a:cubicBezTo>
                        <a:cubicBezTo>
                          <a:pt x="137" y="50"/>
                          <a:pt x="138" y="51"/>
                          <a:pt x="138" y="51"/>
                        </a:cubicBezTo>
                        <a:cubicBezTo>
                          <a:pt x="138" y="51"/>
                          <a:pt x="138" y="51"/>
                          <a:pt x="138" y="51"/>
                        </a:cubicBezTo>
                        <a:close/>
                        <a:moveTo>
                          <a:pt x="129" y="36"/>
                        </a:moveTo>
                        <a:cubicBezTo>
                          <a:pt x="129" y="36"/>
                          <a:pt x="129" y="37"/>
                          <a:pt x="128" y="37"/>
                        </a:cubicBezTo>
                        <a:cubicBezTo>
                          <a:pt x="129" y="36"/>
                          <a:pt x="128" y="36"/>
                          <a:pt x="128" y="36"/>
                        </a:cubicBezTo>
                        <a:cubicBezTo>
                          <a:pt x="128" y="36"/>
                          <a:pt x="128" y="36"/>
                          <a:pt x="128" y="36"/>
                        </a:cubicBezTo>
                        <a:cubicBezTo>
                          <a:pt x="128" y="36"/>
                          <a:pt x="129" y="36"/>
                          <a:pt x="129" y="36"/>
                        </a:cubicBezTo>
                        <a:close/>
                        <a:moveTo>
                          <a:pt x="124" y="43"/>
                        </a:moveTo>
                        <a:cubicBezTo>
                          <a:pt x="124" y="43"/>
                          <a:pt x="124" y="43"/>
                          <a:pt x="125" y="43"/>
                        </a:cubicBezTo>
                        <a:cubicBezTo>
                          <a:pt x="124" y="43"/>
                          <a:pt x="125" y="43"/>
                          <a:pt x="124" y="43"/>
                        </a:cubicBezTo>
                        <a:cubicBezTo>
                          <a:pt x="124" y="43"/>
                          <a:pt x="124" y="43"/>
                          <a:pt x="124" y="43"/>
                        </a:cubicBezTo>
                        <a:cubicBezTo>
                          <a:pt x="124" y="43"/>
                          <a:pt x="124" y="43"/>
                          <a:pt x="124" y="43"/>
                        </a:cubicBezTo>
                        <a:cubicBezTo>
                          <a:pt x="124" y="43"/>
                          <a:pt x="124" y="43"/>
                          <a:pt x="124" y="43"/>
                        </a:cubicBezTo>
                        <a:cubicBezTo>
                          <a:pt x="124" y="43"/>
                          <a:pt x="124" y="43"/>
                          <a:pt x="124" y="43"/>
                        </a:cubicBezTo>
                        <a:cubicBezTo>
                          <a:pt x="124" y="43"/>
                          <a:pt x="124" y="43"/>
                          <a:pt x="124" y="43"/>
                        </a:cubicBezTo>
                        <a:cubicBezTo>
                          <a:pt x="124" y="43"/>
                          <a:pt x="124" y="43"/>
                          <a:pt x="124" y="43"/>
                        </a:cubicBezTo>
                        <a:close/>
                        <a:moveTo>
                          <a:pt x="161" y="54"/>
                        </a:moveTo>
                        <a:cubicBezTo>
                          <a:pt x="161" y="54"/>
                          <a:pt x="162" y="54"/>
                          <a:pt x="162" y="54"/>
                        </a:cubicBezTo>
                        <a:cubicBezTo>
                          <a:pt x="162" y="54"/>
                          <a:pt x="162" y="54"/>
                          <a:pt x="162" y="54"/>
                        </a:cubicBezTo>
                        <a:cubicBezTo>
                          <a:pt x="162" y="54"/>
                          <a:pt x="162" y="54"/>
                          <a:pt x="162" y="54"/>
                        </a:cubicBezTo>
                        <a:cubicBezTo>
                          <a:pt x="162" y="54"/>
                          <a:pt x="161" y="54"/>
                          <a:pt x="161" y="54"/>
                        </a:cubicBezTo>
                        <a:cubicBezTo>
                          <a:pt x="161" y="55"/>
                          <a:pt x="161" y="54"/>
                          <a:pt x="161" y="54"/>
                        </a:cubicBezTo>
                        <a:close/>
                        <a:moveTo>
                          <a:pt x="132" y="34"/>
                        </a:moveTo>
                        <a:cubicBezTo>
                          <a:pt x="131" y="34"/>
                          <a:pt x="131" y="34"/>
                          <a:pt x="131" y="34"/>
                        </a:cubicBezTo>
                        <a:cubicBezTo>
                          <a:pt x="131" y="34"/>
                          <a:pt x="132" y="34"/>
                          <a:pt x="132" y="34"/>
                        </a:cubicBezTo>
                        <a:cubicBezTo>
                          <a:pt x="132" y="34"/>
                          <a:pt x="132" y="34"/>
                          <a:pt x="132" y="34"/>
                        </a:cubicBezTo>
                        <a:cubicBezTo>
                          <a:pt x="132" y="34"/>
                          <a:pt x="132" y="34"/>
                          <a:pt x="132" y="34"/>
                        </a:cubicBezTo>
                        <a:close/>
                        <a:moveTo>
                          <a:pt x="128" y="36"/>
                        </a:moveTo>
                        <a:cubicBezTo>
                          <a:pt x="128" y="36"/>
                          <a:pt x="128" y="36"/>
                          <a:pt x="128" y="36"/>
                        </a:cubicBezTo>
                        <a:cubicBezTo>
                          <a:pt x="128" y="36"/>
                          <a:pt x="128" y="36"/>
                          <a:pt x="128" y="36"/>
                        </a:cubicBezTo>
                        <a:cubicBezTo>
                          <a:pt x="128" y="36"/>
                          <a:pt x="128" y="36"/>
                          <a:pt x="128" y="36"/>
                        </a:cubicBezTo>
                        <a:cubicBezTo>
                          <a:pt x="128" y="36"/>
                          <a:pt x="128" y="36"/>
                          <a:pt x="128" y="36"/>
                        </a:cubicBezTo>
                        <a:cubicBezTo>
                          <a:pt x="128" y="36"/>
                          <a:pt x="128" y="36"/>
                          <a:pt x="128" y="36"/>
                        </a:cubicBezTo>
                        <a:close/>
                        <a:moveTo>
                          <a:pt x="127" y="37"/>
                        </a:moveTo>
                        <a:cubicBezTo>
                          <a:pt x="127" y="37"/>
                          <a:pt x="127" y="37"/>
                          <a:pt x="127" y="37"/>
                        </a:cubicBezTo>
                        <a:cubicBezTo>
                          <a:pt x="127" y="37"/>
                          <a:pt x="127" y="37"/>
                          <a:pt x="127" y="37"/>
                        </a:cubicBezTo>
                        <a:cubicBezTo>
                          <a:pt x="127" y="37"/>
                          <a:pt x="127" y="37"/>
                          <a:pt x="127" y="37"/>
                        </a:cubicBezTo>
                        <a:cubicBezTo>
                          <a:pt x="127" y="37"/>
                          <a:pt x="127" y="37"/>
                          <a:pt x="127" y="37"/>
                        </a:cubicBezTo>
                        <a:close/>
                        <a:moveTo>
                          <a:pt x="126" y="36"/>
                        </a:move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5" y="36"/>
                          <a:pt x="125" y="36"/>
                          <a:pt x="124" y="36"/>
                        </a:cubicBezTo>
                        <a:cubicBezTo>
                          <a:pt x="124" y="35"/>
                          <a:pt x="125" y="36"/>
                          <a:pt x="125" y="36"/>
                        </a:cubicBezTo>
                        <a:cubicBezTo>
                          <a:pt x="125" y="36"/>
                          <a:pt x="125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lose/>
                        <a:moveTo>
                          <a:pt x="126" y="37"/>
                        </a:moveTo>
                        <a:cubicBezTo>
                          <a:pt x="126" y="37"/>
                          <a:pt x="126" y="37"/>
                          <a:pt x="126" y="37"/>
                        </a:cubicBezTo>
                        <a:cubicBezTo>
                          <a:pt x="126" y="37"/>
                          <a:pt x="126" y="37"/>
                          <a:pt x="126" y="37"/>
                        </a:cubicBezTo>
                        <a:cubicBezTo>
                          <a:pt x="126" y="37"/>
                          <a:pt x="126" y="37"/>
                          <a:pt x="126" y="37"/>
                        </a:cubicBezTo>
                        <a:close/>
                        <a:moveTo>
                          <a:pt x="126" y="37"/>
                        </a:moveTo>
                        <a:cubicBezTo>
                          <a:pt x="125" y="37"/>
                          <a:pt x="125" y="37"/>
                          <a:pt x="125" y="37"/>
                        </a:cubicBezTo>
                        <a:cubicBezTo>
                          <a:pt x="125" y="37"/>
                          <a:pt x="125" y="37"/>
                          <a:pt x="125" y="37"/>
                        </a:cubicBezTo>
                        <a:cubicBezTo>
                          <a:pt x="125" y="37"/>
                          <a:pt x="125" y="37"/>
                          <a:pt x="125" y="37"/>
                        </a:cubicBezTo>
                        <a:cubicBezTo>
                          <a:pt x="125" y="36"/>
                          <a:pt x="125" y="37"/>
                          <a:pt x="125" y="36"/>
                        </a:cubicBezTo>
                        <a:cubicBezTo>
                          <a:pt x="125" y="36"/>
                          <a:pt x="125" y="37"/>
                          <a:pt x="126" y="37"/>
                        </a:cubicBezTo>
                        <a:close/>
                        <a:moveTo>
                          <a:pt x="126" y="35"/>
                        </a:moveTo>
                        <a:cubicBezTo>
                          <a:pt x="126" y="35"/>
                          <a:pt x="126" y="35"/>
                          <a:pt x="126" y="35"/>
                        </a:cubicBezTo>
                        <a:cubicBezTo>
                          <a:pt x="126" y="35"/>
                          <a:pt x="126" y="35"/>
                          <a:pt x="126" y="35"/>
                        </a:cubicBezTo>
                        <a:cubicBezTo>
                          <a:pt x="126" y="35"/>
                          <a:pt x="126" y="35"/>
                          <a:pt x="126" y="35"/>
                        </a:cubicBezTo>
                        <a:close/>
                        <a:moveTo>
                          <a:pt x="124" y="35"/>
                        </a:moveTo>
                        <a:cubicBezTo>
                          <a:pt x="124" y="35"/>
                          <a:pt x="124" y="35"/>
                          <a:pt x="124" y="35"/>
                        </a:cubicBezTo>
                        <a:cubicBezTo>
                          <a:pt x="124" y="35"/>
                          <a:pt x="124" y="35"/>
                          <a:pt x="124" y="35"/>
                        </a:cubicBezTo>
                        <a:cubicBezTo>
                          <a:pt x="124" y="35"/>
                          <a:pt x="125" y="35"/>
                          <a:pt x="125" y="35"/>
                        </a:cubicBezTo>
                        <a:cubicBezTo>
                          <a:pt x="125" y="35"/>
                          <a:pt x="124" y="35"/>
                          <a:pt x="124" y="35"/>
                        </a:cubicBezTo>
                        <a:close/>
                        <a:moveTo>
                          <a:pt x="124" y="36"/>
                        </a:moveTo>
                        <a:cubicBezTo>
                          <a:pt x="124" y="36"/>
                          <a:pt x="124" y="36"/>
                          <a:pt x="124" y="36"/>
                        </a:cubicBezTo>
                        <a:cubicBezTo>
                          <a:pt x="124" y="36"/>
                          <a:pt x="124" y="36"/>
                          <a:pt x="124" y="36"/>
                        </a:cubicBezTo>
                        <a:cubicBezTo>
                          <a:pt x="124" y="36"/>
                          <a:pt x="124" y="36"/>
                          <a:pt x="124" y="36"/>
                        </a:cubicBezTo>
                        <a:cubicBezTo>
                          <a:pt x="124" y="36"/>
                          <a:pt x="124" y="36"/>
                          <a:pt x="124" y="36"/>
                        </a:cubicBezTo>
                        <a:cubicBezTo>
                          <a:pt x="124" y="36"/>
                          <a:pt x="124" y="36"/>
                          <a:pt x="124" y="36"/>
                        </a:cubicBezTo>
                        <a:close/>
                        <a:moveTo>
                          <a:pt x="122" y="38"/>
                        </a:moveTo>
                        <a:cubicBezTo>
                          <a:pt x="122" y="38"/>
                          <a:pt x="123" y="38"/>
                          <a:pt x="123" y="38"/>
                        </a:cubicBezTo>
                        <a:cubicBezTo>
                          <a:pt x="123" y="38"/>
                          <a:pt x="123" y="38"/>
                          <a:pt x="124" y="38"/>
                        </a:cubicBezTo>
                        <a:cubicBezTo>
                          <a:pt x="124" y="38"/>
                          <a:pt x="123" y="38"/>
                          <a:pt x="123" y="38"/>
                        </a:cubicBezTo>
                        <a:cubicBezTo>
                          <a:pt x="123" y="38"/>
                          <a:pt x="123" y="38"/>
                          <a:pt x="123" y="38"/>
                        </a:cubicBezTo>
                        <a:cubicBezTo>
                          <a:pt x="123" y="38"/>
                          <a:pt x="122" y="38"/>
                          <a:pt x="122" y="38"/>
                        </a:cubicBezTo>
                        <a:cubicBezTo>
                          <a:pt x="122" y="38"/>
                          <a:pt x="122" y="38"/>
                          <a:pt x="122" y="38"/>
                        </a:cubicBezTo>
                        <a:close/>
                        <a:moveTo>
                          <a:pt x="124" y="39"/>
                        </a:moveTo>
                        <a:cubicBezTo>
                          <a:pt x="123" y="39"/>
                          <a:pt x="123" y="39"/>
                          <a:pt x="123" y="39"/>
                        </a:cubicBezTo>
                        <a:cubicBezTo>
                          <a:pt x="123" y="38"/>
                          <a:pt x="124" y="38"/>
                          <a:pt x="123" y="38"/>
                        </a:cubicBezTo>
                        <a:cubicBezTo>
                          <a:pt x="123" y="38"/>
                          <a:pt x="123" y="38"/>
                          <a:pt x="124" y="38"/>
                        </a:cubicBezTo>
                        <a:cubicBezTo>
                          <a:pt x="124" y="38"/>
                          <a:pt x="124" y="38"/>
                          <a:pt x="124" y="38"/>
                        </a:cubicBezTo>
                        <a:cubicBezTo>
                          <a:pt x="124" y="39"/>
                          <a:pt x="123" y="39"/>
                          <a:pt x="124" y="39"/>
                        </a:cubicBezTo>
                        <a:close/>
                        <a:moveTo>
                          <a:pt x="124" y="37"/>
                        </a:moveTo>
                        <a:cubicBezTo>
                          <a:pt x="123" y="37"/>
                          <a:pt x="123" y="37"/>
                          <a:pt x="123" y="36"/>
                        </a:cubicBezTo>
                        <a:cubicBezTo>
                          <a:pt x="123" y="36"/>
                          <a:pt x="123" y="36"/>
                          <a:pt x="123" y="36"/>
                        </a:cubicBezTo>
                        <a:cubicBezTo>
                          <a:pt x="123" y="37"/>
                          <a:pt x="124" y="36"/>
                          <a:pt x="124" y="37"/>
                        </a:cubicBezTo>
                        <a:close/>
                        <a:moveTo>
                          <a:pt x="123" y="38"/>
                        </a:moveTo>
                        <a:cubicBezTo>
                          <a:pt x="123" y="38"/>
                          <a:pt x="123" y="38"/>
                          <a:pt x="123" y="38"/>
                        </a:cubicBezTo>
                        <a:cubicBezTo>
                          <a:pt x="123" y="39"/>
                          <a:pt x="123" y="38"/>
                          <a:pt x="123" y="38"/>
                        </a:cubicBezTo>
                        <a:close/>
                        <a:moveTo>
                          <a:pt x="122" y="42"/>
                        </a:moveTo>
                        <a:cubicBezTo>
                          <a:pt x="122" y="42"/>
                          <a:pt x="121" y="42"/>
                          <a:pt x="121" y="42"/>
                        </a:cubicBezTo>
                        <a:cubicBezTo>
                          <a:pt x="121" y="41"/>
                          <a:pt x="121" y="42"/>
                          <a:pt x="121" y="41"/>
                        </a:cubicBezTo>
                        <a:cubicBezTo>
                          <a:pt x="121" y="41"/>
                          <a:pt x="120" y="41"/>
                          <a:pt x="119" y="41"/>
                        </a:cubicBezTo>
                        <a:cubicBezTo>
                          <a:pt x="119" y="41"/>
                          <a:pt x="119" y="41"/>
                          <a:pt x="119" y="41"/>
                        </a:cubicBezTo>
                        <a:cubicBezTo>
                          <a:pt x="119" y="41"/>
                          <a:pt x="119" y="41"/>
                          <a:pt x="119" y="41"/>
                        </a:cubicBezTo>
                        <a:cubicBezTo>
                          <a:pt x="119" y="41"/>
                          <a:pt x="119" y="40"/>
                          <a:pt x="119" y="40"/>
                        </a:cubicBezTo>
                        <a:cubicBezTo>
                          <a:pt x="119" y="40"/>
                          <a:pt x="119" y="40"/>
                          <a:pt x="119" y="40"/>
                        </a:cubicBezTo>
                        <a:cubicBezTo>
                          <a:pt x="119" y="41"/>
                          <a:pt x="119" y="40"/>
                          <a:pt x="119" y="40"/>
                        </a:cubicBezTo>
                        <a:cubicBezTo>
                          <a:pt x="119" y="40"/>
                          <a:pt x="119" y="40"/>
                          <a:pt x="119" y="40"/>
                        </a:cubicBezTo>
                        <a:cubicBezTo>
                          <a:pt x="119" y="40"/>
                          <a:pt x="119" y="40"/>
                          <a:pt x="119" y="40"/>
                        </a:cubicBezTo>
                        <a:cubicBezTo>
                          <a:pt x="119" y="40"/>
                          <a:pt x="119" y="40"/>
                          <a:pt x="119" y="41"/>
                        </a:cubicBezTo>
                        <a:cubicBezTo>
                          <a:pt x="119" y="41"/>
                          <a:pt x="120" y="41"/>
                          <a:pt x="120" y="41"/>
                        </a:cubicBezTo>
                        <a:cubicBezTo>
                          <a:pt x="120" y="41"/>
                          <a:pt x="120" y="41"/>
                          <a:pt x="120" y="41"/>
                        </a:cubicBezTo>
                        <a:cubicBezTo>
                          <a:pt x="120" y="41"/>
                          <a:pt x="120" y="41"/>
                          <a:pt x="121" y="41"/>
                        </a:cubicBezTo>
                        <a:cubicBezTo>
                          <a:pt x="121" y="41"/>
                          <a:pt x="121" y="41"/>
                          <a:pt x="121" y="41"/>
                        </a:cubicBezTo>
                        <a:cubicBezTo>
                          <a:pt x="121" y="41"/>
                          <a:pt x="121" y="41"/>
                          <a:pt x="121" y="41"/>
                        </a:cubicBezTo>
                        <a:cubicBezTo>
                          <a:pt x="121" y="41"/>
                          <a:pt x="121" y="41"/>
                          <a:pt x="121" y="41"/>
                        </a:cubicBezTo>
                        <a:cubicBezTo>
                          <a:pt x="121" y="41"/>
                          <a:pt x="121" y="41"/>
                          <a:pt x="121" y="41"/>
                        </a:cubicBezTo>
                        <a:cubicBezTo>
                          <a:pt x="121" y="41"/>
                          <a:pt x="121" y="41"/>
                          <a:pt x="121" y="41"/>
                        </a:cubicBezTo>
                        <a:cubicBezTo>
                          <a:pt x="121" y="41"/>
                          <a:pt x="121" y="41"/>
                          <a:pt x="121" y="41"/>
                        </a:cubicBezTo>
                        <a:cubicBezTo>
                          <a:pt x="121" y="41"/>
                          <a:pt x="121" y="41"/>
                          <a:pt x="122" y="41"/>
                        </a:cubicBezTo>
                        <a:cubicBezTo>
                          <a:pt x="122" y="42"/>
                          <a:pt x="122" y="42"/>
                          <a:pt x="122" y="42"/>
                        </a:cubicBezTo>
                        <a:cubicBezTo>
                          <a:pt x="122" y="42"/>
                          <a:pt x="122" y="42"/>
                          <a:pt x="122" y="42"/>
                        </a:cubicBezTo>
                        <a:close/>
                        <a:moveTo>
                          <a:pt x="122" y="38"/>
                        </a:moveTo>
                        <a:cubicBezTo>
                          <a:pt x="122" y="38"/>
                          <a:pt x="122" y="38"/>
                          <a:pt x="122" y="38"/>
                        </a:cubicBezTo>
                        <a:cubicBezTo>
                          <a:pt x="122" y="38"/>
                          <a:pt x="122" y="38"/>
                          <a:pt x="122" y="38"/>
                        </a:cubicBezTo>
                        <a:cubicBezTo>
                          <a:pt x="122" y="38"/>
                          <a:pt x="122" y="38"/>
                          <a:pt x="122" y="38"/>
                        </a:cubicBezTo>
                        <a:close/>
                        <a:moveTo>
                          <a:pt x="122" y="35"/>
                        </a:moveTo>
                        <a:cubicBezTo>
                          <a:pt x="121" y="35"/>
                          <a:pt x="120" y="35"/>
                          <a:pt x="119" y="34"/>
                        </a:cubicBezTo>
                        <a:cubicBezTo>
                          <a:pt x="119" y="34"/>
                          <a:pt x="120" y="35"/>
                          <a:pt x="121" y="35"/>
                        </a:cubicBezTo>
                        <a:cubicBezTo>
                          <a:pt x="121" y="35"/>
                          <a:pt x="121" y="35"/>
                          <a:pt x="121" y="35"/>
                        </a:cubicBezTo>
                        <a:cubicBezTo>
                          <a:pt x="121" y="35"/>
                          <a:pt x="122" y="35"/>
                          <a:pt x="123" y="36"/>
                        </a:cubicBezTo>
                        <a:cubicBezTo>
                          <a:pt x="123" y="36"/>
                          <a:pt x="123" y="36"/>
                          <a:pt x="123" y="36"/>
                        </a:cubicBezTo>
                        <a:cubicBezTo>
                          <a:pt x="123" y="36"/>
                          <a:pt x="123" y="36"/>
                          <a:pt x="123" y="36"/>
                        </a:cubicBezTo>
                        <a:cubicBezTo>
                          <a:pt x="123" y="36"/>
                          <a:pt x="123" y="36"/>
                          <a:pt x="123" y="36"/>
                        </a:cubicBezTo>
                        <a:cubicBezTo>
                          <a:pt x="122" y="35"/>
                          <a:pt x="122" y="36"/>
                          <a:pt x="122" y="35"/>
                        </a:cubicBezTo>
                        <a:cubicBezTo>
                          <a:pt x="122" y="35"/>
                          <a:pt x="122" y="35"/>
                          <a:pt x="122" y="35"/>
                        </a:cubicBezTo>
                        <a:close/>
                        <a:moveTo>
                          <a:pt x="123" y="35"/>
                        </a:moveTo>
                        <a:cubicBezTo>
                          <a:pt x="123" y="35"/>
                          <a:pt x="123" y="35"/>
                          <a:pt x="123" y="35"/>
                        </a:cubicBezTo>
                        <a:cubicBezTo>
                          <a:pt x="123" y="35"/>
                          <a:pt x="123" y="35"/>
                          <a:pt x="123" y="35"/>
                        </a:cubicBezTo>
                        <a:cubicBezTo>
                          <a:pt x="123" y="35"/>
                          <a:pt x="123" y="35"/>
                          <a:pt x="123" y="35"/>
                        </a:cubicBezTo>
                        <a:cubicBezTo>
                          <a:pt x="123" y="35"/>
                          <a:pt x="123" y="35"/>
                          <a:pt x="123" y="35"/>
                        </a:cubicBezTo>
                        <a:close/>
                        <a:moveTo>
                          <a:pt x="119" y="39"/>
                        </a:moveTo>
                        <a:cubicBezTo>
                          <a:pt x="119" y="40"/>
                          <a:pt x="120" y="40"/>
                          <a:pt x="120" y="40"/>
                        </a:cubicBezTo>
                        <a:cubicBezTo>
                          <a:pt x="119" y="40"/>
                          <a:pt x="120" y="40"/>
                          <a:pt x="120" y="40"/>
                        </a:cubicBezTo>
                        <a:cubicBezTo>
                          <a:pt x="120" y="40"/>
                          <a:pt x="120" y="40"/>
                          <a:pt x="121" y="41"/>
                        </a:cubicBezTo>
                        <a:cubicBezTo>
                          <a:pt x="121" y="41"/>
                          <a:pt x="121" y="41"/>
                          <a:pt x="121" y="41"/>
                        </a:cubicBezTo>
                        <a:cubicBezTo>
                          <a:pt x="121" y="40"/>
                          <a:pt x="120" y="41"/>
                          <a:pt x="120" y="40"/>
                        </a:cubicBezTo>
                        <a:cubicBezTo>
                          <a:pt x="120" y="40"/>
                          <a:pt x="120" y="41"/>
                          <a:pt x="120" y="41"/>
                        </a:cubicBezTo>
                        <a:cubicBezTo>
                          <a:pt x="120" y="40"/>
                          <a:pt x="120" y="40"/>
                          <a:pt x="120" y="40"/>
                        </a:cubicBezTo>
                        <a:cubicBezTo>
                          <a:pt x="119" y="40"/>
                          <a:pt x="119" y="40"/>
                          <a:pt x="119" y="40"/>
                        </a:cubicBezTo>
                        <a:cubicBezTo>
                          <a:pt x="119" y="40"/>
                          <a:pt x="119" y="40"/>
                          <a:pt x="119" y="40"/>
                        </a:cubicBezTo>
                        <a:cubicBezTo>
                          <a:pt x="119" y="39"/>
                          <a:pt x="119" y="40"/>
                          <a:pt x="119" y="39"/>
                        </a:cubicBezTo>
                        <a:close/>
                        <a:moveTo>
                          <a:pt x="122" y="32"/>
                        </a:moveTo>
                        <a:cubicBezTo>
                          <a:pt x="122" y="32"/>
                          <a:pt x="123" y="33"/>
                          <a:pt x="123" y="33"/>
                        </a:cubicBezTo>
                        <a:cubicBezTo>
                          <a:pt x="123" y="33"/>
                          <a:pt x="122" y="32"/>
                          <a:pt x="122" y="32"/>
                        </a:cubicBezTo>
                        <a:close/>
                        <a:moveTo>
                          <a:pt x="122" y="34"/>
                        </a:moveTo>
                        <a:cubicBezTo>
                          <a:pt x="122" y="34"/>
                          <a:pt x="122" y="34"/>
                          <a:pt x="122" y="34"/>
                        </a:cubicBezTo>
                        <a:cubicBezTo>
                          <a:pt x="122" y="34"/>
                          <a:pt x="122" y="34"/>
                          <a:pt x="122" y="34"/>
                        </a:cubicBezTo>
                        <a:cubicBezTo>
                          <a:pt x="122" y="34"/>
                          <a:pt x="122" y="34"/>
                          <a:pt x="122" y="34"/>
                        </a:cubicBezTo>
                        <a:close/>
                        <a:moveTo>
                          <a:pt x="120" y="36"/>
                        </a:moveTo>
                        <a:cubicBezTo>
                          <a:pt x="120" y="36"/>
                          <a:pt x="119" y="36"/>
                          <a:pt x="119" y="36"/>
                        </a:cubicBezTo>
                        <a:cubicBezTo>
                          <a:pt x="119" y="36"/>
                          <a:pt x="119" y="36"/>
                          <a:pt x="119" y="35"/>
                        </a:cubicBezTo>
                        <a:cubicBezTo>
                          <a:pt x="119" y="35"/>
                          <a:pt x="119" y="35"/>
                          <a:pt x="119" y="35"/>
                        </a:cubicBezTo>
                        <a:cubicBezTo>
                          <a:pt x="119" y="35"/>
                          <a:pt x="119" y="35"/>
                          <a:pt x="118" y="35"/>
                        </a:cubicBezTo>
                        <a:cubicBezTo>
                          <a:pt x="118" y="35"/>
                          <a:pt x="118" y="35"/>
                          <a:pt x="118" y="35"/>
                        </a:cubicBezTo>
                        <a:cubicBezTo>
                          <a:pt x="118" y="35"/>
                          <a:pt x="118" y="35"/>
                          <a:pt x="118" y="35"/>
                        </a:cubicBezTo>
                        <a:cubicBezTo>
                          <a:pt x="119" y="35"/>
                          <a:pt x="118" y="35"/>
                          <a:pt x="119" y="36"/>
                        </a:cubicBezTo>
                        <a:cubicBezTo>
                          <a:pt x="118" y="35"/>
                          <a:pt x="118" y="35"/>
                          <a:pt x="117" y="35"/>
                        </a:cubicBezTo>
                        <a:cubicBezTo>
                          <a:pt x="117" y="35"/>
                          <a:pt x="118" y="35"/>
                          <a:pt x="118" y="35"/>
                        </a:cubicBezTo>
                        <a:cubicBezTo>
                          <a:pt x="119" y="35"/>
                          <a:pt x="119" y="35"/>
                          <a:pt x="120" y="36"/>
                        </a:cubicBezTo>
                        <a:cubicBezTo>
                          <a:pt x="120" y="36"/>
                          <a:pt x="120" y="36"/>
                          <a:pt x="120" y="36"/>
                        </a:cubicBezTo>
                        <a:close/>
                        <a:moveTo>
                          <a:pt x="116" y="36"/>
                        </a:moveTo>
                        <a:cubicBezTo>
                          <a:pt x="116" y="36"/>
                          <a:pt x="115" y="35"/>
                          <a:pt x="115" y="35"/>
                        </a:cubicBezTo>
                        <a:cubicBezTo>
                          <a:pt x="115" y="35"/>
                          <a:pt x="115" y="35"/>
                          <a:pt x="115" y="35"/>
                        </a:cubicBezTo>
                        <a:cubicBezTo>
                          <a:pt x="115" y="35"/>
                          <a:pt x="115" y="35"/>
                          <a:pt x="115" y="35"/>
                        </a:cubicBezTo>
                        <a:cubicBezTo>
                          <a:pt x="115" y="35"/>
                          <a:pt x="115" y="35"/>
                          <a:pt x="115" y="35"/>
                        </a:cubicBezTo>
                        <a:cubicBezTo>
                          <a:pt x="115" y="35"/>
                          <a:pt x="116" y="35"/>
                          <a:pt x="116" y="36"/>
                        </a:cubicBezTo>
                        <a:close/>
                        <a:moveTo>
                          <a:pt x="115" y="34"/>
                        </a:moveTo>
                        <a:cubicBezTo>
                          <a:pt x="115" y="34"/>
                          <a:pt x="115" y="34"/>
                          <a:pt x="115" y="34"/>
                        </a:cubicBezTo>
                        <a:cubicBezTo>
                          <a:pt x="115" y="34"/>
                          <a:pt x="115" y="34"/>
                          <a:pt x="115" y="34"/>
                        </a:cubicBezTo>
                        <a:cubicBezTo>
                          <a:pt x="115" y="34"/>
                          <a:pt x="116" y="34"/>
                          <a:pt x="116" y="34"/>
                        </a:cubicBezTo>
                        <a:cubicBezTo>
                          <a:pt x="116" y="34"/>
                          <a:pt x="116" y="34"/>
                          <a:pt x="116" y="34"/>
                        </a:cubicBezTo>
                        <a:cubicBezTo>
                          <a:pt x="115" y="34"/>
                          <a:pt x="115" y="34"/>
                          <a:pt x="115" y="34"/>
                        </a:cubicBezTo>
                        <a:close/>
                        <a:moveTo>
                          <a:pt x="115" y="32"/>
                        </a:moveTo>
                        <a:cubicBezTo>
                          <a:pt x="114" y="32"/>
                          <a:pt x="113" y="32"/>
                          <a:pt x="112" y="32"/>
                        </a:cubicBezTo>
                        <a:cubicBezTo>
                          <a:pt x="113" y="32"/>
                          <a:pt x="113" y="32"/>
                          <a:pt x="112" y="32"/>
                        </a:cubicBezTo>
                        <a:cubicBezTo>
                          <a:pt x="113" y="32"/>
                          <a:pt x="113" y="32"/>
                          <a:pt x="113" y="32"/>
                        </a:cubicBezTo>
                        <a:cubicBezTo>
                          <a:pt x="114" y="32"/>
                          <a:pt x="115" y="32"/>
                          <a:pt x="116" y="33"/>
                        </a:cubicBezTo>
                        <a:cubicBezTo>
                          <a:pt x="115" y="33"/>
                          <a:pt x="115" y="32"/>
                          <a:pt x="115" y="32"/>
                        </a:cubicBezTo>
                        <a:close/>
                        <a:moveTo>
                          <a:pt x="114" y="33"/>
                        </a:moveTo>
                        <a:cubicBezTo>
                          <a:pt x="114" y="33"/>
                          <a:pt x="113" y="33"/>
                          <a:pt x="113" y="33"/>
                        </a:cubicBezTo>
                        <a:cubicBezTo>
                          <a:pt x="113" y="33"/>
                          <a:pt x="113" y="33"/>
                          <a:pt x="113" y="33"/>
                        </a:cubicBezTo>
                        <a:cubicBezTo>
                          <a:pt x="113" y="33"/>
                          <a:pt x="113" y="33"/>
                          <a:pt x="113" y="33"/>
                        </a:cubicBezTo>
                        <a:cubicBezTo>
                          <a:pt x="113" y="33"/>
                          <a:pt x="113" y="33"/>
                          <a:pt x="113" y="33"/>
                        </a:cubicBezTo>
                        <a:cubicBezTo>
                          <a:pt x="113" y="33"/>
                          <a:pt x="113" y="33"/>
                          <a:pt x="113" y="33"/>
                        </a:cubicBezTo>
                        <a:cubicBezTo>
                          <a:pt x="113" y="33"/>
                          <a:pt x="113" y="33"/>
                          <a:pt x="113" y="33"/>
                        </a:cubicBezTo>
                        <a:cubicBezTo>
                          <a:pt x="113" y="33"/>
                          <a:pt x="113" y="33"/>
                          <a:pt x="114" y="33"/>
                        </a:cubicBezTo>
                        <a:cubicBezTo>
                          <a:pt x="113" y="33"/>
                          <a:pt x="114" y="33"/>
                          <a:pt x="114" y="33"/>
                        </a:cubicBezTo>
                        <a:close/>
                        <a:moveTo>
                          <a:pt x="114" y="33"/>
                        </a:moveTo>
                        <a:cubicBezTo>
                          <a:pt x="114" y="33"/>
                          <a:pt x="114" y="33"/>
                          <a:pt x="113" y="33"/>
                        </a:cubicBezTo>
                        <a:cubicBezTo>
                          <a:pt x="113" y="33"/>
                          <a:pt x="114" y="33"/>
                          <a:pt x="114" y="33"/>
                        </a:cubicBezTo>
                        <a:close/>
                        <a:moveTo>
                          <a:pt x="113" y="34"/>
                        </a:moveTo>
                        <a:cubicBezTo>
                          <a:pt x="113" y="34"/>
                          <a:pt x="113" y="34"/>
                          <a:pt x="113" y="34"/>
                        </a:cubicBezTo>
                        <a:cubicBezTo>
                          <a:pt x="113" y="34"/>
                          <a:pt x="113" y="34"/>
                          <a:pt x="113" y="35"/>
                        </a:cubicBezTo>
                        <a:cubicBezTo>
                          <a:pt x="113" y="34"/>
                          <a:pt x="113" y="34"/>
                          <a:pt x="112" y="34"/>
                        </a:cubicBezTo>
                        <a:cubicBezTo>
                          <a:pt x="112" y="34"/>
                          <a:pt x="112" y="34"/>
                          <a:pt x="113" y="34"/>
                        </a:cubicBezTo>
                        <a:cubicBezTo>
                          <a:pt x="113" y="34"/>
                          <a:pt x="113" y="34"/>
                          <a:pt x="113" y="34"/>
                        </a:cubicBezTo>
                        <a:cubicBezTo>
                          <a:pt x="113" y="34"/>
                          <a:pt x="113" y="34"/>
                          <a:pt x="113" y="34"/>
                        </a:cubicBezTo>
                        <a:cubicBezTo>
                          <a:pt x="113" y="34"/>
                          <a:pt x="113" y="34"/>
                          <a:pt x="113" y="34"/>
                        </a:cubicBezTo>
                        <a:cubicBezTo>
                          <a:pt x="113" y="34"/>
                          <a:pt x="113" y="34"/>
                          <a:pt x="113" y="34"/>
                        </a:cubicBezTo>
                        <a:close/>
                        <a:moveTo>
                          <a:pt x="109" y="40"/>
                        </a:moveTo>
                        <a:cubicBezTo>
                          <a:pt x="109" y="40"/>
                          <a:pt x="110" y="40"/>
                          <a:pt x="110" y="40"/>
                        </a:cubicBezTo>
                        <a:cubicBezTo>
                          <a:pt x="110" y="40"/>
                          <a:pt x="109" y="40"/>
                          <a:pt x="109" y="40"/>
                        </a:cubicBezTo>
                        <a:cubicBezTo>
                          <a:pt x="109" y="40"/>
                          <a:pt x="109" y="40"/>
                          <a:pt x="109" y="40"/>
                        </a:cubicBezTo>
                        <a:cubicBezTo>
                          <a:pt x="109" y="40"/>
                          <a:pt x="109" y="40"/>
                          <a:pt x="109" y="40"/>
                        </a:cubicBezTo>
                        <a:cubicBezTo>
                          <a:pt x="109" y="40"/>
                          <a:pt x="109" y="40"/>
                          <a:pt x="109" y="40"/>
                        </a:cubicBezTo>
                        <a:close/>
                        <a:moveTo>
                          <a:pt x="109" y="38"/>
                        </a:moveTo>
                        <a:cubicBezTo>
                          <a:pt x="109" y="38"/>
                          <a:pt x="109" y="38"/>
                          <a:pt x="109" y="38"/>
                        </a:cubicBezTo>
                        <a:cubicBezTo>
                          <a:pt x="109" y="38"/>
                          <a:pt x="109" y="38"/>
                          <a:pt x="108" y="38"/>
                        </a:cubicBezTo>
                        <a:cubicBezTo>
                          <a:pt x="108" y="38"/>
                          <a:pt x="108" y="38"/>
                          <a:pt x="108" y="38"/>
                        </a:cubicBezTo>
                        <a:cubicBezTo>
                          <a:pt x="108" y="37"/>
                          <a:pt x="109" y="38"/>
                          <a:pt x="109" y="38"/>
                        </a:cubicBezTo>
                        <a:close/>
                        <a:moveTo>
                          <a:pt x="110" y="32"/>
                        </a:moveTo>
                        <a:cubicBezTo>
                          <a:pt x="110" y="32"/>
                          <a:pt x="110" y="32"/>
                          <a:pt x="110" y="32"/>
                        </a:cubicBezTo>
                        <a:cubicBezTo>
                          <a:pt x="110" y="32"/>
                          <a:pt x="110" y="32"/>
                          <a:pt x="111" y="33"/>
                        </a:cubicBezTo>
                        <a:cubicBezTo>
                          <a:pt x="110" y="32"/>
                          <a:pt x="110" y="33"/>
                          <a:pt x="110" y="32"/>
                        </a:cubicBezTo>
                        <a:cubicBezTo>
                          <a:pt x="110" y="32"/>
                          <a:pt x="110" y="32"/>
                          <a:pt x="110" y="32"/>
                        </a:cubicBezTo>
                        <a:cubicBezTo>
                          <a:pt x="110" y="32"/>
                          <a:pt x="110" y="32"/>
                          <a:pt x="110" y="32"/>
                        </a:cubicBezTo>
                        <a:close/>
                        <a:moveTo>
                          <a:pt x="104" y="37"/>
                        </a:moveTo>
                        <a:cubicBezTo>
                          <a:pt x="104" y="37"/>
                          <a:pt x="104" y="37"/>
                          <a:pt x="104" y="37"/>
                        </a:cubicBezTo>
                        <a:cubicBezTo>
                          <a:pt x="103" y="36"/>
                          <a:pt x="103" y="36"/>
                          <a:pt x="103" y="36"/>
                        </a:cubicBezTo>
                        <a:cubicBezTo>
                          <a:pt x="103" y="36"/>
                          <a:pt x="103" y="36"/>
                          <a:pt x="103" y="36"/>
                        </a:cubicBezTo>
                        <a:cubicBezTo>
                          <a:pt x="103" y="36"/>
                          <a:pt x="103" y="36"/>
                          <a:pt x="103" y="36"/>
                        </a:cubicBezTo>
                        <a:cubicBezTo>
                          <a:pt x="103" y="36"/>
                          <a:pt x="103" y="36"/>
                          <a:pt x="103" y="36"/>
                        </a:cubicBezTo>
                        <a:cubicBezTo>
                          <a:pt x="103" y="36"/>
                          <a:pt x="103" y="36"/>
                          <a:pt x="103" y="36"/>
                        </a:cubicBezTo>
                        <a:cubicBezTo>
                          <a:pt x="104" y="36"/>
                          <a:pt x="105" y="36"/>
                          <a:pt x="106" y="37"/>
                        </a:cubicBezTo>
                        <a:cubicBezTo>
                          <a:pt x="106" y="37"/>
                          <a:pt x="107" y="37"/>
                          <a:pt x="107" y="37"/>
                        </a:cubicBezTo>
                        <a:cubicBezTo>
                          <a:pt x="107" y="37"/>
                          <a:pt x="107" y="37"/>
                          <a:pt x="107" y="37"/>
                        </a:cubicBezTo>
                        <a:cubicBezTo>
                          <a:pt x="107" y="37"/>
                          <a:pt x="107" y="38"/>
                          <a:pt x="107" y="38"/>
                        </a:cubicBezTo>
                        <a:cubicBezTo>
                          <a:pt x="107" y="38"/>
                          <a:pt x="107" y="38"/>
                          <a:pt x="107" y="38"/>
                        </a:cubicBezTo>
                        <a:cubicBezTo>
                          <a:pt x="107" y="37"/>
                          <a:pt x="107" y="38"/>
                          <a:pt x="107" y="37"/>
                        </a:cubicBezTo>
                        <a:cubicBezTo>
                          <a:pt x="106" y="37"/>
                          <a:pt x="105" y="37"/>
                          <a:pt x="104" y="37"/>
                        </a:cubicBezTo>
                        <a:cubicBezTo>
                          <a:pt x="104" y="37"/>
                          <a:pt x="104" y="37"/>
                          <a:pt x="104" y="37"/>
                        </a:cubicBezTo>
                        <a:close/>
                        <a:moveTo>
                          <a:pt x="104" y="36"/>
                        </a:moveTo>
                        <a:cubicBezTo>
                          <a:pt x="104" y="36"/>
                          <a:pt x="104" y="36"/>
                          <a:pt x="104" y="36"/>
                        </a:cubicBezTo>
                        <a:cubicBezTo>
                          <a:pt x="104" y="36"/>
                          <a:pt x="104" y="36"/>
                          <a:pt x="104" y="36"/>
                        </a:cubicBezTo>
                        <a:cubicBezTo>
                          <a:pt x="104" y="36"/>
                          <a:pt x="104" y="36"/>
                          <a:pt x="104" y="36"/>
                        </a:cubicBezTo>
                        <a:close/>
                        <a:moveTo>
                          <a:pt x="106" y="37"/>
                        </a:moveTo>
                        <a:cubicBezTo>
                          <a:pt x="106" y="37"/>
                          <a:pt x="106" y="37"/>
                          <a:pt x="106" y="37"/>
                        </a:cubicBezTo>
                        <a:cubicBezTo>
                          <a:pt x="106" y="37"/>
                          <a:pt x="106" y="37"/>
                          <a:pt x="106" y="37"/>
                        </a:cubicBezTo>
                        <a:close/>
                        <a:moveTo>
                          <a:pt x="106" y="39"/>
                        </a:moveTo>
                        <a:cubicBezTo>
                          <a:pt x="106" y="39"/>
                          <a:pt x="106" y="38"/>
                          <a:pt x="105" y="38"/>
                        </a:cubicBezTo>
                        <a:cubicBezTo>
                          <a:pt x="105" y="38"/>
                          <a:pt x="106" y="38"/>
                          <a:pt x="105" y="38"/>
                        </a:cubicBezTo>
                        <a:cubicBezTo>
                          <a:pt x="106" y="38"/>
                          <a:pt x="106" y="38"/>
                          <a:pt x="106" y="38"/>
                        </a:cubicBezTo>
                        <a:cubicBezTo>
                          <a:pt x="106" y="39"/>
                          <a:pt x="106" y="38"/>
                          <a:pt x="106" y="39"/>
                        </a:cubicBezTo>
                        <a:cubicBezTo>
                          <a:pt x="106" y="39"/>
                          <a:pt x="106" y="39"/>
                          <a:pt x="106" y="39"/>
                        </a:cubicBezTo>
                        <a:cubicBezTo>
                          <a:pt x="106" y="39"/>
                          <a:pt x="106" y="38"/>
                          <a:pt x="106" y="39"/>
                        </a:cubicBezTo>
                        <a:close/>
                        <a:moveTo>
                          <a:pt x="106" y="39"/>
                        </a:moveTo>
                        <a:cubicBezTo>
                          <a:pt x="105" y="39"/>
                          <a:pt x="105" y="39"/>
                          <a:pt x="105" y="39"/>
                        </a:cubicBezTo>
                        <a:cubicBezTo>
                          <a:pt x="105" y="39"/>
                          <a:pt x="105" y="39"/>
                          <a:pt x="105" y="39"/>
                        </a:cubicBezTo>
                        <a:cubicBezTo>
                          <a:pt x="105" y="39"/>
                          <a:pt x="105" y="39"/>
                          <a:pt x="105" y="39"/>
                        </a:cubicBezTo>
                        <a:cubicBezTo>
                          <a:pt x="105" y="38"/>
                          <a:pt x="105" y="38"/>
                          <a:pt x="105" y="38"/>
                        </a:cubicBezTo>
                        <a:cubicBezTo>
                          <a:pt x="105" y="38"/>
                          <a:pt x="105" y="38"/>
                          <a:pt x="105" y="38"/>
                        </a:cubicBezTo>
                        <a:cubicBezTo>
                          <a:pt x="105" y="38"/>
                          <a:pt x="105" y="38"/>
                          <a:pt x="104" y="38"/>
                        </a:cubicBezTo>
                        <a:cubicBezTo>
                          <a:pt x="105" y="38"/>
                          <a:pt x="105" y="38"/>
                          <a:pt x="105" y="38"/>
                        </a:cubicBezTo>
                        <a:cubicBezTo>
                          <a:pt x="105" y="38"/>
                          <a:pt x="105" y="38"/>
                          <a:pt x="105" y="38"/>
                        </a:cubicBezTo>
                        <a:cubicBezTo>
                          <a:pt x="105" y="38"/>
                          <a:pt x="105" y="38"/>
                          <a:pt x="105" y="38"/>
                        </a:cubicBezTo>
                        <a:cubicBezTo>
                          <a:pt x="105" y="39"/>
                          <a:pt x="105" y="38"/>
                          <a:pt x="106" y="39"/>
                        </a:cubicBezTo>
                        <a:cubicBezTo>
                          <a:pt x="105" y="39"/>
                          <a:pt x="106" y="39"/>
                          <a:pt x="106" y="39"/>
                        </a:cubicBezTo>
                        <a:cubicBezTo>
                          <a:pt x="105" y="39"/>
                          <a:pt x="106" y="39"/>
                          <a:pt x="105" y="39"/>
                        </a:cubicBezTo>
                        <a:cubicBezTo>
                          <a:pt x="105" y="39"/>
                          <a:pt x="105" y="39"/>
                          <a:pt x="106" y="39"/>
                        </a:cubicBezTo>
                        <a:cubicBezTo>
                          <a:pt x="105" y="39"/>
                          <a:pt x="106" y="39"/>
                          <a:pt x="106" y="39"/>
                        </a:cubicBezTo>
                        <a:close/>
                        <a:moveTo>
                          <a:pt x="104" y="38"/>
                        </a:moveTo>
                        <a:cubicBezTo>
                          <a:pt x="104" y="38"/>
                          <a:pt x="104" y="38"/>
                          <a:pt x="104" y="38"/>
                        </a:cubicBezTo>
                        <a:cubicBezTo>
                          <a:pt x="104" y="38"/>
                          <a:pt x="104" y="38"/>
                          <a:pt x="104" y="38"/>
                        </a:cubicBezTo>
                        <a:cubicBezTo>
                          <a:pt x="104" y="38"/>
                          <a:pt x="104" y="38"/>
                          <a:pt x="104" y="38"/>
                        </a:cubicBezTo>
                        <a:cubicBezTo>
                          <a:pt x="104" y="38"/>
                          <a:pt x="104" y="38"/>
                          <a:pt x="105" y="38"/>
                        </a:cubicBezTo>
                        <a:cubicBezTo>
                          <a:pt x="104" y="38"/>
                          <a:pt x="104" y="38"/>
                          <a:pt x="104" y="38"/>
                        </a:cubicBezTo>
                        <a:cubicBezTo>
                          <a:pt x="104" y="38"/>
                          <a:pt x="104" y="38"/>
                          <a:pt x="104" y="38"/>
                        </a:cubicBezTo>
                        <a:cubicBezTo>
                          <a:pt x="104" y="38"/>
                          <a:pt x="104" y="38"/>
                          <a:pt x="104" y="38"/>
                        </a:cubicBezTo>
                        <a:cubicBezTo>
                          <a:pt x="104" y="38"/>
                          <a:pt x="104" y="38"/>
                          <a:pt x="104" y="38"/>
                        </a:cubicBezTo>
                        <a:close/>
                        <a:moveTo>
                          <a:pt x="105" y="35"/>
                        </a:moveTo>
                        <a:cubicBezTo>
                          <a:pt x="104" y="34"/>
                          <a:pt x="104" y="35"/>
                          <a:pt x="104" y="35"/>
                        </a:cubicBezTo>
                        <a:cubicBezTo>
                          <a:pt x="104" y="35"/>
                          <a:pt x="104" y="35"/>
                          <a:pt x="104" y="35"/>
                        </a:cubicBezTo>
                        <a:cubicBezTo>
                          <a:pt x="104" y="35"/>
                          <a:pt x="105" y="35"/>
                          <a:pt x="105" y="35"/>
                        </a:cubicBezTo>
                        <a:cubicBezTo>
                          <a:pt x="105" y="35"/>
                          <a:pt x="105" y="35"/>
                          <a:pt x="105" y="35"/>
                        </a:cubicBezTo>
                        <a:cubicBezTo>
                          <a:pt x="105" y="35"/>
                          <a:pt x="105" y="35"/>
                          <a:pt x="105" y="35"/>
                        </a:cubicBezTo>
                        <a:cubicBezTo>
                          <a:pt x="105" y="35"/>
                          <a:pt x="105" y="35"/>
                          <a:pt x="105" y="35"/>
                        </a:cubicBezTo>
                        <a:cubicBezTo>
                          <a:pt x="105" y="35"/>
                          <a:pt x="104" y="35"/>
                          <a:pt x="104" y="35"/>
                        </a:cubicBezTo>
                        <a:cubicBezTo>
                          <a:pt x="104" y="35"/>
                          <a:pt x="105" y="35"/>
                          <a:pt x="105" y="35"/>
                        </a:cubicBezTo>
                        <a:cubicBezTo>
                          <a:pt x="105" y="35"/>
                          <a:pt x="105" y="35"/>
                          <a:pt x="105" y="35"/>
                        </a:cubicBezTo>
                        <a:cubicBezTo>
                          <a:pt x="104" y="35"/>
                          <a:pt x="104" y="35"/>
                          <a:pt x="104" y="35"/>
                        </a:cubicBezTo>
                        <a:cubicBezTo>
                          <a:pt x="104" y="35"/>
                          <a:pt x="104" y="35"/>
                          <a:pt x="104" y="35"/>
                        </a:cubicBezTo>
                        <a:cubicBezTo>
                          <a:pt x="104" y="35"/>
                          <a:pt x="104" y="35"/>
                          <a:pt x="104" y="34"/>
                        </a:cubicBezTo>
                        <a:cubicBezTo>
                          <a:pt x="104" y="34"/>
                          <a:pt x="104" y="35"/>
                          <a:pt x="104" y="35"/>
                        </a:cubicBezTo>
                        <a:cubicBezTo>
                          <a:pt x="104" y="34"/>
                          <a:pt x="103" y="34"/>
                          <a:pt x="104" y="34"/>
                        </a:cubicBezTo>
                        <a:cubicBezTo>
                          <a:pt x="104" y="34"/>
                          <a:pt x="104" y="34"/>
                          <a:pt x="104" y="34"/>
                        </a:cubicBezTo>
                        <a:cubicBezTo>
                          <a:pt x="104" y="34"/>
                          <a:pt x="104" y="34"/>
                          <a:pt x="104" y="34"/>
                        </a:cubicBezTo>
                        <a:cubicBezTo>
                          <a:pt x="104" y="34"/>
                          <a:pt x="104" y="34"/>
                          <a:pt x="104" y="34"/>
                        </a:cubicBezTo>
                        <a:cubicBezTo>
                          <a:pt x="104" y="34"/>
                          <a:pt x="104" y="34"/>
                          <a:pt x="104" y="34"/>
                        </a:cubicBezTo>
                        <a:cubicBezTo>
                          <a:pt x="104" y="34"/>
                          <a:pt x="104" y="34"/>
                          <a:pt x="104" y="34"/>
                        </a:cubicBezTo>
                        <a:cubicBezTo>
                          <a:pt x="104" y="34"/>
                          <a:pt x="104" y="34"/>
                          <a:pt x="104" y="34"/>
                        </a:cubicBezTo>
                        <a:cubicBezTo>
                          <a:pt x="104" y="34"/>
                          <a:pt x="105" y="34"/>
                          <a:pt x="105" y="34"/>
                        </a:cubicBezTo>
                        <a:cubicBezTo>
                          <a:pt x="105" y="35"/>
                          <a:pt x="105" y="35"/>
                          <a:pt x="105" y="35"/>
                        </a:cubicBezTo>
                        <a:close/>
                        <a:moveTo>
                          <a:pt x="104" y="34"/>
                        </a:moveTo>
                        <a:cubicBezTo>
                          <a:pt x="104" y="34"/>
                          <a:pt x="104" y="35"/>
                          <a:pt x="104" y="35"/>
                        </a:cubicBezTo>
                        <a:cubicBezTo>
                          <a:pt x="104" y="34"/>
                          <a:pt x="104" y="34"/>
                          <a:pt x="104" y="34"/>
                        </a:cubicBezTo>
                        <a:close/>
                        <a:moveTo>
                          <a:pt x="105" y="35"/>
                        </a:moveTo>
                        <a:cubicBezTo>
                          <a:pt x="105" y="35"/>
                          <a:pt x="105" y="35"/>
                          <a:pt x="105" y="35"/>
                        </a:cubicBezTo>
                        <a:cubicBezTo>
                          <a:pt x="105" y="35"/>
                          <a:pt x="105" y="35"/>
                          <a:pt x="105" y="35"/>
                        </a:cubicBezTo>
                        <a:close/>
                        <a:moveTo>
                          <a:pt x="103" y="34"/>
                        </a:moveTo>
                        <a:cubicBezTo>
                          <a:pt x="103" y="34"/>
                          <a:pt x="103" y="35"/>
                          <a:pt x="103" y="35"/>
                        </a:cubicBezTo>
                        <a:cubicBezTo>
                          <a:pt x="103" y="35"/>
                          <a:pt x="103" y="34"/>
                          <a:pt x="103" y="34"/>
                        </a:cubicBezTo>
                        <a:close/>
                        <a:moveTo>
                          <a:pt x="103" y="34"/>
                        </a:moveTo>
                        <a:cubicBezTo>
                          <a:pt x="103" y="34"/>
                          <a:pt x="103" y="35"/>
                          <a:pt x="102" y="35"/>
                        </a:cubicBezTo>
                        <a:cubicBezTo>
                          <a:pt x="102" y="35"/>
                          <a:pt x="102" y="35"/>
                          <a:pt x="103" y="35"/>
                        </a:cubicBezTo>
                        <a:cubicBezTo>
                          <a:pt x="103" y="35"/>
                          <a:pt x="103" y="35"/>
                          <a:pt x="103" y="35"/>
                        </a:cubicBezTo>
                        <a:cubicBezTo>
                          <a:pt x="103" y="35"/>
                          <a:pt x="103" y="35"/>
                          <a:pt x="103" y="35"/>
                        </a:cubicBezTo>
                        <a:cubicBezTo>
                          <a:pt x="103" y="35"/>
                          <a:pt x="103" y="35"/>
                          <a:pt x="103" y="35"/>
                        </a:cubicBezTo>
                        <a:cubicBezTo>
                          <a:pt x="102" y="35"/>
                          <a:pt x="102" y="35"/>
                          <a:pt x="102" y="35"/>
                        </a:cubicBezTo>
                        <a:cubicBezTo>
                          <a:pt x="102" y="35"/>
                          <a:pt x="102" y="35"/>
                          <a:pt x="102" y="35"/>
                        </a:cubicBezTo>
                        <a:cubicBezTo>
                          <a:pt x="102" y="35"/>
                          <a:pt x="102" y="35"/>
                          <a:pt x="102" y="35"/>
                        </a:cubicBezTo>
                        <a:cubicBezTo>
                          <a:pt x="102" y="35"/>
                          <a:pt x="102" y="34"/>
                          <a:pt x="103" y="34"/>
                        </a:cubicBezTo>
                        <a:close/>
                        <a:moveTo>
                          <a:pt x="99" y="34"/>
                        </a:moveTo>
                        <a:cubicBezTo>
                          <a:pt x="99" y="35"/>
                          <a:pt x="100" y="35"/>
                          <a:pt x="101" y="35"/>
                        </a:cubicBezTo>
                        <a:cubicBezTo>
                          <a:pt x="101" y="35"/>
                          <a:pt x="101" y="35"/>
                          <a:pt x="101" y="35"/>
                        </a:cubicBezTo>
                        <a:cubicBezTo>
                          <a:pt x="101" y="35"/>
                          <a:pt x="101" y="35"/>
                          <a:pt x="101" y="35"/>
                        </a:cubicBezTo>
                        <a:cubicBezTo>
                          <a:pt x="101" y="35"/>
                          <a:pt x="101" y="35"/>
                          <a:pt x="101" y="35"/>
                        </a:cubicBezTo>
                        <a:cubicBezTo>
                          <a:pt x="101" y="35"/>
                          <a:pt x="101" y="35"/>
                          <a:pt x="101" y="35"/>
                        </a:cubicBezTo>
                        <a:cubicBezTo>
                          <a:pt x="101" y="35"/>
                          <a:pt x="101" y="36"/>
                          <a:pt x="101" y="36"/>
                        </a:cubicBezTo>
                        <a:cubicBezTo>
                          <a:pt x="101" y="36"/>
                          <a:pt x="101" y="36"/>
                          <a:pt x="101" y="36"/>
                        </a:cubicBezTo>
                        <a:cubicBezTo>
                          <a:pt x="101" y="36"/>
                          <a:pt x="101" y="36"/>
                          <a:pt x="101" y="36"/>
                        </a:cubicBezTo>
                        <a:cubicBezTo>
                          <a:pt x="101" y="36"/>
                          <a:pt x="101" y="36"/>
                          <a:pt x="101" y="36"/>
                        </a:cubicBezTo>
                        <a:cubicBezTo>
                          <a:pt x="101" y="36"/>
                          <a:pt x="102" y="36"/>
                          <a:pt x="103" y="37"/>
                        </a:cubicBezTo>
                        <a:cubicBezTo>
                          <a:pt x="102" y="37"/>
                          <a:pt x="102" y="36"/>
                          <a:pt x="102" y="36"/>
                        </a:cubicBezTo>
                        <a:cubicBezTo>
                          <a:pt x="102" y="36"/>
                          <a:pt x="101" y="36"/>
                          <a:pt x="101" y="36"/>
                        </a:cubicBezTo>
                        <a:cubicBezTo>
                          <a:pt x="101" y="36"/>
                          <a:pt x="101" y="36"/>
                          <a:pt x="100" y="36"/>
                        </a:cubicBezTo>
                        <a:cubicBezTo>
                          <a:pt x="100" y="36"/>
                          <a:pt x="100" y="36"/>
                          <a:pt x="100" y="36"/>
                        </a:cubicBezTo>
                        <a:cubicBezTo>
                          <a:pt x="100" y="36"/>
                          <a:pt x="99" y="36"/>
                          <a:pt x="99" y="36"/>
                        </a:cubicBezTo>
                        <a:cubicBezTo>
                          <a:pt x="99" y="36"/>
                          <a:pt x="98" y="36"/>
                          <a:pt x="98" y="36"/>
                        </a:cubicBezTo>
                        <a:cubicBezTo>
                          <a:pt x="98" y="36"/>
                          <a:pt x="99" y="36"/>
                          <a:pt x="98" y="36"/>
                        </a:cubicBezTo>
                        <a:cubicBezTo>
                          <a:pt x="98" y="36"/>
                          <a:pt x="98" y="36"/>
                          <a:pt x="98" y="36"/>
                        </a:cubicBezTo>
                        <a:cubicBezTo>
                          <a:pt x="98" y="36"/>
                          <a:pt x="99" y="36"/>
                          <a:pt x="99" y="36"/>
                        </a:cubicBezTo>
                        <a:cubicBezTo>
                          <a:pt x="98" y="36"/>
                          <a:pt x="98" y="36"/>
                          <a:pt x="99" y="36"/>
                        </a:cubicBezTo>
                        <a:cubicBezTo>
                          <a:pt x="99" y="36"/>
                          <a:pt x="99" y="36"/>
                          <a:pt x="99" y="36"/>
                        </a:cubicBezTo>
                        <a:cubicBezTo>
                          <a:pt x="99" y="36"/>
                          <a:pt x="99" y="36"/>
                          <a:pt x="99" y="36"/>
                        </a:cubicBezTo>
                        <a:cubicBezTo>
                          <a:pt x="99" y="36"/>
                          <a:pt x="99" y="36"/>
                          <a:pt x="99" y="36"/>
                        </a:cubicBezTo>
                        <a:cubicBezTo>
                          <a:pt x="99" y="36"/>
                          <a:pt x="99" y="36"/>
                          <a:pt x="100" y="36"/>
                        </a:cubicBezTo>
                        <a:cubicBezTo>
                          <a:pt x="100" y="37"/>
                          <a:pt x="99" y="37"/>
                          <a:pt x="100" y="37"/>
                        </a:cubicBezTo>
                        <a:cubicBezTo>
                          <a:pt x="99" y="37"/>
                          <a:pt x="99" y="36"/>
                          <a:pt x="99" y="37"/>
                        </a:cubicBezTo>
                        <a:cubicBezTo>
                          <a:pt x="99" y="36"/>
                          <a:pt x="98" y="36"/>
                          <a:pt x="98" y="36"/>
                        </a:cubicBezTo>
                        <a:cubicBezTo>
                          <a:pt x="98" y="36"/>
                          <a:pt x="98" y="36"/>
                          <a:pt x="98" y="36"/>
                        </a:cubicBezTo>
                        <a:cubicBezTo>
                          <a:pt x="98" y="36"/>
                          <a:pt x="98" y="36"/>
                          <a:pt x="98" y="36"/>
                        </a:cubicBezTo>
                        <a:cubicBezTo>
                          <a:pt x="98" y="36"/>
                          <a:pt x="98" y="36"/>
                          <a:pt x="98" y="36"/>
                        </a:cubicBezTo>
                        <a:cubicBezTo>
                          <a:pt x="98" y="36"/>
                          <a:pt x="98" y="36"/>
                          <a:pt x="98" y="36"/>
                        </a:cubicBezTo>
                        <a:cubicBezTo>
                          <a:pt x="98" y="36"/>
                          <a:pt x="98" y="36"/>
                          <a:pt x="98" y="36"/>
                        </a:cubicBezTo>
                        <a:cubicBezTo>
                          <a:pt x="98" y="36"/>
                          <a:pt x="98" y="36"/>
                          <a:pt x="97" y="35"/>
                        </a:cubicBezTo>
                        <a:cubicBezTo>
                          <a:pt x="97" y="36"/>
                          <a:pt x="97" y="36"/>
                          <a:pt x="97" y="36"/>
                        </a:cubicBezTo>
                        <a:cubicBezTo>
                          <a:pt x="97" y="36"/>
                          <a:pt x="97" y="36"/>
                          <a:pt x="97" y="36"/>
                        </a:cubicBezTo>
                        <a:cubicBezTo>
                          <a:pt x="97" y="36"/>
                          <a:pt x="97" y="36"/>
                          <a:pt x="97" y="36"/>
                        </a:cubicBezTo>
                        <a:cubicBezTo>
                          <a:pt x="97" y="36"/>
                          <a:pt x="97" y="36"/>
                          <a:pt x="97" y="36"/>
                        </a:cubicBezTo>
                        <a:cubicBezTo>
                          <a:pt x="97" y="36"/>
                          <a:pt x="97" y="36"/>
                          <a:pt x="98" y="36"/>
                        </a:cubicBezTo>
                        <a:cubicBezTo>
                          <a:pt x="98" y="36"/>
                          <a:pt x="98" y="36"/>
                          <a:pt x="98" y="36"/>
                        </a:cubicBezTo>
                        <a:cubicBezTo>
                          <a:pt x="98" y="36"/>
                          <a:pt x="98" y="36"/>
                          <a:pt x="98" y="36"/>
                        </a:cubicBezTo>
                        <a:cubicBezTo>
                          <a:pt x="98" y="36"/>
                          <a:pt x="97" y="36"/>
                          <a:pt x="97" y="36"/>
                        </a:cubicBezTo>
                        <a:cubicBezTo>
                          <a:pt x="97" y="36"/>
                          <a:pt x="97" y="36"/>
                          <a:pt x="97" y="36"/>
                        </a:cubicBezTo>
                        <a:cubicBezTo>
                          <a:pt x="97" y="36"/>
                          <a:pt x="97" y="36"/>
                          <a:pt x="97" y="36"/>
                        </a:cubicBezTo>
                        <a:cubicBezTo>
                          <a:pt x="96" y="36"/>
                          <a:pt x="96" y="36"/>
                          <a:pt x="96" y="36"/>
                        </a:cubicBezTo>
                        <a:cubicBezTo>
                          <a:pt x="96" y="36"/>
                          <a:pt x="96" y="36"/>
                          <a:pt x="96" y="36"/>
                        </a:cubicBezTo>
                        <a:cubicBezTo>
                          <a:pt x="97" y="36"/>
                          <a:pt x="96" y="36"/>
                          <a:pt x="96" y="36"/>
                        </a:cubicBezTo>
                        <a:cubicBezTo>
                          <a:pt x="96" y="36"/>
                          <a:pt x="97" y="36"/>
                          <a:pt x="97" y="36"/>
                        </a:cubicBezTo>
                        <a:cubicBezTo>
                          <a:pt x="97" y="36"/>
                          <a:pt x="97" y="36"/>
                          <a:pt x="97" y="36"/>
                        </a:cubicBezTo>
                        <a:cubicBezTo>
                          <a:pt x="97" y="36"/>
                          <a:pt x="97" y="36"/>
                          <a:pt x="97" y="36"/>
                        </a:cubicBezTo>
                        <a:cubicBezTo>
                          <a:pt x="97" y="37"/>
                          <a:pt x="97" y="36"/>
                          <a:pt x="97" y="37"/>
                        </a:cubicBezTo>
                        <a:cubicBezTo>
                          <a:pt x="97" y="36"/>
                          <a:pt x="97" y="36"/>
                          <a:pt x="96" y="36"/>
                        </a:cubicBezTo>
                        <a:cubicBezTo>
                          <a:pt x="96" y="36"/>
                          <a:pt x="96" y="36"/>
                          <a:pt x="96" y="36"/>
                        </a:cubicBezTo>
                        <a:cubicBezTo>
                          <a:pt x="96" y="36"/>
                          <a:pt x="96" y="36"/>
                          <a:pt x="96" y="36"/>
                        </a:cubicBezTo>
                        <a:cubicBezTo>
                          <a:pt x="96" y="36"/>
                          <a:pt x="96" y="36"/>
                          <a:pt x="96" y="36"/>
                        </a:cubicBezTo>
                        <a:cubicBezTo>
                          <a:pt x="96" y="36"/>
                          <a:pt x="96" y="36"/>
                          <a:pt x="96" y="36"/>
                        </a:cubicBezTo>
                        <a:cubicBezTo>
                          <a:pt x="96" y="36"/>
                          <a:pt x="96" y="36"/>
                          <a:pt x="96" y="36"/>
                        </a:cubicBezTo>
                        <a:cubicBezTo>
                          <a:pt x="96" y="36"/>
                          <a:pt x="95" y="36"/>
                          <a:pt x="95" y="36"/>
                        </a:cubicBezTo>
                        <a:cubicBezTo>
                          <a:pt x="95" y="36"/>
                          <a:pt x="95" y="36"/>
                          <a:pt x="95" y="36"/>
                        </a:cubicBezTo>
                        <a:cubicBezTo>
                          <a:pt x="95" y="36"/>
                          <a:pt x="95" y="36"/>
                          <a:pt x="95" y="36"/>
                        </a:cubicBezTo>
                        <a:cubicBezTo>
                          <a:pt x="95" y="36"/>
                          <a:pt x="95" y="36"/>
                          <a:pt x="95" y="36"/>
                        </a:cubicBezTo>
                        <a:cubicBezTo>
                          <a:pt x="95" y="36"/>
                          <a:pt x="95" y="36"/>
                          <a:pt x="95" y="36"/>
                        </a:cubicBezTo>
                        <a:cubicBezTo>
                          <a:pt x="95" y="35"/>
                          <a:pt x="95" y="36"/>
                          <a:pt x="95" y="35"/>
                        </a:cubicBezTo>
                        <a:cubicBezTo>
                          <a:pt x="94" y="35"/>
                          <a:pt x="95" y="35"/>
                          <a:pt x="95" y="36"/>
                        </a:cubicBezTo>
                        <a:cubicBezTo>
                          <a:pt x="95" y="36"/>
                          <a:pt x="94" y="35"/>
                          <a:pt x="94" y="36"/>
                        </a:cubicBezTo>
                        <a:cubicBezTo>
                          <a:pt x="94" y="35"/>
                          <a:pt x="94" y="35"/>
                          <a:pt x="94" y="35"/>
                        </a:cubicBezTo>
                        <a:cubicBezTo>
                          <a:pt x="94" y="35"/>
                          <a:pt x="94" y="35"/>
                          <a:pt x="94" y="35"/>
                        </a:cubicBezTo>
                        <a:cubicBezTo>
                          <a:pt x="94" y="35"/>
                          <a:pt x="94" y="35"/>
                          <a:pt x="94" y="35"/>
                        </a:cubicBezTo>
                        <a:cubicBezTo>
                          <a:pt x="94" y="35"/>
                          <a:pt x="94" y="35"/>
                          <a:pt x="94" y="35"/>
                        </a:cubicBezTo>
                        <a:cubicBezTo>
                          <a:pt x="94" y="35"/>
                          <a:pt x="95" y="35"/>
                          <a:pt x="95" y="35"/>
                        </a:cubicBezTo>
                        <a:cubicBezTo>
                          <a:pt x="95" y="35"/>
                          <a:pt x="95" y="35"/>
                          <a:pt x="95" y="35"/>
                        </a:cubicBezTo>
                        <a:cubicBezTo>
                          <a:pt x="95" y="35"/>
                          <a:pt x="94" y="35"/>
                          <a:pt x="94" y="35"/>
                        </a:cubicBezTo>
                        <a:cubicBezTo>
                          <a:pt x="94" y="35"/>
                          <a:pt x="95" y="35"/>
                          <a:pt x="95" y="35"/>
                        </a:cubicBezTo>
                        <a:cubicBezTo>
                          <a:pt x="95" y="35"/>
                          <a:pt x="95" y="35"/>
                          <a:pt x="95" y="35"/>
                        </a:cubicBezTo>
                        <a:cubicBezTo>
                          <a:pt x="95" y="35"/>
                          <a:pt x="95" y="35"/>
                          <a:pt x="94" y="35"/>
                        </a:cubicBezTo>
                        <a:cubicBezTo>
                          <a:pt x="94" y="35"/>
                          <a:pt x="94" y="35"/>
                          <a:pt x="94" y="35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5" y="35"/>
                          <a:pt x="95" y="35"/>
                          <a:pt x="95" y="35"/>
                        </a:cubicBezTo>
                        <a:cubicBezTo>
                          <a:pt x="95" y="35"/>
                          <a:pt x="95" y="35"/>
                          <a:pt x="95" y="35"/>
                        </a:cubicBezTo>
                        <a:cubicBezTo>
                          <a:pt x="95" y="35"/>
                          <a:pt x="95" y="35"/>
                          <a:pt x="95" y="34"/>
                        </a:cubicBezTo>
                        <a:cubicBezTo>
                          <a:pt x="95" y="34"/>
                          <a:pt x="95" y="34"/>
                          <a:pt x="95" y="34"/>
                        </a:cubicBezTo>
                        <a:cubicBezTo>
                          <a:pt x="95" y="34"/>
                          <a:pt x="95" y="34"/>
                          <a:pt x="95" y="34"/>
                        </a:cubicBezTo>
                        <a:cubicBezTo>
                          <a:pt x="95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5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3" y="34"/>
                          <a:pt x="93" y="34"/>
                          <a:pt x="93" y="34"/>
                        </a:cubicBezTo>
                        <a:cubicBezTo>
                          <a:pt x="93" y="34"/>
                          <a:pt x="93" y="34"/>
                          <a:pt x="93" y="34"/>
                        </a:cubicBezTo>
                        <a:cubicBezTo>
                          <a:pt x="93" y="34"/>
                          <a:pt x="93" y="34"/>
                          <a:pt x="93" y="34"/>
                        </a:cubicBezTo>
                        <a:cubicBezTo>
                          <a:pt x="93" y="33"/>
                          <a:pt x="93" y="34"/>
                          <a:pt x="93" y="33"/>
                        </a:cubicBezTo>
                        <a:cubicBezTo>
                          <a:pt x="93" y="33"/>
                          <a:pt x="93" y="33"/>
                          <a:pt x="92" y="33"/>
                        </a:cubicBezTo>
                        <a:cubicBezTo>
                          <a:pt x="93" y="33"/>
                          <a:pt x="93" y="33"/>
                          <a:pt x="92" y="33"/>
                        </a:cubicBezTo>
                        <a:cubicBezTo>
                          <a:pt x="93" y="33"/>
                          <a:pt x="93" y="33"/>
                          <a:pt x="93" y="33"/>
                        </a:cubicBezTo>
                        <a:cubicBezTo>
                          <a:pt x="93" y="33"/>
                          <a:pt x="93" y="33"/>
                          <a:pt x="93" y="33"/>
                        </a:cubicBezTo>
                        <a:cubicBezTo>
                          <a:pt x="93" y="33"/>
                          <a:pt x="93" y="33"/>
                          <a:pt x="93" y="33"/>
                        </a:cubicBezTo>
                        <a:cubicBezTo>
                          <a:pt x="93" y="33"/>
                          <a:pt x="93" y="33"/>
                          <a:pt x="93" y="33"/>
                        </a:cubicBezTo>
                        <a:cubicBezTo>
                          <a:pt x="93" y="34"/>
                          <a:pt x="94" y="33"/>
                          <a:pt x="94" y="34"/>
                        </a:cubicBezTo>
                        <a:cubicBezTo>
                          <a:pt x="94" y="33"/>
                          <a:pt x="94" y="33"/>
                          <a:pt x="93" y="33"/>
                        </a:cubicBezTo>
                        <a:cubicBezTo>
                          <a:pt x="94" y="33"/>
                          <a:pt x="94" y="33"/>
                          <a:pt x="93" y="33"/>
                        </a:cubicBezTo>
                        <a:cubicBezTo>
                          <a:pt x="94" y="33"/>
                          <a:pt x="94" y="33"/>
                          <a:pt x="94" y="34"/>
                        </a:cubicBezTo>
                        <a:cubicBezTo>
                          <a:pt x="94" y="33"/>
                          <a:pt x="95" y="34"/>
                          <a:pt x="95" y="34"/>
                        </a:cubicBezTo>
                        <a:cubicBezTo>
                          <a:pt x="95" y="34"/>
                          <a:pt x="95" y="34"/>
                          <a:pt x="95" y="34"/>
                        </a:cubicBezTo>
                        <a:cubicBezTo>
                          <a:pt x="95" y="34"/>
                          <a:pt x="95" y="34"/>
                          <a:pt x="95" y="34"/>
                        </a:cubicBezTo>
                        <a:cubicBezTo>
                          <a:pt x="96" y="34"/>
                          <a:pt x="96" y="34"/>
                          <a:pt x="96" y="34"/>
                        </a:cubicBezTo>
                        <a:cubicBezTo>
                          <a:pt x="96" y="34"/>
                          <a:pt x="96" y="34"/>
                          <a:pt x="96" y="34"/>
                        </a:cubicBezTo>
                        <a:cubicBezTo>
                          <a:pt x="96" y="34"/>
                          <a:pt x="96" y="34"/>
                          <a:pt x="96" y="34"/>
                        </a:cubicBezTo>
                        <a:cubicBezTo>
                          <a:pt x="96" y="34"/>
                          <a:pt x="96" y="34"/>
                          <a:pt x="96" y="34"/>
                        </a:cubicBezTo>
                        <a:cubicBezTo>
                          <a:pt x="96" y="34"/>
                          <a:pt x="97" y="35"/>
                          <a:pt x="97" y="35"/>
                        </a:cubicBezTo>
                        <a:cubicBezTo>
                          <a:pt x="97" y="35"/>
                          <a:pt x="97" y="35"/>
                          <a:pt x="97" y="34"/>
                        </a:cubicBezTo>
                        <a:cubicBezTo>
                          <a:pt x="97" y="34"/>
                          <a:pt x="97" y="34"/>
                          <a:pt x="97" y="34"/>
                        </a:cubicBezTo>
                        <a:cubicBezTo>
                          <a:pt x="97" y="34"/>
                          <a:pt x="97" y="34"/>
                          <a:pt x="96" y="34"/>
                        </a:cubicBezTo>
                        <a:cubicBezTo>
                          <a:pt x="96" y="34"/>
                          <a:pt x="97" y="34"/>
                          <a:pt x="97" y="34"/>
                        </a:cubicBezTo>
                        <a:cubicBezTo>
                          <a:pt x="97" y="34"/>
                          <a:pt x="97" y="34"/>
                          <a:pt x="97" y="34"/>
                        </a:cubicBezTo>
                        <a:cubicBezTo>
                          <a:pt x="97" y="34"/>
                          <a:pt x="97" y="34"/>
                          <a:pt x="97" y="34"/>
                        </a:cubicBezTo>
                        <a:cubicBezTo>
                          <a:pt x="97" y="34"/>
                          <a:pt x="97" y="34"/>
                          <a:pt x="97" y="34"/>
                        </a:cubicBezTo>
                        <a:cubicBezTo>
                          <a:pt x="97" y="34"/>
                          <a:pt x="97" y="34"/>
                          <a:pt x="97" y="35"/>
                        </a:cubicBezTo>
                        <a:cubicBezTo>
                          <a:pt x="97" y="35"/>
                          <a:pt x="97" y="35"/>
                          <a:pt x="97" y="35"/>
                        </a:cubicBezTo>
                        <a:cubicBezTo>
                          <a:pt x="98" y="35"/>
                          <a:pt x="98" y="35"/>
                          <a:pt x="97" y="34"/>
                        </a:cubicBezTo>
                        <a:cubicBezTo>
                          <a:pt x="98" y="34"/>
                          <a:pt x="98" y="35"/>
                          <a:pt x="98" y="35"/>
                        </a:cubicBezTo>
                        <a:cubicBezTo>
                          <a:pt x="98" y="35"/>
                          <a:pt x="98" y="35"/>
                          <a:pt x="98" y="35"/>
                        </a:cubicBezTo>
                        <a:cubicBezTo>
                          <a:pt x="98" y="34"/>
                          <a:pt x="97" y="35"/>
                          <a:pt x="97" y="34"/>
                        </a:cubicBezTo>
                        <a:cubicBezTo>
                          <a:pt x="98" y="34"/>
                          <a:pt x="98" y="34"/>
                          <a:pt x="98" y="34"/>
                        </a:cubicBezTo>
                        <a:cubicBezTo>
                          <a:pt x="98" y="34"/>
                          <a:pt x="97" y="34"/>
                          <a:pt x="98" y="34"/>
                        </a:cubicBezTo>
                        <a:cubicBezTo>
                          <a:pt x="97" y="34"/>
                          <a:pt x="97" y="34"/>
                          <a:pt x="97" y="34"/>
                        </a:cubicBezTo>
                        <a:cubicBezTo>
                          <a:pt x="97" y="34"/>
                          <a:pt x="97" y="34"/>
                          <a:pt x="97" y="34"/>
                        </a:cubicBezTo>
                        <a:cubicBezTo>
                          <a:pt x="97" y="34"/>
                          <a:pt x="97" y="34"/>
                          <a:pt x="97" y="34"/>
                        </a:cubicBezTo>
                        <a:cubicBezTo>
                          <a:pt x="97" y="34"/>
                          <a:pt x="97" y="34"/>
                          <a:pt x="97" y="33"/>
                        </a:cubicBezTo>
                        <a:cubicBezTo>
                          <a:pt x="97" y="33"/>
                          <a:pt x="97" y="33"/>
                          <a:pt x="97" y="34"/>
                        </a:cubicBezTo>
                        <a:cubicBezTo>
                          <a:pt x="96" y="33"/>
                          <a:pt x="95" y="33"/>
                          <a:pt x="95" y="33"/>
                        </a:cubicBezTo>
                        <a:cubicBezTo>
                          <a:pt x="95" y="33"/>
                          <a:pt x="94" y="33"/>
                          <a:pt x="94" y="33"/>
                        </a:cubicBezTo>
                        <a:cubicBezTo>
                          <a:pt x="94" y="32"/>
                          <a:pt x="94" y="32"/>
                          <a:pt x="94" y="32"/>
                        </a:cubicBezTo>
                        <a:cubicBezTo>
                          <a:pt x="93" y="32"/>
                          <a:pt x="93" y="32"/>
                          <a:pt x="93" y="32"/>
                        </a:cubicBezTo>
                        <a:cubicBezTo>
                          <a:pt x="93" y="32"/>
                          <a:pt x="94" y="32"/>
                          <a:pt x="94" y="32"/>
                        </a:cubicBezTo>
                        <a:cubicBezTo>
                          <a:pt x="93" y="32"/>
                          <a:pt x="93" y="32"/>
                          <a:pt x="93" y="32"/>
                        </a:cubicBezTo>
                        <a:cubicBezTo>
                          <a:pt x="93" y="32"/>
                          <a:pt x="93" y="32"/>
                          <a:pt x="93" y="32"/>
                        </a:cubicBezTo>
                        <a:cubicBezTo>
                          <a:pt x="93" y="32"/>
                          <a:pt x="93" y="32"/>
                          <a:pt x="94" y="32"/>
                        </a:cubicBezTo>
                        <a:cubicBezTo>
                          <a:pt x="94" y="32"/>
                          <a:pt x="94" y="32"/>
                          <a:pt x="94" y="33"/>
                        </a:cubicBezTo>
                        <a:cubicBezTo>
                          <a:pt x="94" y="33"/>
                          <a:pt x="95" y="33"/>
                          <a:pt x="94" y="33"/>
                        </a:cubicBezTo>
                        <a:cubicBezTo>
                          <a:pt x="95" y="33"/>
                          <a:pt x="95" y="33"/>
                          <a:pt x="95" y="33"/>
                        </a:cubicBezTo>
                        <a:cubicBezTo>
                          <a:pt x="96" y="33"/>
                          <a:pt x="97" y="34"/>
                          <a:pt x="99" y="34"/>
                        </a:cubicBezTo>
                        <a:cubicBezTo>
                          <a:pt x="99" y="34"/>
                          <a:pt x="99" y="33"/>
                          <a:pt x="99" y="33"/>
                        </a:cubicBezTo>
                        <a:cubicBezTo>
                          <a:pt x="99" y="34"/>
                          <a:pt x="99" y="34"/>
                          <a:pt x="99" y="33"/>
                        </a:cubicBezTo>
                        <a:cubicBezTo>
                          <a:pt x="99" y="34"/>
                          <a:pt x="99" y="33"/>
                          <a:pt x="99" y="33"/>
                        </a:cubicBezTo>
                        <a:cubicBezTo>
                          <a:pt x="98" y="33"/>
                          <a:pt x="98" y="33"/>
                          <a:pt x="98" y="33"/>
                        </a:cubicBezTo>
                        <a:cubicBezTo>
                          <a:pt x="98" y="33"/>
                          <a:pt x="99" y="33"/>
                          <a:pt x="99" y="33"/>
                        </a:cubicBezTo>
                        <a:cubicBezTo>
                          <a:pt x="99" y="33"/>
                          <a:pt x="99" y="33"/>
                          <a:pt x="99" y="33"/>
                        </a:cubicBezTo>
                        <a:cubicBezTo>
                          <a:pt x="98" y="33"/>
                          <a:pt x="98" y="33"/>
                          <a:pt x="97" y="32"/>
                        </a:cubicBezTo>
                        <a:cubicBezTo>
                          <a:pt x="98" y="33"/>
                          <a:pt x="97" y="32"/>
                          <a:pt x="97" y="32"/>
                        </a:cubicBezTo>
                        <a:cubicBezTo>
                          <a:pt x="97" y="32"/>
                          <a:pt x="97" y="32"/>
                          <a:pt x="97" y="32"/>
                        </a:cubicBezTo>
                        <a:cubicBezTo>
                          <a:pt x="97" y="32"/>
                          <a:pt x="98" y="32"/>
                          <a:pt x="98" y="32"/>
                        </a:cubicBezTo>
                        <a:cubicBezTo>
                          <a:pt x="98" y="32"/>
                          <a:pt x="98" y="33"/>
                          <a:pt x="98" y="32"/>
                        </a:cubicBezTo>
                        <a:cubicBezTo>
                          <a:pt x="98" y="32"/>
                          <a:pt x="98" y="32"/>
                          <a:pt x="98" y="33"/>
                        </a:cubicBezTo>
                        <a:cubicBezTo>
                          <a:pt x="98" y="33"/>
                          <a:pt x="98" y="32"/>
                          <a:pt x="98" y="32"/>
                        </a:cubicBezTo>
                        <a:cubicBezTo>
                          <a:pt x="99" y="33"/>
                          <a:pt x="99" y="32"/>
                          <a:pt x="99" y="33"/>
                        </a:cubicBezTo>
                        <a:cubicBezTo>
                          <a:pt x="99" y="33"/>
                          <a:pt x="99" y="32"/>
                          <a:pt x="99" y="32"/>
                        </a:cubicBezTo>
                        <a:cubicBezTo>
                          <a:pt x="99" y="32"/>
                          <a:pt x="99" y="32"/>
                          <a:pt x="99" y="32"/>
                        </a:cubicBezTo>
                        <a:cubicBezTo>
                          <a:pt x="99" y="32"/>
                          <a:pt x="99" y="32"/>
                          <a:pt x="100" y="32"/>
                        </a:cubicBezTo>
                        <a:cubicBezTo>
                          <a:pt x="100" y="32"/>
                          <a:pt x="100" y="32"/>
                          <a:pt x="100" y="32"/>
                        </a:cubicBezTo>
                        <a:cubicBezTo>
                          <a:pt x="100" y="32"/>
                          <a:pt x="100" y="32"/>
                          <a:pt x="100" y="32"/>
                        </a:cubicBezTo>
                        <a:cubicBezTo>
                          <a:pt x="100" y="32"/>
                          <a:pt x="99" y="32"/>
                          <a:pt x="99" y="32"/>
                        </a:cubicBezTo>
                        <a:cubicBezTo>
                          <a:pt x="99" y="32"/>
                          <a:pt x="99" y="32"/>
                          <a:pt x="99" y="31"/>
                        </a:cubicBezTo>
                        <a:cubicBezTo>
                          <a:pt x="99" y="31"/>
                          <a:pt x="99" y="32"/>
                          <a:pt x="99" y="32"/>
                        </a:cubicBezTo>
                        <a:cubicBezTo>
                          <a:pt x="99" y="32"/>
                          <a:pt x="99" y="31"/>
                          <a:pt x="99" y="31"/>
                        </a:cubicBezTo>
                        <a:cubicBezTo>
                          <a:pt x="99" y="31"/>
                          <a:pt x="99" y="31"/>
                          <a:pt x="99" y="31"/>
                        </a:cubicBezTo>
                        <a:cubicBezTo>
                          <a:pt x="99" y="31"/>
                          <a:pt x="99" y="31"/>
                          <a:pt x="99" y="31"/>
                        </a:cubicBezTo>
                        <a:cubicBezTo>
                          <a:pt x="99" y="31"/>
                          <a:pt x="99" y="31"/>
                          <a:pt x="99" y="31"/>
                        </a:cubicBezTo>
                        <a:cubicBezTo>
                          <a:pt x="99" y="31"/>
                          <a:pt x="99" y="31"/>
                          <a:pt x="99" y="31"/>
                        </a:cubicBezTo>
                        <a:cubicBezTo>
                          <a:pt x="99" y="31"/>
                          <a:pt x="100" y="31"/>
                          <a:pt x="100" y="31"/>
                        </a:cubicBezTo>
                        <a:cubicBezTo>
                          <a:pt x="100" y="31"/>
                          <a:pt x="100" y="31"/>
                          <a:pt x="100" y="31"/>
                        </a:cubicBezTo>
                        <a:cubicBezTo>
                          <a:pt x="101" y="31"/>
                          <a:pt x="101" y="31"/>
                          <a:pt x="101" y="31"/>
                        </a:cubicBezTo>
                        <a:cubicBezTo>
                          <a:pt x="101" y="31"/>
                          <a:pt x="101" y="31"/>
                          <a:pt x="101" y="31"/>
                        </a:cubicBezTo>
                        <a:cubicBezTo>
                          <a:pt x="101" y="31"/>
                          <a:pt x="101" y="31"/>
                          <a:pt x="101" y="31"/>
                        </a:cubicBezTo>
                        <a:cubicBezTo>
                          <a:pt x="102" y="31"/>
                          <a:pt x="101" y="31"/>
                          <a:pt x="101" y="32"/>
                        </a:cubicBezTo>
                        <a:cubicBezTo>
                          <a:pt x="101" y="32"/>
                          <a:pt x="101" y="32"/>
                          <a:pt x="101" y="32"/>
                        </a:cubicBezTo>
                        <a:cubicBezTo>
                          <a:pt x="101" y="32"/>
                          <a:pt x="101" y="32"/>
                          <a:pt x="101" y="32"/>
                        </a:cubicBezTo>
                        <a:cubicBezTo>
                          <a:pt x="101" y="32"/>
                          <a:pt x="101" y="32"/>
                          <a:pt x="101" y="32"/>
                        </a:cubicBezTo>
                        <a:cubicBezTo>
                          <a:pt x="101" y="32"/>
                          <a:pt x="101" y="32"/>
                          <a:pt x="101" y="32"/>
                        </a:cubicBezTo>
                        <a:cubicBezTo>
                          <a:pt x="101" y="32"/>
                          <a:pt x="101" y="32"/>
                          <a:pt x="101" y="32"/>
                        </a:cubicBezTo>
                        <a:cubicBezTo>
                          <a:pt x="101" y="32"/>
                          <a:pt x="101" y="32"/>
                          <a:pt x="101" y="32"/>
                        </a:cubicBezTo>
                        <a:cubicBezTo>
                          <a:pt x="101" y="33"/>
                          <a:pt x="101" y="33"/>
                          <a:pt x="101" y="32"/>
                        </a:cubicBezTo>
                        <a:cubicBezTo>
                          <a:pt x="101" y="33"/>
                          <a:pt x="102" y="33"/>
                          <a:pt x="102" y="33"/>
                        </a:cubicBezTo>
                        <a:cubicBezTo>
                          <a:pt x="102" y="33"/>
                          <a:pt x="102" y="33"/>
                          <a:pt x="102" y="33"/>
                        </a:cubicBezTo>
                        <a:cubicBezTo>
                          <a:pt x="102" y="33"/>
                          <a:pt x="102" y="33"/>
                          <a:pt x="102" y="34"/>
                        </a:cubicBezTo>
                        <a:cubicBezTo>
                          <a:pt x="102" y="33"/>
                          <a:pt x="102" y="33"/>
                          <a:pt x="102" y="33"/>
                        </a:cubicBezTo>
                        <a:cubicBezTo>
                          <a:pt x="102" y="33"/>
                          <a:pt x="102" y="33"/>
                          <a:pt x="102" y="33"/>
                        </a:cubicBezTo>
                        <a:cubicBezTo>
                          <a:pt x="102" y="33"/>
                          <a:pt x="102" y="33"/>
                          <a:pt x="102" y="33"/>
                        </a:cubicBezTo>
                        <a:cubicBezTo>
                          <a:pt x="102" y="33"/>
                          <a:pt x="102" y="33"/>
                          <a:pt x="102" y="33"/>
                        </a:cubicBezTo>
                        <a:cubicBezTo>
                          <a:pt x="101" y="33"/>
                          <a:pt x="101" y="34"/>
                          <a:pt x="101" y="33"/>
                        </a:cubicBezTo>
                        <a:cubicBezTo>
                          <a:pt x="101" y="33"/>
                          <a:pt x="101" y="34"/>
                          <a:pt x="101" y="34"/>
                        </a:cubicBezTo>
                        <a:cubicBezTo>
                          <a:pt x="101" y="33"/>
                          <a:pt x="100" y="33"/>
                          <a:pt x="100" y="33"/>
                        </a:cubicBezTo>
                        <a:cubicBezTo>
                          <a:pt x="100" y="33"/>
                          <a:pt x="100" y="34"/>
                          <a:pt x="100" y="33"/>
                        </a:cubicBezTo>
                        <a:cubicBezTo>
                          <a:pt x="100" y="34"/>
                          <a:pt x="100" y="34"/>
                          <a:pt x="100" y="34"/>
                        </a:cubicBezTo>
                        <a:cubicBezTo>
                          <a:pt x="100" y="34"/>
                          <a:pt x="100" y="34"/>
                          <a:pt x="100" y="34"/>
                        </a:cubicBezTo>
                        <a:cubicBezTo>
                          <a:pt x="100" y="34"/>
                          <a:pt x="101" y="34"/>
                          <a:pt x="101" y="34"/>
                        </a:cubicBezTo>
                        <a:cubicBezTo>
                          <a:pt x="101" y="34"/>
                          <a:pt x="102" y="34"/>
                          <a:pt x="102" y="34"/>
                        </a:cubicBezTo>
                        <a:cubicBezTo>
                          <a:pt x="102" y="34"/>
                          <a:pt x="102" y="34"/>
                          <a:pt x="101" y="34"/>
                        </a:cubicBezTo>
                        <a:cubicBezTo>
                          <a:pt x="101" y="34"/>
                          <a:pt x="102" y="34"/>
                          <a:pt x="102" y="34"/>
                        </a:cubicBezTo>
                        <a:cubicBezTo>
                          <a:pt x="102" y="34"/>
                          <a:pt x="102" y="34"/>
                          <a:pt x="102" y="34"/>
                        </a:cubicBezTo>
                        <a:cubicBezTo>
                          <a:pt x="102" y="34"/>
                          <a:pt x="102" y="34"/>
                          <a:pt x="102" y="34"/>
                        </a:cubicBezTo>
                        <a:cubicBezTo>
                          <a:pt x="102" y="35"/>
                          <a:pt x="101" y="34"/>
                          <a:pt x="101" y="34"/>
                        </a:cubicBezTo>
                        <a:cubicBezTo>
                          <a:pt x="101" y="34"/>
                          <a:pt x="101" y="34"/>
                          <a:pt x="100" y="34"/>
                        </a:cubicBezTo>
                        <a:cubicBezTo>
                          <a:pt x="101" y="34"/>
                          <a:pt x="101" y="34"/>
                          <a:pt x="100" y="34"/>
                        </a:cubicBezTo>
                        <a:cubicBezTo>
                          <a:pt x="100" y="34"/>
                          <a:pt x="100" y="34"/>
                          <a:pt x="100" y="34"/>
                        </a:cubicBezTo>
                        <a:cubicBezTo>
                          <a:pt x="100" y="34"/>
                          <a:pt x="100" y="34"/>
                          <a:pt x="100" y="34"/>
                        </a:cubicBezTo>
                        <a:cubicBezTo>
                          <a:pt x="100" y="34"/>
                          <a:pt x="100" y="34"/>
                          <a:pt x="100" y="34"/>
                        </a:cubicBezTo>
                        <a:cubicBezTo>
                          <a:pt x="100" y="34"/>
                          <a:pt x="100" y="34"/>
                          <a:pt x="99" y="34"/>
                        </a:cubicBezTo>
                        <a:close/>
                        <a:moveTo>
                          <a:pt x="101" y="31"/>
                        </a:moveTo>
                        <a:cubicBezTo>
                          <a:pt x="101" y="31"/>
                          <a:pt x="101" y="31"/>
                          <a:pt x="101" y="31"/>
                        </a:cubicBezTo>
                        <a:cubicBezTo>
                          <a:pt x="101" y="31"/>
                          <a:pt x="101" y="31"/>
                          <a:pt x="101" y="31"/>
                        </a:cubicBezTo>
                        <a:cubicBezTo>
                          <a:pt x="101" y="31"/>
                          <a:pt x="101" y="31"/>
                          <a:pt x="101" y="31"/>
                        </a:cubicBezTo>
                        <a:close/>
                        <a:moveTo>
                          <a:pt x="101" y="32"/>
                        </a:moveTo>
                        <a:cubicBezTo>
                          <a:pt x="100" y="32"/>
                          <a:pt x="101" y="32"/>
                          <a:pt x="101" y="31"/>
                        </a:cubicBezTo>
                        <a:cubicBezTo>
                          <a:pt x="100" y="31"/>
                          <a:pt x="100" y="32"/>
                          <a:pt x="100" y="31"/>
                        </a:cubicBezTo>
                        <a:cubicBezTo>
                          <a:pt x="100" y="31"/>
                          <a:pt x="100" y="31"/>
                          <a:pt x="99" y="31"/>
                        </a:cubicBezTo>
                        <a:cubicBezTo>
                          <a:pt x="99" y="31"/>
                          <a:pt x="100" y="31"/>
                          <a:pt x="100" y="31"/>
                        </a:cubicBezTo>
                        <a:cubicBezTo>
                          <a:pt x="100" y="31"/>
                          <a:pt x="100" y="32"/>
                          <a:pt x="100" y="31"/>
                        </a:cubicBezTo>
                        <a:cubicBezTo>
                          <a:pt x="100" y="32"/>
                          <a:pt x="101" y="32"/>
                          <a:pt x="100" y="32"/>
                        </a:cubicBezTo>
                        <a:cubicBezTo>
                          <a:pt x="101" y="32"/>
                          <a:pt x="101" y="32"/>
                          <a:pt x="101" y="32"/>
                        </a:cubicBezTo>
                        <a:close/>
                        <a:moveTo>
                          <a:pt x="100" y="32"/>
                        </a:moveTo>
                        <a:cubicBezTo>
                          <a:pt x="100" y="32"/>
                          <a:pt x="100" y="32"/>
                          <a:pt x="100" y="32"/>
                        </a:cubicBezTo>
                        <a:cubicBezTo>
                          <a:pt x="100" y="32"/>
                          <a:pt x="100" y="32"/>
                          <a:pt x="100" y="32"/>
                        </a:cubicBezTo>
                        <a:close/>
                        <a:moveTo>
                          <a:pt x="100" y="33"/>
                        </a:moveTo>
                        <a:cubicBezTo>
                          <a:pt x="100" y="33"/>
                          <a:pt x="100" y="33"/>
                          <a:pt x="100" y="33"/>
                        </a:cubicBezTo>
                        <a:cubicBezTo>
                          <a:pt x="100" y="33"/>
                          <a:pt x="100" y="33"/>
                          <a:pt x="100" y="33"/>
                        </a:cubicBezTo>
                        <a:cubicBezTo>
                          <a:pt x="100" y="33"/>
                          <a:pt x="100" y="33"/>
                          <a:pt x="100" y="33"/>
                        </a:cubicBezTo>
                        <a:close/>
                        <a:moveTo>
                          <a:pt x="94" y="34"/>
                        </a:moveTo>
                        <a:cubicBezTo>
                          <a:pt x="94" y="34"/>
                          <a:pt x="93" y="34"/>
                          <a:pt x="93" y="34"/>
                        </a:cubicBezTo>
                        <a:cubicBezTo>
                          <a:pt x="93" y="34"/>
                          <a:pt x="93" y="34"/>
                          <a:pt x="93" y="34"/>
                        </a:cubicBezTo>
                        <a:cubicBezTo>
                          <a:pt x="93" y="34"/>
                          <a:pt x="93" y="34"/>
                          <a:pt x="94" y="34"/>
                        </a:cubicBezTo>
                        <a:cubicBezTo>
                          <a:pt x="94" y="34"/>
                          <a:pt x="93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ubicBezTo>
                          <a:pt x="94" y="34"/>
                          <a:pt x="94" y="34"/>
                          <a:pt x="94" y="34"/>
                        </a:cubicBezTo>
                        <a:close/>
                        <a:moveTo>
                          <a:pt x="96" y="34"/>
                        </a:moveTo>
                        <a:cubicBezTo>
                          <a:pt x="96" y="34"/>
                          <a:pt x="96" y="34"/>
                          <a:pt x="96" y="34"/>
                        </a:cubicBezTo>
                        <a:cubicBezTo>
                          <a:pt x="96" y="35"/>
                          <a:pt x="96" y="35"/>
                          <a:pt x="96" y="34"/>
                        </a:cubicBezTo>
                        <a:cubicBezTo>
                          <a:pt x="96" y="34"/>
                          <a:pt x="96" y="34"/>
                          <a:pt x="96" y="34"/>
                        </a:cubicBezTo>
                        <a:close/>
                        <a:moveTo>
                          <a:pt x="95" y="34"/>
                        </a:moveTo>
                        <a:cubicBezTo>
                          <a:pt x="95" y="34"/>
                          <a:pt x="95" y="34"/>
                          <a:pt x="96" y="34"/>
                        </a:cubicBezTo>
                        <a:cubicBezTo>
                          <a:pt x="95" y="34"/>
                          <a:pt x="96" y="34"/>
                          <a:pt x="95" y="34"/>
                        </a:cubicBezTo>
                        <a:cubicBezTo>
                          <a:pt x="95" y="34"/>
                          <a:pt x="95" y="34"/>
                          <a:pt x="95" y="34"/>
                        </a:cubicBezTo>
                        <a:close/>
                        <a:moveTo>
                          <a:pt x="95" y="34"/>
                        </a:moveTo>
                        <a:cubicBezTo>
                          <a:pt x="96" y="34"/>
                          <a:pt x="96" y="34"/>
                          <a:pt x="96" y="34"/>
                        </a:cubicBezTo>
                        <a:cubicBezTo>
                          <a:pt x="96" y="34"/>
                          <a:pt x="96" y="34"/>
                          <a:pt x="96" y="34"/>
                        </a:cubicBezTo>
                        <a:cubicBezTo>
                          <a:pt x="96" y="34"/>
                          <a:pt x="96" y="34"/>
                          <a:pt x="96" y="34"/>
                        </a:cubicBezTo>
                        <a:cubicBezTo>
                          <a:pt x="95" y="34"/>
                          <a:pt x="95" y="34"/>
                          <a:pt x="95" y="34"/>
                        </a:cubicBezTo>
                        <a:close/>
                        <a:moveTo>
                          <a:pt x="99" y="36"/>
                        </a:moveTo>
                        <a:cubicBezTo>
                          <a:pt x="99" y="36"/>
                          <a:pt x="99" y="37"/>
                          <a:pt x="99" y="36"/>
                        </a:cubicBezTo>
                        <a:cubicBezTo>
                          <a:pt x="99" y="36"/>
                          <a:pt x="99" y="36"/>
                          <a:pt x="99" y="36"/>
                        </a:cubicBezTo>
                        <a:cubicBezTo>
                          <a:pt x="99" y="36"/>
                          <a:pt x="99" y="36"/>
                          <a:pt x="99" y="36"/>
                        </a:cubicBezTo>
                        <a:close/>
                        <a:moveTo>
                          <a:pt x="96" y="35"/>
                        </a:moveTo>
                        <a:cubicBezTo>
                          <a:pt x="96" y="35"/>
                          <a:pt x="96" y="35"/>
                          <a:pt x="96" y="35"/>
                        </a:cubicBezTo>
                        <a:cubicBezTo>
                          <a:pt x="96" y="35"/>
                          <a:pt x="96" y="35"/>
                          <a:pt x="96" y="35"/>
                        </a:cubicBezTo>
                        <a:cubicBezTo>
                          <a:pt x="96" y="35"/>
                          <a:pt x="96" y="35"/>
                          <a:pt x="95" y="35"/>
                        </a:cubicBezTo>
                        <a:cubicBezTo>
                          <a:pt x="95" y="35"/>
                          <a:pt x="95" y="35"/>
                          <a:pt x="95" y="35"/>
                        </a:cubicBezTo>
                        <a:cubicBezTo>
                          <a:pt x="95" y="35"/>
                          <a:pt x="95" y="35"/>
                          <a:pt x="95" y="35"/>
                        </a:cubicBezTo>
                        <a:cubicBezTo>
                          <a:pt x="96" y="35"/>
                          <a:pt x="96" y="35"/>
                          <a:pt x="96" y="35"/>
                        </a:cubicBezTo>
                        <a:close/>
                        <a:moveTo>
                          <a:pt x="96" y="35"/>
                        </a:moveTo>
                        <a:cubicBezTo>
                          <a:pt x="96" y="35"/>
                          <a:pt x="96" y="35"/>
                          <a:pt x="96" y="35"/>
                        </a:cubicBezTo>
                        <a:cubicBezTo>
                          <a:pt x="96" y="35"/>
                          <a:pt x="96" y="35"/>
                          <a:pt x="95" y="35"/>
                        </a:cubicBezTo>
                        <a:cubicBezTo>
                          <a:pt x="95" y="35"/>
                          <a:pt x="96" y="36"/>
                          <a:pt x="96" y="36"/>
                        </a:cubicBezTo>
                        <a:cubicBezTo>
                          <a:pt x="96" y="36"/>
                          <a:pt x="96" y="36"/>
                          <a:pt x="96" y="36"/>
                        </a:cubicBezTo>
                        <a:cubicBezTo>
                          <a:pt x="96" y="36"/>
                          <a:pt x="97" y="35"/>
                          <a:pt x="97" y="36"/>
                        </a:cubicBezTo>
                        <a:cubicBezTo>
                          <a:pt x="97" y="36"/>
                          <a:pt x="97" y="35"/>
                          <a:pt x="97" y="35"/>
                        </a:cubicBezTo>
                        <a:cubicBezTo>
                          <a:pt x="97" y="35"/>
                          <a:pt x="97" y="35"/>
                          <a:pt x="97" y="35"/>
                        </a:cubicBezTo>
                        <a:cubicBezTo>
                          <a:pt x="96" y="35"/>
                          <a:pt x="97" y="35"/>
                          <a:pt x="97" y="35"/>
                        </a:cubicBezTo>
                        <a:cubicBezTo>
                          <a:pt x="96" y="35"/>
                          <a:pt x="97" y="35"/>
                          <a:pt x="96" y="35"/>
                        </a:cubicBezTo>
                        <a:close/>
                        <a:moveTo>
                          <a:pt x="99" y="36"/>
                        </a:moveTo>
                        <a:cubicBezTo>
                          <a:pt x="99" y="35"/>
                          <a:pt x="99" y="36"/>
                          <a:pt x="99" y="36"/>
                        </a:cubicBezTo>
                        <a:cubicBezTo>
                          <a:pt x="99" y="35"/>
                          <a:pt x="99" y="35"/>
                          <a:pt x="99" y="36"/>
                        </a:cubicBezTo>
                        <a:close/>
                        <a:moveTo>
                          <a:pt x="98" y="34"/>
                        </a:moveTo>
                        <a:cubicBezTo>
                          <a:pt x="98" y="34"/>
                          <a:pt x="97" y="34"/>
                          <a:pt x="98" y="34"/>
                        </a:cubicBezTo>
                        <a:cubicBezTo>
                          <a:pt x="97" y="34"/>
                          <a:pt x="97" y="34"/>
                          <a:pt x="97" y="34"/>
                        </a:cubicBezTo>
                        <a:cubicBezTo>
                          <a:pt x="98" y="34"/>
                          <a:pt x="97" y="34"/>
                          <a:pt x="98" y="34"/>
                        </a:cubicBezTo>
                        <a:close/>
                        <a:moveTo>
                          <a:pt x="98" y="34"/>
                        </a:moveTo>
                        <a:cubicBezTo>
                          <a:pt x="98" y="34"/>
                          <a:pt x="98" y="34"/>
                          <a:pt x="99" y="34"/>
                        </a:cubicBezTo>
                        <a:cubicBezTo>
                          <a:pt x="99" y="34"/>
                          <a:pt x="98" y="34"/>
                          <a:pt x="98" y="34"/>
                        </a:cubicBezTo>
                        <a:cubicBezTo>
                          <a:pt x="98" y="34"/>
                          <a:pt x="99" y="34"/>
                          <a:pt x="99" y="34"/>
                        </a:cubicBezTo>
                        <a:cubicBezTo>
                          <a:pt x="98" y="34"/>
                          <a:pt x="98" y="34"/>
                          <a:pt x="98" y="34"/>
                        </a:cubicBezTo>
                        <a:cubicBezTo>
                          <a:pt x="98" y="34"/>
                          <a:pt x="98" y="34"/>
                          <a:pt x="98" y="34"/>
                        </a:cubicBezTo>
                        <a:cubicBezTo>
                          <a:pt x="98" y="34"/>
                          <a:pt x="98" y="34"/>
                          <a:pt x="98" y="34"/>
                        </a:cubicBezTo>
                        <a:cubicBezTo>
                          <a:pt x="98" y="34"/>
                          <a:pt x="98" y="34"/>
                          <a:pt x="98" y="34"/>
                        </a:cubicBezTo>
                        <a:cubicBezTo>
                          <a:pt x="98" y="34"/>
                          <a:pt x="98" y="34"/>
                          <a:pt x="98" y="34"/>
                        </a:cubicBezTo>
                        <a:close/>
                        <a:moveTo>
                          <a:pt x="100" y="35"/>
                        </a:moveTo>
                        <a:cubicBezTo>
                          <a:pt x="100" y="35"/>
                          <a:pt x="100" y="35"/>
                          <a:pt x="100" y="35"/>
                        </a:cubicBezTo>
                        <a:cubicBezTo>
                          <a:pt x="100" y="35"/>
                          <a:pt x="100" y="35"/>
                          <a:pt x="100" y="35"/>
                        </a:cubicBezTo>
                        <a:cubicBezTo>
                          <a:pt x="100" y="35"/>
                          <a:pt x="100" y="35"/>
                          <a:pt x="100" y="35"/>
                        </a:cubicBezTo>
                        <a:cubicBezTo>
                          <a:pt x="100" y="35"/>
                          <a:pt x="100" y="35"/>
                          <a:pt x="100" y="35"/>
                        </a:cubicBezTo>
                        <a:close/>
                        <a:moveTo>
                          <a:pt x="99" y="35"/>
                        </a:moveTo>
                        <a:cubicBezTo>
                          <a:pt x="99" y="35"/>
                          <a:pt x="99" y="35"/>
                          <a:pt x="99" y="35"/>
                        </a:cubicBezTo>
                        <a:cubicBezTo>
                          <a:pt x="99" y="35"/>
                          <a:pt x="99" y="35"/>
                          <a:pt x="99" y="35"/>
                        </a:cubicBezTo>
                        <a:cubicBezTo>
                          <a:pt x="99" y="35"/>
                          <a:pt x="99" y="35"/>
                          <a:pt x="99" y="35"/>
                        </a:cubicBezTo>
                        <a:cubicBezTo>
                          <a:pt x="99" y="35"/>
                          <a:pt x="99" y="35"/>
                          <a:pt x="99" y="35"/>
                        </a:cubicBezTo>
                        <a:cubicBezTo>
                          <a:pt x="99" y="35"/>
                          <a:pt x="99" y="35"/>
                          <a:pt x="99" y="35"/>
                        </a:cubicBezTo>
                        <a:cubicBezTo>
                          <a:pt x="99" y="35"/>
                          <a:pt x="99" y="35"/>
                          <a:pt x="99" y="35"/>
                        </a:cubicBezTo>
                        <a:close/>
                        <a:moveTo>
                          <a:pt x="99" y="35"/>
                        </a:moveTo>
                        <a:cubicBezTo>
                          <a:pt x="99" y="35"/>
                          <a:pt x="99" y="35"/>
                          <a:pt x="99" y="35"/>
                        </a:cubicBezTo>
                        <a:cubicBezTo>
                          <a:pt x="99" y="35"/>
                          <a:pt x="99" y="35"/>
                          <a:pt x="99" y="35"/>
                        </a:cubicBezTo>
                        <a:cubicBezTo>
                          <a:pt x="99" y="35"/>
                          <a:pt x="99" y="35"/>
                          <a:pt x="99" y="35"/>
                        </a:cubicBezTo>
                        <a:close/>
                        <a:moveTo>
                          <a:pt x="100" y="35"/>
                        </a:moveTo>
                        <a:cubicBezTo>
                          <a:pt x="99" y="35"/>
                          <a:pt x="100" y="35"/>
                          <a:pt x="100" y="35"/>
                        </a:cubicBezTo>
                        <a:cubicBezTo>
                          <a:pt x="100" y="35"/>
                          <a:pt x="100" y="35"/>
                          <a:pt x="100" y="35"/>
                        </a:cubicBezTo>
                        <a:cubicBezTo>
                          <a:pt x="100" y="35"/>
                          <a:pt x="99" y="35"/>
                          <a:pt x="99" y="35"/>
                        </a:cubicBezTo>
                        <a:cubicBezTo>
                          <a:pt x="100" y="35"/>
                          <a:pt x="100" y="35"/>
                          <a:pt x="100" y="35"/>
                        </a:cubicBezTo>
                        <a:cubicBezTo>
                          <a:pt x="100" y="35"/>
                          <a:pt x="100" y="35"/>
                          <a:pt x="100" y="35"/>
                        </a:cubicBezTo>
                        <a:cubicBezTo>
                          <a:pt x="100" y="35"/>
                          <a:pt x="100" y="35"/>
                          <a:pt x="100" y="35"/>
                        </a:cubicBezTo>
                        <a:cubicBezTo>
                          <a:pt x="100" y="35"/>
                          <a:pt x="101" y="36"/>
                          <a:pt x="101" y="35"/>
                        </a:cubicBezTo>
                        <a:cubicBezTo>
                          <a:pt x="101" y="35"/>
                          <a:pt x="100" y="35"/>
                          <a:pt x="100" y="35"/>
                        </a:cubicBezTo>
                        <a:cubicBezTo>
                          <a:pt x="100" y="35"/>
                          <a:pt x="101" y="35"/>
                          <a:pt x="101" y="35"/>
                        </a:cubicBezTo>
                        <a:cubicBezTo>
                          <a:pt x="100" y="35"/>
                          <a:pt x="100" y="35"/>
                          <a:pt x="100" y="35"/>
                        </a:cubicBezTo>
                        <a:close/>
                        <a:moveTo>
                          <a:pt x="100" y="35"/>
                        </a:moveTo>
                        <a:cubicBezTo>
                          <a:pt x="100" y="35"/>
                          <a:pt x="101" y="35"/>
                          <a:pt x="101" y="35"/>
                        </a:cubicBezTo>
                        <a:cubicBezTo>
                          <a:pt x="100" y="35"/>
                          <a:pt x="100" y="35"/>
                          <a:pt x="100" y="35"/>
                        </a:cubicBezTo>
                        <a:close/>
                        <a:moveTo>
                          <a:pt x="99" y="34"/>
                        </a:moveTo>
                        <a:cubicBezTo>
                          <a:pt x="99" y="34"/>
                          <a:pt x="99" y="34"/>
                          <a:pt x="99" y="34"/>
                        </a:cubicBezTo>
                        <a:cubicBezTo>
                          <a:pt x="99" y="34"/>
                          <a:pt x="99" y="34"/>
                          <a:pt x="99" y="34"/>
                        </a:cubicBezTo>
                        <a:cubicBezTo>
                          <a:pt x="99" y="34"/>
                          <a:pt x="99" y="34"/>
                          <a:pt x="99" y="34"/>
                        </a:cubicBezTo>
                        <a:cubicBezTo>
                          <a:pt x="99" y="34"/>
                          <a:pt x="99" y="34"/>
                          <a:pt x="99" y="34"/>
                        </a:cubicBezTo>
                        <a:close/>
                        <a:moveTo>
                          <a:pt x="95" y="33"/>
                        </a:moveTo>
                        <a:cubicBezTo>
                          <a:pt x="95" y="33"/>
                          <a:pt x="94" y="33"/>
                          <a:pt x="94" y="33"/>
                        </a:cubicBezTo>
                        <a:cubicBezTo>
                          <a:pt x="94" y="33"/>
                          <a:pt x="93" y="33"/>
                          <a:pt x="93" y="33"/>
                        </a:cubicBezTo>
                        <a:cubicBezTo>
                          <a:pt x="93" y="33"/>
                          <a:pt x="94" y="33"/>
                          <a:pt x="94" y="33"/>
                        </a:cubicBezTo>
                        <a:cubicBezTo>
                          <a:pt x="94" y="33"/>
                          <a:pt x="94" y="33"/>
                          <a:pt x="94" y="33"/>
                        </a:cubicBezTo>
                        <a:cubicBezTo>
                          <a:pt x="94" y="33"/>
                          <a:pt x="94" y="33"/>
                          <a:pt x="94" y="33"/>
                        </a:cubicBezTo>
                        <a:cubicBezTo>
                          <a:pt x="94" y="33"/>
                          <a:pt x="94" y="33"/>
                          <a:pt x="94" y="33"/>
                        </a:cubicBezTo>
                        <a:cubicBezTo>
                          <a:pt x="94" y="33"/>
                          <a:pt x="95" y="33"/>
                          <a:pt x="95" y="33"/>
                        </a:cubicBezTo>
                        <a:cubicBezTo>
                          <a:pt x="95" y="33"/>
                          <a:pt x="95" y="33"/>
                          <a:pt x="95" y="33"/>
                        </a:cubicBezTo>
                        <a:close/>
                        <a:moveTo>
                          <a:pt x="97" y="36"/>
                        </a:moveTo>
                        <a:cubicBezTo>
                          <a:pt x="97" y="36"/>
                          <a:pt x="98" y="36"/>
                          <a:pt x="98" y="36"/>
                        </a:cubicBezTo>
                        <a:cubicBezTo>
                          <a:pt x="98" y="36"/>
                          <a:pt x="97" y="36"/>
                          <a:pt x="97" y="36"/>
                        </a:cubicBezTo>
                        <a:close/>
                        <a:moveTo>
                          <a:pt x="103" y="34"/>
                        </a:moveTo>
                        <a:cubicBezTo>
                          <a:pt x="103" y="34"/>
                          <a:pt x="103" y="34"/>
                          <a:pt x="103" y="34"/>
                        </a:cubicBezTo>
                        <a:cubicBezTo>
                          <a:pt x="103" y="34"/>
                          <a:pt x="102" y="34"/>
                          <a:pt x="103" y="34"/>
                        </a:cubicBezTo>
                        <a:close/>
                        <a:moveTo>
                          <a:pt x="104" y="32"/>
                        </a:moveTo>
                        <a:cubicBezTo>
                          <a:pt x="104" y="33"/>
                          <a:pt x="103" y="32"/>
                          <a:pt x="103" y="32"/>
                        </a:cubicBezTo>
                        <a:cubicBezTo>
                          <a:pt x="103" y="32"/>
                          <a:pt x="103" y="32"/>
                          <a:pt x="103" y="32"/>
                        </a:cubicBezTo>
                        <a:cubicBezTo>
                          <a:pt x="103" y="32"/>
                          <a:pt x="103" y="32"/>
                          <a:pt x="103" y="32"/>
                        </a:cubicBezTo>
                        <a:cubicBezTo>
                          <a:pt x="103" y="32"/>
                          <a:pt x="103" y="32"/>
                          <a:pt x="103" y="32"/>
                        </a:cubicBezTo>
                        <a:cubicBezTo>
                          <a:pt x="103" y="32"/>
                          <a:pt x="103" y="32"/>
                          <a:pt x="104" y="32"/>
                        </a:cubicBezTo>
                        <a:cubicBezTo>
                          <a:pt x="104" y="32"/>
                          <a:pt x="104" y="32"/>
                          <a:pt x="104" y="32"/>
                        </a:cubicBezTo>
                        <a:close/>
                        <a:moveTo>
                          <a:pt x="103" y="33"/>
                        </a:moveTo>
                        <a:cubicBezTo>
                          <a:pt x="103" y="33"/>
                          <a:pt x="102" y="33"/>
                          <a:pt x="102" y="33"/>
                        </a:cubicBezTo>
                        <a:cubicBezTo>
                          <a:pt x="103" y="33"/>
                          <a:pt x="103" y="33"/>
                          <a:pt x="103" y="33"/>
                        </a:cubicBezTo>
                        <a:close/>
                        <a:moveTo>
                          <a:pt x="103" y="27"/>
                        </a:moveTo>
                        <a:cubicBezTo>
                          <a:pt x="104" y="28"/>
                          <a:pt x="103" y="27"/>
                          <a:pt x="104" y="28"/>
                        </a:cubicBezTo>
                        <a:cubicBezTo>
                          <a:pt x="104" y="28"/>
                          <a:pt x="104" y="28"/>
                          <a:pt x="104" y="28"/>
                        </a:cubicBezTo>
                        <a:cubicBezTo>
                          <a:pt x="103" y="28"/>
                          <a:pt x="103" y="28"/>
                          <a:pt x="103" y="28"/>
                        </a:cubicBezTo>
                        <a:cubicBezTo>
                          <a:pt x="103" y="27"/>
                          <a:pt x="103" y="27"/>
                          <a:pt x="103" y="27"/>
                        </a:cubicBezTo>
                        <a:cubicBezTo>
                          <a:pt x="103" y="27"/>
                          <a:pt x="103" y="28"/>
                          <a:pt x="103" y="28"/>
                        </a:cubicBezTo>
                        <a:cubicBezTo>
                          <a:pt x="103" y="28"/>
                          <a:pt x="103" y="28"/>
                          <a:pt x="103" y="27"/>
                        </a:cubicBezTo>
                        <a:close/>
                        <a:moveTo>
                          <a:pt x="103" y="30"/>
                        </a:moveTo>
                        <a:cubicBezTo>
                          <a:pt x="103" y="30"/>
                          <a:pt x="102" y="30"/>
                          <a:pt x="102" y="30"/>
                        </a:cubicBezTo>
                        <a:cubicBezTo>
                          <a:pt x="102" y="30"/>
                          <a:pt x="102" y="30"/>
                          <a:pt x="102" y="30"/>
                        </a:cubicBezTo>
                        <a:cubicBezTo>
                          <a:pt x="102" y="30"/>
                          <a:pt x="102" y="30"/>
                          <a:pt x="101" y="30"/>
                        </a:cubicBezTo>
                        <a:cubicBezTo>
                          <a:pt x="101" y="30"/>
                          <a:pt x="101" y="30"/>
                          <a:pt x="101" y="30"/>
                        </a:cubicBezTo>
                        <a:cubicBezTo>
                          <a:pt x="101" y="30"/>
                          <a:pt x="101" y="30"/>
                          <a:pt x="101" y="30"/>
                        </a:cubicBezTo>
                        <a:cubicBezTo>
                          <a:pt x="101" y="30"/>
                          <a:pt x="101" y="30"/>
                          <a:pt x="101" y="30"/>
                        </a:cubicBezTo>
                        <a:cubicBezTo>
                          <a:pt x="101" y="30"/>
                          <a:pt x="101" y="30"/>
                          <a:pt x="101" y="30"/>
                        </a:cubicBezTo>
                        <a:cubicBezTo>
                          <a:pt x="101" y="30"/>
                          <a:pt x="100" y="30"/>
                          <a:pt x="101" y="30"/>
                        </a:cubicBezTo>
                        <a:cubicBezTo>
                          <a:pt x="100" y="30"/>
                          <a:pt x="100" y="30"/>
                          <a:pt x="100" y="30"/>
                        </a:cubicBezTo>
                        <a:cubicBezTo>
                          <a:pt x="100" y="30"/>
                          <a:pt x="100" y="30"/>
                          <a:pt x="100" y="30"/>
                        </a:cubicBezTo>
                        <a:cubicBezTo>
                          <a:pt x="100" y="30"/>
                          <a:pt x="100" y="30"/>
                          <a:pt x="101" y="30"/>
                        </a:cubicBezTo>
                        <a:cubicBezTo>
                          <a:pt x="100" y="30"/>
                          <a:pt x="100" y="30"/>
                          <a:pt x="100" y="30"/>
                        </a:cubicBezTo>
                        <a:cubicBezTo>
                          <a:pt x="100" y="29"/>
                          <a:pt x="100" y="30"/>
                          <a:pt x="100" y="29"/>
                        </a:cubicBezTo>
                        <a:cubicBezTo>
                          <a:pt x="100" y="29"/>
                          <a:pt x="100" y="29"/>
                          <a:pt x="100" y="29"/>
                        </a:cubicBezTo>
                        <a:cubicBezTo>
                          <a:pt x="99" y="29"/>
                          <a:pt x="100" y="29"/>
                          <a:pt x="100" y="29"/>
                        </a:cubicBezTo>
                        <a:cubicBezTo>
                          <a:pt x="100" y="30"/>
                          <a:pt x="100" y="30"/>
                          <a:pt x="99" y="29"/>
                        </a:cubicBezTo>
                        <a:cubicBezTo>
                          <a:pt x="99" y="29"/>
                          <a:pt x="100" y="29"/>
                          <a:pt x="100" y="29"/>
                        </a:cubicBezTo>
                        <a:cubicBezTo>
                          <a:pt x="100" y="29"/>
                          <a:pt x="100" y="29"/>
                          <a:pt x="100" y="29"/>
                        </a:cubicBezTo>
                        <a:cubicBezTo>
                          <a:pt x="100" y="29"/>
                          <a:pt x="100" y="29"/>
                          <a:pt x="100" y="29"/>
                        </a:cubicBezTo>
                        <a:cubicBezTo>
                          <a:pt x="99" y="29"/>
                          <a:pt x="99" y="29"/>
                          <a:pt x="99" y="29"/>
                        </a:cubicBezTo>
                        <a:cubicBezTo>
                          <a:pt x="99" y="29"/>
                          <a:pt x="99" y="29"/>
                          <a:pt x="99" y="29"/>
                        </a:cubicBezTo>
                        <a:cubicBezTo>
                          <a:pt x="98" y="29"/>
                          <a:pt x="98" y="29"/>
                          <a:pt x="98" y="29"/>
                        </a:cubicBezTo>
                        <a:cubicBezTo>
                          <a:pt x="99" y="29"/>
                          <a:pt x="99" y="29"/>
                          <a:pt x="99" y="29"/>
                        </a:cubicBezTo>
                        <a:cubicBezTo>
                          <a:pt x="99" y="29"/>
                          <a:pt x="99" y="29"/>
                          <a:pt x="99" y="28"/>
                        </a:cubicBezTo>
                        <a:cubicBezTo>
                          <a:pt x="100" y="28"/>
                          <a:pt x="100" y="29"/>
                          <a:pt x="99" y="29"/>
                        </a:cubicBezTo>
                        <a:cubicBezTo>
                          <a:pt x="100" y="29"/>
                          <a:pt x="100" y="28"/>
                          <a:pt x="100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100" y="28"/>
                          <a:pt x="99" y="27"/>
                        </a:cubicBezTo>
                        <a:cubicBezTo>
                          <a:pt x="100" y="28"/>
                          <a:pt x="99" y="28"/>
                          <a:pt x="99" y="27"/>
                        </a:cubicBezTo>
                        <a:cubicBezTo>
                          <a:pt x="99" y="27"/>
                          <a:pt x="99" y="27"/>
                          <a:pt x="99" y="27"/>
                        </a:cubicBezTo>
                        <a:cubicBezTo>
                          <a:pt x="99" y="27"/>
                          <a:pt x="99" y="27"/>
                          <a:pt x="99" y="27"/>
                        </a:cubicBezTo>
                        <a:cubicBezTo>
                          <a:pt x="99" y="27"/>
                          <a:pt x="99" y="27"/>
                          <a:pt x="99" y="27"/>
                        </a:cubicBezTo>
                        <a:cubicBezTo>
                          <a:pt x="99" y="27"/>
                          <a:pt x="99" y="27"/>
                          <a:pt x="98" y="27"/>
                        </a:cubicBezTo>
                        <a:cubicBezTo>
                          <a:pt x="99" y="27"/>
                          <a:pt x="99" y="27"/>
                          <a:pt x="98" y="27"/>
                        </a:cubicBezTo>
                        <a:cubicBezTo>
                          <a:pt x="98" y="27"/>
                          <a:pt x="98" y="27"/>
                          <a:pt x="98" y="27"/>
                        </a:cubicBezTo>
                        <a:cubicBezTo>
                          <a:pt x="98" y="27"/>
                          <a:pt x="99" y="27"/>
                          <a:pt x="99" y="27"/>
                        </a:cubicBezTo>
                        <a:cubicBezTo>
                          <a:pt x="99" y="27"/>
                          <a:pt x="99" y="27"/>
                          <a:pt x="98" y="26"/>
                        </a:cubicBezTo>
                        <a:cubicBezTo>
                          <a:pt x="98" y="26"/>
                          <a:pt x="99" y="26"/>
                          <a:pt x="99" y="26"/>
                        </a:cubicBezTo>
                        <a:cubicBezTo>
                          <a:pt x="99" y="26"/>
                          <a:pt x="98" y="26"/>
                          <a:pt x="98" y="26"/>
                        </a:cubicBezTo>
                        <a:cubicBezTo>
                          <a:pt x="98" y="26"/>
                          <a:pt x="98" y="26"/>
                          <a:pt x="98" y="26"/>
                        </a:cubicBezTo>
                        <a:cubicBezTo>
                          <a:pt x="98" y="26"/>
                          <a:pt x="98" y="26"/>
                          <a:pt x="98" y="26"/>
                        </a:cubicBezTo>
                        <a:cubicBezTo>
                          <a:pt x="98" y="26"/>
                          <a:pt x="98" y="26"/>
                          <a:pt x="98" y="26"/>
                        </a:cubicBezTo>
                        <a:cubicBezTo>
                          <a:pt x="98" y="26"/>
                          <a:pt x="98" y="26"/>
                          <a:pt x="98" y="26"/>
                        </a:cubicBezTo>
                        <a:cubicBezTo>
                          <a:pt x="98" y="26"/>
                          <a:pt x="98" y="26"/>
                          <a:pt x="97" y="26"/>
                        </a:cubicBezTo>
                        <a:cubicBezTo>
                          <a:pt x="97" y="26"/>
                          <a:pt x="98" y="26"/>
                          <a:pt x="98" y="26"/>
                        </a:cubicBezTo>
                        <a:cubicBezTo>
                          <a:pt x="98" y="26"/>
                          <a:pt x="97" y="26"/>
                          <a:pt x="97" y="26"/>
                        </a:cubicBezTo>
                        <a:cubicBezTo>
                          <a:pt x="97" y="26"/>
                          <a:pt x="97" y="26"/>
                          <a:pt x="98" y="26"/>
                        </a:cubicBezTo>
                        <a:cubicBezTo>
                          <a:pt x="98" y="26"/>
                          <a:pt x="99" y="26"/>
                          <a:pt x="99" y="27"/>
                        </a:cubicBezTo>
                        <a:cubicBezTo>
                          <a:pt x="99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99" y="27"/>
                          <a:pt x="99" y="27"/>
                          <a:pt x="99" y="27"/>
                        </a:cubicBezTo>
                        <a:cubicBezTo>
                          <a:pt x="99" y="27"/>
                          <a:pt x="100" y="27"/>
                          <a:pt x="100" y="27"/>
                        </a:cubicBezTo>
                        <a:cubicBezTo>
                          <a:pt x="99" y="27"/>
                          <a:pt x="99" y="27"/>
                          <a:pt x="99" y="27"/>
                        </a:cubicBezTo>
                        <a:cubicBezTo>
                          <a:pt x="99" y="27"/>
                          <a:pt x="99" y="27"/>
                          <a:pt x="100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8"/>
                          <a:pt x="100" y="28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1" y="27"/>
                          <a:pt x="101" y="28"/>
                          <a:pt x="101" y="28"/>
                        </a:cubicBezTo>
                        <a:cubicBezTo>
                          <a:pt x="101" y="28"/>
                          <a:pt x="101" y="28"/>
                          <a:pt x="101" y="28"/>
                        </a:cubicBezTo>
                        <a:cubicBezTo>
                          <a:pt x="101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101" y="28"/>
                        </a:cubicBezTo>
                        <a:cubicBezTo>
                          <a:pt x="100" y="28"/>
                          <a:pt x="101" y="28"/>
                          <a:pt x="100" y="28"/>
                        </a:cubicBezTo>
                        <a:cubicBezTo>
                          <a:pt x="101" y="29"/>
                          <a:pt x="101" y="28"/>
                          <a:pt x="102" y="29"/>
                        </a:cubicBezTo>
                        <a:cubicBezTo>
                          <a:pt x="101" y="29"/>
                          <a:pt x="101" y="29"/>
                          <a:pt x="101" y="29"/>
                        </a:cubicBezTo>
                        <a:cubicBezTo>
                          <a:pt x="101" y="29"/>
                          <a:pt x="101" y="29"/>
                          <a:pt x="101" y="29"/>
                        </a:cubicBezTo>
                        <a:cubicBezTo>
                          <a:pt x="101" y="29"/>
                          <a:pt x="101" y="29"/>
                          <a:pt x="101" y="29"/>
                        </a:cubicBezTo>
                        <a:cubicBezTo>
                          <a:pt x="101" y="29"/>
                          <a:pt x="101" y="29"/>
                          <a:pt x="102" y="29"/>
                        </a:cubicBezTo>
                        <a:cubicBezTo>
                          <a:pt x="102" y="29"/>
                          <a:pt x="101" y="29"/>
                          <a:pt x="101" y="29"/>
                        </a:cubicBezTo>
                        <a:cubicBezTo>
                          <a:pt x="102" y="29"/>
                          <a:pt x="102" y="29"/>
                          <a:pt x="102" y="29"/>
                        </a:cubicBezTo>
                        <a:cubicBezTo>
                          <a:pt x="102" y="29"/>
                          <a:pt x="102" y="29"/>
                          <a:pt x="102" y="30"/>
                        </a:cubicBezTo>
                        <a:cubicBezTo>
                          <a:pt x="102" y="29"/>
                          <a:pt x="102" y="29"/>
                          <a:pt x="101" y="29"/>
                        </a:cubicBezTo>
                        <a:cubicBezTo>
                          <a:pt x="101" y="30"/>
                          <a:pt x="102" y="30"/>
                          <a:pt x="102" y="30"/>
                        </a:cubicBezTo>
                        <a:cubicBezTo>
                          <a:pt x="102" y="30"/>
                          <a:pt x="103" y="30"/>
                          <a:pt x="103" y="30"/>
                        </a:cubicBezTo>
                        <a:close/>
                        <a:moveTo>
                          <a:pt x="100" y="28"/>
                        </a:moveTo>
                        <a:cubicBezTo>
                          <a:pt x="100" y="28"/>
                          <a:pt x="100" y="27"/>
                          <a:pt x="99" y="28"/>
                        </a:cubicBezTo>
                        <a:cubicBezTo>
                          <a:pt x="100" y="28"/>
                          <a:pt x="100" y="28"/>
                          <a:pt x="99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lose/>
                        <a:moveTo>
                          <a:pt x="100" y="28"/>
                        </a:move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99" y="28"/>
                        </a:cubicBezTo>
                        <a:cubicBezTo>
                          <a:pt x="99" y="28"/>
                          <a:pt x="100" y="28"/>
                          <a:pt x="100" y="28"/>
                        </a:cubicBezTo>
                        <a:close/>
                        <a:moveTo>
                          <a:pt x="101" y="30"/>
                        </a:moveTo>
                        <a:cubicBezTo>
                          <a:pt x="101" y="30"/>
                          <a:pt x="101" y="29"/>
                          <a:pt x="101" y="29"/>
                        </a:cubicBezTo>
                        <a:cubicBezTo>
                          <a:pt x="101" y="29"/>
                          <a:pt x="101" y="30"/>
                          <a:pt x="101" y="30"/>
                        </a:cubicBezTo>
                        <a:close/>
                        <a:moveTo>
                          <a:pt x="101" y="30"/>
                        </a:moveTo>
                        <a:cubicBezTo>
                          <a:pt x="101" y="30"/>
                          <a:pt x="101" y="30"/>
                          <a:pt x="101" y="30"/>
                        </a:cubicBezTo>
                        <a:cubicBezTo>
                          <a:pt x="101" y="30"/>
                          <a:pt x="101" y="30"/>
                          <a:pt x="101" y="30"/>
                        </a:cubicBezTo>
                        <a:close/>
                        <a:moveTo>
                          <a:pt x="102" y="34"/>
                        </a:moveTo>
                        <a:cubicBezTo>
                          <a:pt x="101" y="34"/>
                          <a:pt x="101" y="34"/>
                          <a:pt x="101" y="34"/>
                        </a:cubicBezTo>
                        <a:cubicBezTo>
                          <a:pt x="101" y="34"/>
                          <a:pt x="101" y="34"/>
                          <a:pt x="102" y="34"/>
                        </a:cubicBezTo>
                        <a:close/>
                        <a:moveTo>
                          <a:pt x="103" y="26"/>
                        </a:moveTo>
                        <a:cubicBezTo>
                          <a:pt x="103" y="26"/>
                          <a:pt x="103" y="26"/>
                          <a:pt x="103" y="26"/>
                        </a:cubicBezTo>
                        <a:cubicBezTo>
                          <a:pt x="103" y="26"/>
                          <a:pt x="103" y="26"/>
                          <a:pt x="103" y="26"/>
                        </a:cubicBezTo>
                        <a:cubicBezTo>
                          <a:pt x="103" y="26"/>
                          <a:pt x="103" y="26"/>
                          <a:pt x="103" y="26"/>
                        </a:cubicBezTo>
                        <a:cubicBezTo>
                          <a:pt x="103" y="26"/>
                          <a:pt x="104" y="26"/>
                          <a:pt x="103" y="26"/>
                        </a:cubicBezTo>
                        <a:close/>
                        <a:moveTo>
                          <a:pt x="97" y="31"/>
                        </a:moveTo>
                        <a:cubicBezTo>
                          <a:pt x="98" y="31"/>
                          <a:pt x="98" y="31"/>
                          <a:pt x="99" y="32"/>
                        </a:cubicBezTo>
                        <a:cubicBezTo>
                          <a:pt x="99" y="32"/>
                          <a:pt x="98" y="32"/>
                          <a:pt x="99" y="32"/>
                        </a:cubicBezTo>
                        <a:cubicBezTo>
                          <a:pt x="98" y="32"/>
                          <a:pt x="98" y="32"/>
                          <a:pt x="98" y="32"/>
                        </a:cubicBezTo>
                        <a:cubicBezTo>
                          <a:pt x="98" y="32"/>
                          <a:pt x="98" y="32"/>
                          <a:pt x="98" y="31"/>
                        </a:cubicBezTo>
                        <a:cubicBezTo>
                          <a:pt x="98" y="31"/>
                          <a:pt x="98" y="31"/>
                          <a:pt x="98" y="31"/>
                        </a:cubicBezTo>
                        <a:cubicBezTo>
                          <a:pt x="98" y="31"/>
                          <a:pt x="98" y="31"/>
                          <a:pt x="97" y="31"/>
                        </a:cubicBezTo>
                        <a:cubicBezTo>
                          <a:pt x="97" y="31"/>
                          <a:pt x="97" y="31"/>
                          <a:pt x="97" y="31"/>
                        </a:cubicBezTo>
                        <a:cubicBezTo>
                          <a:pt x="97" y="31"/>
                          <a:pt x="97" y="31"/>
                          <a:pt x="97" y="31"/>
                        </a:cubicBezTo>
                        <a:cubicBezTo>
                          <a:pt x="97" y="31"/>
                          <a:pt x="97" y="31"/>
                          <a:pt x="97" y="31"/>
                        </a:cubicBezTo>
                        <a:cubicBezTo>
                          <a:pt x="97" y="31"/>
                          <a:pt x="97" y="31"/>
                          <a:pt x="97" y="31"/>
                        </a:cubicBezTo>
                        <a:close/>
                        <a:moveTo>
                          <a:pt x="97" y="33"/>
                        </a:moveTo>
                        <a:cubicBezTo>
                          <a:pt x="97" y="33"/>
                          <a:pt x="97" y="33"/>
                          <a:pt x="97" y="33"/>
                        </a:cubicBezTo>
                        <a:cubicBezTo>
                          <a:pt x="97" y="33"/>
                          <a:pt x="97" y="33"/>
                          <a:pt x="97" y="33"/>
                        </a:cubicBezTo>
                        <a:cubicBezTo>
                          <a:pt x="97" y="33"/>
                          <a:pt x="97" y="33"/>
                          <a:pt x="98" y="33"/>
                        </a:cubicBezTo>
                        <a:cubicBezTo>
                          <a:pt x="98" y="33"/>
                          <a:pt x="97" y="33"/>
                          <a:pt x="97" y="33"/>
                        </a:cubicBezTo>
                        <a:close/>
                        <a:moveTo>
                          <a:pt x="65" y="22"/>
                        </a:moveTo>
                        <a:cubicBezTo>
                          <a:pt x="65" y="22"/>
                          <a:pt x="65" y="22"/>
                          <a:pt x="64" y="22"/>
                        </a:cubicBezTo>
                        <a:cubicBezTo>
                          <a:pt x="64" y="22"/>
                          <a:pt x="65" y="22"/>
                          <a:pt x="65" y="22"/>
                        </a:cubicBezTo>
                        <a:cubicBezTo>
                          <a:pt x="64" y="22"/>
                          <a:pt x="64" y="21"/>
                          <a:pt x="63" y="21"/>
                        </a:cubicBezTo>
                        <a:cubicBezTo>
                          <a:pt x="63" y="21"/>
                          <a:pt x="63" y="21"/>
                          <a:pt x="63" y="21"/>
                        </a:cubicBezTo>
                        <a:cubicBezTo>
                          <a:pt x="63" y="22"/>
                          <a:pt x="63" y="21"/>
                          <a:pt x="63" y="21"/>
                        </a:cubicBezTo>
                        <a:cubicBezTo>
                          <a:pt x="63" y="21"/>
                          <a:pt x="64" y="22"/>
                          <a:pt x="63" y="21"/>
                        </a:cubicBezTo>
                        <a:cubicBezTo>
                          <a:pt x="63" y="21"/>
                          <a:pt x="63" y="21"/>
                          <a:pt x="63" y="21"/>
                        </a:cubicBezTo>
                        <a:cubicBezTo>
                          <a:pt x="62" y="21"/>
                          <a:pt x="62" y="21"/>
                          <a:pt x="61" y="20"/>
                        </a:cubicBezTo>
                        <a:cubicBezTo>
                          <a:pt x="61" y="20"/>
                          <a:pt x="63" y="21"/>
                          <a:pt x="63" y="21"/>
                        </a:cubicBezTo>
                        <a:cubicBezTo>
                          <a:pt x="63" y="21"/>
                          <a:pt x="63" y="21"/>
                          <a:pt x="63" y="21"/>
                        </a:cubicBezTo>
                        <a:cubicBezTo>
                          <a:pt x="63" y="21"/>
                          <a:pt x="63" y="21"/>
                          <a:pt x="63" y="21"/>
                        </a:cubicBezTo>
                        <a:cubicBezTo>
                          <a:pt x="63" y="21"/>
                          <a:pt x="62" y="20"/>
                          <a:pt x="62" y="20"/>
                        </a:cubicBezTo>
                        <a:cubicBezTo>
                          <a:pt x="62" y="21"/>
                          <a:pt x="62" y="20"/>
                          <a:pt x="62" y="20"/>
                        </a:cubicBezTo>
                        <a:cubicBezTo>
                          <a:pt x="62" y="20"/>
                          <a:pt x="62" y="20"/>
                          <a:pt x="62" y="20"/>
                        </a:cubicBezTo>
                        <a:cubicBezTo>
                          <a:pt x="62" y="20"/>
                          <a:pt x="63" y="20"/>
                          <a:pt x="63" y="21"/>
                        </a:cubicBezTo>
                        <a:cubicBezTo>
                          <a:pt x="63" y="21"/>
                          <a:pt x="63" y="21"/>
                          <a:pt x="63" y="21"/>
                        </a:cubicBezTo>
                        <a:cubicBezTo>
                          <a:pt x="63" y="21"/>
                          <a:pt x="62" y="20"/>
                          <a:pt x="62" y="21"/>
                        </a:cubicBezTo>
                        <a:cubicBezTo>
                          <a:pt x="62" y="20"/>
                          <a:pt x="62" y="21"/>
                          <a:pt x="61" y="20"/>
                        </a:cubicBezTo>
                        <a:cubicBezTo>
                          <a:pt x="61" y="20"/>
                          <a:pt x="61" y="20"/>
                          <a:pt x="61" y="20"/>
                        </a:cubicBezTo>
                        <a:cubicBezTo>
                          <a:pt x="61" y="20"/>
                          <a:pt x="62" y="20"/>
                          <a:pt x="61" y="20"/>
                        </a:cubicBezTo>
                        <a:cubicBezTo>
                          <a:pt x="62" y="20"/>
                          <a:pt x="61" y="20"/>
                          <a:pt x="62" y="20"/>
                        </a:cubicBezTo>
                        <a:cubicBezTo>
                          <a:pt x="62" y="20"/>
                          <a:pt x="61" y="20"/>
                          <a:pt x="61" y="20"/>
                        </a:cubicBezTo>
                        <a:cubicBezTo>
                          <a:pt x="61" y="20"/>
                          <a:pt x="61" y="20"/>
                          <a:pt x="61" y="20"/>
                        </a:cubicBezTo>
                        <a:cubicBezTo>
                          <a:pt x="61" y="20"/>
                          <a:pt x="61" y="20"/>
                          <a:pt x="61" y="20"/>
                        </a:cubicBezTo>
                        <a:cubicBezTo>
                          <a:pt x="61" y="19"/>
                          <a:pt x="62" y="20"/>
                          <a:pt x="61" y="20"/>
                        </a:cubicBezTo>
                        <a:cubicBezTo>
                          <a:pt x="62" y="20"/>
                          <a:pt x="63" y="20"/>
                          <a:pt x="64" y="20"/>
                        </a:cubicBezTo>
                        <a:cubicBezTo>
                          <a:pt x="64" y="20"/>
                          <a:pt x="64" y="20"/>
                          <a:pt x="64" y="20"/>
                        </a:cubicBezTo>
                        <a:cubicBezTo>
                          <a:pt x="64" y="20"/>
                          <a:pt x="64" y="20"/>
                          <a:pt x="65" y="21"/>
                        </a:cubicBezTo>
                        <a:cubicBezTo>
                          <a:pt x="65" y="21"/>
                          <a:pt x="64" y="20"/>
                          <a:pt x="63" y="20"/>
                        </a:cubicBezTo>
                        <a:cubicBezTo>
                          <a:pt x="63" y="20"/>
                          <a:pt x="63" y="21"/>
                          <a:pt x="64" y="21"/>
                        </a:cubicBezTo>
                        <a:cubicBezTo>
                          <a:pt x="64" y="21"/>
                          <a:pt x="64" y="21"/>
                          <a:pt x="63" y="21"/>
                        </a:cubicBezTo>
                        <a:cubicBezTo>
                          <a:pt x="63" y="21"/>
                          <a:pt x="63" y="21"/>
                          <a:pt x="63" y="21"/>
                        </a:cubicBezTo>
                        <a:cubicBezTo>
                          <a:pt x="64" y="21"/>
                          <a:pt x="64" y="21"/>
                          <a:pt x="64" y="21"/>
                        </a:cubicBezTo>
                        <a:cubicBezTo>
                          <a:pt x="64" y="21"/>
                          <a:pt x="64" y="21"/>
                          <a:pt x="64" y="21"/>
                        </a:cubicBezTo>
                        <a:cubicBezTo>
                          <a:pt x="64" y="21"/>
                          <a:pt x="64" y="21"/>
                          <a:pt x="64" y="21"/>
                        </a:cubicBezTo>
                        <a:cubicBezTo>
                          <a:pt x="64" y="21"/>
                          <a:pt x="64" y="21"/>
                          <a:pt x="64" y="21"/>
                        </a:cubicBezTo>
                        <a:cubicBezTo>
                          <a:pt x="64" y="21"/>
                          <a:pt x="64" y="21"/>
                          <a:pt x="64" y="21"/>
                        </a:cubicBezTo>
                        <a:cubicBezTo>
                          <a:pt x="64" y="21"/>
                          <a:pt x="64" y="21"/>
                          <a:pt x="63" y="20"/>
                        </a:cubicBezTo>
                        <a:cubicBezTo>
                          <a:pt x="64" y="20"/>
                          <a:pt x="64" y="21"/>
                          <a:pt x="65" y="21"/>
                        </a:cubicBezTo>
                        <a:cubicBezTo>
                          <a:pt x="65" y="21"/>
                          <a:pt x="65" y="21"/>
                          <a:pt x="65" y="21"/>
                        </a:cubicBezTo>
                        <a:cubicBezTo>
                          <a:pt x="65" y="21"/>
                          <a:pt x="65" y="21"/>
                          <a:pt x="64" y="21"/>
                        </a:cubicBezTo>
                        <a:cubicBezTo>
                          <a:pt x="65" y="21"/>
                          <a:pt x="65" y="21"/>
                          <a:pt x="65" y="21"/>
                        </a:cubicBezTo>
                        <a:cubicBezTo>
                          <a:pt x="65" y="21"/>
                          <a:pt x="65" y="21"/>
                          <a:pt x="65" y="20"/>
                        </a:cubicBezTo>
                        <a:cubicBezTo>
                          <a:pt x="65" y="20"/>
                          <a:pt x="64" y="20"/>
                          <a:pt x="64" y="20"/>
                        </a:cubicBezTo>
                        <a:cubicBezTo>
                          <a:pt x="64" y="20"/>
                          <a:pt x="64" y="20"/>
                          <a:pt x="64" y="20"/>
                        </a:cubicBezTo>
                        <a:cubicBezTo>
                          <a:pt x="63" y="20"/>
                          <a:pt x="63" y="20"/>
                          <a:pt x="63" y="20"/>
                        </a:cubicBezTo>
                        <a:cubicBezTo>
                          <a:pt x="63" y="20"/>
                          <a:pt x="63" y="20"/>
                          <a:pt x="63" y="20"/>
                        </a:cubicBezTo>
                        <a:cubicBezTo>
                          <a:pt x="64" y="20"/>
                          <a:pt x="64" y="20"/>
                          <a:pt x="65" y="20"/>
                        </a:cubicBezTo>
                        <a:cubicBezTo>
                          <a:pt x="65" y="20"/>
                          <a:pt x="66" y="20"/>
                          <a:pt x="66" y="21"/>
                        </a:cubicBezTo>
                        <a:cubicBezTo>
                          <a:pt x="66" y="21"/>
                          <a:pt x="66" y="21"/>
                          <a:pt x="65" y="21"/>
                        </a:cubicBezTo>
                        <a:cubicBezTo>
                          <a:pt x="66" y="21"/>
                          <a:pt x="66" y="21"/>
                          <a:pt x="66" y="21"/>
                        </a:cubicBezTo>
                        <a:cubicBezTo>
                          <a:pt x="66" y="21"/>
                          <a:pt x="65" y="21"/>
                          <a:pt x="65" y="21"/>
                        </a:cubicBezTo>
                        <a:cubicBezTo>
                          <a:pt x="65" y="21"/>
                          <a:pt x="65" y="21"/>
                          <a:pt x="65" y="21"/>
                        </a:cubicBezTo>
                        <a:cubicBezTo>
                          <a:pt x="66" y="21"/>
                          <a:pt x="66" y="21"/>
                          <a:pt x="66" y="21"/>
                        </a:cubicBezTo>
                        <a:cubicBezTo>
                          <a:pt x="66" y="21"/>
                          <a:pt x="66" y="21"/>
                          <a:pt x="66" y="21"/>
                        </a:cubicBezTo>
                        <a:cubicBezTo>
                          <a:pt x="66" y="21"/>
                          <a:pt x="66" y="21"/>
                          <a:pt x="66" y="21"/>
                        </a:cubicBezTo>
                        <a:cubicBezTo>
                          <a:pt x="66" y="21"/>
                          <a:pt x="66" y="21"/>
                          <a:pt x="66" y="21"/>
                        </a:cubicBezTo>
                        <a:cubicBezTo>
                          <a:pt x="66" y="21"/>
                          <a:pt x="66" y="21"/>
                          <a:pt x="66" y="21"/>
                        </a:cubicBezTo>
                        <a:cubicBezTo>
                          <a:pt x="66" y="21"/>
                          <a:pt x="67" y="22"/>
                          <a:pt x="67" y="22"/>
                        </a:cubicBezTo>
                        <a:cubicBezTo>
                          <a:pt x="67" y="22"/>
                          <a:pt x="67" y="22"/>
                          <a:pt x="67" y="22"/>
                        </a:cubicBezTo>
                        <a:cubicBezTo>
                          <a:pt x="67" y="22"/>
                          <a:pt x="66" y="22"/>
                          <a:pt x="66" y="21"/>
                        </a:cubicBezTo>
                        <a:cubicBezTo>
                          <a:pt x="66" y="21"/>
                          <a:pt x="66" y="22"/>
                          <a:pt x="66" y="22"/>
                        </a:cubicBezTo>
                        <a:cubicBezTo>
                          <a:pt x="66" y="22"/>
                          <a:pt x="66" y="22"/>
                          <a:pt x="66" y="22"/>
                        </a:cubicBezTo>
                        <a:cubicBezTo>
                          <a:pt x="66" y="22"/>
                          <a:pt x="66" y="22"/>
                          <a:pt x="66" y="22"/>
                        </a:cubicBezTo>
                        <a:cubicBezTo>
                          <a:pt x="66" y="21"/>
                          <a:pt x="65" y="21"/>
                          <a:pt x="65" y="21"/>
                        </a:cubicBezTo>
                        <a:cubicBezTo>
                          <a:pt x="65" y="21"/>
                          <a:pt x="65" y="21"/>
                          <a:pt x="65" y="21"/>
                        </a:cubicBezTo>
                        <a:cubicBezTo>
                          <a:pt x="65" y="21"/>
                          <a:pt x="64" y="21"/>
                          <a:pt x="64" y="21"/>
                        </a:cubicBezTo>
                        <a:cubicBezTo>
                          <a:pt x="64" y="21"/>
                          <a:pt x="65" y="21"/>
                          <a:pt x="65" y="21"/>
                        </a:cubicBezTo>
                        <a:cubicBezTo>
                          <a:pt x="65" y="21"/>
                          <a:pt x="64" y="21"/>
                          <a:pt x="64" y="21"/>
                        </a:cubicBezTo>
                        <a:cubicBezTo>
                          <a:pt x="64" y="22"/>
                          <a:pt x="65" y="21"/>
                          <a:pt x="65" y="22"/>
                        </a:cubicBezTo>
                        <a:cubicBezTo>
                          <a:pt x="65" y="21"/>
                          <a:pt x="65" y="21"/>
                          <a:pt x="65" y="22"/>
                        </a:cubicBezTo>
                        <a:cubicBezTo>
                          <a:pt x="65" y="22"/>
                          <a:pt x="65" y="22"/>
                          <a:pt x="65" y="22"/>
                        </a:cubicBezTo>
                        <a:cubicBezTo>
                          <a:pt x="65" y="22"/>
                          <a:pt x="65" y="22"/>
                          <a:pt x="65" y="22"/>
                        </a:cubicBezTo>
                        <a:cubicBezTo>
                          <a:pt x="66" y="22"/>
                          <a:pt x="65" y="22"/>
                          <a:pt x="65" y="21"/>
                        </a:cubicBezTo>
                        <a:cubicBezTo>
                          <a:pt x="65" y="21"/>
                          <a:pt x="65" y="21"/>
                          <a:pt x="65" y="21"/>
                        </a:cubicBezTo>
                        <a:cubicBezTo>
                          <a:pt x="65" y="21"/>
                          <a:pt x="65" y="21"/>
                          <a:pt x="66" y="21"/>
                        </a:cubicBezTo>
                        <a:cubicBezTo>
                          <a:pt x="66" y="21"/>
                          <a:pt x="66" y="21"/>
                          <a:pt x="65" y="21"/>
                        </a:cubicBezTo>
                        <a:cubicBezTo>
                          <a:pt x="66" y="22"/>
                          <a:pt x="66" y="22"/>
                          <a:pt x="65" y="22"/>
                        </a:cubicBezTo>
                        <a:cubicBezTo>
                          <a:pt x="66" y="22"/>
                          <a:pt x="66" y="22"/>
                          <a:pt x="67" y="22"/>
                        </a:cubicBezTo>
                        <a:cubicBezTo>
                          <a:pt x="67" y="22"/>
                          <a:pt x="67" y="22"/>
                          <a:pt x="68" y="23"/>
                        </a:cubicBezTo>
                        <a:cubicBezTo>
                          <a:pt x="68" y="23"/>
                          <a:pt x="68" y="23"/>
                          <a:pt x="68" y="22"/>
                        </a:cubicBezTo>
                        <a:cubicBezTo>
                          <a:pt x="68" y="23"/>
                          <a:pt x="68" y="23"/>
                          <a:pt x="68" y="23"/>
                        </a:cubicBezTo>
                        <a:cubicBezTo>
                          <a:pt x="68" y="23"/>
                          <a:pt x="68" y="23"/>
                          <a:pt x="68" y="23"/>
                        </a:cubicBezTo>
                        <a:cubicBezTo>
                          <a:pt x="68" y="23"/>
                          <a:pt x="68" y="23"/>
                          <a:pt x="69" y="23"/>
                        </a:cubicBezTo>
                        <a:cubicBezTo>
                          <a:pt x="69" y="23"/>
                          <a:pt x="69" y="23"/>
                          <a:pt x="69" y="23"/>
                        </a:cubicBezTo>
                        <a:cubicBezTo>
                          <a:pt x="69" y="23"/>
                          <a:pt x="68" y="23"/>
                          <a:pt x="68" y="23"/>
                        </a:cubicBezTo>
                        <a:cubicBezTo>
                          <a:pt x="69" y="23"/>
                          <a:pt x="69" y="23"/>
                          <a:pt x="69" y="23"/>
                        </a:cubicBezTo>
                        <a:cubicBezTo>
                          <a:pt x="69" y="23"/>
                          <a:pt x="69" y="23"/>
                          <a:pt x="69" y="23"/>
                        </a:cubicBezTo>
                        <a:cubicBezTo>
                          <a:pt x="69" y="23"/>
                          <a:pt x="69" y="23"/>
                          <a:pt x="69" y="23"/>
                        </a:cubicBezTo>
                        <a:cubicBezTo>
                          <a:pt x="69" y="23"/>
                          <a:pt x="69" y="23"/>
                          <a:pt x="69" y="23"/>
                        </a:cubicBezTo>
                        <a:cubicBezTo>
                          <a:pt x="69" y="23"/>
                          <a:pt x="69" y="23"/>
                          <a:pt x="69" y="23"/>
                        </a:cubicBezTo>
                        <a:cubicBezTo>
                          <a:pt x="69" y="23"/>
                          <a:pt x="70" y="23"/>
                          <a:pt x="71" y="24"/>
                        </a:cubicBezTo>
                        <a:cubicBezTo>
                          <a:pt x="71" y="24"/>
                          <a:pt x="71" y="24"/>
                          <a:pt x="71" y="24"/>
                        </a:cubicBezTo>
                        <a:cubicBezTo>
                          <a:pt x="71" y="24"/>
                          <a:pt x="70" y="24"/>
                          <a:pt x="70" y="24"/>
                        </a:cubicBezTo>
                        <a:cubicBezTo>
                          <a:pt x="70" y="24"/>
                          <a:pt x="70" y="23"/>
                          <a:pt x="70" y="23"/>
                        </a:cubicBezTo>
                        <a:cubicBezTo>
                          <a:pt x="70" y="23"/>
                          <a:pt x="70" y="23"/>
                          <a:pt x="70" y="23"/>
                        </a:cubicBezTo>
                        <a:cubicBezTo>
                          <a:pt x="70" y="23"/>
                          <a:pt x="70" y="23"/>
                          <a:pt x="69" y="23"/>
                        </a:cubicBezTo>
                        <a:cubicBezTo>
                          <a:pt x="70" y="24"/>
                          <a:pt x="71" y="24"/>
                          <a:pt x="71" y="24"/>
                        </a:cubicBezTo>
                        <a:cubicBezTo>
                          <a:pt x="71" y="24"/>
                          <a:pt x="71" y="24"/>
                          <a:pt x="71" y="24"/>
                        </a:cubicBezTo>
                        <a:cubicBezTo>
                          <a:pt x="71" y="24"/>
                          <a:pt x="71" y="24"/>
                          <a:pt x="71" y="24"/>
                        </a:cubicBezTo>
                        <a:cubicBezTo>
                          <a:pt x="71" y="24"/>
                          <a:pt x="71" y="24"/>
                          <a:pt x="71" y="24"/>
                        </a:cubicBezTo>
                        <a:cubicBezTo>
                          <a:pt x="71" y="23"/>
                          <a:pt x="71" y="23"/>
                          <a:pt x="71" y="23"/>
                        </a:cubicBezTo>
                        <a:cubicBezTo>
                          <a:pt x="71" y="23"/>
                          <a:pt x="71" y="24"/>
                          <a:pt x="72" y="24"/>
                        </a:cubicBezTo>
                        <a:cubicBezTo>
                          <a:pt x="72" y="24"/>
                          <a:pt x="72" y="24"/>
                          <a:pt x="72" y="24"/>
                        </a:cubicBezTo>
                        <a:cubicBezTo>
                          <a:pt x="72" y="23"/>
                          <a:pt x="72" y="24"/>
                          <a:pt x="72" y="24"/>
                        </a:cubicBezTo>
                        <a:cubicBezTo>
                          <a:pt x="72" y="24"/>
                          <a:pt x="72" y="24"/>
                          <a:pt x="72" y="24"/>
                        </a:cubicBezTo>
                        <a:cubicBezTo>
                          <a:pt x="72" y="24"/>
                          <a:pt x="72" y="24"/>
                          <a:pt x="72" y="24"/>
                        </a:cubicBezTo>
                        <a:cubicBezTo>
                          <a:pt x="72" y="24"/>
                          <a:pt x="73" y="24"/>
                          <a:pt x="73" y="24"/>
                        </a:cubicBezTo>
                        <a:cubicBezTo>
                          <a:pt x="73" y="24"/>
                          <a:pt x="73" y="24"/>
                          <a:pt x="73" y="24"/>
                        </a:cubicBezTo>
                        <a:cubicBezTo>
                          <a:pt x="73" y="24"/>
                          <a:pt x="73" y="24"/>
                          <a:pt x="73" y="25"/>
                        </a:cubicBezTo>
                        <a:cubicBezTo>
                          <a:pt x="73" y="25"/>
                          <a:pt x="73" y="24"/>
                          <a:pt x="73" y="24"/>
                        </a:cubicBezTo>
                        <a:cubicBezTo>
                          <a:pt x="73" y="25"/>
                          <a:pt x="74" y="25"/>
                          <a:pt x="74" y="25"/>
                        </a:cubicBezTo>
                        <a:cubicBezTo>
                          <a:pt x="74" y="25"/>
                          <a:pt x="75" y="25"/>
                          <a:pt x="76" y="26"/>
                        </a:cubicBezTo>
                        <a:cubicBezTo>
                          <a:pt x="76" y="25"/>
                          <a:pt x="75" y="25"/>
                          <a:pt x="76" y="25"/>
                        </a:cubicBezTo>
                        <a:cubicBezTo>
                          <a:pt x="76" y="25"/>
                          <a:pt x="76" y="25"/>
                          <a:pt x="76" y="26"/>
                        </a:cubicBezTo>
                        <a:cubicBezTo>
                          <a:pt x="76" y="26"/>
                          <a:pt x="76" y="25"/>
                          <a:pt x="76" y="26"/>
                        </a:cubicBezTo>
                        <a:cubicBezTo>
                          <a:pt x="76" y="26"/>
                          <a:pt x="75" y="26"/>
                          <a:pt x="76" y="26"/>
                        </a:cubicBezTo>
                        <a:cubicBezTo>
                          <a:pt x="75" y="26"/>
                          <a:pt x="75" y="26"/>
                          <a:pt x="75" y="26"/>
                        </a:cubicBezTo>
                        <a:cubicBezTo>
                          <a:pt x="75" y="25"/>
                          <a:pt x="75" y="26"/>
                          <a:pt x="75" y="25"/>
                        </a:cubicBezTo>
                        <a:cubicBezTo>
                          <a:pt x="75" y="25"/>
                          <a:pt x="75" y="25"/>
                          <a:pt x="75" y="25"/>
                        </a:cubicBezTo>
                        <a:cubicBezTo>
                          <a:pt x="75" y="25"/>
                          <a:pt x="75" y="25"/>
                          <a:pt x="75" y="25"/>
                        </a:cubicBezTo>
                        <a:cubicBezTo>
                          <a:pt x="75" y="26"/>
                          <a:pt x="75" y="25"/>
                          <a:pt x="75" y="25"/>
                        </a:cubicBezTo>
                        <a:cubicBezTo>
                          <a:pt x="75" y="25"/>
                          <a:pt x="73" y="25"/>
                          <a:pt x="73" y="25"/>
                        </a:cubicBezTo>
                        <a:cubicBezTo>
                          <a:pt x="73" y="25"/>
                          <a:pt x="73" y="25"/>
                          <a:pt x="73" y="25"/>
                        </a:cubicBezTo>
                        <a:cubicBezTo>
                          <a:pt x="73" y="25"/>
                          <a:pt x="73" y="25"/>
                          <a:pt x="72" y="25"/>
                        </a:cubicBezTo>
                        <a:cubicBezTo>
                          <a:pt x="72" y="25"/>
                          <a:pt x="73" y="25"/>
                          <a:pt x="72" y="25"/>
                        </a:cubicBezTo>
                        <a:cubicBezTo>
                          <a:pt x="73" y="25"/>
                          <a:pt x="73" y="25"/>
                          <a:pt x="74" y="25"/>
                        </a:cubicBezTo>
                        <a:cubicBezTo>
                          <a:pt x="74" y="25"/>
                          <a:pt x="74" y="25"/>
                          <a:pt x="74" y="25"/>
                        </a:cubicBezTo>
                        <a:cubicBezTo>
                          <a:pt x="74" y="25"/>
                          <a:pt x="73" y="25"/>
                          <a:pt x="73" y="25"/>
                        </a:cubicBezTo>
                        <a:cubicBezTo>
                          <a:pt x="74" y="25"/>
                          <a:pt x="74" y="26"/>
                          <a:pt x="74" y="25"/>
                        </a:cubicBezTo>
                        <a:cubicBezTo>
                          <a:pt x="74" y="25"/>
                          <a:pt x="75" y="25"/>
                          <a:pt x="75" y="26"/>
                        </a:cubicBezTo>
                        <a:cubicBezTo>
                          <a:pt x="75" y="26"/>
                          <a:pt x="74" y="26"/>
                          <a:pt x="74" y="26"/>
                        </a:cubicBezTo>
                        <a:cubicBezTo>
                          <a:pt x="74" y="26"/>
                          <a:pt x="75" y="26"/>
                          <a:pt x="75" y="26"/>
                        </a:cubicBezTo>
                        <a:cubicBezTo>
                          <a:pt x="75" y="26"/>
                          <a:pt x="75" y="26"/>
                          <a:pt x="75" y="26"/>
                        </a:cubicBezTo>
                        <a:cubicBezTo>
                          <a:pt x="75" y="26"/>
                          <a:pt x="75" y="26"/>
                          <a:pt x="75" y="26"/>
                        </a:cubicBezTo>
                        <a:cubicBezTo>
                          <a:pt x="75" y="26"/>
                          <a:pt x="76" y="26"/>
                          <a:pt x="77" y="26"/>
                        </a:cubicBezTo>
                        <a:cubicBezTo>
                          <a:pt x="77" y="26"/>
                          <a:pt x="76" y="26"/>
                          <a:pt x="77" y="26"/>
                        </a:cubicBezTo>
                        <a:cubicBezTo>
                          <a:pt x="77" y="26"/>
                          <a:pt x="76" y="26"/>
                          <a:pt x="77" y="26"/>
                        </a:cubicBezTo>
                        <a:cubicBezTo>
                          <a:pt x="77" y="26"/>
                          <a:pt x="77" y="26"/>
                          <a:pt x="77" y="26"/>
                        </a:cubicBezTo>
                        <a:cubicBezTo>
                          <a:pt x="77" y="26"/>
                          <a:pt x="76" y="26"/>
                          <a:pt x="76" y="25"/>
                        </a:cubicBezTo>
                        <a:cubicBezTo>
                          <a:pt x="77" y="26"/>
                          <a:pt x="77" y="25"/>
                          <a:pt x="77" y="26"/>
                        </a:cubicBezTo>
                        <a:cubicBezTo>
                          <a:pt x="77" y="25"/>
                          <a:pt x="77" y="25"/>
                          <a:pt x="77" y="25"/>
                        </a:cubicBezTo>
                        <a:cubicBezTo>
                          <a:pt x="77" y="25"/>
                          <a:pt x="77" y="25"/>
                          <a:pt x="76" y="25"/>
                        </a:cubicBezTo>
                        <a:cubicBezTo>
                          <a:pt x="77" y="25"/>
                          <a:pt x="76" y="25"/>
                          <a:pt x="76" y="25"/>
                        </a:cubicBezTo>
                        <a:cubicBezTo>
                          <a:pt x="76" y="25"/>
                          <a:pt x="76" y="25"/>
                          <a:pt x="77" y="25"/>
                        </a:cubicBezTo>
                        <a:cubicBezTo>
                          <a:pt x="77" y="25"/>
                          <a:pt x="76" y="25"/>
                          <a:pt x="76" y="25"/>
                        </a:cubicBezTo>
                        <a:cubicBezTo>
                          <a:pt x="76" y="25"/>
                          <a:pt x="76" y="25"/>
                          <a:pt x="76" y="25"/>
                        </a:cubicBezTo>
                        <a:cubicBezTo>
                          <a:pt x="76" y="24"/>
                          <a:pt x="76" y="25"/>
                          <a:pt x="76" y="25"/>
                        </a:cubicBezTo>
                        <a:cubicBezTo>
                          <a:pt x="76" y="25"/>
                          <a:pt x="75" y="24"/>
                          <a:pt x="75" y="24"/>
                        </a:cubicBezTo>
                        <a:cubicBezTo>
                          <a:pt x="76" y="25"/>
                          <a:pt x="75" y="25"/>
                          <a:pt x="75" y="24"/>
                        </a:cubicBezTo>
                        <a:cubicBezTo>
                          <a:pt x="75" y="25"/>
                          <a:pt x="75" y="25"/>
                          <a:pt x="75" y="25"/>
                        </a:cubicBezTo>
                        <a:cubicBezTo>
                          <a:pt x="75" y="25"/>
                          <a:pt x="75" y="25"/>
                          <a:pt x="75" y="25"/>
                        </a:cubicBezTo>
                        <a:cubicBezTo>
                          <a:pt x="75" y="25"/>
                          <a:pt x="75" y="25"/>
                          <a:pt x="75" y="25"/>
                        </a:cubicBezTo>
                        <a:cubicBezTo>
                          <a:pt x="75" y="24"/>
                          <a:pt x="75" y="25"/>
                          <a:pt x="74" y="25"/>
                        </a:cubicBezTo>
                        <a:cubicBezTo>
                          <a:pt x="75" y="24"/>
                          <a:pt x="75" y="24"/>
                          <a:pt x="75" y="24"/>
                        </a:cubicBezTo>
                        <a:cubicBezTo>
                          <a:pt x="74" y="24"/>
                          <a:pt x="74" y="24"/>
                          <a:pt x="74" y="24"/>
                        </a:cubicBezTo>
                        <a:cubicBezTo>
                          <a:pt x="74" y="24"/>
                          <a:pt x="73" y="24"/>
                          <a:pt x="74" y="24"/>
                        </a:cubicBezTo>
                        <a:cubicBezTo>
                          <a:pt x="74" y="24"/>
                          <a:pt x="74" y="24"/>
                          <a:pt x="74" y="24"/>
                        </a:cubicBezTo>
                        <a:cubicBezTo>
                          <a:pt x="74" y="24"/>
                          <a:pt x="74" y="24"/>
                          <a:pt x="74" y="24"/>
                        </a:cubicBezTo>
                        <a:cubicBezTo>
                          <a:pt x="74" y="24"/>
                          <a:pt x="74" y="24"/>
                          <a:pt x="74" y="24"/>
                        </a:cubicBezTo>
                        <a:cubicBezTo>
                          <a:pt x="74" y="24"/>
                          <a:pt x="74" y="24"/>
                          <a:pt x="74" y="24"/>
                        </a:cubicBezTo>
                        <a:cubicBezTo>
                          <a:pt x="74" y="24"/>
                          <a:pt x="74" y="24"/>
                          <a:pt x="73" y="24"/>
                        </a:cubicBezTo>
                        <a:cubicBezTo>
                          <a:pt x="73" y="23"/>
                          <a:pt x="74" y="23"/>
                          <a:pt x="73" y="23"/>
                        </a:cubicBezTo>
                        <a:cubicBezTo>
                          <a:pt x="73" y="23"/>
                          <a:pt x="73" y="23"/>
                          <a:pt x="73" y="23"/>
                        </a:cubicBezTo>
                        <a:cubicBezTo>
                          <a:pt x="73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4"/>
                          <a:pt x="74" y="23"/>
                          <a:pt x="74" y="24"/>
                        </a:cubicBez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3" y="23"/>
                        </a:cubicBezTo>
                        <a:cubicBezTo>
                          <a:pt x="73" y="23"/>
                          <a:pt x="74" y="23"/>
                          <a:pt x="73" y="23"/>
                        </a:cubicBezTo>
                        <a:cubicBezTo>
                          <a:pt x="73" y="23"/>
                          <a:pt x="73" y="23"/>
                          <a:pt x="73" y="23"/>
                        </a:cubicBezTo>
                        <a:cubicBezTo>
                          <a:pt x="73" y="23"/>
                          <a:pt x="73" y="23"/>
                          <a:pt x="73" y="23"/>
                        </a:cubicBezTo>
                        <a:cubicBezTo>
                          <a:pt x="73" y="23"/>
                          <a:pt x="73" y="23"/>
                          <a:pt x="73" y="23"/>
                        </a:cubicBezTo>
                        <a:cubicBezTo>
                          <a:pt x="73" y="23"/>
                          <a:pt x="73" y="23"/>
                          <a:pt x="73" y="23"/>
                        </a:cubicBezTo>
                        <a:cubicBezTo>
                          <a:pt x="73" y="23"/>
                          <a:pt x="73" y="23"/>
                          <a:pt x="72" y="23"/>
                        </a:cubicBezTo>
                        <a:cubicBezTo>
                          <a:pt x="73" y="23"/>
                          <a:pt x="72" y="23"/>
                          <a:pt x="72" y="23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0" y="22"/>
                          <a:pt x="70" y="22"/>
                          <a:pt x="70" y="22"/>
                        </a:cubicBezTo>
                        <a:cubicBezTo>
                          <a:pt x="70" y="22"/>
                          <a:pt x="70" y="22"/>
                          <a:pt x="70" y="22"/>
                        </a:cubicBezTo>
                        <a:cubicBezTo>
                          <a:pt x="70" y="22"/>
                          <a:pt x="70" y="22"/>
                          <a:pt x="70" y="22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2"/>
                          <a:pt x="72" y="22"/>
                          <a:pt x="71" y="22"/>
                        </a:cubicBezTo>
                        <a:cubicBezTo>
                          <a:pt x="72" y="22"/>
                          <a:pt x="72" y="22"/>
                          <a:pt x="72" y="22"/>
                        </a:cubicBezTo>
                        <a:cubicBezTo>
                          <a:pt x="72" y="22"/>
                          <a:pt x="72" y="22"/>
                          <a:pt x="72" y="22"/>
                        </a:cubicBezTo>
                        <a:cubicBezTo>
                          <a:pt x="72" y="22"/>
                          <a:pt x="72" y="22"/>
                          <a:pt x="72" y="22"/>
                        </a:cubicBezTo>
                        <a:cubicBezTo>
                          <a:pt x="72" y="22"/>
                          <a:pt x="72" y="22"/>
                          <a:pt x="72" y="22"/>
                        </a:cubicBezTo>
                        <a:cubicBezTo>
                          <a:pt x="72" y="22"/>
                          <a:pt x="72" y="23"/>
                          <a:pt x="72" y="22"/>
                        </a:cubicBezTo>
                        <a:cubicBezTo>
                          <a:pt x="72" y="22"/>
                          <a:pt x="72" y="22"/>
                          <a:pt x="72" y="23"/>
                        </a:cubicBezTo>
                        <a:cubicBezTo>
                          <a:pt x="73" y="23"/>
                          <a:pt x="73" y="22"/>
                          <a:pt x="73" y="22"/>
                        </a:cubicBezTo>
                        <a:cubicBezTo>
                          <a:pt x="73" y="22"/>
                          <a:pt x="73" y="22"/>
                          <a:pt x="72" y="22"/>
                        </a:cubicBezTo>
                        <a:cubicBezTo>
                          <a:pt x="72" y="22"/>
                          <a:pt x="72" y="22"/>
                          <a:pt x="72" y="22"/>
                        </a:cubicBezTo>
                        <a:cubicBezTo>
                          <a:pt x="72" y="22"/>
                          <a:pt x="72" y="22"/>
                          <a:pt x="72" y="22"/>
                        </a:cubicBezTo>
                        <a:cubicBezTo>
                          <a:pt x="73" y="22"/>
                          <a:pt x="73" y="22"/>
                          <a:pt x="73" y="22"/>
                        </a:cubicBezTo>
                        <a:cubicBezTo>
                          <a:pt x="73" y="22"/>
                          <a:pt x="72" y="22"/>
                          <a:pt x="72" y="22"/>
                        </a:cubicBezTo>
                        <a:cubicBezTo>
                          <a:pt x="72" y="22"/>
                          <a:pt x="72" y="22"/>
                          <a:pt x="71" y="22"/>
                        </a:cubicBezTo>
                        <a:cubicBezTo>
                          <a:pt x="71" y="22"/>
                          <a:pt x="72" y="22"/>
                          <a:pt x="71" y="22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2"/>
                          <a:pt x="71" y="22"/>
                          <a:pt x="71" y="22"/>
                        </a:cubicBezTo>
                        <a:cubicBezTo>
                          <a:pt x="71" y="22"/>
                          <a:pt x="71" y="21"/>
                          <a:pt x="71" y="22"/>
                        </a:cubicBezTo>
                        <a:cubicBezTo>
                          <a:pt x="71" y="21"/>
                          <a:pt x="71" y="21"/>
                          <a:pt x="71" y="21"/>
                        </a:cubicBezTo>
                        <a:cubicBezTo>
                          <a:pt x="71" y="21"/>
                          <a:pt x="71" y="21"/>
                          <a:pt x="71" y="21"/>
                        </a:cubicBezTo>
                        <a:cubicBezTo>
                          <a:pt x="71" y="21"/>
                          <a:pt x="71" y="21"/>
                          <a:pt x="71" y="21"/>
                        </a:cubicBezTo>
                        <a:cubicBezTo>
                          <a:pt x="71" y="21"/>
                          <a:pt x="71" y="21"/>
                          <a:pt x="71" y="21"/>
                        </a:cubicBezTo>
                        <a:cubicBezTo>
                          <a:pt x="71" y="21"/>
                          <a:pt x="72" y="21"/>
                          <a:pt x="72" y="21"/>
                        </a:cubicBezTo>
                        <a:cubicBezTo>
                          <a:pt x="73" y="21"/>
                          <a:pt x="73" y="21"/>
                          <a:pt x="72" y="21"/>
                        </a:cubicBezTo>
                        <a:cubicBezTo>
                          <a:pt x="73" y="21"/>
                          <a:pt x="73" y="21"/>
                          <a:pt x="74" y="22"/>
                        </a:cubicBezTo>
                        <a:cubicBezTo>
                          <a:pt x="74" y="22"/>
                          <a:pt x="74" y="22"/>
                          <a:pt x="74" y="22"/>
                        </a:cubicBezTo>
                        <a:cubicBezTo>
                          <a:pt x="74" y="22"/>
                          <a:pt x="74" y="22"/>
                          <a:pt x="74" y="22"/>
                        </a:cubicBezTo>
                        <a:cubicBezTo>
                          <a:pt x="74" y="22"/>
                          <a:pt x="74" y="22"/>
                          <a:pt x="73" y="22"/>
                        </a:cubicBezTo>
                        <a:cubicBezTo>
                          <a:pt x="73" y="22"/>
                          <a:pt x="74" y="22"/>
                          <a:pt x="74" y="22"/>
                        </a:cubicBezTo>
                        <a:cubicBezTo>
                          <a:pt x="74" y="22"/>
                          <a:pt x="74" y="22"/>
                          <a:pt x="74" y="22"/>
                        </a:cubicBezTo>
                        <a:cubicBezTo>
                          <a:pt x="74" y="22"/>
                          <a:pt x="74" y="22"/>
                          <a:pt x="74" y="22"/>
                        </a:cubicBezTo>
                        <a:cubicBezTo>
                          <a:pt x="75" y="23"/>
                          <a:pt x="75" y="22"/>
                          <a:pt x="75" y="23"/>
                        </a:cubicBezTo>
                        <a:cubicBezTo>
                          <a:pt x="75" y="23"/>
                          <a:pt x="75" y="23"/>
                          <a:pt x="75" y="2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76" y="23"/>
                          <a:pt x="75" y="23"/>
                          <a:pt x="75" y="2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76" y="23"/>
                          <a:pt x="76" y="23"/>
                          <a:pt x="76" y="23"/>
                        </a:cubicBezTo>
                        <a:cubicBezTo>
                          <a:pt x="76" y="23"/>
                          <a:pt x="75" y="23"/>
                          <a:pt x="75" y="23"/>
                        </a:cubicBezTo>
                        <a:cubicBezTo>
                          <a:pt x="75" y="23"/>
                          <a:pt x="75" y="23"/>
                          <a:pt x="74" y="23"/>
                        </a:cubicBezTo>
                        <a:cubicBezTo>
                          <a:pt x="74" y="23"/>
                          <a:pt x="75" y="23"/>
                          <a:pt x="75" y="23"/>
                        </a:cubicBezTo>
                        <a:cubicBezTo>
                          <a:pt x="75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4"/>
                          <a:pt x="75" y="23"/>
                          <a:pt x="75" y="24"/>
                        </a:cubicBezTo>
                        <a:cubicBezTo>
                          <a:pt x="75" y="23"/>
                          <a:pt x="75" y="23"/>
                          <a:pt x="75" y="23"/>
                        </a:cubicBezTo>
                        <a:cubicBezTo>
                          <a:pt x="75" y="23"/>
                          <a:pt x="75" y="23"/>
                          <a:pt x="75" y="23"/>
                        </a:cubicBezTo>
                        <a:cubicBezTo>
                          <a:pt x="75" y="24"/>
                          <a:pt x="75" y="24"/>
                          <a:pt x="75" y="24"/>
                        </a:cubicBezTo>
                        <a:cubicBezTo>
                          <a:pt x="75" y="24"/>
                          <a:pt x="75" y="24"/>
                          <a:pt x="75" y="24"/>
                        </a:cubicBezTo>
                        <a:cubicBezTo>
                          <a:pt x="75" y="24"/>
                          <a:pt x="75" y="23"/>
                          <a:pt x="75" y="23"/>
                        </a:cubicBezTo>
                        <a:cubicBezTo>
                          <a:pt x="75" y="23"/>
                          <a:pt x="75" y="23"/>
                          <a:pt x="75" y="23"/>
                        </a:cubicBezTo>
                        <a:cubicBezTo>
                          <a:pt x="75" y="23"/>
                          <a:pt x="76" y="23"/>
                          <a:pt x="76" y="23"/>
                        </a:cubicBezTo>
                        <a:cubicBezTo>
                          <a:pt x="76" y="24"/>
                          <a:pt x="76" y="23"/>
                          <a:pt x="76" y="24"/>
                        </a:cubicBezTo>
                        <a:cubicBezTo>
                          <a:pt x="76" y="24"/>
                          <a:pt x="76" y="24"/>
                          <a:pt x="76" y="24"/>
                        </a:cubicBezTo>
                        <a:cubicBezTo>
                          <a:pt x="76" y="24"/>
                          <a:pt x="76" y="24"/>
                          <a:pt x="76" y="24"/>
                        </a:cubicBezTo>
                        <a:cubicBezTo>
                          <a:pt x="76" y="24"/>
                          <a:pt x="76" y="23"/>
                          <a:pt x="76" y="23"/>
                        </a:cubicBezTo>
                        <a:cubicBezTo>
                          <a:pt x="77" y="23"/>
                          <a:pt x="77" y="24"/>
                          <a:pt x="77" y="24"/>
                        </a:cubicBezTo>
                        <a:cubicBezTo>
                          <a:pt x="78" y="24"/>
                          <a:pt x="78" y="24"/>
                          <a:pt x="79" y="24"/>
                        </a:cubicBezTo>
                        <a:cubicBezTo>
                          <a:pt x="79" y="24"/>
                          <a:pt x="79" y="24"/>
                          <a:pt x="78" y="24"/>
                        </a:cubicBezTo>
                        <a:cubicBezTo>
                          <a:pt x="78" y="24"/>
                          <a:pt x="78" y="24"/>
                          <a:pt x="78" y="24"/>
                        </a:cubicBezTo>
                        <a:cubicBezTo>
                          <a:pt x="78" y="24"/>
                          <a:pt x="78" y="24"/>
                          <a:pt x="78" y="24"/>
                        </a:cubicBezTo>
                        <a:cubicBezTo>
                          <a:pt x="78" y="24"/>
                          <a:pt x="78" y="25"/>
                          <a:pt x="78" y="24"/>
                        </a:cubicBezTo>
                        <a:cubicBezTo>
                          <a:pt x="78" y="24"/>
                          <a:pt x="78" y="24"/>
                          <a:pt x="78" y="24"/>
                        </a:cubicBezTo>
                        <a:cubicBezTo>
                          <a:pt x="78" y="25"/>
                          <a:pt x="78" y="25"/>
                          <a:pt x="78" y="25"/>
                        </a:cubicBezTo>
                        <a:cubicBezTo>
                          <a:pt x="78" y="24"/>
                          <a:pt x="78" y="24"/>
                          <a:pt x="77" y="24"/>
                        </a:cubicBezTo>
                        <a:cubicBezTo>
                          <a:pt x="78" y="24"/>
                          <a:pt x="78" y="24"/>
                          <a:pt x="78" y="24"/>
                        </a:cubicBezTo>
                        <a:cubicBezTo>
                          <a:pt x="78" y="24"/>
                          <a:pt x="77" y="24"/>
                          <a:pt x="77" y="24"/>
                        </a:cubicBezTo>
                        <a:cubicBezTo>
                          <a:pt x="77" y="24"/>
                          <a:pt x="76" y="24"/>
                          <a:pt x="76" y="24"/>
                        </a:cubicBezTo>
                        <a:cubicBezTo>
                          <a:pt x="76" y="24"/>
                          <a:pt x="76" y="24"/>
                          <a:pt x="76" y="24"/>
                        </a:cubicBezTo>
                        <a:cubicBezTo>
                          <a:pt x="76" y="24"/>
                          <a:pt x="76" y="24"/>
                          <a:pt x="76" y="24"/>
                        </a:cubicBezTo>
                        <a:cubicBezTo>
                          <a:pt x="77" y="24"/>
                          <a:pt x="77" y="24"/>
                          <a:pt x="77" y="24"/>
                        </a:cubicBezTo>
                        <a:cubicBezTo>
                          <a:pt x="77" y="24"/>
                          <a:pt x="77" y="24"/>
                          <a:pt x="77" y="24"/>
                        </a:cubicBezTo>
                        <a:cubicBezTo>
                          <a:pt x="77" y="24"/>
                          <a:pt x="77" y="24"/>
                          <a:pt x="77" y="24"/>
                        </a:cubicBezTo>
                        <a:cubicBezTo>
                          <a:pt x="77" y="25"/>
                          <a:pt x="77" y="25"/>
                          <a:pt x="77" y="25"/>
                        </a:cubicBezTo>
                        <a:cubicBezTo>
                          <a:pt x="78" y="24"/>
                          <a:pt x="77" y="24"/>
                          <a:pt x="77" y="24"/>
                        </a:cubicBezTo>
                        <a:cubicBezTo>
                          <a:pt x="78" y="25"/>
                          <a:pt x="78" y="25"/>
                          <a:pt x="78" y="25"/>
                        </a:cubicBezTo>
                        <a:cubicBezTo>
                          <a:pt x="78" y="25"/>
                          <a:pt x="78" y="25"/>
                          <a:pt x="78" y="25"/>
                        </a:cubicBezTo>
                        <a:cubicBezTo>
                          <a:pt x="78" y="25"/>
                          <a:pt x="78" y="25"/>
                          <a:pt x="78" y="25"/>
                        </a:cubicBezTo>
                        <a:cubicBezTo>
                          <a:pt x="78" y="25"/>
                          <a:pt x="78" y="25"/>
                          <a:pt x="78" y="25"/>
                        </a:cubicBezTo>
                        <a:cubicBezTo>
                          <a:pt x="79" y="25"/>
                          <a:pt x="79" y="25"/>
                          <a:pt x="79" y="25"/>
                        </a:cubicBezTo>
                        <a:cubicBezTo>
                          <a:pt x="79" y="25"/>
                          <a:pt x="79" y="25"/>
                          <a:pt x="78" y="25"/>
                        </a:cubicBezTo>
                        <a:cubicBezTo>
                          <a:pt x="79" y="25"/>
                          <a:pt x="79" y="25"/>
                          <a:pt x="79" y="25"/>
                        </a:cubicBezTo>
                        <a:cubicBezTo>
                          <a:pt x="78" y="25"/>
                          <a:pt x="78" y="25"/>
                          <a:pt x="77" y="25"/>
                        </a:cubicBezTo>
                        <a:cubicBezTo>
                          <a:pt x="77" y="25"/>
                          <a:pt x="77" y="25"/>
                          <a:pt x="77" y="25"/>
                        </a:cubicBezTo>
                        <a:cubicBezTo>
                          <a:pt x="77" y="25"/>
                          <a:pt x="77" y="25"/>
                          <a:pt x="77" y="25"/>
                        </a:cubicBezTo>
                        <a:cubicBezTo>
                          <a:pt x="77" y="25"/>
                          <a:pt x="77" y="25"/>
                          <a:pt x="77" y="25"/>
                        </a:cubicBezTo>
                        <a:cubicBezTo>
                          <a:pt x="77" y="25"/>
                          <a:pt x="76" y="25"/>
                          <a:pt x="76" y="25"/>
                        </a:cubicBezTo>
                        <a:cubicBezTo>
                          <a:pt x="76" y="25"/>
                          <a:pt x="78" y="25"/>
                          <a:pt x="78" y="25"/>
                        </a:cubicBezTo>
                        <a:cubicBezTo>
                          <a:pt x="78" y="25"/>
                          <a:pt x="78" y="25"/>
                          <a:pt x="78" y="25"/>
                        </a:cubicBez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9" y="26"/>
                          <a:pt x="79" y="26"/>
                        </a:cubicBezTo>
                        <a:cubicBezTo>
                          <a:pt x="79" y="26"/>
                          <a:pt x="79" y="26"/>
                          <a:pt x="79" y="26"/>
                        </a:cubicBezTo>
                        <a:cubicBezTo>
                          <a:pt x="79" y="26"/>
                          <a:pt x="79" y="26"/>
                          <a:pt x="79" y="26"/>
                        </a:cubicBezTo>
                        <a:cubicBezTo>
                          <a:pt x="79" y="26"/>
                          <a:pt x="79" y="26"/>
                          <a:pt x="79" y="26"/>
                        </a:cubicBezTo>
                        <a:cubicBezTo>
                          <a:pt x="79" y="26"/>
                          <a:pt x="79" y="26"/>
                          <a:pt x="79" y="26"/>
                        </a:cubicBezTo>
                        <a:cubicBezTo>
                          <a:pt x="80" y="26"/>
                          <a:pt x="80" y="26"/>
                          <a:pt x="80" y="26"/>
                        </a:cubicBezTo>
                        <a:cubicBezTo>
                          <a:pt x="80" y="26"/>
                          <a:pt x="80" y="26"/>
                          <a:pt x="80" y="26"/>
                        </a:cubicBezTo>
                        <a:cubicBezTo>
                          <a:pt x="80" y="26"/>
                          <a:pt x="80" y="27"/>
                          <a:pt x="80" y="27"/>
                        </a:cubicBezTo>
                        <a:cubicBezTo>
                          <a:pt x="80" y="27"/>
                          <a:pt x="80" y="27"/>
                          <a:pt x="80" y="27"/>
                        </a:cubicBezTo>
                        <a:cubicBezTo>
                          <a:pt x="80" y="27"/>
                          <a:pt x="80" y="27"/>
                          <a:pt x="80" y="26"/>
                        </a:cubicBezTo>
                        <a:cubicBezTo>
                          <a:pt x="81" y="26"/>
                          <a:pt x="81" y="27"/>
                          <a:pt x="81" y="27"/>
                        </a:cubicBezTo>
                        <a:cubicBezTo>
                          <a:pt x="81" y="27"/>
                          <a:pt x="81" y="27"/>
                          <a:pt x="81" y="27"/>
                        </a:cubicBezTo>
                        <a:cubicBezTo>
                          <a:pt x="81" y="27"/>
                          <a:pt x="81" y="27"/>
                          <a:pt x="81" y="27"/>
                        </a:cubicBezTo>
                        <a:cubicBezTo>
                          <a:pt x="81" y="27"/>
                          <a:pt x="81" y="27"/>
                          <a:pt x="81" y="27"/>
                        </a:cubicBezTo>
                        <a:cubicBezTo>
                          <a:pt x="80" y="27"/>
                          <a:pt x="80" y="27"/>
                          <a:pt x="80" y="27"/>
                        </a:cubicBezTo>
                        <a:cubicBezTo>
                          <a:pt x="80" y="27"/>
                          <a:pt x="80" y="27"/>
                          <a:pt x="80" y="27"/>
                        </a:cubicBezTo>
                        <a:cubicBezTo>
                          <a:pt x="80" y="27"/>
                          <a:pt x="80" y="27"/>
                          <a:pt x="79" y="27"/>
                        </a:cubicBezTo>
                        <a:cubicBezTo>
                          <a:pt x="79" y="27"/>
                          <a:pt x="80" y="27"/>
                          <a:pt x="79" y="27"/>
                        </a:cubicBezTo>
                        <a:cubicBezTo>
                          <a:pt x="79" y="27"/>
                          <a:pt x="79" y="27"/>
                          <a:pt x="79" y="27"/>
                        </a:cubicBezTo>
                        <a:cubicBezTo>
                          <a:pt x="79" y="27"/>
                          <a:pt x="79" y="27"/>
                          <a:pt x="79" y="27"/>
                        </a:cubicBezTo>
                        <a:cubicBezTo>
                          <a:pt x="79" y="27"/>
                          <a:pt x="79" y="27"/>
                          <a:pt x="79" y="27"/>
                        </a:cubicBezTo>
                        <a:cubicBezTo>
                          <a:pt x="79" y="27"/>
                          <a:pt x="79" y="27"/>
                          <a:pt x="79" y="27"/>
                        </a:cubicBezTo>
                        <a:cubicBezTo>
                          <a:pt x="79" y="27"/>
                          <a:pt x="79" y="27"/>
                          <a:pt x="79" y="27"/>
                        </a:cubicBezTo>
                        <a:cubicBezTo>
                          <a:pt x="79" y="27"/>
                          <a:pt x="79" y="27"/>
                          <a:pt x="79" y="27"/>
                        </a:cubicBezTo>
                        <a:cubicBezTo>
                          <a:pt x="79" y="27"/>
                          <a:pt x="80" y="27"/>
                          <a:pt x="80" y="27"/>
                        </a:cubicBezTo>
                        <a:cubicBezTo>
                          <a:pt x="80" y="27"/>
                          <a:pt x="80" y="27"/>
                          <a:pt x="80" y="27"/>
                        </a:cubicBezTo>
                        <a:cubicBezTo>
                          <a:pt x="80" y="28"/>
                          <a:pt x="80" y="28"/>
                          <a:pt x="80" y="28"/>
                        </a:cubicBezTo>
                        <a:cubicBezTo>
                          <a:pt x="80" y="28"/>
                          <a:pt x="80" y="28"/>
                          <a:pt x="80" y="28"/>
                        </a:cubicBezTo>
                        <a:cubicBezTo>
                          <a:pt x="80" y="28"/>
                          <a:pt x="80" y="28"/>
                          <a:pt x="80" y="28"/>
                        </a:cubicBezTo>
                        <a:cubicBezTo>
                          <a:pt x="80" y="28"/>
                          <a:pt x="80" y="28"/>
                          <a:pt x="80" y="28"/>
                        </a:cubicBezTo>
                        <a:cubicBezTo>
                          <a:pt x="80" y="28"/>
                          <a:pt x="80" y="28"/>
                          <a:pt x="80" y="28"/>
                        </a:cubicBezTo>
                        <a:cubicBezTo>
                          <a:pt x="80" y="28"/>
                          <a:pt x="81" y="28"/>
                          <a:pt x="81" y="28"/>
                        </a:cubicBezTo>
                        <a:cubicBezTo>
                          <a:pt x="81" y="28"/>
                          <a:pt x="81" y="28"/>
                          <a:pt x="81" y="28"/>
                        </a:cubicBezTo>
                        <a:cubicBezTo>
                          <a:pt x="81" y="28"/>
                          <a:pt x="81" y="28"/>
                          <a:pt x="81" y="28"/>
                        </a:cubicBezTo>
                        <a:cubicBezTo>
                          <a:pt x="81" y="28"/>
                          <a:pt x="81" y="29"/>
                          <a:pt x="81" y="29"/>
                        </a:cubicBezTo>
                        <a:cubicBezTo>
                          <a:pt x="81" y="28"/>
                          <a:pt x="81" y="28"/>
                          <a:pt x="81" y="28"/>
                        </a:cubicBezTo>
                        <a:cubicBezTo>
                          <a:pt x="81" y="28"/>
                          <a:pt x="81" y="28"/>
                          <a:pt x="81" y="28"/>
                        </a:cubicBezTo>
                        <a:cubicBezTo>
                          <a:pt x="81" y="28"/>
                          <a:pt x="81" y="28"/>
                          <a:pt x="81" y="29"/>
                        </a:cubicBezTo>
                        <a:cubicBezTo>
                          <a:pt x="81" y="29"/>
                          <a:pt x="82" y="29"/>
                          <a:pt x="82" y="29"/>
                        </a:cubicBezTo>
                        <a:cubicBezTo>
                          <a:pt x="82" y="29"/>
                          <a:pt x="82" y="29"/>
                          <a:pt x="82" y="28"/>
                        </a:cubicBezTo>
                        <a:cubicBezTo>
                          <a:pt x="82" y="28"/>
                          <a:pt x="82" y="29"/>
                          <a:pt x="82" y="29"/>
                        </a:cubicBezTo>
                        <a:cubicBezTo>
                          <a:pt x="82" y="29"/>
                          <a:pt x="82" y="29"/>
                          <a:pt x="82" y="28"/>
                        </a:cubicBezTo>
                        <a:cubicBezTo>
                          <a:pt x="82" y="29"/>
                          <a:pt x="82" y="29"/>
                          <a:pt x="82" y="29"/>
                        </a:cubicBezTo>
                        <a:cubicBezTo>
                          <a:pt x="82" y="29"/>
                          <a:pt x="82" y="29"/>
                          <a:pt x="83" y="29"/>
                        </a:cubicBezTo>
                        <a:cubicBezTo>
                          <a:pt x="83" y="29"/>
                          <a:pt x="82" y="29"/>
                          <a:pt x="82" y="29"/>
                        </a:cubicBezTo>
                        <a:cubicBezTo>
                          <a:pt x="83" y="29"/>
                          <a:pt x="83" y="29"/>
                          <a:pt x="83" y="29"/>
                        </a:cubicBezTo>
                        <a:cubicBezTo>
                          <a:pt x="83" y="29"/>
                          <a:pt x="83" y="29"/>
                          <a:pt x="83" y="29"/>
                        </a:cubicBezTo>
                        <a:cubicBezTo>
                          <a:pt x="83" y="29"/>
                          <a:pt x="83" y="29"/>
                          <a:pt x="83" y="29"/>
                        </a:cubicBezTo>
                        <a:cubicBezTo>
                          <a:pt x="83" y="29"/>
                          <a:pt x="83" y="29"/>
                          <a:pt x="83" y="29"/>
                        </a:cubicBezTo>
                        <a:cubicBezTo>
                          <a:pt x="83" y="29"/>
                          <a:pt x="83" y="29"/>
                          <a:pt x="83" y="29"/>
                        </a:cubicBezTo>
                        <a:cubicBezTo>
                          <a:pt x="83" y="29"/>
                          <a:pt x="83" y="29"/>
                          <a:pt x="84" y="29"/>
                        </a:cubicBezTo>
                        <a:cubicBezTo>
                          <a:pt x="84" y="29"/>
                          <a:pt x="83" y="29"/>
                          <a:pt x="83" y="28"/>
                        </a:cubicBezTo>
                        <a:cubicBezTo>
                          <a:pt x="84" y="29"/>
                          <a:pt x="84" y="29"/>
                          <a:pt x="84" y="29"/>
                        </a:cubicBezTo>
                        <a:cubicBezTo>
                          <a:pt x="84" y="29"/>
                          <a:pt x="84" y="29"/>
                          <a:pt x="84" y="29"/>
                        </a:cubicBezTo>
                        <a:cubicBezTo>
                          <a:pt x="84" y="29"/>
                          <a:pt x="84" y="29"/>
                          <a:pt x="84" y="29"/>
                        </a:cubicBezTo>
                        <a:cubicBezTo>
                          <a:pt x="85" y="29"/>
                          <a:pt x="85" y="29"/>
                          <a:pt x="86" y="29"/>
                        </a:cubicBezTo>
                        <a:cubicBezTo>
                          <a:pt x="86" y="29"/>
                          <a:pt x="86" y="29"/>
                          <a:pt x="86" y="30"/>
                        </a:cubicBezTo>
                        <a:cubicBezTo>
                          <a:pt x="85" y="30"/>
                          <a:pt x="85" y="30"/>
                          <a:pt x="85" y="29"/>
                        </a:cubicBezTo>
                        <a:cubicBezTo>
                          <a:pt x="85" y="29"/>
                          <a:pt x="85" y="29"/>
                          <a:pt x="85" y="29"/>
                        </a:cubicBezTo>
                        <a:cubicBezTo>
                          <a:pt x="85" y="29"/>
                          <a:pt x="85" y="29"/>
                          <a:pt x="85" y="29"/>
                        </a:cubicBezTo>
                        <a:cubicBezTo>
                          <a:pt x="85" y="29"/>
                          <a:pt x="85" y="29"/>
                          <a:pt x="85" y="29"/>
                        </a:cubicBezTo>
                        <a:cubicBezTo>
                          <a:pt x="84" y="29"/>
                          <a:pt x="84" y="29"/>
                          <a:pt x="84" y="29"/>
                        </a:cubicBezTo>
                        <a:cubicBezTo>
                          <a:pt x="84" y="29"/>
                          <a:pt x="83" y="29"/>
                          <a:pt x="83" y="29"/>
                        </a:cubicBezTo>
                        <a:cubicBezTo>
                          <a:pt x="83" y="29"/>
                          <a:pt x="83" y="29"/>
                          <a:pt x="83" y="29"/>
                        </a:cubicBezTo>
                        <a:cubicBezTo>
                          <a:pt x="84" y="29"/>
                          <a:pt x="84" y="29"/>
                          <a:pt x="84" y="29"/>
                        </a:cubicBezTo>
                        <a:cubicBezTo>
                          <a:pt x="84" y="29"/>
                          <a:pt x="83" y="29"/>
                          <a:pt x="83" y="29"/>
                        </a:cubicBezTo>
                        <a:cubicBezTo>
                          <a:pt x="84" y="30"/>
                          <a:pt x="84" y="30"/>
                          <a:pt x="84" y="30"/>
                        </a:cubicBezTo>
                        <a:cubicBezTo>
                          <a:pt x="84" y="30"/>
                          <a:pt x="84" y="30"/>
                          <a:pt x="84" y="30"/>
                        </a:cubicBezTo>
                        <a:cubicBezTo>
                          <a:pt x="84" y="30"/>
                          <a:pt x="85" y="30"/>
                          <a:pt x="85" y="30"/>
                        </a:cubicBezTo>
                        <a:cubicBezTo>
                          <a:pt x="85" y="30"/>
                          <a:pt x="85" y="30"/>
                          <a:pt x="85" y="30"/>
                        </a:cubicBezTo>
                        <a:cubicBezTo>
                          <a:pt x="85" y="30"/>
                          <a:pt x="85" y="30"/>
                          <a:pt x="86" y="30"/>
                        </a:cubicBezTo>
                        <a:cubicBezTo>
                          <a:pt x="85" y="30"/>
                          <a:pt x="85" y="30"/>
                          <a:pt x="85" y="30"/>
                        </a:cubicBezTo>
                        <a:cubicBezTo>
                          <a:pt x="85" y="30"/>
                          <a:pt x="85" y="30"/>
                          <a:pt x="86" y="30"/>
                        </a:cubicBezTo>
                        <a:cubicBezTo>
                          <a:pt x="86" y="30"/>
                          <a:pt x="86" y="30"/>
                          <a:pt x="86" y="30"/>
                        </a:cubicBezTo>
                        <a:cubicBezTo>
                          <a:pt x="87" y="30"/>
                          <a:pt x="87" y="30"/>
                          <a:pt x="87" y="30"/>
                        </a:cubicBezTo>
                        <a:cubicBezTo>
                          <a:pt x="87" y="30"/>
                          <a:pt x="87" y="30"/>
                          <a:pt x="87" y="31"/>
                        </a:cubicBezTo>
                        <a:cubicBezTo>
                          <a:pt x="87" y="31"/>
                          <a:pt x="87" y="31"/>
                          <a:pt x="87" y="31"/>
                        </a:cubicBezTo>
                        <a:cubicBezTo>
                          <a:pt x="87" y="31"/>
                          <a:pt x="87" y="31"/>
                          <a:pt x="88" y="31"/>
                        </a:cubicBezTo>
                        <a:cubicBezTo>
                          <a:pt x="88" y="31"/>
                          <a:pt x="87" y="30"/>
                          <a:pt x="87" y="30"/>
                        </a:cubicBezTo>
                        <a:cubicBezTo>
                          <a:pt x="87" y="30"/>
                          <a:pt x="87" y="30"/>
                          <a:pt x="87" y="30"/>
                        </a:cubicBezTo>
                        <a:cubicBezTo>
                          <a:pt x="87" y="30"/>
                          <a:pt x="87" y="30"/>
                          <a:pt x="87" y="30"/>
                        </a:cubicBezTo>
                        <a:cubicBezTo>
                          <a:pt x="87" y="30"/>
                          <a:pt x="88" y="30"/>
                          <a:pt x="88" y="30"/>
                        </a:cubicBezTo>
                        <a:cubicBezTo>
                          <a:pt x="88" y="30"/>
                          <a:pt x="88" y="30"/>
                          <a:pt x="88" y="30"/>
                        </a:cubicBezTo>
                        <a:cubicBezTo>
                          <a:pt x="88" y="30"/>
                          <a:pt x="88" y="30"/>
                          <a:pt x="88" y="30"/>
                        </a:cubicBezTo>
                        <a:cubicBezTo>
                          <a:pt x="88" y="30"/>
                          <a:pt x="88" y="30"/>
                          <a:pt x="88" y="30"/>
                        </a:cubicBezTo>
                        <a:cubicBezTo>
                          <a:pt x="88" y="30"/>
                          <a:pt x="88" y="30"/>
                          <a:pt x="88" y="30"/>
                        </a:cubicBezTo>
                        <a:cubicBezTo>
                          <a:pt x="88" y="30"/>
                          <a:pt x="88" y="30"/>
                          <a:pt x="88" y="30"/>
                        </a:cubicBezTo>
                        <a:cubicBezTo>
                          <a:pt x="88" y="30"/>
                          <a:pt x="88" y="30"/>
                          <a:pt x="88" y="30"/>
                        </a:cubicBezTo>
                        <a:cubicBezTo>
                          <a:pt x="88" y="30"/>
                          <a:pt x="88" y="30"/>
                          <a:pt x="88" y="30"/>
                        </a:cubicBezTo>
                        <a:cubicBezTo>
                          <a:pt x="88" y="30"/>
                          <a:pt x="88" y="31"/>
                          <a:pt x="88" y="31"/>
                        </a:cubicBezTo>
                        <a:cubicBezTo>
                          <a:pt x="88" y="31"/>
                          <a:pt x="88" y="31"/>
                          <a:pt x="88" y="31"/>
                        </a:cubicBezTo>
                        <a:cubicBezTo>
                          <a:pt x="88" y="31"/>
                          <a:pt x="88" y="31"/>
                          <a:pt x="88" y="31"/>
                        </a:cubicBezTo>
                        <a:cubicBezTo>
                          <a:pt x="89" y="31"/>
                          <a:pt x="88" y="31"/>
                          <a:pt x="89" y="31"/>
                        </a:cubicBezTo>
                        <a:cubicBezTo>
                          <a:pt x="89" y="31"/>
                          <a:pt x="89" y="31"/>
                          <a:pt x="89" y="31"/>
                        </a:cubicBezTo>
                        <a:cubicBezTo>
                          <a:pt x="89" y="31"/>
                          <a:pt x="89" y="31"/>
                          <a:pt x="89" y="31"/>
                        </a:cubicBezTo>
                        <a:cubicBezTo>
                          <a:pt x="89" y="31"/>
                          <a:pt x="89" y="32"/>
                          <a:pt x="90" y="32"/>
                        </a:cubicBezTo>
                        <a:cubicBezTo>
                          <a:pt x="89" y="32"/>
                          <a:pt x="89" y="32"/>
                          <a:pt x="90" y="32"/>
                        </a:cubicBezTo>
                        <a:cubicBezTo>
                          <a:pt x="89" y="32"/>
                          <a:pt x="89" y="32"/>
                          <a:pt x="89" y="31"/>
                        </a:cubicBezTo>
                        <a:cubicBezTo>
                          <a:pt x="89" y="31"/>
                          <a:pt x="89" y="31"/>
                          <a:pt x="89" y="31"/>
                        </a:cubicBezTo>
                        <a:cubicBezTo>
                          <a:pt x="89" y="32"/>
                          <a:pt x="89" y="32"/>
                          <a:pt x="89" y="32"/>
                        </a:cubicBezTo>
                        <a:cubicBezTo>
                          <a:pt x="89" y="32"/>
                          <a:pt x="88" y="31"/>
                          <a:pt x="88" y="32"/>
                        </a:cubicBezTo>
                        <a:cubicBezTo>
                          <a:pt x="88" y="32"/>
                          <a:pt x="87" y="31"/>
                          <a:pt x="87" y="31"/>
                        </a:cubicBezTo>
                        <a:cubicBezTo>
                          <a:pt x="87" y="31"/>
                          <a:pt x="87" y="31"/>
                          <a:pt x="86" y="31"/>
                        </a:cubicBezTo>
                        <a:cubicBezTo>
                          <a:pt x="86" y="31"/>
                          <a:pt x="87" y="31"/>
                          <a:pt x="87" y="31"/>
                        </a:cubicBezTo>
                        <a:cubicBezTo>
                          <a:pt x="86" y="31"/>
                          <a:pt x="86" y="31"/>
                          <a:pt x="86" y="31"/>
                        </a:cubicBezTo>
                        <a:cubicBezTo>
                          <a:pt x="86" y="31"/>
                          <a:pt x="86" y="31"/>
                          <a:pt x="86" y="31"/>
                        </a:cubicBezTo>
                        <a:cubicBezTo>
                          <a:pt x="86" y="31"/>
                          <a:pt x="85" y="31"/>
                          <a:pt x="86" y="31"/>
                        </a:cubicBezTo>
                        <a:cubicBezTo>
                          <a:pt x="86" y="31"/>
                          <a:pt x="86" y="31"/>
                          <a:pt x="86" y="31"/>
                        </a:cubicBezTo>
                        <a:cubicBezTo>
                          <a:pt x="86" y="31"/>
                          <a:pt x="85" y="31"/>
                          <a:pt x="85" y="30"/>
                        </a:cubicBezTo>
                        <a:cubicBezTo>
                          <a:pt x="85" y="31"/>
                          <a:pt x="85" y="31"/>
                          <a:pt x="86" y="31"/>
                        </a:cubicBezTo>
                        <a:cubicBezTo>
                          <a:pt x="85" y="31"/>
                          <a:pt x="85" y="31"/>
                          <a:pt x="85" y="31"/>
                        </a:cubicBezTo>
                        <a:cubicBezTo>
                          <a:pt x="85" y="31"/>
                          <a:pt x="85" y="31"/>
                          <a:pt x="86" y="31"/>
                        </a:cubicBezTo>
                        <a:cubicBezTo>
                          <a:pt x="85" y="31"/>
                          <a:pt x="85" y="31"/>
                          <a:pt x="85" y="31"/>
                        </a:cubicBezTo>
                        <a:cubicBezTo>
                          <a:pt x="86" y="31"/>
                          <a:pt x="86" y="31"/>
                          <a:pt x="86" y="31"/>
                        </a:cubicBezTo>
                        <a:cubicBezTo>
                          <a:pt x="86" y="31"/>
                          <a:pt x="86" y="32"/>
                          <a:pt x="86" y="32"/>
                        </a:cubicBezTo>
                        <a:cubicBezTo>
                          <a:pt x="87" y="32"/>
                          <a:pt x="87" y="32"/>
                          <a:pt x="87" y="32"/>
                        </a:cubicBezTo>
                        <a:cubicBezTo>
                          <a:pt x="87" y="32"/>
                          <a:pt x="87" y="32"/>
                          <a:pt x="86" y="32"/>
                        </a:cubicBezTo>
                        <a:cubicBezTo>
                          <a:pt x="86" y="31"/>
                          <a:pt x="87" y="32"/>
                          <a:pt x="87" y="31"/>
                        </a:cubicBezTo>
                        <a:cubicBezTo>
                          <a:pt x="87" y="31"/>
                          <a:pt x="87" y="32"/>
                          <a:pt x="87" y="32"/>
                        </a:cubicBezTo>
                        <a:cubicBezTo>
                          <a:pt x="87" y="32"/>
                          <a:pt x="88" y="32"/>
                          <a:pt x="88" y="32"/>
                        </a:cubicBezTo>
                        <a:cubicBezTo>
                          <a:pt x="88" y="32"/>
                          <a:pt x="88" y="32"/>
                          <a:pt x="88" y="32"/>
                        </a:cubicBezTo>
                        <a:cubicBezTo>
                          <a:pt x="88" y="32"/>
                          <a:pt x="88" y="32"/>
                          <a:pt x="88" y="32"/>
                        </a:cubicBezTo>
                        <a:cubicBezTo>
                          <a:pt x="88" y="32"/>
                          <a:pt x="88" y="32"/>
                          <a:pt x="89" y="32"/>
                        </a:cubicBezTo>
                        <a:cubicBezTo>
                          <a:pt x="89" y="32"/>
                          <a:pt x="88" y="32"/>
                          <a:pt x="88" y="32"/>
                        </a:cubicBezTo>
                        <a:cubicBezTo>
                          <a:pt x="88" y="32"/>
                          <a:pt x="88" y="32"/>
                          <a:pt x="88" y="32"/>
                        </a:cubicBezTo>
                        <a:cubicBezTo>
                          <a:pt x="89" y="32"/>
                          <a:pt x="89" y="32"/>
                          <a:pt x="89" y="32"/>
                        </a:cubicBezTo>
                        <a:cubicBezTo>
                          <a:pt x="89" y="32"/>
                          <a:pt x="89" y="32"/>
                          <a:pt x="89" y="32"/>
                        </a:cubicBezTo>
                        <a:cubicBezTo>
                          <a:pt x="89" y="32"/>
                          <a:pt x="89" y="32"/>
                          <a:pt x="88" y="32"/>
                        </a:cubicBezTo>
                        <a:cubicBezTo>
                          <a:pt x="88" y="32"/>
                          <a:pt x="89" y="32"/>
                          <a:pt x="89" y="32"/>
                        </a:cubicBezTo>
                        <a:cubicBezTo>
                          <a:pt x="89" y="32"/>
                          <a:pt x="89" y="32"/>
                          <a:pt x="89" y="32"/>
                        </a:cubicBezTo>
                        <a:cubicBezTo>
                          <a:pt x="89" y="32"/>
                          <a:pt x="88" y="32"/>
                          <a:pt x="88" y="32"/>
                        </a:cubicBezTo>
                        <a:cubicBezTo>
                          <a:pt x="88" y="32"/>
                          <a:pt x="88" y="32"/>
                          <a:pt x="88" y="32"/>
                        </a:cubicBezTo>
                        <a:cubicBezTo>
                          <a:pt x="88" y="32"/>
                          <a:pt x="88" y="32"/>
                          <a:pt x="88" y="32"/>
                        </a:cubicBezTo>
                        <a:cubicBezTo>
                          <a:pt x="88" y="32"/>
                          <a:pt x="88" y="32"/>
                          <a:pt x="88" y="32"/>
                        </a:cubicBezTo>
                        <a:cubicBezTo>
                          <a:pt x="88" y="32"/>
                          <a:pt x="89" y="33"/>
                          <a:pt x="89" y="33"/>
                        </a:cubicBezTo>
                        <a:cubicBezTo>
                          <a:pt x="89" y="33"/>
                          <a:pt x="89" y="33"/>
                          <a:pt x="89" y="32"/>
                        </a:cubicBezTo>
                        <a:cubicBezTo>
                          <a:pt x="89" y="32"/>
                          <a:pt x="89" y="32"/>
                          <a:pt x="89" y="32"/>
                        </a:cubicBezTo>
                        <a:cubicBezTo>
                          <a:pt x="89" y="32"/>
                          <a:pt x="89" y="32"/>
                          <a:pt x="89" y="32"/>
                        </a:cubicBezTo>
                        <a:cubicBezTo>
                          <a:pt x="89" y="32"/>
                          <a:pt x="89" y="32"/>
                          <a:pt x="89" y="32"/>
                        </a:cubicBezTo>
                        <a:cubicBezTo>
                          <a:pt x="89" y="32"/>
                          <a:pt x="89" y="32"/>
                          <a:pt x="89" y="32"/>
                        </a:cubicBezTo>
                        <a:cubicBezTo>
                          <a:pt x="90" y="32"/>
                          <a:pt x="90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2"/>
                        </a:cubicBezTo>
                        <a:cubicBezTo>
                          <a:pt x="91" y="32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4"/>
                        </a:cubicBezTo>
                        <a:cubicBezTo>
                          <a:pt x="91" y="34"/>
                          <a:pt x="91" y="34"/>
                          <a:pt x="92" y="34"/>
                        </a:cubicBezTo>
                        <a:cubicBezTo>
                          <a:pt x="92" y="34"/>
                          <a:pt x="92" y="34"/>
                          <a:pt x="92" y="34"/>
                        </a:cubicBezTo>
                        <a:cubicBezTo>
                          <a:pt x="92" y="34"/>
                          <a:pt x="91" y="34"/>
                          <a:pt x="92" y="34"/>
                        </a:cubicBezTo>
                        <a:cubicBezTo>
                          <a:pt x="92" y="34"/>
                          <a:pt x="91" y="34"/>
                          <a:pt x="91" y="34"/>
                        </a:cubicBezTo>
                        <a:cubicBezTo>
                          <a:pt x="91" y="33"/>
                          <a:pt x="92" y="33"/>
                          <a:pt x="92" y="34"/>
                        </a:cubicBezTo>
                        <a:cubicBezTo>
                          <a:pt x="92" y="33"/>
                          <a:pt x="92" y="33"/>
                          <a:pt x="92" y="33"/>
                        </a:cubicBezTo>
                        <a:cubicBezTo>
                          <a:pt x="92" y="33"/>
                          <a:pt x="92" y="33"/>
                          <a:pt x="92" y="33"/>
                        </a:cubicBezTo>
                        <a:cubicBezTo>
                          <a:pt x="92" y="33"/>
                          <a:pt x="92" y="33"/>
                          <a:pt x="92" y="34"/>
                        </a:cubicBezTo>
                        <a:cubicBezTo>
                          <a:pt x="92" y="34"/>
                          <a:pt x="92" y="34"/>
                          <a:pt x="92" y="34"/>
                        </a:cubicBezTo>
                        <a:cubicBezTo>
                          <a:pt x="92" y="34"/>
                          <a:pt x="92" y="34"/>
                          <a:pt x="92" y="34"/>
                        </a:cubicBezTo>
                        <a:cubicBezTo>
                          <a:pt x="92" y="34"/>
                          <a:pt x="92" y="34"/>
                          <a:pt x="92" y="34"/>
                        </a:cubicBezTo>
                        <a:cubicBezTo>
                          <a:pt x="92" y="34"/>
                          <a:pt x="92" y="35"/>
                          <a:pt x="92" y="34"/>
                        </a:cubicBezTo>
                        <a:cubicBezTo>
                          <a:pt x="92" y="34"/>
                          <a:pt x="92" y="34"/>
                          <a:pt x="92" y="34"/>
                        </a:cubicBezTo>
                        <a:cubicBezTo>
                          <a:pt x="92" y="34"/>
                          <a:pt x="92" y="34"/>
                          <a:pt x="93" y="34"/>
                        </a:cubicBezTo>
                        <a:cubicBezTo>
                          <a:pt x="93" y="34"/>
                          <a:pt x="93" y="34"/>
                          <a:pt x="93" y="34"/>
                        </a:cubicBezTo>
                        <a:cubicBezTo>
                          <a:pt x="93" y="35"/>
                          <a:pt x="93" y="35"/>
                          <a:pt x="93" y="35"/>
                        </a:cubicBezTo>
                        <a:cubicBezTo>
                          <a:pt x="93" y="35"/>
                          <a:pt x="93" y="35"/>
                          <a:pt x="93" y="35"/>
                        </a:cubicBezTo>
                        <a:cubicBezTo>
                          <a:pt x="93" y="35"/>
                          <a:pt x="93" y="34"/>
                          <a:pt x="93" y="34"/>
                        </a:cubicBezTo>
                        <a:cubicBezTo>
                          <a:pt x="93" y="35"/>
                          <a:pt x="93" y="35"/>
                          <a:pt x="93" y="35"/>
                        </a:cubicBezTo>
                        <a:cubicBezTo>
                          <a:pt x="93" y="35"/>
                          <a:pt x="93" y="35"/>
                          <a:pt x="93" y="35"/>
                        </a:cubicBezTo>
                        <a:cubicBezTo>
                          <a:pt x="93" y="35"/>
                          <a:pt x="93" y="35"/>
                          <a:pt x="93" y="35"/>
                        </a:cubicBezTo>
                        <a:cubicBezTo>
                          <a:pt x="93" y="35"/>
                          <a:pt x="94" y="35"/>
                          <a:pt x="94" y="35"/>
                        </a:cubicBezTo>
                        <a:cubicBezTo>
                          <a:pt x="94" y="35"/>
                          <a:pt x="94" y="35"/>
                          <a:pt x="94" y="35"/>
                        </a:cubicBezTo>
                        <a:cubicBezTo>
                          <a:pt x="94" y="35"/>
                          <a:pt x="94" y="35"/>
                          <a:pt x="94" y="35"/>
                        </a:cubicBezTo>
                        <a:cubicBezTo>
                          <a:pt x="95" y="36"/>
                          <a:pt x="95" y="36"/>
                          <a:pt x="95" y="36"/>
                        </a:cubicBezTo>
                        <a:cubicBezTo>
                          <a:pt x="95" y="36"/>
                          <a:pt x="94" y="36"/>
                          <a:pt x="94" y="36"/>
                        </a:cubicBezTo>
                        <a:cubicBezTo>
                          <a:pt x="94" y="36"/>
                          <a:pt x="94" y="36"/>
                          <a:pt x="94" y="36"/>
                        </a:cubicBezTo>
                        <a:cubicBezTo>
                          <a:pt x="94" y="36"/>
                          <a:pt x="94" y="36"/>
                          <a:pt x="94" y="36"/>
                        </a:cubicBezTo>
                        <a:cubicBezTo>
                          <a:pt x="94" y="36"/>
                          <a:pt x="94" y="36"/>
                          <a:pt x="94" y="36"/>
                        </a:cubicBezTo>
                        <a:cubicBezTo>
                          <a:pt x="94" y="36"/>
                          <a:pt x="94" y="36"/>
                          <a:pt x="93" y="36"/>
                        </a:cubicBezTo>
                        <a:cubicBezTo>
                          <a:pt x="94" y="36"/>
                          <a:pt x="94" y="36"/>
                          <a:pt x="93" y="36"/>
                        </a:cubicBezTo>
                        <a:cubicBezTo>
                          <a:pt x="93" y="36"/>
                          <a:pt x="93" y="36"/>
                          <a:pt x="93" y="36"/>
                        </a:cubicBezTo>
                        <a:cubicBezTo>
                          <a:pt x="93" y="36"/>
                          <a:pt x="93" y="36"/>
                          <a:pt x="93" y="36"/>
                        </a:cubicBezTo>
                        <a:cubicBezTo>
                          <a:pt x="93" y="36"/>
                          <a:pt x="93" y="36"/>
                          <a:pt x="93" y="36"/>
                        </a:cubicBezTo>
                        <a:cubicBezTo>
                          <a:pt x="93" y="35"/>
                          <a:pt x="92" y="36"/>
                          <a:pt x="91" y="35"/>
                        </a:cubicBezTo>
                        <a:cubicBezTo>
                          <a:pt x="91" y="35"/>
                          <a:pt x="91" y="35"/>
                          <a:pt x="91" y="35"/>
                        </a:cubicBezTo>
                        <a:cubicBezTo>
                          <a:pt x="91" y="35"/>
                          <a:pt x="91" y="35"/>
                          <a:pt x="91" y="35"/>
                        </a:cubicBezTo>
                        <a:cubicBezTo>
                          <a:pt x="91" y="35"/>
                          <a:pt x="91" y="35"/>
                          <a:pt x="90" y="35"/>
                        </a:cubicBezTo>
                        <a:cubicBezTo>
                          <a:pt x="90" y="35"/>
                          <a:pt x="90" y="35"/>
                          <a:pt x="90" y="35"/>
                        </a:cubicBezTo>
                        <a:cubicBezTo>
                          <a:pt x="90" y="35"/>
                          <a:pt x="90" y="35"/>
                          <a:pt x="90" y="35"/>
                        </a:cubicBezTo>
                        <a:cubicBezTo>
                          <a:pt x="90" y="35"/>
                          <a:pt x="89" y="35"/>
                          <a:pt x="89" y="35"/>
                        </a:cubicBezTo>
                        <a:cubicBezTo>
                          <a:pt x="89" y="35"/>
                          <a:pt x="89" y="35"/>
                          <a:pt x="88" y="35"/>
                        </a:cubicBezTo>
                        <a:cubicBezTo>
                          <a:pt x="88" y="34"/>
                          <a:pt x="87" y="34"/>
                          <a:pt x="87" y="34"/>
                        </a:cubicBezTo>
                        <a:cubicBezTo>
                          <a:pt x="87" y="34"/>
                          <a:pt x="88" y="34"/>
                          <a:pt x="88" y="34"/>
                        </a:cubicBezTo>
                        <a:cubicBezTo>
                          <a:pt x="88" y="34"/>
                          <a:pt x="88" y="34"/>
                          <a:pt x="88" y="34"/>
                        </a:cubicBezTo>
                        <a:cubicBezTo>
                          <a:pt x="88" y="34"/>
                          <a:pt x="88" y="34"/>
                          <a:pt x="87" y="34"/>
                        </a:cubicBezTo>
                        <a:cubicBezTo>
                          <a:pt x="88" y="34"/>
                          <a:pt x="86" y="34"/>
                          <a:pt x="86" y="33"/>
                        </a:cubicBezTo>
                        <a:cubicBezTo>
                          <a:pt x="86" y="33"/>
                          <a:pt x="86" y="33"/>
                          <a:pt x="86" y="33"/>
                        </a:cubicBezTo>
                        <a:cubicBezTo>
                          <a:pt x="85" y="33"/>
                          <a:pt x="85" y="33"/>
                          <a:pt x="85" y="33"/>
                        </a:cubicBezTo>
                        <a:cubicBezTo>
                          <a:pt x="85" y="33"/>
                          <a:pt x="85" y="33"/>
                          <a:pt x="85" y="33"/>
                        </a:cubicBezTo>
                        <a:cubicBezTo>
                          <a:pt x="84" y="33"/>
                          <a:pt x="83" y="33"/>
                          <a:pt x="81" y="32"/>
                        </a:cubicBezTo>
                        <a:cubicBezTo>
                          <a:pt x="81" y="32"/>
                          <a:pt x="81" y="32"/>
                          <a:pt x="81" y="32"/>
                        </a:cubicBezTo>
                        <a:cubicBezTo>
                          <a:pt x="81" y="32"/>
                          <a:pt x="81" y="32"/>
                          <a:pt x="81" y="32"/>
                        </a:cubicBezTo>
                        <a:cubicBezTo>
                          <a:pt x="81" y="32"/>
                          <a:pt x="81" y="32"/>
                          <a:pt x="81" y="32"/>
                        </a:cubicBezTo>
                        <a:cubicBezTo>
                          <a:pt x="81" y="32"/>
                          <a:pt x="81" y="32"/>
                          <a:pt x="81" y="32"/>
                        </a:cubicBezTo>
                        <a:cubicBezTo>
                          <a:pt x="81" y="32"/>
                          <a:pt x="81" y="32"/>
                          <a:pt x="81" y="32"/>
                        </a:cubicBezTo>
                        <a:cubicBezTo>
                          <a:pt x="80" y="32"/>
                          <a:pt x="81" y="32"/>
                          <a:pt x="81" y="32"/>
                        </a:cubicBezTo>
                        <a:cubicBezTo>
                          <a:pt x="80" y="32"/>
                          <a:pt x="80" y="32"/>
                          <a:pt x="80" y="32"/>
                        </a:cubicBezTo>
                        <a:cubicBezTo>
                          <a:pt x="80" y="32"/>
                          <a:pt x="80" y="32"/>
                          <a:pt x="80" y="32"/>
                        </a:cubicBezTo>
                        <a:cubicBezTo>
                          <a:pt x="80" y="32"/>
                          <a:pt x="80" y="32"/>
                          <a:pt x="79" y="31"/>
                        </a:cubicBezTo>
                        <a:cubicBezTo>
                          <a:pt x="79" y="31"/>
                          <a:pt x="79" y="31"/>
                          <a:pt x="79" y="31"/>
                        </a:cubicBezTo>
                        <a:cubicBezTo>
                          <a:pt x="79" y="31"/>
                          <a:pt x="79" y="31"/>
                          <a:pt x="79" y="31"/>
                        </a:cubicBezTo>
                        <a:cubicBezTo>
                          <a:pt x="79" y="31"/>
                          <a:pt x="79" y="31"/>
                          <a:pt x="78" y="31"/>
                        </a:cubicBezTo>
                        <a:cubicBezTo>
                          <a:pt x="78" y="31"/>
                          <a:pt x="79" y="31"/>
                          <a:pt x="79" y="31"/>
                        </a:cubicBezTo>
                        <a:cubicBezTo>
                          <a:pt x="78" y="31"/>
                          <a:pt x="78" y="31"/>
                          <a:pt x="78" y="31"/>
                        </a:cubicBezTo>
                        <a:cubicBezTo>
                          <a:pt x="78" y="31"/>
                          <a:pt x="77" y="31"/>
                          <a:pt x="77" y="31"/>
                        </a:cubicBezTo>
                        <a:cubicBezTo>
                          <a:pt x="77" y="31"/>
                          <a:pt x="76" y="30"/>
                          <a:pt x="76" y="30"/>
                        </a:cubicBezTo>
                        <a:cubicBezTo>
                          <a:pt x="76" y="30"/>
                          <a:pt x="76" y="30"/>
                          <a:pt x="76" y="30"/>
                        </a:cubicBezTo>
                        <a:cubicBezTo>
                          <a:pt x="76" y="30"/>
                          <a:pt x="75" y="30"/>
                          <a:pt x="75" y="30"/>
                        </a:cubicBezTo>
                        <a:cubicBezTo>
                          <a:pt x="75" y="30"/>
                          <a:pt x="75" y="30"/>
                          <a:pt x="76" y="30"/>
                        </a:cubicBezTo>
                        <a:cubicBezTo>
                          <a:pt x="76" y="30"/>
                          <a:pt x="75" y="30"/>
                          <a:pt x="75" y="30"/>
                        </a:cubicBezTo>
                        <a:cubicBezTo>
                          <a:pt x="75" y="30"/>
                          <a:pt x="76" y="30"/>
                          <a:pt x="76" y="30"/>
                        </a:cubicBezTo>
                        <a:cubicBezTo>
                          <a:pt x="76" y="30"/>
                          <a:pt x="76" y="30"/>
                          <a:pt x="76" y="30"/>
                        </a:cubicBezTo>
                        <a:cubicBezTo>
                          <a:pt x="76" y="30"/>
                          <a:pt x="76" y="30"/>
                          <a:pt x="76" y="30"/>
                        </a:cubicBezTo>
                        <a:cubicBezTo>
                          <a:pt x="77" y="30"/>
                          <a:pt x="77" y="30"/>
                          <a:pt x="78" y="31"/>
                        </a:cubicBezTo>
                        <a:cubicBezTo>
                          <a:pt x="78" y="31"/>
                          <a:pt x="78" y="31"/>
                          <a:pt x="78" y="31"/>
                        </a:cubicBezTo>
                        <a:cubicBezTo>
                          <a:pt x="79" y="31"/>
                          <a:pt x="81" y="31"/>
                          <a:pt x="82" y="32"/>
                        </a:cubicBezTo>
                        <a:cubicBezTo>
                          <a:pt x="82" y="32"/>
                          <a:pt x="82" y="32"/>
                          <a:pt x="82" y="32"/>
                        </a:cubicBezTo>
                        <a:cubicBezTo>
                          <a:pt x="82" y="32"/>
                          <a:pt x="82" y="32"/>
                          <a:pt x="82" y="32"/>
                        </a:cubicBezTo>
                        <a:cubicBezTo>
                          <a:pt x="83" y="32"/>
                          <a:pt x="83" y="32"/>
                          <a:pt x="84" y="32"/>
                        </a:cubicBezTo>
                        <a:cubicBezTo>
                          <a:pt x="84" y="32"/>
                          <a:pt x="84" y="32"/>
                          <a:pt x="84" y="32"/>
                        </a:cubicBezTo>
                        <a:cubicBezTo>
                          <a:pt x="84" y="32"/>
                          <a:pt x="84" y="32"/>
                          <a:pt x="84" y="32"/>
                        </a:cubicBezTo>
                        <a:cubicBezTo>
                          <a:pt x="84" y="32"/>
                          <a:pt x="84" y="32"/>
                          <a:pt x="84" y="33"/>
                        </a:cubicBezTo>
                        <a:cubicBezTo>
                          <a:pt x="84" y="33"/>
                          <a:pt x="84" y="33"/>
                          <a:pt x="85" y="33"/>
                        </a:cubicBezTo>
                        <a:cubicBezTo>
                          <a:pt x="85" y="33"/>
                          <a:pt x="85" y="33"/>
                          <a:pt x="85" y="33"/>
                        </a:cubicBezTo>
                        <a:cubicBezTo>
                          <a:pt x="84" y="32"/>
                          <a:pt x="84" y="32"/>
                          <a:pt x="83" y="32"/>
                        </a:cubicBezTo>
                        <a:cubicBezTo>
                          <a:pt x="83" y="32"/>
                          <a:pt x="83" y="32"/>
                          <a:pt x="83" y="32"/>
                        </a:cubicBezTo>
                        <a:cubicBezTo>
                          <a:pt x="83" y="32"/>
                          <a:pt x="83" y="32"/>
                          <a:pt x="83" y="32"/>
                        </a:cubicBezTo>
                        <a:cubicBezTo>
                          <a:pt x="83" y="32"/>
                          <a:pt x="83" y="32"/>
                          <a:pt x="82" y="32"/>
                        </a:cubicBezTo>
                        <a:cubicBezTo>
                          <a:pt x="83" y="32"/>
                          <a:pt x="82" y="31"/>
                          <a:pt x="82" y="31"/>
                        </a:cubicBezTo>
                        <a:cubicBezTo>
                          <a:pt x="82" y="32"/>
                          <a:pt x="82" y="31"/>
                          <a:pt x="82" y="31"/>
                        </a:cubicBezTo>
                        <a:cubicBezTo>
                          <a:pt x="82" y="31"/>
                          <a:pt x="82" y="31"/>
                          <a:pt x="81" y="31"/>
                        </a:cubicBezTo>
                        <a:cubicBezTo>
                          <a:pt x="82" y="31"/>
                          <a:pt x="82" y="31"/>
                          <a:pt x="82" y="31"/>
                        </a:cubicBezTo>
                        <a:cubicBezTo>
                          <a:pt x="82" y="31"/>
                          <a:pt x="83" y="31"/>
                          <a:pt x="82" y="31"/>
                        </a:cubicBezTo>
                        <a:cubicBezTo>
                          <a:pt x="83" y="31"/>
                          <a:pt x="83" y="31"/>
                          <a:pt x="83" y="32"/>
                        </a:cubicBezTo>
                        <a:cubicBezTo>
                          <a:pt x="83" y="32"/>
                          <a:pt x="84" y="32"/>
                          <a:pt x="84" y="32"/>
                        </a:cubicBezTo>
                        <a:cubicBezTo>
                          <a:pt x="84" y="32"/>
                          <a:pt x="84" y="32"/>
                          <a:pt x="84" y="32"/>
                        </a:cubicBezTo>
                        <a:cubicBezTo>
                          <a:pt x="84" y="32"/>
                          <a:pt x="83" y="32"/>
                          <a:pt x="83" y="32"/>
                        </a:cubicBezTo>
                        <a:cubicBezTo>
                          <a:pt x="83" y="31"/>
                          <a:pt x="83" y="31"/>
                          <a:pt x="82" y="31"/>
                        </a:cubicBezTo>
                        <a:cubicBezTo>
                          <a:pt x="82" y="31"/>
                          <a:pt x="83" y="31"/>
                          <a:pt x="83" y="31"/>
                        </a:cubicBezTo>
                        <a:cubicBezTo>
                          <a:pt x="83" y="31"/>
                          <a:pt x="82" y="31"/>
                          <a:pt x="82" y="31"/>
                        </a:cubicBezTo>
                        <a:cubicBezTo>
                          <a:pt x="82" y="31"/>
                          <a:pt x="82" y="31"/>
                          <a:pt x="82" y="31"/>
                        </a:cubicBezTo>
                        <a:cubicBezTo>
                          <a:pt x="82" y="31"/>
                          <a:pt x="82" y="31"/>
                          <a:pt x="82" y="30"/>
                        </a:cubicBezTo>
                        <a:cubicBezTo>
                          <a:pt x="82" y="30"/>
                          <a:pt x="82" y="31"/>
                          <a:pt x="82" y="31"/>
                        </a:cubicBezTo>
                        <a:cubicBezTo>
                          <a:pt x="83" y="30"/>
                          <a:pt x="82" y="30"/>
                          <a:pt x="82" y="30"/>
                        </a:cubicBezTo>
                        <a:cubicBezTo>
                          <a:pt x="82" y="30"/>
                          <a:pt x="82" y="30"/>
                          <a:pt x="82" y="30"/>
                        </a:cubicBezTo>
                        <a:cubicBezTo>
                          <a:pt x="82" y="30"/>
                          <a:pt x="82" y="30"/>
                          <a:pt x="82" y="30"/>
                        </a:cubicBezTo>
                        <a:cubicBezTo>
                          <a:pt x="82" y="30"/>
                          <a:pt x="81" y="30"/>
                          <a:pt x="81" y="30"/>
                        </a:cubicBezTo>
                        <a:cubicBezTo>
                          <a:pt x="81" y="30"/>
                          <a:pt x="81" y="30"/>
                          <a:pt x="81" y="30"/>
                        </a:cubicBezTo>
                        <a:cubicBezTo>
                          <a:pt x="81" y="30"/>
                          <a:pt x="81" y="30"/>
                          <a:pt x="81" y="30"/>
                        </a:cubicBezTo>
                        <a:cubicBezTo>
                          <a:pt x="81" y="30"/>
                          <a:pt x="80" y="30"/>
                          <a:pt x="80" y="29"/>
                        </a:cubicBezTo>
                        <a:cubicBezTo>
                          <a:pt x="80" y="29"/>
                          <a:pt x="80" y="29"/>
                          <a:pt x="80" y="29"/>
                        </a:cubicBezTo>
                        <a:cubicBezTo>
                          <a:pt x="79" y="29"/>
                          <a:pt x="78" y="29"/>
                          <a:pt x="78" y="29"/>
                        </a:cubicBezTo>
                        <a:cubicBezTo>
                          <a:pt x="78" y="29"/>
                          <a:pt x="78" y="29"/>
                          <a:pt x="78" y="29"/>
                        </a:cubicBezTo>
                        <a:cubicBezTo>
                          <a:pt x="78" y="29"/>
                          <a:pt x="79" y="29"/>
                          <a:pt x="79" y="29"/>
                        </a:cubicBezTo>
                        <a:cubicBezTo>
                          <a:pt x="79" y="29"/>
                          <a:pt x="80" y="29"/>
                          <a:pt x="80" y="30"/>
                        </a:cubicBezTo>
                        <a:cubicBezTo>
                          <a:pt x="80" y="30"/>
                          <a:pt x="80" y="29"/>
                          <a:pt x="80" y="29"/>
                        </a:cubicBezTo>
                        <a:cubicBezTo>
                          <a:pt x="80" y="30"/>
                          <a:pt x="79" y="29"/>
                          <a:pt x="79" y="29"/>
                        </a:cubicBezTo>
                        <a:cubicBezTo>
                          <a:pt x="79" y="29"/>
                          <a:pt x="79" y="29"/>
                          <a:pt x="78" y="29"/>
                        </a:cubicBezTo>
                        <a:cubicBezTo>
                          <a:pt x="78" y="29"/>
                          <a:pt x="79" y="29"/>
                          <a:pt x="79" y="29"/>
                        </a:cubicBezTo>
                        <a:cubicBezTo>
                          <a:pt x="79" y="30"/>
                          <a:pt x="79" y="30"/>
                          <a:pt x="79" y="30"/>
                        </a:cubicBezTo>
                        <a:cubicBezTo>
                          <a:pt x="79" y="30"/>
                          <a:pt x="79" y="29"/>
                          <a:pt x="78" y="30"/>
                        </a:cubicBezTo>
                        <a:cubicBezTo>
                          <a:pt x="78" y="29"/>
                          <a:pt x="78" y="29"/>
                          <a:pt x="78" y="29"/>
                        </a:cubicBezTo>
                        <a:cubicBezTo>
                          <a:pt x="78" y="29"/>
                          <a:pt x="78" y="29"/>
                          <a:pt x="78" y="29"/>
                        </a:cubicBezTo>
                        <a:cubicBezTo>
                          <a:pt x="78" y="29"/>
                          <a:pt x="78" y="29"/>
                          <a:pt x="78" y="30"/>
                        </a:cubicBezTo>
                        <a:cubicBezTo>
                          <a:pt x="78" y="29"/>
                          <a:pt x="78" y="29"/>
                          <a:pt x="77" y="29"/>
                        </a:cubicBezTo>
                        <a:cubicBezTo>
                          <a:pt x="77" y="29"/>
                          <a:pt x="78" y="29"/>
                          <a:pt x="77" y="29"/>
                        </a:cubicBezTo>
                        <a:cubicBezTo>
                          <a:pt x="77" y="29"/>
                          <a:pt x="77" y="29"/>
                          <a:pt x="77" y="29"/>
                        </a:cubicBezTo>
                        <a:cubicBezTo>
                          <a:pt x="77" y="29"/>
                          <a:pt x="76" y="29"/>
                          <a:pt x="76" y="29"/>
                        </a:cubicBezTo>
                        <a:cubicBezTo>
                          <a:pt x="76" y="29"/>
                          <a:pt x="76" y="29"/>
                          <a:pt x="76" y="29"/>
                        </a:cubicBezTo>
                        <a:cubicBezTo>
                          <a:pt x="76" y="29"/>
                          <a:pt x="76" y="29"/>
                          <a:pt x="76" y="29"/>
                        </a:cubicBezTo>
                        <a:cubicBezTo>
                          <a:pt x="76" y="29"/>
                          <a:pt x="76" y="29"/>
                          <a:pt x="76" y="29"/>
                        </a:cubicBezTo>
                        <a:cubicBezTo>
                          <a:pt x="76" y="29"/>
                          <a:pt x="76" y="29"/>
                          <a:pt x="76" y="29"/>
                        </a:cubicBezTo>
                        <a:cubicBezTo>
                          <a:pt x="76" y="29"/>
                          <a:pt x="76" y="29"/>
                          <a:pt x="76" y="29"/>
                        </a:cubicBezTo>
                        <a:cubicBezTo>
                          <a:pt x="75" y="29"/>
                          <a:pt x="75" y="29"/>
                          <a:pt x="75" y="29"/>
                        </a:cubicBezTo>
                        <a:cubicBezTo>
                          <a:pt x="75" y="29"/>
                          <a:pt x="76" y="29"/>
                          <a:pt x="76" y="29"/>
                        </a:cubicBezTo>
                        <a:cubicBezTo>
                          <a:pt x="75" y="29"/>
                          <a:pt x="75" y="29"/>
                          <a:pt x="75" y="29"/>
                        </a:cubicBezTo>
                        <a:cubicBezTo>
                          <a:pt x="75" y="29"/>
                          <a:pt x="75" y="29"/>
                          <a:pt x="75" y="29"/>
                        </a:cubicBezTo>
                        <a:cubicBezTo>
                          <a:pt x="75" y="29"/>
                          <a:pt x="75" y="29"/>
                          <a:pt x="75" y="29"/>
                        </a:cubicBezTo>
                        <a:cubicBezTo>
                          <a:pt x="75" y="29"/>
                          <a:pt x="75" y="29"/>
                          <a:pt x="75" y="29"/>
                        </a:cubicBezTo>
                        <a:cubicBezTo>
                          <a:pt x="75" y="29"/>
                          <a:pt x="74" y="29"/>
                          <a:pt x="74" y="29"/>
                        </a:cubicBezTo>
                        <a:cubicBezTo>
                          <a:pt x="74" y="29"/>
                          <a:pt x="74" y="29"/>
                          <a:pt x="74" y="29"/>
                        </a:cubicBezTo>
                        <a:cubicBezTo>
                          <a:pt x="74" y="29"/>
                          <a:pt x="74" y="29"/>
                          <a:pt x="74" y="29"/>
                        </a:cubicBezTo>
                        <a:cubicBezTo>
                          <a:pt x="74" y="29"/>
                          <a:pt x="73" y="29"/>
                          <a:pt x="73" y="29"/>
                        </a:cubicBezTo>
                        <a:cubicBezTo>
                          <a:pt x="72" y="28"/>
                          <a:pt x="72" y="28"/>
                          <a:pt x="71" y="28"/>
                        </a:cubicBezTo>
                        <a:cubicBezTo>
                          <a:pt x="71" y="28"/>
                          <a:pt x="71" y="28"/>
                          <a:pt x="71" y="28"/>
                        </a:cubicBezTo>
                        <a:cubicBezTo>
                          <a:pt x="71" y="28"/>
                          <a:pt x="71" y="27"/>
                          <a:pt x="71" y="28"/>
                        </a:cubicBezTo>
                        <a:cubicBezTo>
                          <a:pt x="71" y="28"/>
                          <a:pt x="71" y="28"/>
                          <a:pt x="71" y="28"/>
                        </a:cubicBezTo>
                        <a:cubicBezTo>
                          <a:pt x="71" y="28"/>
                          <a:pt x="71" y="28"/>
                          <a:pt x="71" y="28"/>
                        </a:cubicBezTo>
                        <a:cubicBezTo>
                          <a:pt x="71" y="28"/>
                          <a:pt x="71" y="28"/>
                          <a:pt x="71" y="28"/>
                        </a:cubicBezTo>
                        <a:cubicBezTo>
                          <a:pt x="71" y="28"/>
                          <a:pt x="71" y="28"/>
                          <a:pt x="71" y="28"/>
                        </a:cubicBezTo>
                        <a:cubicBezTo>
                          <a:pt x="72" y="28"/>
                          <a:pt x="72" y="28"/>
                          <a:pt x="72" y="28"/>
                        </a:cubicBezTo>
                        <a:cubicBezTo>
                          <a:pt x="72" y="28"/>
                          <a:pt x="72" y="28"/>
                          <a:pt x="72" y="28"/>
                        </a:cubicBezTo>
                        <a:cubicBezTo>
                          <a:pt x="72" y="28"/>
                          <a:pt x="72" y="28"/>
                          <a:pt x="72" y="28"/>
                        </a:cubicBezTo>
                        <a:cubicBezTo>
                          <a:pt x="72" y="28"/>
                          <a:pt x="72" y="28"/>
                          <a:pt x="72" y="28"/>
                        </a:cubicBezTo>
                        <a:cubicBezTo>
                          <a:pt x="72" y="28"/>
                          <a:pt x="72" y="28"/>
                          <a:pt x="72" y="28"/>
                        </a:cubicBezTo>
                        <a:cubicBezTo>
                          <a:pt x="72" y="28"/>
                          <a:pt x="72" y="28"/>
                          <a:pt x="71" y="28"/>
                        </a:cubicBezTo>
                        <a:cubicBezTo>
                          <a:pt x="72" y="28"/>
                          <a:pt x="72" y="28"/>
                          <a:pt x="72" y="28"/>
                        </a:cubicBezTo>
                        <a:cubicBezTo>
                          <a:pt x="72" y="28"/>
                          <a:pt x="71" y="28"/>
                          <a:pt x="71" y="28"/>
                        </a:cubicBezTo>
                        <a:cubicBezTo>
                          <a:pt x="71" y="28"/>
                          <a:pt x="71" y="28"/>
                          <a:pt x="71" y="27"/>
                        </a:cubicBezTo>
                        <a:cubicBezTo>
                          <a:pt x="71" y="28"/>
                          <a:pt x="70" y="27"/>
                          <a:pt x="70" y="27"/>
                        </a:cubicBezTo>
                        <a:cubicBezTo>
                          <a:pt x="70" y="27"/>
                          <a:pt x="70" y="27"/>
                          <a:pt x="70" y="27"/>
                        </a:cubicBezTo>
                        <a:cubicBezTo>
                          <a:pt x="70" y="27"/>
                          <a:pt x="69" y="27"/>
                          <a:pt x="69" y="27"/>
                        </a:cubicBezTo>
                        <a:cubicBezTo>
                          <a:pt x="69" y="27"/>
                          <a:pt x="69" y="26"/>
                          <a:pt x="69" y="26"/>
                        </a:cubicBezTo>
                        <a:cubicBezTo>
                          <a:pt x="69" y="26"/>
                          <a:pt x="69" y="27"/>
                          <a:pt x="70" y="27"/>
                        </a:cubicBezTo>
                        <a:cubicBezTo>
                          <a:pt x="69" y="27"/>
                          <a:pt x="69" y="27"/>
                          <a:pt x="69" y="27"/>
                        </a:cubicBezTo>
                        <a:cubicBezTo>
                          <a:pt x="69" y="27"/>
                          <a:pt x="69" y="27"/>
                          <a:pt x="69" y="27"/>
                        </a:cubicBezTo>
                        <a:cubicBezTo>
                          <a:pt x="69" y="27"/>
                          <a:pt x="68" y="27"/>
                          <a:pt x="68" y="27"/>
                        </a:cubicBezTo>
                        <a:cubicBezTo>
                          <a:pt x="68" y="27"/>
                          <a:pt x="68" y="27"/>
                          <a:pt x="68" y="27"/>
                        </a:cubicBezTo>
                        <a:cubicBezTo>
                          <a:pt x="68" y="27"/>
                          <a:pt x="68" y="27"/>
                          <a:pt x="68" y="27"/>
                        </a:cubicBezTo>
                        <a:cubicBezTo>
                          <a:pt x="68" y="27"/>
                          <a:pt x="68" y="27"/>
                          <a:pt x="68" y="27"/>
                        </a:cubicBezTo>
                        <a:cubicBezTo>
                          <a:pt x="68" y="27"/>
                          <a:pt x="68" y="27"/>
                          <a:pt x="68" y="27"/>
                        </a:cubicBezTo>
                        <a:cubicBezTo>
                          <a:pt x="68" y="27"/>
                          <a:pt x="67" y="27"/>
                          <a:pt x="67" y="27"/>
                        </a:cubicBezTo>
                        <a:cubicBezTo>
                          <a:pt x="67" y="27"/>
                          <a:pt x="67" y="27"/>
                          <a:pt x="66" y="27"/>
                        </a:cubicBezTo>
                        <a:cubicBezTo>
                          <a:pt x="66" y="27"/>
                          <a:pt x="65" y="26"/>
                          <a:pt x="65" y="26"/>
                        </a:cubicBezTo>
                        <a:cubicBezTo>
                          <a:pt x="65" y="26"/>
                          <a:pt x="65" y="26"/>
                          <a:pt x="65" y="26"/>
                        </a:cubicBezTo>
                        <a:cubicBezTo>
                          <a:pt x="65" y="26"/>
                          <a:pt x="65" y="26"/>
                          <a:pt x="65" y="26"/>
                        </a:cubicBezTo>
                        <a:cubicBezTo>
                          <a:pt x="65" y="26"/>
                          <a:pt x="65" y="26"/>
                          <a:pt x="65" y="26"/>
                        </a:cubicBezTo>
                        <a:cubicBezTo>
                          <a:pt x="65" y="26"/>
                          <a:pt x="64" y="26"/>
                          <a:pt x="64" y="26"/>
                        </a:cubicBezTo>
                        <a:cubicBezTo>
                          <a:pt x="64" y="26"/>
                          <a:pt x="64" y="26"/>
                          <a:pt x="64" y="26"/>
                        </a:cubicBezTo>
                        <a:cubicBezTo>
                          <a:pt x="64" y="26"/>
                          <a:pt x="64" y="26"/>
                          <a:pt x="64" y="26"/>
                        </a:cubicBezTo>
                        <a:cubicBezTo>
                          <a:pt x="64" y="26"/>
                          <a:pt x="64" y="26"/>
                          <a:pt x="64" y="26"/>
                        </a:cubicBezTo>
                        <a:cubicBezTo>
                          <a:pt x="65" y="26"/>
                          <a:pt x="66" y="26"/>
                          <a:pt x="66" y="27"/>
                        </a:cubicBezTo>
                        <a:cubicBezTo>
                          <a:pt x="66" y="27"/>
                          <a:pt x="66" y="27"/>
                          <a:pt x="66" y="27"/>
                        </a:cubicBezTo>
                        <a:cubicBezTo>
                          <a:pt x="66" y="27"/>
                          <a:pt x="66" y="27"/>
                          <a:pt x="66" y="27"/>
                        </a:cubicBezTo>
                        <a:cubicBezTo>
                          <a:pt x="66" y="27"/>
                          <a:pt x="66" y="27"/>
                          <a:pt x="66" y="27"/>
                        </a:cubicBezTo>
                        <a:cubicBezTo>
                          <a:pt x="67" y="27"/>
                          <a:pt x="67" y="27"/>
                          <a:pt x="67" y="27"/>
                        </a:cubicBezTo>
                        <a:cubicBezTo>
                          <a:pt x="68" y="27"/>
                          <a:pt x="67" y="27"/>
                          <a:pt x="67" y="27"/>
                        </a:cubicBezTo>
                        <a:cubicBezTo>
                          <a:pt x="70" y="28"/>
                          <a:pt x="72" y="29"/>
                          <a:pt x="74" y="29"/>
                        </a:cubicBezTo>
                        <a:cubicBezTo>
                          <a:pt x="74" y="30"/>
                          <a:pt x="74" y="29"/>
                          <a:pt x="74" y="29"/>
                        </a:cubicBezTo>
                        <a:cubicBezTo>
                          <a:pt x="74" y="30"/>
                          <a:pt x="74" y="30"/>
                          <a:pt x="75" y="30"/>
                        </a:cubicBezTo>
                        <a:cubicBezTo>
                          <a:pt x="75" y="30"/>
                          <a:pt x="74" y="30"/>
                          <a:pt x="75" y="30"/>
                        </a:cubicBezTo>
                        <a:cubicBezTo>
                          <a:pt x="74" y="30"/>
                          <a:pt x="74" y="30"/>
                          <a:pt x="74" y="30"/>
                        </a:cubicBezTo>
                        <a:cubicBezTo>
                          <a:pt x="74" y="30"/>
                          <a:pt x="74" y="29"/>
                          <a:pt x="74" y="29"/>
                        </a:cubicBezTo>
                        <a:cubicBezTo>
                          <a:pt x="73" y="29"/>
                          <a:pt x="73" y="29"/>
                          <a:pt x="73" y="29"/>
                        </a:cubicBezTo>
                        <a:cubicBezTo>
                          <a:pt x="73" y="29"/>
                          <a:pt x="73" y="29"/>
                          <a:pt x="73" y="29"/>
                        </a:cubicBezTo>
                        <a:cubicBezTo>
                          <a:pt x="73" y="29"/>
                          <a:pt x="72" y="29"/>
                          <a:pt x="72" y="29"/>
                        </a:cubicBezTo>
                        <a:cubicBezTo>
                          <a:pt x="72" y="29"/>
                          <a:pt x="73" y="29"/>
                          <a:pt x="73" y="29"/>
                        </a:cubicBezTo>
                        <a:cubicBezTo>
                          <a:pt x="72" y="29"/>
                          <a:pt x="72" y="29"/>
                          <a:pt x="72" y="29"/>
                        </a:cubicBezTo>
                        <a:cubicBezTo>
                          <a:pt x="72" y="29"/>
                          <a:pt x="72" y="29"/>
                          <a:pt x="72" y="29"/>
                        </a:cubicBezTo>
                        <a:cubicBezTo>
                          <a:pt x="72" y="29"/>
                          <a:pt x="72" y="29"/>
                          <a:pt x="72" y="29"/>
                        </a:cubicBezTo>
                        <a:cubicBezTo>
                          <a:pt x="72" y="29"/>
                          <a:pt x="72" y="29"/>
                          <a:pt x="71" y="29"/>
                        </a:cubicBezTo>
                        <a:cubicBezTo>
                          <a:pt x="71" y="29"/>
                          <a:pt x="72" y="29"/>
                          <a:pt x="71" y="29"/>
                        </a:cubicBezTo>
                        <a:cubicBezTo>
                          <a:pt x="71" y="29"/>
                          <a:pt x="71" y="29"/>
                          <a:pt x="70" y="28"/>
                        </a:cubicBezTo>
                        <a:cubicBezTo>
                          <a:pt x="71" y="28"/>
                          <a:pt x="71" y="28"/>
                          <a:pt x="71" y="28"/>
                        </a:cubicBezTo>
                        <a:cubicBezTo>
                          <a:pt x="70" y="28"/>
                          <a:pt x="70" y="28"/>
                          <a:pt x="70" y="28"/>
                        </a:cubicBezTo>
                        <a:cubicBezTo>
                          <a:pt x="70" y="28"/>
                          <a:pt x="70" y="28"/>
                          <a:pt x="70" y="28"/>
                        </a:cubicBezTo>
                        <a:cubicBezTo>
                          <a:pt x="70" y="28"/>
                          <a:pt x="70" y="28"/>
                          <a:pt x="70" y="28"/>
                        </a:cubicBezTo>
                        <a:cubicBezTo>
                          <a:pt x="70" y="28"/>
                          <a:pt x="69" y="28"/>
                          <a:pt x="69" y="28"/>
                        </a:cubicBezTo>
                        <a:cubicBezTo>
                          <a:pt x="68" y="27"/>
                          <a:pt x="65" y="27"/>
                          <a:pt x="64" y="26"/>
                        </a:cubicBezTo>
                        <a:cubicBezTo>
                          <a:pt x="64" y="26"/>
                          <a:pt x="64" y="26"/>
                          <a:pt x="64" y="26"/>
                        </a:cubicBezTo>
                        <a:cubicBezTo>
                          <a:pt x="64" y="26"/>
                          <a:pt x="63" y="26"/>
                          <a:pt x="63" y="26"/>
                        </a:cubicBezTo>
                        <a:cubicBezTo>
                          <a:pt x="63" y="26"/>
                          <a:pt x="63" y="26"/>
                          <a:pt x="63" y="26"/>
                        </a:cubicBezTo>
                        <a:cubicBezTo>
                          <a:pt x="62" y="26"/>
                          <a:pt x="62" y="26"/>
                          <a:pt x="62" y="25"/>
                        </a:cubicBezTo>
                        <a:cubicBezTo>
                          <a:pt x="62" y="25"/>
                          <a:pt x="62" y="25"/>
                          <a:pt x="62" y="25"/>
                        </a:cubicBezTo>
                        <a:cubicBezTo>
                          <a:pt x="63" y="25"/>
                          <a:pt x="63" y="26"/>
                          <a:pt x="63" y="26"/>
                        </a:cubicBezTo>
                        <a:cubicBezTo>
                          <a:pt x="64" y="26"/>
                          <a:pt x="64" y="26"/>
                          <a:pt x="64" y="26"/>
                        </a:cubicBezTo>
                        <a:cubicBezTo>
                          <a:pt x="64" y="26"/>
                          <a:pt x="64" y="26"/>
                          <a:pt x="63" y="26"/>
                        </a:cubicBezTo>
                        <a:cubicBezTo>
                          <a:pt x="63" y="26"/>
                          <a:pt x="63" y="26"/>
                          <a:pt x="64" y="26"/>
                        </a:cubicBezTo>
                        <a:cubicBezTo>
                          <a:pt x="63" y="26"/>
                          <a:pt x="63" y="26"/>
                          <a:pt x="63" y="26"/>
                        </a:cubicBezTo>
                        <a:cubicBezTo>
                          <a:pt x="63" y="26"/>
                          <a:pt x="63" y="26"/>
                          <a:pt x="63" y="26"/>
                        </a:cubicBezTo>
                        <a:cubicBezTo>
                          <a:pt x="63" y="26"/>
                          <a:pt x="63" y="26"/>
                          <a:pt x="63" y="26"/>
                        </a:cubicBezTo>
                        <a:cubicBezTo>
                          <a:pt x="63" y="26"/>
                          <a:pt x="63" y="26"/>
                          <a:pt x="63" y="25"/>
                        </a:cubicBezTo>
                        <a:cubicBezTo>
                          <a:pt x="63" y="25"/>
                          <a:pt x="63" y="25"/>
                          <a:pt x="63" y="25"/>
                        </a:cubicBezTo>
                        <a:cubicBezTo>
                          <a:pt x="62" y="25"/>
                          <a:pt x="62" y="25"/>
                          <a:pt x="62" y="25"/>
                        </a:cubicBezTo>
                        <a:cubicBezTo>
                          <a:pt x="62" y="25"/>
                          <a:pt x="62" y="25"/>
                          <a:pt x="63" y="25"/>
                        </a:cubicBezTo>
                        <a:cubicBezTo>
                          <a:pt x="63" y="25"/>
                          <a:pt x="62" y="25"/>
                          <a:pt x="62" y="25"/>
                        </a:cubicBezTo>
                        <a:cubicBezTo>
                          <a:pt x="62" y="25"/>
                          <a:pt x="62" y="25"/>
                          <a:pt x="61" y="25"/>
                        </a:cubicBezTo>
                        <a:cubicBezTo>
                          <a:pt x="61" y="25"/>
                          <a:pt x="61" y="24"/>
                          <a:pt x="60" y="24"/>
                        </a:cubicBezTo>
                        <a:cubicBezTo>
                          <a:pt x="60" y="24"/>
                          <a:pt x="60" y="24"/>
                          <a:pt x="60" y="24"/>
                        </a:cubicBezTo>
                        <a:cubicBezTo>
                          <a:pt x="60" y="24"/>
                          <a:pt x="61" y="24"/>
                          <a:pt x="61" y="24"/>
                        </a:cubicBezTo>
                        <a:cubicBezTo>
                          <a:pt x="61" y="24"/>
                          <a:pt x="61" y="24"/>
                          <a:pt x="61" y="24"/>
                        </a:cubicBezTo>
                        <a:cubicBezTo>
                          <a:pt x="61" y="24"/>
                          <a:pt x="61" y="24"/>
                          <a:pt x="61" y="24"/>
                        </a:cubicBezTo>
                        <a:cubicBezTo>
                          <a:pt x="61" y="24"/>
                          <a:pt x="61" y="24"/>
                          <a:pt x="61" y="24"/>
                        </a:cubicBezTo>
                        <a:cubicBezTo>
                          <a:pt x="61" y="24"/>
                          <a:pt x="61" y="24"/>
                          <a:pt x="60" y="24"/>
                        </a:cubicBezTo>
                        <a:cubicBezTo>
                          <a:pt x="60" y="24"/>
                          <a:pt x="61" y="24"/>
                          <a:pt x="61" y="24"/>
                        </a:cubicBezTo>
                        <a:cubicBezTo>
                          <a:pt x="60" y="24"/>
                          <a:pt x="61" y="24"/>
                          <a:pt x="60" y="24"/>
                        </a:cubicBezTo>
                        <a:cubicBezTo>
                          <a:pt x="61" y="24"/>
                          <a:pt x="61" y="24"/>
                          <a:pt x="61" y="24"/>
                        </a:cubicBezTo>
                        <a:cubicBezTo>
                          <a:pt x="61" y="24"/>
                          <a:pt x="61" y="24"/>
                          <a:pt x="61" y="24"/>
                        </a:cubicBezTo>
                        <a:cubicBezTo>
                          <a:pt x="61" y="24"/>
                          <a:pt x="62" y="24"/>
                          <a:pt x="62" y="24"/>
                        </a:cubicBezTo>
                        <a:cubicBezTo>
                          <a:pt x="62" y="24"/>
                          <a:pt x="62" y="24"/>
                          <a:pt x="62" y="24"/>
                        </a:cubicBezTo>
                        <a:cubicBezTo>
                          <a:pt x="62" y="24"/>
                          <a:pt x="62" y="24"/>
                          <a:pt x="61" y="24"/>
                        </a:cubicBezTo>
                        <a:cubicBezTo>
                          <a:pt x="62" y="25"/>
                          <a:pt x="63" y="25"/>
                          <a:pt x="63" y="25"/>
                        </a:cubicBezTo>
                        <a:cubicBezTo>
                          <a:pt x="63" y="25"/>
                          <a:pt x="63" y="25"/>
                          <a:pt x="63" y="25"/>
                        </a:cubicBezTo>
                        <a:cubicBezTo>
                          <a:pt x="63" y="25"/>
                          <a:pt x="63" y="25"/>
                          <a:pt x="63" y="25"/>
                        </a:cubicBezTo>
                        <a:cubicBezTo>
                          <a:pt x="63" y="25"/>
                          <a:pt x="63" y="25"/>
                          <a:pt x="63" y="25"/>
                        </a:cubicBezTo>
                        <a:cubicBezTo>
                          <a:pt x="63" y="25"/>
                          <a:pt x="64" y="25"/>
                          <a:pt x="64" y="25"/>
                        </a:cubicBezTo>
                        <a:cubicBezTo>
                          <a:pt x="64" y="25"/>
                          <a:pt x="64" y="25"/>
                          <a:pt x="63" y="25"/>
                        </a:cubicBezTo>
                        <a:cubicBezTo>
                          <a:pt x="64" y="25"/>
                          <a:pt x="64" y="25"/>
                          <a:pt x="65" y="25"/>
                        </a:cubicBezTo>
                        <a:cubicBezTo>
                          <a:pt x="65" y="25"/>
                          <a:pt x="65" y="25"/>
                          <a:pt x="65" y="25"/>
                        </a:cubicBezTo>
                        <a:cubicBezTo>
                          <a:pt x="65" y="25"/>
                          <a:pt x="65" y="25"/>
                          <a:pt x="66" y="25"/>
                        </a:cubicBezTo>
                        <a:cubicBezTo>
                          <a:pt x="66" y="25"/>
                          <a:pt x="66" y="25"/>
                          <a:pt x="66" y="25"/>
                        </a:cubicBezTo>
                        <a:cubicBezTo>
                          <a:pt x="65" y="25"/>
                          <a:pt x="66" y="25"/>
                          <a:pt x="65" y="25"/>
                        </a:cubicBezTo>
                        <a:cubicBezTo>
                          <a:pt x="65" y="25"/>
                          <a:pt x="65" y="25"/>
                          <a:pt x="65" y="25"/>
                        </a:cubicBezTo>
                        <a:cubicBezTo>
                          <a:pt x="65" y="25"/>
                          <a:pt x="65" y="25"/>
                          <a:pt x="65" y="25"/>
                        </a:cubicBezTo>
                        <a:cubicBezTo>
                          <a:pt x="65" y="25"/>
                          <a:pt x="65" y="25"/>
                          <a:pt x="65" y="25"/>
                        </a:cubicBezTo>
                        <a:cubicBezTo>
                          <a:pt x="65" y="25"/>
                          <a:pt x="65" y="25"/>
                          <a:pt x="65" y="25"/>
                        </a:cubicBezTo>
                        <a:cubicBezTo>
                          <a:pt x="65" y="25"/>
                          <a:pt x="65" y="25"/>
                          <a:pt x="65" y="25"/>
                        </a:cubicBezTo>
                        <a:cubicBezTo>
                          <a:pt x="65" y="25"/>
                          <a:pt x="65" y="25"/>
                          <a:pt x="65" y="25"/>
                        </a:cubicBezTo>
                        <a:cubicBezTo>
                          <a:pt x="64" y="25"/>
                          <a:pt x="65" y="25"/>
                          <a:pt x="65" y="25"/>
                        </a:cubicBezTo>
                        <a:cubicBezTo>
                          <a:pt x="65" y="25"/>
                          <a:pt x="65" y="24"/>
                          <a:pt x="64" y="24"/>
                        </a:cubicBezTo>
                        <a:cubicBezTo>
                          <a:pt x="64" y="24"/>
                          <a:pt x="64" y="24"/>
                          <a:pt x="65" y="24"/>
                        </a:cubicBezTo>
                        <a:cubicBezTo>
                          <a:pt x="64" y="25"/>
                          <a:pt x="64" y="24"/>
                          <a:pt x="64" y="24"/>
                        </a:cubicBezTo>
                        <a:cubicBezTo>
                          <a:pt x="64" y="24"/>
                          <a:pt x="63" y="24"/>
                          <a:pt x="63" y="24"/>
                        </a:cubicBezTo>
                        <a:cubicBezTo>
                          <a:pt x="63" y="24"/>
                          <a:pt x="63" y="24"/>
                          <a:pt x="63" y="24"/>
                        </a:cubicBezTo>
                        <a:cubicBezTo>
                          <a:pt x="63" y="24"/>
                          <a:pt x="64" y="24"/>
                          <a:pt x="64" y="24"/>
                        </a:cubicBezTo>
                        <a:cubicBezTo>
                          <a:pt x="64" y="24"/>
                          <a:pt x="64" y="24"/>
                          <a:pt x="64" y="24"/>
                        </a:cubicBezTo>
                        <a:cubicBezTo>
                          <a:pt x="64" y="24"/>
                          <a:pt x="64" y="24"/>
                          <a:pt x="65" y="24"/>
                        </a:cubicBezTo>
                        <a:cubicBezTo>
                          <a:pt x="64" y="24"/>
                          <a:pt x="64" y="24"/>
                          <a:pt x="64" y="24"/>
                        </a:cubicBezTo>
                        <a:cubicBezTo>
                          <a:pt x="65" y="24"/>
                          <a:pt x="65" y="24"/>
                          <a:pt x="65" y="24"/>
                        </a:cubicBezTo>
                        <a:cubicBezTo>
                          <a:pt x="65" y="24"/>
                          <a:pt x="64" y="24"/>
                          <a:pt x="64" y="24"/>
                        </a:cubicBezTo>
                        <a:cubicBezTo>
                          <a:pt x="64" y="24"/>
                          <a:pt x="64" y="24"/>
                          <a:pt x="64" y="24"/>
                        </a:cubicBezTo>
                        <a:cubicBezTo>
                          <a:pt x="64" y="24"/>
                          <a:pt x="64" y="24"/>
                          <a:pt x="64" y="24"/>
                        </a:cubicBezTo>
                        <a:cubicBezTo>
                          <a:pt x="64" y="23"/>
                          <a:pt x="64" y="23"/>
                          <a:pt x="63" y="23"/>
                        </a:cubicBezTo>
                        <a:cubicBezTo>
                          <a:pt x="64" y="23"/>
                          <a:pt x="64" y="23"/>
                          <a:pt x="64" y="23"/>
                        </a:cubicBezTo>
                        <a:cubicBezTo>
                          <a:pt x="64" y="23"/>
                          <a:pt x="63" y="23"/>
                          <a:pt x="63" y="23"/>
                        </a:cubicBezTo>
                        <a:cubicBezTo>
                          <a:pt x="63" y="23"/>
                          <a:pt x="64" y="23"/>
                          <a:pt x="64" y="23"/>
                        </a:cubicBezTo>
                        <a:cubicBezTo>
                          <a:pt x="64" y="23"/>
                          <a:pt x="64" y="23"/>
                          <a:pt x="64" y="23"/>
                        </a:cubicBezTo>
                        <a:cubicBezTo>
                          <a:pt x="64" y="23"/>
                          <a:pt x="64" y="23"/>
                          <a:pt x="64" y="23"/>
                        </a:cubicBezTo>
                        <a:cubicBezTo>
                          <a:pt x="65" y="23"/>
                          <a:pt x="64" y="24"/>
                          <a:pt x="65" y="24"/>
                        </a:cubicBezTo>
                        <a:cubicBezTo>
                          <a:pt x="65" y="24"/>
                          <a:pt x="65" y="24"/>
                          <a:pt x="65" y="24"/>
                        </a:cubicBezTo>
                        <a:cubicBezTo>
                          <a:pt x="65" y="24"/>
                          <a:pt x="65" y="24"/>
                          <a:pt x="65" y="24"/>
                        </a:cubicBezTo>
                        <a:cubicBezTo>
                          <a:pt x="65" y="24"/>
                          <a:pt x="65" y="24"/>
                          <a:pt x="65" y="24"/>
                        </a:cubicBezTo>
                        <a:cubicBezTo>
                          <a:pt x="65" y="24"/>
                          <a:pt x="65" y="24"/>
                          <a:pt x="65" y="24"/>
                        </a:cubicBezTo>
                        <a:cubicBezTo>
                          <a:pt x="66" y="24"/>
                          <a:pt x="66" y="24"/>
                          <a:pt x="66" y="24"/>
                        </a:cubicBezTo>
                        <a:cubicBezTo>
                          <a:pt x="66" y="24"/>
                          <a:pt x="66" y="24"/>
                          <a:pt x="66" y="24"/>
                        </a:cubicBezTo>
                        <a:cubicBezTo>
                          <a:pt x="66" y="24"/>
                          <a:pt x="67" y="24"/>
                          <a:pt x="67" y="24"/>
                        </a:cubicBezTo>
                        <a:cubicBezTo>
                          <a:pt x="67" y="24"/>
                          <a:pt x="67" y="24"/>
                          <a:pt x="67" y="24"/>
                        </a:cubicBezTo>
                        <a:cubicBezTo>
                          <a:pt x="67" y="24"/>
                          <a:pt x="67" y="24"/>
                          <a:pt x="67" y="24"/>
                        </a:cubicBezTo>
                        <a:cubicBezTo>
                          <a:pt x="67" y="24"/>
                          <a:pt x="68" y="24"/>
                          <a:pt x="67" y="24"/>
                        </a:cubicBezTo>
                        <a:cubicBezTo>
                          <a:pt x="67" y="24"/>
                          <a:pt x="68" y="24"/>
                          <a:pt x="68" y="25"/>
                        </a:cubicBezTo>
                        <a:cubicBezTo>
                          <a:pt x="68" y="24"/>
                          <a:pt x="69" y="25"/>
                          <a:pt x="69" y="25"/>
                        </a:cubicBezTo>
                        <a:cubicBezTo>
                          <a:pt x="69" y="25"/>
                          <a:pt x="69" y="25"/>
                          <a:pt x="69" y="25"/>
                        </a:cubicBezTo>
                        <a:cubicBezTo>
                          <a:pt x="69" y="25"/>
                          <a:pt x="69" y="25"/>
                          <a:pt x="70" y="25"/>
                        </a:cubicBezTo>
                        <a:cubicBezTo>
                          <a:pt x="69" y="25"/>
                          <a:pt x="69" y="25"/>
                          <a:pt x="70" y="25"/>
                        </a:cubicBezTo>
                        <a:cubicBezTo>
                          <a:pt x="70" y="25"/>
                          <a:pt x="70" y="25"/>
                          <a:pt x="69" y="25"/>
                        </a:cubicBezTo>
                        <a:cubicBezTo>
                          <a:pt x="70" y="25"/>
                          <a:pt x="70" y="25"/>
                          <a:pt x="70" y="25"/>
                        </a:cubicBezTo>
                        <a:cubicBezTo>
                          <a:pt x="70" y="25"/>
                          <a:pt x="69" y="25"/>
                          <a:pt x="69" y="24"/>
                        </a:cubicBezTo>
                        <a:cubicBezTo>
                          <a:pt x="69" y="25"/>
                          <a:pt x="69" y="24"/>
                          <a:pt x="69" y="24"/>
                        </a:cubicBezTo>
                        <a:cubicBezTo>
                          <a:pt x="68" y="24"/>
                          <a:pt x="69" y="24"/>
                          <a:pt x="68" y="24"/>
                        </a:cubicBezTo>
                        <a:cubicBezTo>
                          <a:pt x="69" y="24"/>
                          <a:pt x="69" y="24"/>
                          <a:pt x="69" y="24"/>
                        </a:cubicBezTo>
                        <a:cubicBezTo>
                          <a:pt x="68" y="24"/>
                          <a:pt x="67" y="24"/>
                          <a:pt x="67" y="24"/>
                        </a:cubicBezTo>
                        <a:cubicBezTo>
                          <a:pt x="67" y="23"/>
                          <a:pt x="67" y="23"/>
                          <a:pt x="67" y="23"/>
                        </a:cubicBezTo>
                        <a:cubicBezTo>
                          <a:pt x="67" y="23"/>
                          <a:pt x="66" y="23"/>
                          <a:pt x="66" y="23"/>
                        </a:cubicBezTo>
                        <a:cubicBezTo>
                          <a:pt x="66" y="24"/>
                          <a:pt x="66" y="24"/>
                          <a:pt x="66" y="24"/>
                        </a:cubicBezTo>
                        <a:cubicBezTo>
                          <a:pt x="66" y="24"/>
                          <a:pt x="66" y="24"/>
                          <a:pt x="66" y="23"/>
                        </a:cubicBezTo>
                        <a:cubicBezTo>
                          <a:pt x="66" y="23"/>
                          <a:pt x="66" y="24"/>
                          <a:pt x="66" y="23"/>
                        </a:cubicBezTo>
                        <a:cubicBezTo>
                          <a:pt x="66" y="23"/>
                          <a:pt x="66" y="23"/>
                          <a:pt x="66" y="23"/>
                        </a:cubicBezTo>
                        <a:cubicBezTo>
                          <a:pt x="65" y="23"/>
                          <a:pt x="65" y="23"/>
                          <a:pt x="65" y="23"/>
                        </a:cubicBezTo>
                        <a:cubicBezTo>
                          <a:pt x="65" y="23"/>
                          <a:pt x="66" y="23"/>
                          <a:pt x="65" y="23"/>
                        </a:cubicBezTo>
                        <a:cubicBezTo>
                          <a:pt x="66" y="23"/>
                          <a:pt x="67" y="23"/>
                          <a:pt x="67" y="23"/>
                        </a:cubicBezTo>
                        <a:cubicBezTo>
                          <a:pt x="67" y="23"/>
                          <a:pt x="67" y="23"/>
                          <a:pt x="67" y="23"/>
                        </a:cubicBezTo>
                        <a:cubicBezTo>
                          <a:pt x="67" y="23"/>
                          <a:pt x="67" y="23"/>
                          <a:pt x="67" y="23"/>
                        </a:cubicBezTo>
                        <a:cubicBezTo>
                          <a:pt x="68" y="23"/>
                          <a:pt x="68" y="23"/>
                          <a:pt x="68" y="23"/>
                        </a:cubicBezTo>
                        <a:cubicBezTo>
                          <a:pt x="68" y="23"/>
                          <a:pt x="67" y="23"/>
                          <a:pt x="67" y="23"/>
                        </a:cubicBezTo>
                        <a:cubicBezTo>
                          <a:pt x="67" y="22"/>
                          <a:pt x="67" y="22"/>
                          <a:pt x="67" y="22"/>
                        </a:cubicBezTo>
                        <a:cubicBezTo>
                          <a:pt x="66" y="22"/>
                          <a:pt x="65" y="22"/>
                          <a:pt x="65" y="22"/>
                        </a:cubicBezTo>
                        <a:cubicBezTo>
                          <a:pt x="65" y="22"/>
                          <a:pt x="67" y="22"/>
                          <a:pt x="67" y="23"/>
                        </a:cubicBezTo>
                        <a:cubicBezTo>
                          <a:pt x="67" y="23"/>
                          <a:pt x="65" y="22"/>
                          <a:pt x="65" y="22"/>
                        </a:cubicBezTo>
                        <a:cubicBezTo>
                          <a:pt x="65" y="22"/>
                          <a:pt x="65" y="22"/>
                          <a:pt x="65" y="22"/>
                        </a:cubicBezTo>
                        <a:cubicBezTo>
                          <a:pt x="65" y="22"/>
                          <a:pt x="65" y="22"/>
                          <a:pt x="65" y="22"/>
                        </a:cubicBezTo>
                        <a:cubicBezTo>
                          <a:pt x="65" y="22"/>
                          <a:pt x="65" y="22"/>
                          <a:pt x="65" y="22"/>
                        </a:cubicBezTo>
                        <a:cubicBezTo>
                          <a:pt x="65" y="22"/>
                          <a:pt x="65" y="22"/>
                          <a:pt x="65" y="22"/>
                        </a:cubicBezTo>
                        <a:cubicBezTo>
                          <a:pt x="65" y="22"/>
                          <a:pt x="65" y="22"/>
                          <a:pt x="65" y="22"/>
                        </a:cubicBezTo>
                        <a:close/>
                        <a:moveTo>
                          <a:pt x="88" y="34"/>
                        </a:moveTo>
                        <a:cubicBezTo>
                          <a:pt x="88" y="34"/>
                          <a:pt x="88" y="34"/>
                          <a:pt x="88" y="34"/>
                        </a:cubicBezTo>
                        <a:cubicBezTo>
                          <a:pt x="88" y="34"/>
                          <a:pt x="88" y="34"/>
                          <a:pt x="88" y="34"/>
                        </a:cubicBezTo>
                        <a:cubicBezTo>
                          <a:pt x="88" y="34"/>
                          <a:pt x="88" y="34"/>
                          <a:pt x="88" y="34"/>
                        </a:cubicBezTo>
                        <a:close/>
                        <a:moveTo>
                          <a:pt x="79" y="31"/>
                        </a:moveTo>
                        <a:cubicBezTo>
                          <a:pt x="80" y="31"/>
                          <a:pt x="80" y="32"/>
                          <a:pt x="80" y="32"/>
                        </a:cubicBezTo>
                        <a:cubicBezTo>
                          <a:pt x="80" y="31"/>
                          <a:pt x="80" y="31"/>
                          <a:pt x="80" y="31"/>
                        </a:cubicBezTo>
                        <a:cubicBezTo>
                          <a:pt x="80" y="31"/>
                          <a:pt x="79" y="31"/>
                          <a:pt x="79" y="31"/>
                        </a:cubicBezTo>
                        <a:close/>
                        <a:moveTo>
                          <a:pt x="83" y="31"/>
                        </a:moveTo>
                        <a:cubicBezTo>
                          <a:pt x="83" y="31"/>
                          <a:pt x="83" y="31"/>
                          <a:pt x="83" y="31"/>
                        </a:cubicBezTo>
                        <a:cubicBezTo>
                          <a:pt x="83" y="31"/>
                          <a:pt x="83" y="31"/>
                          <a:pt x="83" y="31"/>
                        </a:cubicBezTo>
                        <a:cubicBezTo>
                          <a:pt x="83" y="31"/>
                          <a:pt x="83" y="31"/>
                          <a:pt x="83" y="31"/>
                        </a:cubicBezTo>
                        <a:close/>
                        <a:moveTo>
                          <a:pt x="85" y="32"/>
                        </a:moveTo>
                        <a:cubicBezTo>
                          <a:pt x="85" y="32"/>
                          <a:pt x="84" y="32"/>
                          <a:pt x="84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5" y="32"/>
                          <a:pt x="84" y="32"/>
                          <a:pt x="84" y="32"/>
                        </a:cubicBezTo>
                        <a:cubicBezTo>
                          <a:pt x="84" y="32"/>
                          <a:pt x="85" y="32"/>
                          <a:pt x="85" y="32"/>
                        </a:cubicBezTo>
                        <a:close/>
                        <a:moveTo>
                          <a:pt x="84" y="32"/>
                        </a:moveTo>
                        <a:cubicBezTo>
                          <a:pt x="84" y="32"/>
                          <a:pt x="84" y="32"/>
                          <a:pt x="84" y="32"/>
                        </a:cubicBezTo>
                        <a:cubicBezTo>
                          <a:pt x="84" y="32"/>
                          <a:pt x="84" y="32"/>
                          <a:pt x="84" y="32"/>
                        </a:cubicBezTo>
                        <a:close/>
                        <a:moveTo>
                          <a:pt x="85" y="32"/>
                        </a:moveTo>
                        <a:cubicBezTo>
                          <a:pt x="85" y="32"/>
                          <a:pt x="85" y="33"/>
                          <a:pt x="85" y="33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lose/>
                        <a:moveTo>
                          <a:pt x="85" y="33"/>
                        </a:moveTo>
                        <a:cubicBezTo>
                          <a:pt x="85" y="33"/>
                          <a:pt x="85" y="33"/>
                          <a:pt x="85" y="33"/>
                        </a:cubicBezTo>
                        <a:cubicBezTo>
                          <a:pt x="85" y="33"/>
                          <a:pt x="85" y="33"/>
                          <a:pt x="85" y="33"/>
                        </a:cubicBezTo>
                        <a:cubicBezTo>
                          <a:pt x="85" y="33"/>
                          <a:pt x="86" y="33"/>
                          <a:pt x="86" y="33"/>
                        </a:cubicBezTo>
                        <a:cubicBezTo>
                          <a:pt x="85" y="33"/>
                          <a:pt x="85" y="33"/>
                          <a:pt x="85" y="33"/>
                        </a:cubicBezTo>
                        <a:close/>
                        <a:moveTo>
                          <a:pt x="90" y="34"/>
                        </a:moveTo>
                        <a:cubicBezTo>
                          <a:pt x="90" y="34"/>
                          <a:pt x="90" y="34"/>
                          <a:pt x="90" y="34"/>
                        </a:cubicBezTo>
                        <a:cubicBezTo>
                          <a:pt x="90" y="34"/>
                          <a:pt x="90" y="34"/>
                          <a:pt x="90" y="34"/>
                        </a:cubicBezTo>
                        <a:cubicBezTo>
                          <a:pt x="90" y="34"/>
                          <a:pt x="90" y="34"/>
                          <a:pt x="90" y="34"/>
                        </a:cubicBezTo>
                        <a:close/>
                        <a:moveTo>
                          <a:pt x="89" y="34"/>
                        </a:moveTo>
                        <a:cubicBezTo>
                          <a:pt x="89" y="34"/>
                          <a:pt x="90" y="34"/>
                          <a:pt x="90" y="34"/>
                        </a:cubicBezTo>
                        <a:cubicBezTo>
                          <a:pt x="89" y="34"/>
                          <a:pt x="89" y="34"/>
                          <a:pt x="89" y="34"/>
                        </a:cubicBezTo>
                        <a:close/>
                        <a:moveTo>
                          <a:pt x="86" y="33"/>
                        </a:moveTo>
                        <a:cubicBezTo>
                          <a:pt x="86" y="33"/>
                          <a:pt x="86" y="33"/>
                          <a:pt x="85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5" y="32"/>
                          <a:pt x="85" y="33"/>
                          <a:pt x="85" y="33"/>
                        </a:cubicBezTo>
                        <a:cubicBezTo>
                          <a:pt x="86" y="33"/>
                          <a:pt x="86" y="33"/>
                          <a:pt x="86" y="33"/>
                        </a:cubicBezTo>
                        <a:cubicBezTo>
                          <a:pt x="86" y="33"/>
                          <a:pt x="86" y="33"/>
                          <a:pt x="86" y="33"/>
                        </a:cubicBezTo>
                        <a:cubicBezTo>
                          <a:pt x="86" y="33"/>
                          <a:pt x="86" y="33"/>
                          <a:pt x="86" y="33"/>
                        </a:cubicBezTo>
                        <a:cubicBezTo>
                          <a:pt x="86" y="33"/>
                          <a:pt x="86" y="33"/>
                          <a:pt x="86" y="33"/>
                        </a:cubicBezTo>
                        <a:cubicBezTo>
                          <a:pt x="87" y="33"/>
                          <a:pt x="88" y="34"/>
                          <a:pt x="89" y="34"/>
                        </a:cubicBezTo>
                        <a:cubicBezTo>
                          <a:pt x="88" y="33"/>
                          <a:pt x="87" y="33"/>
                          <a:pt x="86" y="33"/>
                        </a:cubicBezTo>
                        <a:cubicBezTo>
                          <a:pt x="86" y="33"/>
                          <a:pt x="86" y="33"/>
                          <a:pt x="86" y="33"/>
                        </a:cubicBezTo>
                        <a:close/>
                        <a:moveTo>
                          <a:pt x="91" y="34"/>
                        </a:moveTo>
                        <a:cubicBezTo>
                          <a:pt x="91" y="34"/>
                          <a:pt x="91" y="34"/>
                          <a:pt x="91" y="34"/>
                        </a:cubicBezTo>
                        <a:cubicBezTo>
                          <a:pt x="91" y="34"/>
                          <a:pt x="92" y="34"/>
                          <a:pt x="92" y="34"/>
                        </a:cubicBezTo>
                        <a:cubicBezTo>
                          <a:pt x="91" y="34"/>
                          <a:pt x="91" y="34"/>
                          <a:pt x="91" y="34"/>
                        </a:cubicBezTo>
                        <a:close/>
                        <a:moveTo>
                          <a:pt x="91" y="34"/>
                        </a:moveTo>
                        <a:cubicBezTo>
                          <a:pt x="91" y="34"/>
                          <a:pt x="91" y="34"/>
                          <a:pt x="91" y="34"/>
                        </a:cubicBezTo>
                        <a:cubicBezTo>
                          <a:pt x="91" y="34"/>
                          <a:pt x="91" y="34"/>
                          <a:pt x="91" y="34"/>
                        </a:cubicBezTo>
                        <a:cubicBezTo>
                          <a:pt x="91" y="34"/>
                          <a:pt x="91" y="34"/>
                          <a:pt x="91" y="34"/>
                        </a:cubicBezTo>
                        <a:close/>
                        <a:moveTo>
                          <a:pt x="91" y="34"/>
                        </a:moveTo>
                        <a:cubicBezTo>
                          <a:pt x="91" y="34"/>
                          <a:pt x="90" y="34"/>
                          <a:pt x="90" y="34"/>
                        </a:cubicBezTo>
                        <a:cubicBezTo>
                          <a:pt x="91" y="34"/>
                          <a:pt x="91" y="34"/>
                          <a:pt x="91" y="34"/>
                        </a:cubicBezTo>
                        <a:close/>
                        <a:moveTo>
                          <a:pt x="88" y="32"/>
                        </a:moveTo>
                        <a:cubicBezTo>
                          <a:pt x="88" y="33"/>
                          <a:pt x="88" y="33"/>
                          <a:pt x="88" y="33"/>
                        </a:cubicBezTo>
                        <a:cubicBezTo>
                          <a:pt x="88" y="33"/>
                          <a:pt x="88" y="33"/>
                          <a:pt x="88" y="32"/>
                        </a:cubicBezTo>
                        <a:close/>
                        <a:moveTo>
                          <a:pt x="91" y="33"/>
                        </a:moveTo>
                        <a:cubicBezTo>
                          <a:pt x="90" y="33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lose/>
                        <a:moveTo>
                          <a:pt x="91" y="33"/>
                        </a:moveTo>
                        <a:cubicBezTo>
                          <a:pt x="90" y="33"/>
                          <a:pt x="90" y="33"/>
                          <a:pt x="90" y="33"/>
                        </a:cubicBezTo>
                        <a:cubicBezTo>
                          <a:pt x="90" y="33"/>
                          <a:pt x="90" y="33"/>
                          <a:pt x="90" y="33"/>
                        </a:cubicBezTo>
                        <a:cubicBezTo>
                          <a:pt x="90" y="33"/>
                          <a:pt x="90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ubicBezTo>
                          <a:pt x="90" y="33"/>
                          <a:pt x="91" y="33"/>
                          <a:pt x="91" y="33"/>
                        </a:cubicBezTo>
                        <a:close/>
                        <a:moveTo>
                          <a:pt x="90" y="33"/>
                        </a:moveTo>
                        <a:cubicBezTo>
                          <a:pt x="89" y="33"/>
                          <a:pt x="90" y="33"/>
                          <a:pt x="90" y="33"/>
                        </a:cubicBezTo>
                        <a:cubicBezTo>
                          <a:pt x="90" y="32"/>
                          <a:pt x="90" y="32"/>
                          <a:pt x="90" y="32"/>
                        </a:cubicBezTo>
                        <a:cubicBezTo>
                          <a:pt x="90" y="32"/>
                          <a:pt x="90" y="32"/>
                          <a:pt x="90" y="32"/>
                        </a:cubicBezTo>
                        <a:cubicBezTo>
                          <a:pt x="90" y="32"/>
                          <a:pt x="89" y="32"/>
                          <a:pt x="89" y="32"/>
                        </a:cubicBezTo>
                        <a:cubicBezTo>
                          <a:pt x="90" y="33"/>
                          <a:pt x="90" y="32"/>
                          <a:pt x="89" y="33"/>
                        </a:cubicBezTo>
                        <a:cubicBezTo>
                          <a:pt x="89" y="33"/>
                          <a:pt x="90" y="33"/>
                          <a:pt x="90" y="33"/>
                        </a:cubicBezTo>
                        <a:close/>
                        <a:moveTo>
                          <a:pt x="90" y="33"/>
                        </a:moveTo>
                        <a:cubicBezTo>
                          <a:pt x="90" y="33"/>
                          <a:pt x="90" y="33"/>
                          <a:pt x="90" y="33"/>
                        </a:cubicBezTo>
                        <a:cubicBezTo>
                          <a:pt x="90" y="33"/>
                          <a:pt x="90" y="33"/>
                          <a:pt x="90" y="33"/>
                        </a:cubicBezTo>
                        <a:cubicBezTo>
                          <a:pt x="90" y="33"/>
                          <a:pt x="90" y="33"/>
                          <a:pt x="89" y="33"/>
                        </a:cubicBezTo>
                        <a:cubicBezTo>
                          <a:pt x="89" y="33"/>
                          <a:pt x="90" y="33"/>
                          <a:pt x="90" y="33"/>
                        </a:cubicBezTo>
                        <a:close/>
                        <a:moveTo>
                          <a:pt x="85" y="31"/>
                        </a:moveTo>
                        <a:cubicBezTo>
                          <a:pt x="84" y="31"/>
                          <a:pt x="84" y="31"/>
                          <a:pt x="83" y="31"/>
                        </a:cubicBezTo>
                        <a:cubicBezTo>
                          <a:pt x="83" y="31"/>
                          <a:pt x="83" y="31"/>
                          <a:pt x="83" y="31"/>
                        </a:cubicBezTo>
                        <a:cubicBezTo>
                          <a:pt x="84" y="31"/>
                          <a:pt x="84" y="31"/>
                          <a:pt x="84" y="31"/>
                        </a:cubicBezTo>
                        <a:cubicBezTo>
                          <a:pt x="84" y="31"/>
                          <a:pt x="84" y="31"/>
                          <a:pt x="84" y="31"/>
                        </a:cubicBezTo>
                        <a:cubicBezTo>
                          <a:pt x="84" y="31"/>
                          <a:pt x="84" y="31"/>
                          <a:pt x="84" y="31"/>
                        </a:cubicBezTo>
                        <a:cubicBezTo>
                          <a:pt x="84" y="31"/>
                          <a:pt x="84" y="31"/>
                          <a:pt x="84" y="31"/>
                        </a:cubicBezTo>
                        <a:cubicBezTo>
                          <a:pt x="84" y="32"/>
                          <a:pt x="85" y="32"/>
                          <a:pt x="85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6" y="32"/>
                          <a:pt x="85" y="32"/>
                          <a:pt x="85" y="32"/>
                        </a:cubicBezTo>
                        <a:cubicBezTo>
                          <a:pt x="86" y="32"/>
                          <a:pt x="86" y="32"/>
                          <a:pt x="86" y="32"/>
                        </a:cubicBezTo>
                        <a:cubicBezTo>
                          <a:pt x="86" y="32"/>
                          <a:pt x="86" y="32"/>
                          <a:pt x="86" y="32"/>
                        </a:cubicBezTo>
                        <a:cubicBezTo>
                          <a:pt x="86" y="32"/>
                          <a:pt x="85" y="32"/>
                          <a:pt x="86" y="32"/>
                        </a:cubicBezTo>
                        <a:cubicBezTo>
                          <a:pt x="85" y="32"/>
                          <a:pt x="85" y="32"/>
                          <a:pt x="85" y="32"/>
                        </a:cubicBezTo>
                        <a:cubicBezTo>
                          <a:pt x="85" y="32"/>
                          <a:pt x="85" y="32"/>
                          <a:pt x="86" y="32"/>
                        </a:cubicBezTo>
                        <a:cubicBezTo>
                          <a:pt x="86" y="32"/>
                          <a:pt x="86" y="32"/>
                          <a:pt x="86" y="32"/>
                        </a:cubicBezTo>
                        <a:cubicBezTo>
                          <a:pt x="86" y="32"/>
                          <a:pt x="86" y="32"/>
                          <a:pt x="86" y="32"/>
                        </a:cubicBezTo>
                        <a:cubicBezTo>
                          <a:pt x="86" y="33"/>
                          <a:pt x="86" y="33"/>
                          <a:pt x="86" y="33"/>
                        </a:cubicBezTo>
                        <a:cubicBezTo>
                          <a:pt x="86" y="32"/>
                          <a:pt x="86" y="33"/>
                          <a:pt x="87" y="33"/>
                        </a:cubicBezTo>
                        <a:cubicBezTo>
                          <a:pt x="87" y="32"/>
                          <a:pt x="86" y="32"/>
                          <a:pt x="86" y="32"/>
                        </a:cubicBezTo>
                        <a:cubicBezTo>
                          <a:pt x="86" y="32"/>
                          <a:pt x="87" y="32"/>
                          <a:pt x="87" y="32"/>
                        </a:cubicBezTo>
                        <a:cubicBezTo>
                          <a:pt x="87" y="32"/>
                          <a:pt x="86" y="32"/>
                          <a:pt x="86" y="32"/>
                        </a:cubicBezTo>
                        <a:cubicBezTo>
                          <a:pt x="86" y="32"/>
                          <a:pt x="87" y="32"/>
                          <a:pt x="87" y="32"/>
                        </a:cubicBezTo>
                        <a:cubicBezTo>
                          <a:pt x="87" y="32"/>
                          <a:pt x="86" y="32"/>
                          <a:pt x="86" y="32"/>
                        </a:cubicBezTo>
                        <a:cubicBezTo>
                          <a:pt x="86" y="32"/>
                          <a:pt x="85" y="31"/>
                          <a:pt x="85" y="32"/>
                        </a:cubicBezTo>
                        <a:cubicBezTo>
                          <a:pt x="85" y="31"/>
                          <a:pt x="85" y="31"/>
                          <a:pt x="85" y="31"/>
                        </a:cubicBezTo>
                        <a:cubicBezTo>
                          <a:pt x="85" y="31"/>
                          <a:pt x="85" y="31"/>
                          <a:pt x="85" y="31"/>
                        </a:cubicBezTo>
                        <a:cubicBezTo>
                          <a:pt x="85" y="31"/>
                          <a:pt x="85" y="31"/>
                          <a:pt x="85" y="31"/>
                        </a:cubicBezTo>
                        <a:close/>
                        <a:moveTo>
                          <a:pt x="85" y="31"/>
                        </a:moveTo>
                        <a:cubicBezTo>
                          <a:pt x="85" y="31"/>
                          <a:pt x="85" y="31"/>
                          <a:pt x="85" y="31"/>
                        </a:cubicBezTo>
                        <a:cubicBezTo>
                          <a:pt x="85" y="31"/>
                          <a:pt x="85" y="31"/>
                          <a:pt x="85" y="31"/>
                        </a:cubicBezTo>
                        <a:cubicBezTo>
                          <a:pt x="85" y="31"/>
                          <a:pt x="85" y="31"/>
                          <a:pt x="85" y="31"/>
                        </a:cubicBezTo>
                        <a:close/>
                        <a:moveTo>
                          <a:pt x="73" y="22"/>
                        </a:moveTo>
                        <a:cubicBezTo>
                          <a:pt x="74" y="22"/>
                          <a:pt x="74" y="22"/>
                          <a:pt x="74" y="22"/>
                        </a:cubicBezTo>
                        <a:cubicBezTo>
                          <a:pt x="73" y="22"/>
                          <a:pt x="73" y="22"/>
                          <a:pt x="73" y="22"/>
                        </a:cubicBezTo>
                        <a:cubicBezTo>
                          <a:pt x="73" y="22"/>
                          <a:pt x="73" y="22"/>
                          <a:pt x="73" y="22"/>
                        </a:cubicBezTo>
                        <a:close/>
                        <a:moveTo>
                          <a:pt x="72" y="22"/>
                        </a:moveTo>
                        <a:cubicBezTo>
                          <a:pt x="72" y="22"/>
                          <a:pt x="72" y="22"/>
                          <a:pt x="72" y="22"/>
                        </a:cubicBezTo>
                        <a:cubicBezTo>
                          <a:pt x="72" y="22"/>
                          <a:pt x="72" y="22"/>
                          <a:pt x="72" y="22"/>
                        </a:cubicBezTo>
                        <a:close/>
                        <a:moveTo>
                          <a:pt x="74" y="23"/>
                        </a:move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4" y="23"/>
                        </a:cubicBezTo>
                        <a:cubicBezTo>
                          <a:pt x="74" y="23"/>
                          <a:pt x="74" y="23"/>
                          <a:pt x="74" y="22"/>
                        </a:cubicBezTo>
                        <a:cubicBezTo>
                          <a:pt x="74" y="22"/>
                          <a:pt x="74" y="22"/>
                          <a:pt x="73" y="22"/>
                        </a:cubicBezTo>
                        <a:cubicBezTo>
                          <a:pt x="74" y="22"/>
                          <a:pt x="74" y="23"/>
                          <a:pt x="74" y="23"/>
                        </a:cubicBezTo>
                        <a:close/>
                        <a:moveTo>
                          <a:pt x="74" y="23"/>
                        </a:moveTo>
                        <a:cubicBezTo>
                          <a:pt x="74" y="23"/>
                          <a:pt x="73" y="22"/>
                          <a:pt x="73" y="22"/>
                        </a:cubicBezTo>
                        <a:cubicBezTo>
                          <a:pt x="73" y="23"/>
                          <a:pt x="74" y="23"/>
                          <a:pt x="74" y="23"/>
                        </a:cubicBezTo>
                        <a:close/>
                        <a:moveTo>
                          <a:pt x="75" y="24"/>
                        </a:moveTo>
                        <a:cubicBezTo>
                          <a:pt x="75" y="24"/>
                          <a:pt x="75" y="24"/>
                          <a:pt x="75" y="24"/>
                        </a:cubicBezTo>
                        <a:cubicBezTo>
                          <a:pt x="75" y="24"/>
                          <a:pt x="76" y="24"/>
                          <a:pt x="76" y="24"/>
                        </a:cubicBezTo>
                        <a:cubicBezTo>
                          <a:pt x="76" y="24"/>
                          <a:pt x="75" y="24"/>
                          <a:pt x="75" y="24"/>
                        </a:cubicBezTo>
                        <a:cubicBezTo>
                          <a:pt x="76" y="24"/>
                          <a:pt x="76" y="24"/>
                          <a:pt x="76" y="24"/>
                        </a:cubicBezTo>
                        <a:cubicBezTo>
                          <a:pt x="76" y="24"/>
                          <a:pt x="76" y="24"/>
                          <a:pt x="76" y="24"/>
                        </a:cubicBezTo>
                        <a:cubicBezTo>
                          <a:pt x="76" y="24"/>
                          <a:pt x="75" y="24"/>
                          <a:pt x="75" y="24"/>
                        </a:cubicBezTo>
                        <a:cubicBezTo>
                          <a:pt x="75" y="24"/>
                          <a:pt x="75" y="24"/>
                          <a:pt x="75" y="24"/>
                        </a:cubicBezTo>
                        <a:cubicBezTo>
                          <a:pt x="75" y="24"/>
                          <a:pt x="75" y="24"/>
                          <a:pt x="75" y="24"/>
                        </a:cubicBezTo>
                        <a:cubicBezTo>
                          <a:pt x="75" y="24"/>
                          <a:pt x="74" y="24"/>
                          <a:pt x="75" y="24"/>
                        </a:cubicBezTo>
                        <a:cubicBezTo>
                          <a:pt x="74" y="24"/>
                          <a:pt x="74" y="24"/>
                          <a:pt x="74" y="24"/>
                        </a:cubicBezTo>
                        <a:cubicBezTo>
                          <a:pt x="74" y="24"/>
                          <a:pt x="75" y="24"/>
                          <a:pt x="75" y="24"/>
                        </a:cubicBezTo>
                        <a:cubicBezTo>
                          <a:pt x="75" y="24"/>
                          <a:pt x="74" y="24"/>
                          <a:pt x="74" y="24"/>
                        </a:cubicBezTo>
                        <a:cubicBezTo>
                          <a:pt x="75" y="24"/>
                          <a:pt x="75" y="24"/>
                          <a:pt x="75" y="24"/>
                        </a:cubicBezTo>
                        <a:cubicBezTo>
                          <a:pt x="75" y="24"/>
                          <a:pt x="75" y="24"/>
                          <a:pt x="75" y="24"/>
                        </a:cubicBezTo>
                        <a:cubicBezTo>
                          <a:pt x="75" y="24"/>
                          <a:pt x="75" y="24"/>
                          <a:pt x="75" y="24"/>
                        </a:cubicBezTo>
                        <a:close/>
                        <a:moveTo>
                          <a:pt x="79" y="26"/>
                        </a:moveTo>
                        <a:cubicBezTo>
                          <a:pt x="79" y="26"/>
                          <a:pt x="79" y="26"/>
                          <a:pt x="79" y="26"/>
                        </a:cubicBezTo>
                        <a:cubicBezTo>
                          <a:pt x="79" y="26"/>
                          <a:pt x="79" y="27"/>
                          <a:pt x="79" y="27"/>
                        </a:cubicBezTo>
                        <a:cubicBezTo>
                          <a:pt x="79" y="27"/>
                          <a:pt x="79" y="27"/>
                          <a:pt x="79" y="26"/>
                        </a:cubicBezTo>
                        <a:close/>
                        <a:moveTo>
                          <a:pt x="77" y="26"/>
                        </a:move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7" y="26"/>
                          <a:pt x="77" y="26"/>
                        </a:cubicBezTo>
                        <a:close/>
                        <a:moveTo>
                          <a:pt x="78" y="26"/>
                        </a:move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8" y="26"/>
                          <a:pt x="79" y="26"/>
                        </a:cubicBezTo>
                        <a:cubicBezTo>
                          <a:pt x="79" y="26"/>
                          <a:pt x="79" y="26"/>
                          <a:pt x="79" y="26"/>
                        </a:cubicBezTo>
                        <a:cubicBezTo>
                          <a:pt x="79" y="26"/>
                          <a:pt x="78" y="26"/>
                          <a:pt x="78" y="26"/>
                        </a:cubicBez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8" y="26"/>
                          <a:pt x="78" y="26"/>
                        </a:cubicBezTo>
                        <a:close/>
                        <a:moveTo>
                          <a:pt x="77" y="26"/>
                        </a:move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8" y="26"/>
                          <a:pt x="78" y="26"/>
                        </a:cubicBezTo>
                        <a:cubicBezTo>
                          <a:pt x="78" y="26"/>
                          <a:pt x="77" y="26"/>
                          <a:pt x="77" y="26"/>
                        </a:cubicBezTo>
                        <a:cubicBezTo>
                          <a:pt x="77" y="26"/>
                          <a:pt x="77" y="26"/>
                          <a:pt x="77" y="26"/>
                        </a:cubicBezTo>
                        <a:cubicBezTo>
                          <a:pt x="77" y="26"/>
                          <a:pt x="77" y="26"/>
                          <a:pt x="77" y="26"/>
                        </a:cubicBezTo>
                        <a:close/>
                        <a:moveTo>
                          <a:pt x="78" y="26"/>
                        </a:moveTo>
                        <a:cubicBezTo>
                          <a:pt x="78" y="27"/>
                          <a:pt x="78" y="27"/>
                          <a:pt x="79" y="27"/>
                        </a:cubicBezTo>
                        <a:cubicBezTo>
                          <a:pt x="79" y="27"/>
                          <a:pt x="79" y="27"/>
                          <a:pt x="79" y="27"/>
                        </a:cubicBezTo>
                        <a:cubicBezTo>
                          <a:pt x="78" y="27"/>
                          <a:pt x="78" y="26"/>
                          <a:pt x="78" y="26"/>
                        </a:cubicBezTo>
                        <a:close/>
                        <a:moveTo>
                          <a:pt x="67" y="23"/>
                        </a:moveTo>
                        <a:cubicBezTo>
                          <a:pt x="67" y="23"/>
                          <a:pt x="67" y="23"/>
                          <a:pt x="67" y="23"/>
                        </a:cubicBezTo>
                        <a:cubicBezTo>
                          <a:pt x="67" y="23"/>
                          <a:pt x="66" y="23"/>
                          <a:pt x="66" y="23"/>
                        </a:cubicBezTo>
                        <a:cubicBezTo>
                          <a:pt x="66" y="23"/>
                          <a:pt x="66" y="23"/>
                          <a:pt x="67" y="23"/>
                        </a:cubicBezTo>
                        <a:close/>
                        <a:moveTo>
                          <a:pt x="69" y="24"/>
                        </a:moveTo>
                        <a:cubicBezTo>
                          <a:pt x="69" y="24"/>
                          <a:pt x="69" y="24"/>
                          <a:pt x="69" y="24"/>
                        </a:cubicBezTo>
                        <a:cubicBezTo>
                          <a:pt x="69" y="24"/>
                          <a:pt x="69" y="24"/>
                          <a:pt x="69" y="24"/>
                        </a:cubicBezTo>
                        <a:close/>
                        <a:moveTo>
                          <a:pt x="70" y="24"/>
                        </a:moveTo>
                        <a:cubicBezTo>
                          <a:pt x="70" y="24"/>
                          <a:pt x="70" y="24"/>
                          <a:pt x="70" y="24"/>
                        </a:cubicBezTo>
                        <a:cubicBezTo>
                          <a:pt x="70" y="24"/>
                          <a:pt x="70" y="24"/>
                          <a:pt x="70" y="24"/>
                        </a:cubicBezTo>
                        <a:cubicBezTo>
                          <a:pt x="70" y="24"/>
                          <a:pt x="70" y="24"/>
                          <a:pt x="70" y="24"/>
                        </a:cubicBezTo>
                        <a:cubicBezTo>
                          <a:pt x="70" y="24"/>
                          <a:pt x="70" y="24"/>
                          <a:pt x="70" y="24"/>
                        </a:cubicBezTo>
                        <a:cubicBezTo>
                          <a:pt x="70" y="24"/>
                          <a:pt x="70" y="24"/>
                          <a:pt x="69" y="24"/>
                        </a:cubicBezTo>
                        <a:cubicBezTo>
                          <a:pt x="70" y="24"/>
                          <a:pt x="70" y="24"/>
                          <a:pt x="70" y="24"/>
                        </a:cubicBezTo>
                        <a:cubicBezTo>
                          <a:pt x="70" y="24"/>
                          <a:pt x="69" y="24"/>
                          <a:pt x="69" y="24"/>
                        </a:cubicBezTo>
                        <a:cubicBezTo>
                          <a:pt x="69" y="24"/>
                          <a:pt x="70" y="24"/>
                          <a:pt x="70" y="24"/>
                        </a:cubicBezTo>
                        <a:cubicBezTo>
                          <a:pt x="70" y="24"/>
                          <a:pt x="70" y="25"/>
                          <a:pt x="69" y="24"/>
                        </a:cubicBezTo>
                        <a:cubicBezTo>
                          <a:pt x="70" y="25"/>
                          <a:pt x="70" y="24"/>
                          <a:pt x="70" y="24"/>
                        </a:cubicBezTo>
                        <a:close/>
                        <a:moveTo>
                          <a:pt x="72" y="25"/>
                        </a:moveTo>
                        <a:cubicBezTo>
                          <a:pt x="71" y="25"/>
                          <a:pt x="71" y="25"/>
                          <a:pt x="71" y="24"/>
                        </a:cubicBezTo>
                        <a:cubicBezTo>
                          <a:pt x="71" y="24"/>
                          <a:pt x="71" y="24"/>
                          <a:pt x="71" y="24"/>
                        </a:cubicBezTo>
                        <a:cubicBezTo>
                          <a:pt x="71" y="24"/>
                          <a:pt x="71" y="24"/>
                          <a:pt x="71" y="25"/>
                        </a:cubicBezTo>
                        <a:cubicBezTo>
                          <a:pt x="71" y="25"/>
                          <a:pt x="71" y="25"/>
                          <a:pt x="71" y="25"/>
                        </a:cubicBezTo>
                        <a:cubicBezTo>
                          <a:pt x="71" y="25"/>
                          <a:pt x="72" y="25"/>
                          <a:pt x="72" y="25"/>
                        </a:cubicBezTo>
                        <a:close/>
                        <a:moveTo>
                          <a:pt x="74" y="26"/>
                        </a:moveTo>
                        <a:cubicBezTo>
                          <a:pt x="74" y="26"/>
                          <a:pt x="74" y="26"/>
                          <a:pt x="75" y="26"/>
                        </a:cubicBezTo>
                        <a:cubicBezTo>
                          <a:pt x="74" y="26"/>
                          <a:pt x="75" y="26"/>
                          <a:pt x="75" y="26"/>
                        </a:cubicBezTo>
                        <a:cubicBezTo>
                          <a:pt x="75" y="26"/>
                          <a:pt x="75" y="26"/>
                          <a:pt x="75" y="26"/>
                        </a:cubicBezTo>
                        <a:cubicBezTo>
                          <a:pt x="75" y="26"/>
                          <a:pt x="75" y="26"/>
                          <a:pt x="74" y="26"/>
                        </a:cubicBezTo>
                        <a:cubicBezTo>
                          <a:pt x="75" y="26"/>
                          <a:pt x="74" y="26"/>
                          <a:pt x="74" y="26"/>
                        </a:cubicBezTo>
                        <a:cubicBezTo>
                          <a:pt x="75" y="26"/>
                          <a:pt x="75" y="27"/>
                          <a:pt x="75" y="27"/>
                        </a:cubicBezTo>
                        <a:cubicBezTo>
                          <a:pt x="75" y="27"/>
                          <a:pt x="75" y="26"/>
                          <a:pt x="75" y="26"/>
                        </a:cubicBezTo>
                        <a:cubicBezTo>
                          <a:pt x="75" y="26"/>
                          <a:pt x="75" y="26"/>
                          <a:pt x="75" y="27"/>
                        </a:cubicBezTo>
                        <a:cubicBezTo>
                          <a:pt x="75" y="26"/>
                          <a:pt x="75" y="26"/>
                          <a:pt x="75" y="26"/>
                        </a:cubicBezTo>
                        <a:cubicBezTo>
                          <a:pt x="75" y="26"/>
                          <a:pt x="74" y="26"/>
                          <a:pt x="74" y="26"/>
                        </a:cubicBezTo>
                        <a:close/>
                        <a:moveTo>
                          <a:pt x="73" y="26"/>
                        </a:moveTo>
                        <a:cubicBezTo>
                          <a:pt x="73" y="26"/>
                          <a:pt x="74" y="26"/>
                          <a:pt x="74" y="26"/>
                        </a:cubicBezTo>
                        <a:cubicBezTo>
                          <a:pt x="74" y="26"/>
                          <a:pt x="74" y="26"/>
                          <a:pt x="73" y="26"/>
                        </a:cubicBezTo>
                        <a:close/>
                        <a:moveTo>
                          <a:pt x="73" y="25"/>
                        </a:moveTo>
                        <a:cubicBezTo>
                          <a:pt x="73" y="25"/>
                          <a:pt x="73" y="25"/>
                          <a:pt x="73" y="25"/>
                        </a:cubicBezTo>
                        <a:cubicBezTo>
                          <a:pt x="73" y="26"/>
                          <a:pt x="73" y="25"/>
                          <a:pt x="73" y="25"/>
                        </a:cubicBezTo>
                        <a:cubicBezTo>
                          <a:pt x="73" y="26"/>
                          <a:pt x="73" y="26"/>
                          <a:pt x="73" y="25"/>
                        </a:cubicBezTo>
                        <a:close/>
                        <a:moveTo>
                          <a:pt x="70" y="25"/>
                        </a:moveTo>
                        <a:cubicBezTo>
                          <a:pt x="70" y="25"/>
                          <a:pt x="70" y="25"/>
                          <a:pt x="70" y="25"/>
                        </a:cubicBezTo>
                        <a:cubicBezTo>
                          <a:pt x="70" y="25"/>
                          <a:pt x="70" y="25"/>
                          <a:pt x="70" y="25"/>
                        </a:cubicBezTo>
                        <a:cubicBezTo>
                          <a:pt x="70" y="25"/>
                          <a:pt x="70" y="25"/>
                          <a:pt x="71" y="25"/>
                        </a:cubicBezTo>
                        <a:cubicBezTo>
                          <a:pt x="71" y="25"/>
                          <a:pt x="71" y="25"/>
                          <a:pt x="71" y="25"/>
                        </a:cubicBezTo>
                        <a:cubicBezTo>
                          <a:pt x="71" y="25"/>
                          <a:pt x="71" y="25"/>
                          <a:pt x="71" y="25"/>
                        </a:cubicBezTo>
                        <a:cubicBezTo>
                          <a:pt x="71" y="25"/>
                          <a:pt x="71" y="25"/>
                          <a:pt x="71" y="25"/>
                        </a:cubicBezTo>
                        <a:cubicBezTo>
                          <a:pt x="71" y="25"/>
                          <a:pt x="71" y="25"/>
                          <a:pt x="71" y="25"/>
                        </a:cubicBezTo>
                        <a:cubicBezTo>
                          <a:pt x="71" y="25"/>
                          <a:pt x="70" y="24"/>
                          <a:pt x="70" y="25"/>
                        </a:cubicBezTo>
                        <a:cubicBezTo>
                          <a:pt x="70" y="25"/>
                          <a:pt x="70" y="25"/>
                          <a:pt x="70" y="25"/>
                        </a:cubicBezTo>
                        <a:close/>
                        <a:moveTo>
                          <a:pt x="72" y="25"/>
                        </a:moveTo>
                        <a:cubicBezTo>
                          <a:pt x="72" y="25"/>
                          <a:pt x="72" y="25"/>
                          <a:pt x="72" y="25"/>
                        </a:cubicBezTo>
                        <a:cubicBezTo>
                          <a:pt x="72" y="25"/>
                          <a:pt x="71" y="25"/>
                          <a:pt x="71" y="25"/>
                        </a:cubicBezTo>
                        <a:cubicBezTo>
                          <a:pt x="72" y="25"/>
                          <a:pt x="72" y="25"/>
                          <a:pt x="72" y="25"/>
                        </a:cubicBezTo>
                        <a:close/>
                        <a:moveTo>
                          <a:pt x="71" y="25"/>
                        </a:moveTo>
                        <a:cubicBezTo>
                          <a:pt x="71" y="25"/>
                          <a:pt x="71" y="25"/>
                          <a:pt x="71" y="25"/>
                        </a:cubicBezTo>
                        <a:cubicBezTo>
                          <a:pt x="71" y="25"/>
                          <a:pt x="71" y="25"/>
                          <a:pt x="71" y="25"/>
                        </a:cubicBezTo>
                        <a:close/>
                        <a:moveTo>
                          <a:pt x="72" y="26"/>
                        </a:moveTo>
                        <a:cubicBezTo>
                          <a:pt x="73" y="26"/>
                          <a:pt x="73" y="26"/>
                          <a:pt x="72" y="26"/>
                        </a:cubicBezTo>
                        <a:cubicBezTo>
                          <a:pt x="73" y="26"/>
                          <a:pt x="73" y="26"/>
                          <a:pt x="73" y="26"/>
                        </a:cubicBezTo>
                        <a:cubicBezTo>
                          <a:pt x="73" y="26"/>
                          <a:pt x="73" y="26"/>
                          <a:pt x="73" y="26"/>
                        </a:cubicBezTo>
                        <a:cubicBezTo>
                          <a:pt x="73" y="26"/>
                          <a:pt x="73" y="27"/>
                          <a:pt x="74" y="26"/>
                        </a:cubicBezTo>
                        <a:cubicBezTo>
                          <a:pt x="73" y="26"/>
                          <a:pt x="73" y="26"/>
                          <a:pt x="73" y="26"/>
                        </a:cubicBezTo>
                        <a:cubicBezTo>
                          <a:pt x="73" y="26"/>
                          <a:pt x="72" y="26"/>
                          <a:pt x="72" y="26"/>
                        </a:cubicBezTo>
                        <a:cubicBezTo>
                          <a:pt x="72" y="26"/>
                          <a:pt x="72" y="26"/>
                          <a:pt x="72" y="25"/>
                        </a:cubicBezTo>
                        <a:cubicBezTo>
                          <a:pt x="72" y="25"/>
                          <a:pt x="72" y="26"/>
                          <a:pt x="72" y="26"/>
                        </a:cubicBezTo>
                        <a:cubicBezTo>
                          <a:pt x="72" y="25"/>
                          <a:pt x="72" y="25"/>
                          <a:pt x="72" y="25"/>
                        </a:cubicBezTo>
                        <a:cubicBezTo>
                          <a:pt x="72" y="25"/>
                          <a:pt x="72" y="25"/>
                          <a:pt x="72" y="25"/>
                        </a:cubicBezTo>
                        <a:cubicBezTo>
                          <a:pt x="72" y="25"/>
                          <a:pt x="72" y="25"/>
                          <a:pt x="72" y="26"/>
                        </a:cubicBezTo>
                        <a:cubicBezTo>
                          <a:pt x="72" y="26"/>
                          <a:pt x="72" y="25"/>
                          <a:pt x="72" y="26"/>
                        </a:cubicBezTo>
                        <a:cubicBezTo>
                          <a:pt x="72" y="26"/>
                          <a:pt x="72" y="26"/>
                          <a:pt x="73" y="26"/>
                        </a:cubicBezTo>
                        <a:cubicBezTo>
                          <a:pt x="73" y="26"/>
                          <a:pt x="72" y="26"/>
                          <a:pt x="72" y="26"/>
                        </a:cubicBezTo>
                        <a:close/>
                        <a:moveTo>
                          <a:pt x="74" y="26"/>
                        </a:moveTo>
                        <a:cubicBezTo>
                          <a:pt x="74" y="26"/>
                          <a:pt x="74" y="26"/>
                          <a:pt x="74" y="26"/>
                        </a:cubicBezTo>
                        <a:cubicBezTo>
                          <a:pt x="74" y="26"/>
                          <a:pt x="74" y="26"/>
                          <a:pt x="74" y="26"/>
                        </a:cubicBezTo>
                        <a:cubicBezTo>
                          <a:pt x="74" y="26"/>
                          <a:pt x="74" y="27"/>
                          <a:pt x="74" y="27"/>
                        </a:cubicBezTo>
                        <a:cubicBezTo>
                          <a:pt x="74" y="27"/>
                          <a:pt x="75" y="27"/>
                          <a:pt x="75" y="27"/>
                        </a:cubicBezTo>
                        <a:cubicBezTo>
                          <a:pt x="75" y="27"/>
                          <a:pt x="75" y="27"/>
                          <a:pt x="75" y="27"/>
                        </a:cubicBezTo>
                        <a:cubicBezTo>
                          <a:pt x="75" y="27"/>
                          <a:pt x="74" y="27"/>
                          <a:pt x="74" y="26"/>
                        </a:cubicBezTo>
                        <a:cubicBezTo>
                          <a:pt x="74" y="26"/>
                          <a:pt x="74" y="27"/>
                          <a:pt x="74" y="26"/>
                        </a:cubicBezTo>
                        <a:close/>
                        <a:moveTo>
                          <a:pt x="76" y="27"/>
                        </a:moveTo>
                        <a:cubicBezTo>
                          <a:pt x="76" y="27"/>
                          <a:pt x="76" y="27"/>
                          <a:pt x="76" y="27"/>
                        </a:cubicBezTo>
                        <a:cubicBezTo>
                          <a:pt x="76" y="27"/>
                          <a:pt x="76" y="27"/>
                          <a:pt x="76" y="27"/>
                        </a:cubicBezTo>
                        <a:close/>
                        <a:moveTo>
                          <a:pt x="77" y="27"/>
                        </a:moveTo>
                        <a:cubicBezTo>
                          <a:pt x="77" y="28"/>
                          <a:pt x="77" y="27"/>
                          <a:pt x="77" y="28"/>
                        </a:cubicBezTo>
                        <a:cubicBezTo>
                          <a:pt x="77" y="28"/>
                          <a:pt x="77" y="28"/>
                          <a:pt x="78" y="28"/>
                        </a:cubicBezTo>
                        <a:cubicBezTo>
                          <a:pt x="77" y="28"/>
                          <a:pt x="77" y="27"/>
                          <a:pt x="77" y="27"/>
                        </a:cubicBezTo>
                        <a:close/>
                        <a:moveTo>
                          <a:pt x="78" y="28"/>
                        </a:moveTo>
                        <a:cubicBezTo>
                          <a:pt x="78" y="28"/>
                          <a:pt x="79" y="28"/>
                          <a:pt x="79" y="28"/>
                        </a:cubicBezTo>
                        <a:cubicBezTo>
                          <a:pt x="79" y="28"/>
                          <a:pt x="79" y="28"/>
                          <a:pt x="78" y="28"/>
                        </a:cubicBezTo>
                        <a:cubicBezTo>
                          <a:pt x="78" y="28"/>
                          <a:pt x="78" y="28"/>
                          <a:pt x="78" y="28"/>
                        </a:cubicBezTo>
                        <a:close/>
                        <a:moveTo>
                          <a:pt x="71" y="26"/>
                        </a:moveTo>
                        <a:cubicBezTo>
                          <a:pt x="71" y="26"/>
                          <a:pt x="72" y="26"/>
                          <a:pt x="72" y="26"/>
                        </a:cubicBezTo>
                        <a:cubicBezTo>
                          <a:pt x="72" y="26"/>
                          <a:pt x="71" y="26"/>
                          <a:pt x="72" y="26"/>
                        </a:cubicBezTo>
                        <a:cubicBezTo>
                          <a:pt x="71" y="26"/>
                          <a:pt x="71" y="25"/>
                          <a:pt x="71" y="25"/>
                        </a:cubicBezTo>
                        <a:cubicBezTo>
                          <a:pt x="71" y="26"/>
                          <a:pt x="72" y="26"/>
                          <a:pt x="71" y="26"/>
                        </a:cubicBezTo>
                        <a:close/>
                        <a:moveTo>
                          <a:pt x="73" y="27"/>
                        </a:moveTo>
                        <a:cubicBezTo>
                          <a:pt x="73" y="27"/>
                          <a:pt x="73" y="27"/>
                          <a:pt x="73" y="26"/>
                        </a:cubicBezTo>
                        <a:cubicBezTo>
                          <a:pt x="73" y="27"/>
                          <a:pt x="73" y="27"/>
                          <a:pt x="73" y="27"/>
                        </a:cubicBezTo>
                        <a:cubicBezTo>
                          <a:pt x="73" y="27"/>
                          <a:pt x="73" y="27"/>
                          <a:pt x="72" y="27"/>
                        </a:cubicBezTo>
                        <a:cubicBezTo>
                          <a:pt x="72" y="27"/>
                          <a:pt x="72" y="27"/>
                          <a:pt x="72" y="27"/>
                        </a:cubicBezTo>
                        <a:cubicBezTo>
                          <a:pt x="72" y="27"/>
                          <a:pt x="73" y="27"/>
                          <a:pt x="73" y="27"/>
                        </a:cubicBezTo>
                        <a:cubicBezTo>
                          <a:pt x="73" y="27"/>
                          <a:pt x="73" y="27"/>
                          <a:pt x="73" y="27"/>
                        </a:cubicBezTo>
                        <a:cubicBezTo>
                          <a:pt x="73" y="27"/>
                          <a:pt x="73" y="27"/>
                          <a:pt x="73" y="27"/>
                        </a:cubicBezTo>
                        <a:cubicBezTo>
                          <a:pt x="73" y="27"/>
                          <a:pt x="74" y="27"/>
                          <a:pt x="74" y="27"/>
                        </a:cubicBezTo>
                        <a:cubicBezTo>
                          <a:pt x="74" y="27"/>
                          <a:pt x="74" y="27"/>
                          <a:pt x="74" y="27"/>
                        </a:cubicBezTo>
                        <a:cubicBezTo>
                          <a:pt x="74" y="27"/>
                          <a:pt x="74" y="27"/>
                          <a:pt x="74" y="27"/>
                        </a:cubicBezTo>
                        <a:cubicBezTo>
                          <a:pt x="74" y="27"/>
                          <a:pt x="74" y="27"/>
                          <a:pt x="74" y="27"/>
                        </a:cubicBezTo>
                        <a:cubicBezTo>
                          <a:pt x="74" y="27"/>
                          <a:pt x="74" y="27"/>
                          <a:pt x="73" y="27"/>
                        </a:cubicBezTo>
                        <a:close/>
                        <a:moveTo>
                          <a:pt x="68" y="25"/>
                        </a:moveTo>
                        <a:cubicBezTo>
                          <a:pt x="68" y="25"/>
                          <a:pt x="68" y="25"/>
                          <a:pt x="68" y="25"/>
                        </a:cubicBezTo>
                        <a:cubicBezTo>
                          <a:pt x="68" y="25"/>
                          <a:pt x="68" y="26"/>
                          <a:pt x="68" y="26"/>
                        </a:cubicBezTo>
                        <a:cubicBezTo>
                          <a:pt x="68" y="26"/>
                          <a:pt x="68" y="26"/>
                          <a:pt x="68" y="25"/>
                        </a:cubicBezTo>
                        <a:close/>
                        <a:moveTo>
                          <a:pt x="69" y="26"/>
                        </a:moveTo>
                        <a:cubicBezTo>
                          <a:pt x="69" y="26"/>
                          <a:pt x="69" y="26"/>
                          <a:pt x="69" y="26"/>
                        </a:cubicBezTo>
                        <a:cubicBezTo>
                          <a:pt x="68" y="26"/>
                          <a:pt x="68" y="26"/>
                          <a:pt x="68" y="26"/>
                        </a:cubicBezTo>
                        <a:cubicBezTo>
                          <a:pt x="68" y="26"/>
                          <a:pt x="68" y="26"/>
                          <a:pt x="69" y="26"/>
                        </a:cubicBezTo>
                        <a:close/>
                        <a:moveTo>
                          <a:pt x="70" y="26"/>
                        </a:moveTo>
                        <a:cubicBezTo>
                          <a:pt x="70" y="26"/>
                          <a:pt x="70" y="26"/>
                          <a:pt x="70" y="26"/>
                        </a:cubicBezTo>
                        <a:cubicBezTo>
                          <a:pt x="70" y="26"/>
                          <a:pt x="70" y="26"/>
                          <a:pt x="70" y="26"/>
                        </a:cubicBezTo>
                        <a:cubicBezTo>
                          <a:pt x="70" y="26"/>
                          <a:pt x="70" y="26"/>
                          <a:pt x="70" y="26"/>
                        </a:cubicBezTo>
                        <a:close/>
                        <a:moveTo>
                          <a:pt x="70" y="26"/>
                        </a:moveTo>
                        <a:cubicBezTo>
                          <a:pt x="70" y="26"/>
                          <a:pt x="69" y="26"/>
                          <a:pt x="69" y="26"/>
                        </a:cubicBezTo>
                        <a:cubicBezTo>
                          <a:pt x="69" y="26"/>
                          <a:pt x="70" y="26"/>
                          <a:pt x="70" y="26"/>
                        </a:cubicBezTo>
                        <a:close/>
                        <a:moveTo>
                          <a:pt x="67" y="24"/>
                        </a:moveTo>
                        <a:cubicBezTo>
                          <a:pt x="67" y="24"/>
                          <a:pt x="67" y="24"/>
                          <a:pt x="67" y="24"/>
                        </a:cubicBezTo>
                        <a:cubicBezTo>
                          <a:pt x="67" y="25"/>
                          <a:pt x="67" y="25"/>
                          <a:pt x="67" y="25"/>
                        </a:cubicBezTo>
                        <a:cubicBezTo>
                          <a:pt x="67" y="24"/>
                          <a:pt x="67" y="24"/>
                          <a:pt x="67" y="24"/>
                        </a:cubicBezTo>
                        <a:close/>
                        <a:moveTo>
                          <a:pt x="68" y="25"/>
                        </a:moveTo>
                        <a:cubicBezTo>
                          <a:pt x="68" y="25"/>
                          <a:pt x="69" y="25"/>
                          <a:pt x="69" y="25"/>
                        </a:cubicBezTo>
                        <a:cubicBezTo>
                          <a:pt x="68" y="25"/>
                          <a:pt x="68" y="25"/>
                          <a:pt x="68" y="25"/>
                        </a:cubicBezTo>
                        <a:close/>
                        <a:moveTo>
                          <a:pt x="67" y="25"/>
                        </a:moveTo>
                        <a:cubicBezTo>
                          <a:pt x="68" y="25"/>
                          <a:pt x="68" y="25"/>
                          <a:pt x="68" y="25"/>
                        </a:cubicBezTo>
                        <a:cubicBezTo>
                          <a:pt x="68" y="25"/>
                          <a:pt x="67" y="25"/>
                          <a:pt x="67" y="25"/>
                        </a:cubicBezTo>
                        <a:close/>
                        <a:moveTo>
                          <a:pt x="70" y="25"/>
                        </a:moveTo>
                        <a:cubicBezTo>
                          <a:pt x="69" y="25"/>
                          <a:pt x="69" y="25"/>
                          <a:pt x="69" y="25"/>
                        </a:cubicBezTo>
                        <a:cubicBezTo>
                          <a:pt x="70" y="25"/>
                          <a:pt x="70" y="25"/>
                          <a:pt x="70" y="25"/>
                        </a:cubicBezTo>
                        <a:cubicBezTo>
                          <a:pt x="70" y="25"/>
                          <a:pt x="70" y="25"/>
                          <a:pt x="70" y="25"/>
                        </a:cubicBezTo>
                        <a:cubicBezTo>
                          <a:pt x="70" y="25"/>
                          <a:pt x="70" y="25"/>
                          <a:pt x="70" y="25"/>
                        </a:cubicBezTo>
                        <a:close/>
                        <a:moveTo>
                          <a:pt x="66" y="24"/>
                        </a:moveTo>
                        <a:cubicBezTo>
                          <a:pt x="66" y="24"/>
                          <a:pt x="67" y="24"/>
                          <a:pt x="67" y="24"/>
                        </a:cubicBezTo>
                        <a:cubicBezTo>
                          <a:pt x="66" y="24"/>
                          <a:pt x="66" y="24"/>
                          <a:pt x="66" y="24"/>
                        </a:cubicBezTo>
                        <a:cubicBezTo>
                          <a:pt x="66" y="24"/>
                          <a:pt x="66" y="24"/>
                          <a:pt x="66" y="24"/>
                        </a:cubicBezTo>
                        <a:close/>
                        <a:moveTo>
                          <a:pt x="65" y="24"/>
                        </a:moveTo>
                        <a:cubicBezTo>
                          <a:pt x="65" y="24"/>
                          <a:pt x="66" y="25"/>
                          <a:pt x="66" y="24"/>
                        </a:cubicBezTo>
                        <a:cubicBezTo>
                          <a:pt x="66" y="24"/>
                          <a:pt x="66" y="24"/>
                          <a:pt x="66" y="24"/>
                        </a:cubicBezTo>
                        <a:cubicBezTo>
                          <a:pt x="66" y="24"/>
                          <a:pt x="66" y="24"/>
                          <a:pt x="66" y="24"/>
                        </a:cubicBezTo>
                        <a:cubicBezTo>
                          <a:pt x="65" y="24"/>
                          <a:pt x="66" y="24"/>
                          <a:pt x="65" y="24"/>
                        </a:cubicBezTo>
                        <a:cubicBezTo>
                          <a:pt x="65" y="24"/>
                          <a:pt x="65" y="24"/>
                          <a:pt x="65" y="24"/>
                        </a:cubicBezTo>
                        <a:close/>
                        <a:moveTo>
                          <a:pt x="64" y="24"/>
                        </a:moveTo>
                        <a:cubicBezTo>
                          <a:pt x="64" y="24"/>
                          <a:pt x="64" y="24"/>
                          <a:pt x="64" y="24"/>
                        </a:cubicBezTo>
                        <a:cubicBezTo>
                          <a:pt x="64" y="24"/>
                          <a:pt x="64" y="24"/>
                          <a:pt x="64" y="24"/>
                        </a:cubicBezTo>
                        <a:close/>
                        <a:moveTo>
                          <a:pt x="68" y="25"/>
                        </a:moveTo>
                        <a:cubicBezTo>
                          <a:pt x="68" y="25"/>
                          <a:pt x="68" y="25"/>
                          <a:pt x="68" y="25"/>
                        </a:cubicBezTo>
                        <a:cubicBezTo>
                          <a:pt x="68" y="25"/>
                          <a:pt x="67" y="25"/>
                          <a:pt x="68" y="25"/>
                        </a:cubicBezTo>
                        <a:cubicBezTo>
                          <a:pt x="67" y="25"/>
                          <a:pt x="67" y="25"/>
                          <a:pt x="67" y="25"/>
                        </a:cubicBezTo>
                        <a:cubicBezTo>
                          <a:pt x="67" y="25"/>
                          <a:pt x="67" y="25"/>
                          <a:pt x="67" y="25"/>
                        </a:cubicBezTo>
                        <a:cubicBezTo>
                          <a:pt x="67" y="25"/>
                          <a:pt x="67" y="25"/>
                          <a:pt x="68" y="25"/>
                        </a:cubicBezTo>
                        <a:close/>
                        <a:moveTo>
                          <a:pt x="66" y="26"/>
                        </a:moveTo>
                        <a:cubicBezTo>
                          <a:pt x="66" y="26"/>
                          <a:pt x="66" y="26"/>
                          <a:pt x="66" y="26"/>
                        </a:cubicBezTo>
                        <a:cubicBezTo>
                          <a:pt x="66" y="26"/>
                          <a:pt x="66" y="25"/>
                          <a:pt x="66" y="25"/>
                        </a:cubicBezTo>
                        <a:cubicBezTo>
                          <a:pt x="66" y="25"/>
                          <a:pt x="66" y="26"/>
                          <a:pt x="66" y="26"/>
                        </a:cubicBezTo>
                        <a:close/>
                        <a:moveTo>
                          <a:pt x="66" y="26"/>
                        </a:moveTo>
                        <a:cubicBezTo>
                          <a:pt x="66" y="26"/>
                          <a:pt x="66" y="25"/>
                          <a:pt x="65" y="25"/>
                        </a:cubicBezTo>
                        <a:cubicBezTo>
                          <a:pt x="66" y="26"/>
                          <a:pt x="66" y="26"/>
                          <a:pt x="66" y="26"/>
                        </a:cubicBezTo>
                        <a:close/>
                        <a:moveTo>
                          <a:pt x="66" y="26"/>
                        </a:moveTo>
                        <a:cubicBezTo>
                          <a:pt x="66" y="26"/>
                          <a:pt x="65" y="25"/>
                          <a:pt x="65" y="26"/>
                        </a:cubicBezTo>
                        <a:cubicBezTo>
                          <a:pt x="65" y="26"/>
                          <a:pt x="65" y="26"/>
                          <a:pt x="66" y="26"/>
                        </a:cubicBezTo>
                        <a:close/>
                        <a:moveTo>
                          <a:pt x="63" y="25"/>
                        </a:moveTo>
                        <a:cubicBezTo>
                          <a:pt x="63" y="25"/>
                          <a:pt x="63" y="25"/>
                          <a:pt x="63" y="25"/>
                        </a:cubicBezTo>
                        <a:cubicBezTo>
                          <a:pt x="63" y="25"/>
                          <a:pt x="63" y="25"/>
                          <a:pt x="63" y="25"/>
                        </a:cubicBezTo>
                        <a:cubicBezTo>
                          <a:pt x="63" y="25"/>
                          <a:pt x="63" y="25"/>
                          <a:pt x="63" y="25"/>
                        </a:cubicBezTo>
                        <a:close/>
                        <a:moveTo>
                          <a:pt x="63" y="25"/>
                        </a:moveTo>
                        <a:cubicBezTo>
                          <a:pt x="64" y="25"/>
                          <a:pt x="64" y="25"/>
                          <a:pt x="64" y="25"/>
                        </a:cubicBezTo>
                        <a:cubicBezTo>
                          <a:pt x="64" y="25"/>
                          <a:pt x="63" y="25"/>
                          <a:pt x="63" y="25"/>
                        </a:cubicBezTo>
                        <a:close/>
                        <a:moveTo>
                          <a:pt x="65" y="25"/>
                        </a:moveTo>
                        <a:cubicBezTo>
                          <a:pt x="65" y="25"/>
                          <a:pt x="65" y="25"/>
                          <a:pt x="64" y="25"/>
                        </a:cubicBezTo>
                        <a:cubicBezTo>
                          <a:pt x="64" y="25"/>
                          <a:pt x="64" y="25"/>
                          <a:pt x="64" y="25"/>
                        </a:cubicBezTo>
                        <a:cubicBezTo>
                          <a:pt x="64" y="25"/>
                          <a:pt x="63" y="25"/>
                          <a:pt x="63" y="25"/>
                        </a:cubicBezTo>
                        <a:cubicBezTo>
                          <a:pt x="63" y="25"/>
                          <a:pt x="64" y="26"/>
                          <a:pt x="64" y="26"/>
                        </a:cubicBezTo>
                        <a:cubicBezTo>
                          <a:pt x="64" y="26"/>
                          <a:pt x="64" y="26"/>
                          <a:pt x="64" y="25"/>
                        </a:cubicBezTo>
                        <a:cubicBezTo>
                          <a:pt x="64" y="26"/>
                          <a:pt x="64" y="25"/>
                          <a:pt x="65" y="25"/>
                        </a:cubicBezTo>
                        <a:close/>
                        <a:moveTo>
                          <a:pt x="67" y="26"/>
                        </a:moveTo>
                        <a:cubicBezTo>
                          <a:pt x="67" y="26"/>
                          <a:pt x="67" y="26"/>
                          <a:pt x="66" y="26"/>
                        </a:cubicBezTo>
                        <a:cubicBezTo>
                          <a:pt x="66" y="26"/>
                          <a:pt x="67" y="26"/>
                          <a:pt x="67" y="26"/>
                        </a:cubicBezTo>
                        <a:cubicBezTo>
                          <a:pt x="67" y="26"/>
                          <a:pt x="67" y="26"/>
                          <a:pt x="67" y="26"/>
                        </a:cubicBezTo>
                        <a:close/>
                        <a:moveTo>
                          <a:pt x="68" y="26"/>
                        </a:moveTo>
                        <a:cubicBezTo>
                          <a:pt x="68" y="26"/>
                          <a:pt x="68" y="26"/>
                          <a:pt x="68" y="26"/>
                        </a:cubicBezTo>
                        <a:cubicBezTo>
                          <a:pt x="68" y="26"/>
                          <a:pt x="68" y="26"/>
                          <a:pt x="68" y="26"/>
                        </a:cubicBezTo>
                        <a:cubicBezTo>
                          <a:pt x="68" y="26"/>
                          <a:pt x="68" y="26"/>
                          <a:pt x="68" y="26"/>
                        </a:cubicBezTo>
                        <a:cubicBezTo>
                          <a:pt x="68" y="26"/>
                          <a:pt x="68" y="26"/>
                          <a:pt x="68" y="26"/>
                        </a:cubicBezTo>
                        <a:cubicBezTo>
                          <a:pt x="68" y="26"/>
                          <a:pt x="67" y="25"/>
                          <a:pt x="67" y="26"/>
                        </a:cubicBezTo>
                        <a:cubicBezTo>
                          <a:pt x="67" y="25"/>
                          <a:pt x="67" y="26"/>
                          <a:pt x="67" y="26"/>
                        </a:cubicBezTo>
                        <a:cubicBezTo>
                          <a:pt x="67" y="25"/>
                          <a:pt x="67" y="25"/>
                          <a:pt x="67" y="25"/>
                        </a:cubicBezTo>
                        <a:cubicBezTo>
                          <a:pt x="67" y="25"/>
                          <a:pt x="67" y="25"/>
                          <a:pt x="67" y="25"/>
                        </a:cubicBezTo>
                        <a:cubicBezTo>
                          <a:pt x="66" y="25"/>
                          <a:pt x="66" y="25"/>
                          <a:pt x="66" y="25"/>
                        </a:cubicBezTo>
                        <a:cubicBezTo>
                          <a:pt x="67" y="26"/>
                          <a:pt x="67" y="26"/>
                          <a:pt x="67" y="26"/>
                        </a:cubicBezTo>
                        <a:cubicBezTo>
                          <a:pt x="68" y="26"/>
                          <a:pt x="68" y="26"/>
                          <a:pt x="67" y="26"/>
                        </a:cubicBezTo>
                        <a:cubicBezTo>
                          <a:pt x="68" y="26"/>
                          <a:pt x="68" y="26"/>
                          <a:pt x="69" y="27"/>
                        </a:cubicBezTo>
                        <a:cubicBezTo>
                          <a:pt x="69" y="27"/>
                          <a:pt x="69" y="27"/>
                          <a:pt x="69" y="26"/>
                        </a:cubicBezTo>
                        <a:cubicBezTo>
                          <a:pt x="68" y="26"/>
                          <a:pt x="69" y="26"/>
                          <a:pt x="69" y="26"/>
                        </a:cubicBezTo>
                        <a:cubicBezTo>
                          <a:pt x="69" y="26"/>
                          <a:pt x="68" y="26"/>
                          <a:pt x="68" y="26"/>
                        </a:cubicBezTo>
                        <a:close/>
                        <a:moveTo>
                          <a:pt x="69" y="26"/>
                        </a:moveTo>
                        <a:cubicBezTo>
                          <a:pt x="69" y="26"/>
                          <a:pt x="69" y="26"/>
                          <a:pt x="69" y="26"/>
                        </a:cubicBezTo>
                        <a:cubicBezTo>
                          <a:pt x="69" y="26"/>
                          <a:pt x="69" y="26"/>
                          <a:pt x="69" y="26"/>
                        </a:cubicBezTo>
                        <a:cubicBezTo>
                          <a:pt x="69" y="26"/>
                          <a:pt x="69" y="26"/>
                          <a:pt x="69" y="26"/>
                        </a:cubicBezTo>
                        <a:cubicBezTo>
                          <a:pt x="69" y="26"/>
                          <a:pt x="69" y="26"/>
                          <a:pt x="69" y="26"/>
                        </a:cubicBezTo>
                        <a:cubicBezTo>
                          <a:pt x="69" y="26"/>
                          <a:pt x="69" y="26"/>
                          <a:pt x="68" y="26"/>
                        </a:cubicBezTo>
                        <a:cubicBezTo>
                          <a:pt x="69" y="26"/>
                          <a:pt x="69" y="26"/>
                          <a:pt x="69" y="26"/>
                        </a:cubicBezTo>
                        <a:cubicBezTo>
                          <a:pt x="69" y="26"/>
                          <a:pt x="69" y="26"/>
                          <a:pt x="69" y="26"/>
                        </a:cubicBezTo>
                        <a:close/>
                        <a:moveTo>
                          <a:pt x="70" y="26"/>
                        </a:moveTo>
                        <a:cubicBezTo>
                          <a:pt x="70" y="26"/>
                          <a:pt x="70" y="26"/>
                          <a:pt x="70" y="26"/>
                        </a:cubicBezTo>
                        <a:cubicBezTo>
                          <a:pt x="70" y="26"/>
                          <a:pt x="70" y="26"/>
                          <a:pt x="70" y="26"/>
                        </a:cubicBezTo>
                        <a:close/>
                        <a:moveTo>
                          <a:pt x="70" y="27"/>
                        </a:moveTo>
                        <a:cubicBezTo>
                          <a:pt x="70" y="27"/>
                          <a:pt x="70" y="27"/>
                          <a:pt x="70" y="27"/>
                        </a:cubicBezTo>
                        <a:cubicBezTo>
                          <a:pt x="70" y="27"/>
                          <a:pt x="70" y="27"/>
                          <a:pt x="69" y="26"/>
                        </a:cubicBezTo>
                        <a:cubicBezTo>
                          <a:pt x="69" y="26"/>
                          <a:pt x="69" y="27"/>
                          <a:pt x="69" y="27"/>
                        </a:cubicBezTo>
                        <a:cubicBezTo>
                          <a:pt x="70" y="27"/>
                          <a:pt x="70" y="27"/>
                          <a:pt x="70" y="27"/>
                        </a:cubicBezTo>
                        <a:close/>
                        <a:moveTo>
                          <a:pt x="73" y="28"/>
                        </a:moveTo>
                        <a:cubicBezTo>
                          <a:pt x="72" y="27"/>
                          <a:pt x="72" y="27"/>
                          <a:pt x="72" y="27"/>
                        </a:cubicBezTo>
                        <a:cubicBezTo>
                          <a:pt x="72" y="28"/>
                          <a:pt x="73" y="28"/>
                          <a:pt x="73" y="28"/>
                        </a:cubicBezTo>
                        <a:close/>
                        <a:moveTo>
                          <a:pt x="73" y="28"/>
                        </a:moveTo>
                        <a:cubicBezTo>
                          <a:pt x="73" y="28"/>
                          <a:pt x="73" y="28"/>
                          <a:pt x="73" y="28"/>
                        </a:cubicBezTo>
                        <a:cubicBezTo>
                          <a:pt x="73" y="28"/>
                          <a:pt x="73" y="28"/>
                          <a:pt x="73" y="28"/>
                        </a:cubicBezTo>
                        <a:cubicBezTo>
                          <a:pt x="73" y="28"/>
                          <a:pt x="74" y="28"/>
                          <a:pt x="74" y="28"/>
                        </a:cubicBezTo>
                        <a:cubicBezTo>
                          <a:pt x="73" y="28"/>
                          <a:pt x="73" y="28"/>
                          <a:pt x="73" y="28"/>
                        </a:cubicBezTo>
                        <a:cubicBezTo>
                          <a:pt x="73" y="28"/>
                          <a:pt x="73" y="28"/>
                          <a:pt x="73" y="28"/>
                        </a:cubicBezTo>
                        <a:close/>
                        <a:moveTo>
                          <a:pt x="74" y="28"/>
                        </a:moveTo>
                        <a:cubicBezTo>
                          <a:pt x="74" y="28"/>
                          <a:pt x="74" y="28"/>
                          <a:pt x="74" y="28"/>
                        </a:cubicBezTo>
                        <a:cubicBezTo>
                          <a:pt x="74" y="28"/>
                          <a:pt x="73" y="28"/>
                          <a:pt x="73" y="28"/>
                        </a:cubicBezTo>
                        <a:cubicBezTo>
                          <a:pt x="73" y="28"/>
                          <a:pt x="73" y="28"/>
                          <a:pt x="73" y="28"/>
                        </a:cubicBezTo>
                        <a:cubicBezTo>
                          <a:pt x="73" y="28"/>
                          <a:pt x="73" y="28"/>
                          <a:pt x="72" y="28"/>
                        </a:cubicBezTo>
                        <a:cubicBezTo>
                          <a:pt x="72" y="28"/>
                          <a:pt x="73" y="28"/>
                          <a:pt x="73" y="28"/>
                        </a:cubicBezTo>
                        <a:cubicBezTo>
                          <a:pt x="73" y="28"/>
                          <a:pt x="73" y="28"/>
                          <a:pt x="72" y="28"/>
                        </a:cubicBezTo>
                        <a:cubicBezTo>
                          <a:pt x="73" y="28"/>
                          <a:pt x="73" y="28"/>
                          <a:pt x="73" y="28"/>
                        </a:cubicBezTo>
                        <a:cubicBezTo>
                          <a:pt x="73" y="28"/>
                          <a:pt x="73" y="28"/>
                          <a:pt x="73" y="28"/>
                        </a:cubicBezTo>
                        <a:cubicBezTo>
                          <a:pt x="73" y="28"/>
                          <a:pt x="73" y="28"/>
                          <a:pt x="73" y="28"/>
                        </a:cubicBezTo>
                        <a:cubicBezTo>
                          <a:pt x="73" y="28"/>
                          <a:pt x="73" y="28"/>
                          <a:pt x="73" y="28"/>
                        </a:cubicBezTo>
                        <a:cubicBezTo>
                          <a:pt x="73" y="28"/>
                          <a:pt x="73" y="28"/>
                          <a:pt x="74" y="28"/>
                        </a:cubicBezTo>
                        <a:cubicBezTo>
                          <a:pt x="74" y="29"/>
                          <a:pt x="74" y="28"/>
                          <a:pt x="74" y="29"/>
                        </a:cubicBezTo>
                        <a:cubicBezTo>
                          <a:pt x="74" y="29"/>
                          <a:pt x="74" y="29"/>
                          <a:pt x="73" y="29"/>
                        </a:cubicBezTo>
                        <a:cubicBezTo>
                          <a:pt x="74" y="29"/>
                          <a:pt x="73" y="29"/>
                          <a:pt x="73" y="29"/>
                        </a:cubicBezTo>
                        <a:cubicBezTo>
                          <a:pt x="74" y="29"/>
                          <a:pt x="74" y="29"/>
                          <a:pt x="74" y="28"/>
                        </a:cubicBezTo>
                        <a:close/>
                        <a:moveTo>
                          <a:pt x="74" y="28"/>
                        </a:moveTo>
                        <a:cubicBezTo>
                          <a:pt x="74" y="28"/>
                          <a:pt x="74" y="28"/>
                          <a:pt x="74" y="28"/>
                        </a:cubicBezTo>
                        <a:cubicBezTo>
                          <a:pt x="74" y="28"/>
                          <a:pt x="74" y="28"/>
                          <a:pt x="74" y="28"/>
                        </a:cubicBezTo>
                        <a:close/>
                        <a:moveTo>
                          <a:pt x="74" y="28"/>
                        </a:moveTo>
                        <a:cubicBezTo>
                          <a:pt x="74" y="28"/>
                          <a:pt x="74" y="28"/>
                          <a:pt x="74" y="28"/>
                        </a:cubicBezTo>
                        <a:cubicBezTo>
                          <a:pt x="74" y="28"/>
                          <a:pt x="74" y="28"/>
                          <a:pt x="74" y="28"/>
                        </a:cubicBezTo>
                        <a:cubicBezTo>
                          <a:pt x="75" y="28"/>
                          <a:pt x="75" y="28"/>
                          <a:pt x="75" y="28"/>
                        </a:cubicBezTo>
                        <a:cubicBezTo>
                          <a:pt x="74" y="28"/>
                          <a:pt x="74" y="28"/>
                          <a:pt x="74" y="28"/>
                        </a:cubicBezTo>
                        <a:close/>
                        <a:moveTo>
                          <a:pt x="75" y="28"/>
                        </a:moveTo>
                        <a:cubicBezTo>
                          <a:pt x="75" y="28"/>
                          <a:pt x="75" y="28"/>
                          <a:pt x="75" y="28"/>
                        </a:cubicBezTo>
                        <a:cubicBezTo>
                          <a:pt x="75" y="28"/>
                          <a:pt x="74" y="28"/>
                          <a:pt x="74" y="27"/>
                        </a:cubicBezTo>
                        <a:cubicBezTo>
                          <a:pt x="75" y="27"/>
                          <a:pt x="75" y="27"/>
                          <a:pt x="75" y="27"/>
                        </a:cubicBezTo>
                        <a:cubicBezTo>
                          <a:pt x="75" y="28"/>
                          <a:pt x="76" y="28"/>
                          <a:pt x="76" y="28"/>
                        </a:cubicBezTo>
                        <a:cubicBezTo>
                          <a:pt x="76" y="28"/>
                          <a:pt x="76" y="28"/>
                          <a:pt x="76" y="28"/>
                        </a:cubicBezTo>
                        <a:cubicBezTo>
                          <a:pt x="76" y="28"/>
                          <a:pt x="76" y="28"/>
                          <a:pt x="76" y="28"/>
                        </a:cubicBezTo>
                        <a:cubicBezTo>
                          <a:pt x="76" y="28"/>
                          <a:pt x="76" y="28"/>
                          <a:pt x="75" y="28"/>
                        </a:cubicBezTo>
                        <a:cubicBezTo>
                          <a:pt x="75" y="27"/>
                          <a:pt x="75" y="27"/>
                          <a:pt x="75" y="27"/>
                        </a:cubicBezTo>
                        <a:cubicBezTo>
                          <a:pt x="75" y="27"/>
                          <a:pt x="75" y="27"/>
                          <a:pt x="76" y="27"/>
                        </a:cubicBezTo>
                        <a:cubicBezTo>
                          <a:pt x="75" y="27"/>
                          <a:pt x="75" y="27"/>
                          <a:pt x="75" y="27"/>
                        </a:cubicBezTo>
                        <a:cubicBezTo>
                          <a:pt x="75" y="27"/>
                          <a:pt x="75" y="27"/>
                          <a:pt x="75" y="27"/>
                        </a:cubicBezTo>
                        <a:cubicBezTo>
                          <a:pt x="75" y="27"/>
                          <a:pt x="75" y="27"/>
                          <a:pt x="75" y="27"/>
                        </a:cubicBezTo>
                        <a:cubicBezTo>
                          <a:pt x="75" y="27"/>
                          <a:pt x="75" y="27"/>
                          <a:pt x="75" y="27"/>
                        </a:cubicBezTo>
                        <a:cubicBezTo>
                          <a:pt x="75" y="27"/>
                          <a:pt x="75" y="27"/>
                          <a:pt x="74" y="27"/>
                        </a:cubicBezTo>
                        <a:cubicBezTo>
                          <a:pt x="74" y="27"/>
                          <a:pt x="75" y="27"/>
                          <a:pt x="75" y="27"/>
                        </a:cubicBezTo>
                        <a:cubicBezTo>
                          <a:pt x="74" y="27"/>
                          <a:pt x="74" y="27"/>
                          <a:pt x="74" y="27"/>
                        </a:cubicBezTo>
                        <a:cubicBezTo>
                          <a:pt x="74" y="27"/>
                          <a:pt x="74" y="27"/>
                          <a:pt x="74" y="28"/>
                        </a:cubicBezTo>
                        <a:cubicBezTo>
                          <a:pt x="74" y="28"/>
                          <a:pt x="74" y="28"/>
                          <a:pt x="74" y="28"/>
                        </a:cubicBezTo>
                        <a:cubicBezTo>
                          <a:pt x="74" y="28"/>
                          <a:pt x="74" y="27"/>
                          <a:pt x="74" y="27"/>
                        </a:cubicBezTo>
                        <a:cubicBezTo>
                          <a:pt x="74" y="28"/>
                          <a:pt x="73" y="27"/>
                          <a:pt x="73" y="27"/>
                        </a:cubicBezTo>
                        <a:cubicBezTo>
                          <a:pt x="73" y="27"/>
                          <a:pt x="73" y="28"/>
                          <a:pt x="74" y="28"/>
                        </a:cubicBezTo>
                        <a:cubicBezTo>
                          <a:pt x="73" y="27"/>
                          <a:pt x="73" y="28"/>
                          <a:pt x="73" y="27"/>
                        </a:cubicBezTo>
                        <a:cubicBezTo>
                          <a:pt x="73" y="27"/>
                          <a:pt x="74" y="27"/>
                          <a:pt x="74" y="27"/>
                        </a:cubicBezTo>
                        <a:cubicBezTo>
                          <a:pt x="73" y="27"/>
                          <a:pt x="73" y="27"/>
                          <a:pt x="73" y="27"/>
                        </a:cubicBezTo>
                        <a:cubicBezTo>
                          <a:pt x="73" y="27"/>
                          <a:pt x="73" y="27"/>
                          <a:pt x="73" y="27"/>
                        </a:cubicBezTo>
                        <a:cubicBezTo>
                          <a:pt x="72" y="27"/>
                          <a:pt x="72" y="27"/>
                          <a:pt x="72" y="27"/>
                        </a:cubicBezTo>
                        <a:cubicBezTo>
                          <a:pt x="72" y="27"/>
                          <a:pt x="73" y="27"/>
                          <a:pt x="73" y="28"/>
                        </a:cubicBezTo>
                        <a:cubicBezTo>
                          <a:pt x="74" y="28"/>
                          <a:pt x="74" y="28"/>
                          <a:pt x="74" y="28"/>
                        </a:cubicBezTo>
                        <a:cubicBezTo>
                          <a:pt x="75" y="28"/>
                          <a:pt x="75" y="28"/>
                          <a:pt x="75" y="28"/>
                        </a:cubicBezTo>
                        <a:cubicBezTo>
                          <a:pt x="75" y="28"/>
                          <a:pt x="75" y="28"/>
                          <a:pt x="75" y="28"/>
                        </a:cubicBezTo>
                        <a:cubicBezTo>
                          <a:pt x="75" y="28"/>
                          <a:pt x="75" y="28"/>
                          <a:pt x="75" y="28"/>
                        </a:cubicBezTo>
                        <a:cubicBezTo>
                          <a:pt x="75" y="28"/>
                          <a:pt x="76" y="28"/>
                          <a:pt x="76" y="28"/>
                        </a:cubicBezTo>
                        <a:cubicBezTo>
                          <a:pt x="76" y="28"/>
                          <a:pt x="76" y="28"/>
                          <a:pt x="76" y="28"/>
                        </a:cubicBezTo>
                        <a:cubicBezTo>
                          <a:pt x="76" y="28"/>
                          <a:pt x="76" y="29"/>
                          <a:pt x="76" y="28"/>
                        </a:cubicBezTo>
                        <a:cubicBezTo>
                          <a:pt x="76" y="28"/>
                          <a:pt x="75" y="28"/>
                          <a:pt x="75" y="28"/>
                        </a:cubicBezTo>
                        <a:close/>
                        <a:moveTo>
                          <a:pt x="79" y="29"/>
                        </a:moveTo>
                        <a:cubicBezTo>
                          <a:pt x="79" y="29"/>
                          <a:pt x="79" y="29"/>
                          <a:pt x="80" y="28"/>
                        </a:cubicBezTo>
                        <a:cubicBezTo>
                          <a:pt x="79" y="28"/>
                          <a:pt x="79" y="28"/>
                          <a:pt x="79" y="28"/>
                        </a:cubicBezTo>
                        <a:cubicBezTo>
                          <a:pt x="79" y="28"/>
                          <a:pt x="79" y="29"/>
                          <a:pt x="79" y="29"/>
                        </a:cubicBezTo>
                        <a:cubicBezTo>
                          <a:pt x="79" y="28"/>
                          <a:pt x="79" y="28"/>
                          <a:pt x="79" y="28"/>
                        </a:cubicBezTo>
                        <a:cubicBezTo>
                          <a:pt x="79" y="28"/>
                          <a:pt x="79" y="29"/>
                          <a:pt x="79" y="29"/>
                        </a:cubicBezTo>
                        <a:close/>
                        <a:moveTo>
                          <a:pt x="78" y="28"/>
                        </a:moveTo>
                        <a:cubicBezTo>
                          <a:pt x="77" y="28"/>
                          <a:pt x="77" y="28"/>
                          <a:pt x="77" y="28"/>
                        </a:cubicBezTo>
                        <a:cubicBezTo>
                          <a:pt x="77" y="28"/>
                          <a:pt x="77" y="28"/>
                          <a:pt x="77" y="28"/>
                        </a:cubicBezTo>
                        <a:cubicBezTo>
                          <a:pt x="77" y="28"/>
                          <a:pt x="77" y="28"/>
                          <a:pt x="77" y="28"/>
                        </a:cubicBezTo>
                        <a:cubicBezTo>
                          <a:pt x="77" y="28"/>
                          <a:pt x="77" y="28"/>
                          <a:pt x="77" y="28"/>
                        </a:cubicBezTo>
                        <a:cubicBezTo>
                          <a:pt x="77" y="28"/>
                          <a:pt x="77" y="28"/>
                          <a:pt x="77" y="28"/>
                        </a:cubicBezTo>
                        <a:cubicBezTo>
                          <a:pt x="77" y="28"/>
                          <a:pt x="77" y="28"/>
                          <a:pt x="77" y="28"/>
                        </a:cubicBezTo>
                        <a:cubicBezTo>
                          <a:pt x="77" y="28"/>
                          <a:pt x="77" y="28"/>
                          <a:pt x="77" y="28"/>
                        </a:cubicBezTo>
                        <a:cubicBezTo>
                          <a:pt x="78" y="28"/>
                          <a:pt x="78" y="28"/>
                          <a:pt x="78" y="28"/>
                        </a:cubicBezTo>
                        <a:close/>
                        <a:moveTo>
                          <a:pt x="77" y="28"/>
                        </a:moveTo>
                        <a:cubicBezTo>
                          <a:pt x="77" y="28"/>
                          <a:pt x="77" y="28"/>
                          <a:pt x="78" y="28"/>
                        </a:cubicBezTo>
                        <a:cubicBezTo>
                          <a:pt x="77" y="28"/>
                          <a:pt x="78" y="28"/>
                          <a:pt x="77" y="28"/>
                        </a:cubicBezTo>
                        <a:cubicBezTo>
                          <a:pt x="77" y="28"/>
                          <a:pt x="77" y="28"/>
                          <a:pt x="77" y="28"/>
                        </a:cubicBezTo>
                        <a:close/>
                        <a:moveTo>
                          <a:pt x="78" y="29"/>
                        </a:moveTo>
                        <a:cubicBezTo>
                          <a:pt x="79" y="29"/>
                          <a:pt x="79" y="29"/>
                          <a:pt x="80" y="29"/>
                        </a:cubicBezTo>
                        <a:cubicBezTo>
                          <a:pt x="80" y="29"/>
                          <a:pt x="80" y="29"/>
                          <a:pt x="80" y="29"/>
                        </a:cubicBezTo>
                        <a:cubicBezTo>
                          <a:pt x="80" y="29"/>
                          <a:pt x="80" y="29"/>
                          <a:pt x="80" y="29"/>
                        </a:cubicBezTo>
                        <a:cubicBezTo>
                          <a:pt x="79" y="29"/>
                          <a:pt x="80" y="29"/>
                          <a:pt x="79" y="29"/>
                        </a:cubicBezTo>
                        <a:cubicBezTo>
                          <a:pt x="79" y="29"/>
                          <a:pt x="79" y="29"/>
                          <a:pt x="79" y="29"/>
                        </a:cubicBezTo>
                        <a:cubicBezTo>
                          <a:pt x="79" y="29"/>
                          <a:pt x="79" y="29"/>
                          <a:pt x="79" y="29"/>
                        </a:cubicBezTo>
                        <a:cubicBezTo>
                          <a:pt x="79" y="28"/>
                          <a:pt x="78" y="28"/>
                          <a:pt x="78" y="28"/>
                        </a:cubicBezTo>
                        <a:cubicBezTo>
                          <a:pt x="78" y="28"/>
                          <a:pt x="78" y="28"/>
                          <a:pt x="78" y="28"/>
                        </a:cubicBezTo>
                        <a:cubicBezTo>
                          <a:pt x="78" y="28"/>
                          <a:pt x="78" y="28"/>
                          <a:pt x="78" y="28"/>
                        </a:cubicBezTo>
                        <a:cubicBezTo>
                          <a:pt x="78" y="28"/>
                          <a:pt x="78" y="28"/>
                          <a:pt x="78" y="29"/>
                        </a:cubicBezTo>
                        <a:cubicBezTo>
                          <a:pt x="78" y="29"/>
                          <a:pt x="78" y="29"/>
                          <a:pt x="78" y="29"/>
                        </a:cubicBezTo>
                        <a:close/>
                        <a:moveTo>
                          <a:pt x="80" y="29"/>
                        </a:moveTo>
                        <a:cubicBezTo>
                          <a:pt x="80" y="29"/>
                          <a:pt x="81" y="29"/>
                          <a:pt x="81" y="29"/>
                        </a:cubicBezTo>
                        <a:cubicBezTo>
                          <a:pt x="81" y="29"/>
                          <a:pt x="80" y="29"/>
                          <a:pt x="80" y="29"/>
                        </a:cubicBezTo>
                        <a:close/>
                        <a:moveTo>
                          <a:pt x="84" y="31"/>
                        </a:moveTo>
                        <a:cubicBezTo>
                          <a:pt x="84" y="31"/>
                          <a:pt x="84" y="31"/>
                          <a:pt x="84" y="31"/>
                        </a:cubicBezTo>
                        <a:cubicBezTo>
                          <a:pt x="84" y="31"/>
                          <a:pt x="84" y="31"/>
                          <a:pt x="84" y="31"/>
                        </a:cubicBezTo>
                        <a:cubicBezTo>
                          <a:pt x="84" y="30"/>
                          <a:pt x="84" y="30"/>
                          <a:pt x="84" y="30"/>
                        </a:cubicBezTo>
                        <a:cubicBezTo>
                          <a:pt x="84" y="31"/>
                          <a:pt x="84" y="31"/>
                          <a:pt x="84" y="30"/>
                        </a:cubicBezTo>
                        <a:cubicBezTo>
                          <a:pt x="84" y="30"/>
                          <a:pt x="84" y="30"/>
                          <a:pt x="84" y="31"/>
                        </a:cubicBezTo>
                        <a:close/>
                        <a:moveTo>
                          <a:pt x="85" y="30"/>
                        </a:moveTo>
                        <a:cubicBezTo>
                          <a:pt x="84" y="31"/>
                          <a:pt x="85" y="31"/>
                          <a:pt x="85" y="31"/>
                        </a:cubicBezTo>
                        <a:cubicBezTo>
                          <a:pt x="85" y="31"/>
                          <a:pt x="85" y="31"/>
                          <a:pt x="85" y="31"/>
                        </a:cubicBezTo>
                        <a:cubicBezTo>
                          <a:pt x="85" y="31"/>
                          <a:pt x="85" y="31"/>
                          <a:pt x="85" y="31"/>
                        </a:cubicBezTo>
                        <a:cubicBezTo>
                          <a:pt x="85" y="30"/>
                          <a:pt x="85" y="30"/>
                          <a:pt x="85" y="30"/>
                        </a:cubicBezTo>
                        <a:close/>
                        <a:moveTo>
                          <a:pt x="87" y="31"/>
                        </a:moveTo>
                        <a:cubicBezTo>
                          <a:pt x="87" y="31"/>
                          <a:pt x="87" y="31"/>
                          <a:pt x="87" y="31"/>
                        </a:cubicBezTo>
                        <a:cubicBezTo>
                          <a:pt x="87" y="31"/>
                          <a:pt x="87" y="31"/>
                          <a:pt x="87" y="31"/>
                        </a:cubicBezTo>
                        <a:cubicBezTo>
                          <a:pt x="87" y="31"/>
                          <a:pt x="87" y="31"/>
                          <a:pt x="87" y="31"/>
                        </a:cubicBezTo>
                        <a:cubicBezTo>
                          <a:pt x="87" y="31"/>
                          <a:pt x="87" y="31"/>
                          <a:pt x="87" y="31"/>
                        </a:cubicBezTo>
                        <a:close/>
                        <a:moveTo>
                          <a:pt x="85" y="30"/>
                        </a:moveTo>
                        <a:cubicBezTo>
                          <a:pt x="85" y="30"/>
                          <a:pt x="84" y="30"/>
                          <a:pt x="84" y="30"/>
                        </a:cubicBezTo>
                        <a:cubicBezTo>
                          <a:pt x="84" y="30"/>
                          <a:pt x="85" y="30"/>
                          <a:pt x="85" y="30"/>
                        </a:cubicBezTo>
                        <a:close/>
                        <a:moveTo>
                          <a:pt x="88" y="31"/>
                        </a:moveTo>
                        <a:cubicBezTo>
                          <a:pt x="88" y="31"/>
                          <a:pt x="88" y="31"/>
                          <a:pt x="87" y="31"/>
                        </a:cubicBezTo>
                        <a:cubicBezTo>
                          <a:pt x="87" y="31"/>
                          <a:pt x="88" y="31"/>
                          <a:pt x="87" y="31"/>
                        </a:cubicBezTo>
                        <a:cubicBezTo>
                          <a:pt x="88" y="31"/>
                          <a:pt x="88" y="31"/>
                          <a:pt x="88" y="31"/>
                        </a:cubicBezTo>
                        <a:cubicBezTo>
                          <a:pt x="88" y="31"/>
                          <a:pt x="88" y="31"/>
                          <a:pt x="88" y="31"/>
                        </a:cubicBezTo>
                        <a:close/>
                        <a:moveTo>
                          <a:pt x="88" y="31"/>
                        </a:moveTo>
                        <a:cubicBezTo>
                          <a:pt x="88" y="31"/>
                          <a:pt x="88" y="31"/>
                          <a:pt x="88" y="31"/>
                        </a:cubicBezTo>
                        <a:cubicBezTo>
                          <a:pt x="88" y="31"/>
                          <a:pt x="88" y="31"/>
                          <a:pt x="88" y="31"/>
                        </a:cubicBezTo>
                        <a:cubicBezTo>
                          <a:pt x="88" y="31"/>
                          <a:pt x="88" y="31"/>
                          <a:pt x="89" y="31"/>
                        </a:cubicBezTo>
                        <a:cubicBezTo>
                          <a:pt x="88" y="31"/>
                          <a:pt x="89" y="31"/>
                          <a:pt x="89" y="31"/>
                        </a:cubicBezTo>
                        <a:cubicBezTo>
                          <a:pt x="89" y="31"/>
                          <a:pt x="89" y="31"/>
                          <a:pt x="88" y="31"/>
                        </a:cubicBezTo>
                        <a:cubicBezTo>
                          <a:pt x="88" y="31"/>
                          <a:pt x="88" y="31"/>
                          <a:pt x="88" y="31"/>
                        </a:cubicBezTo>
                        <a:close/>
                        <a:moveTo>
                          <a:pt x="87" y="31"/>
                        </a:moveTo>
                        <a:cubicBezTo>
                          <a:pt x="87" y="31"/>
                          <a:pt x="87" y="31"/>
                          <a:pt x="87" y="31"/>
                        </a:cubicBezTo>
                        <a:cubicBezTo>
                          <a:pt x="87" y="30"/>
                          <a:pt x="86" y="31"/>
                          <a:pt x="87" y="31"/>
                        </a:cubicBezTo>
                        <a:close/>
                        <a:moveTo>
                          <a:pt x="83" y="30"/>
                        </a:moveTo>
                        <a:cubicBezTo>
                          <a:pt x="83" y="30"/>
                          <a:pt x="84" y="30"/>
                          <a:pt x="84" y="30"/>
                        </a:cubicBezTo>
                        <a:cubicBezTo>
                          <a:pt x="84" y="30"/>
                          <a:pt x="83" y="30"/>
                          <a:pt x="83" y="30"/>
                        </a:cubicBezTo>
                        <a:close/>
                        <a:moveTo>
                          <a:pt x="80" y="29"/>
                        </a:moveTo>
                        <a:cubicBezTo>
                          <a:pt x="80" y="29"/>
                          <a:pt x="80" y="28"/>
                          <a:pt x="80" y="28"/>
                        </a:cubicBezTo>
                        <a:cubicBezTo>
                          <a:pt x="79" y="28"/>
                          <a:pt x="80" y="28"/>
                          <a:pt x="80" y="29"/>
                        </a:cubicBezTo>
                        <a:cubicBezTo>
                          <a:pt x="80" y="29"/>
                          <a:pt x="80" y="28"/>
                          <a:pt x="80" y="29"/>
                        </a:cubicBezTo>
                        <a:cubicBezTo>
                          <a:pt x="80" y="29"/>
                          <a:pt x="80" y="29"/>
                          <a:pt x="80" y="29"/>
                        </a:cubicBezTo>
                        <a:cubicBezTo>
                          <a:pt x="81" y="29"/>
                          <a:pt x="81" y="29"/>
                          <a:pt x="81" y="29"/>
                        </a:cubicBezTo>
                        <a:cubicBezTo>
                          <a:pt x="81" y="29"/>
                          <a:pt x="81" y="29"/>
                          <a:pt x="81" y="29"/>
                        </a:cubicBezTo>
                        <a:cubicBezTo>
                          <a:pt x="81" y="29"/>
                          <a:pt x="82" y="29"/>
                          <a:pt x="82" y="29"/>
                        </a:cubicBezTo>
                        <a:cubicBezTo>
                          <a:pt x="82" y="29"/>
                          <a:pt x="82" y="29"/>
                          <a:pt x="81" y="29"/>
                        </a:cubicBezTo>
                        <a:cubicBezTo>
                          <a:pt x="81" y="29"/>
                          <a:pt x="81" y="29"/>
                          <a:pt x="81" y="29"/>
                        </a:cubicBezTo>
                        <a:cubicBezTo>
                          <a:pt x="81" y="29"/>
                          <a:pt x="82" y="29"/>
                          <a:pt x="82" y="29"/>
                        </a:cubicBezTo>
                        <a:cubicBezTo>
                          <a:pt x="82" y="30"/>
                          <a:pt x="82" y="30"/>
                          <a:pt x="82" y="30"/>
                        </a:cubicBezTo>
                        <a:cubicBezTo>
                          <a:pt x="81" y="29"/>
                          <a:pt x="81" y="29"/>
                          <a:pt x="81" y="29"/>
                        </a:cubicBezTo>
                        <a:cubicBezTo>
                          <a:pt x="81" y="29"/>
                          <a:pt x="81" y="30"/>
                          <a:pt x="81" y="30"/>
                        </a:cubicBezTo>
                        <a:cubicBezTo>
                          <a:pt x="82" y="30"/>
                          <a:pt x="82" y="30"/>
                          <a:pt x="82" y="30"/>
                        </a:cubicBezTo>
                        <a:cubicBezTo>
                          <a:pt x="82" y="30"/>
                          <a:pt x="82" y="30"/>
                          <a:pt x="82" y="30"/>
                        </a:cubicBezTo>
                        <a:cubicBezTo>
                          <a:pt x="82" y="30"/>
                          <a:pt x="82" y="30"/>
                          <a:pt x="82" y="30"/>
                        </a:cubicBezTo>
                        <a:cubicBezTo>
                          <a:pt x="82" y="30"/>
                          <a:pt x="82" y="30"/>
                          <a:pt x="83" y="30"/>
                        </a:cubicBezTo>
                        <a:cubicBezTo>
                          <a:pt x="83" y="30"/>
                          <a:pt x="83" y="30"/>
                          <a:pt x="83" y="30"/>
                        </a:cubicBezTo>
                        <a:cubicBezTo>
                          <a:pt x="83" y="30"/>
                          <a:pt x="82" y="30"/>
                          <a:pt x="82" y="30"/>
                        </a:cubicBezTo>
                        <a:cubicBezTo>
                          <a:pt x="82" y="30"/>
                          <a:pt x="82" y="29"/>
                          <a:pt x="82" y="29"/>
                        </a:cubicBezTo>
                        <a:cubicBezTo>
                          <a:pt x="82" y="29"/>
                          <a:pt x="82" y="29"/>
                          <a:pt x="82" y="29"/>
                        </a:cubicBezTo>
                        <a:cubicBezTo>
                          <a:pt x="82" y="29"/>
                          <a:pt x="83" y="29"/>
                          <a:pt x="83" y="29"/>
                        </a:cubicBezTo>
                        <a:cubicBezTo>
                          <a:pt x="83" y="29"/>
                          <a:pt x="83" y="29"/>
                          <a:pt x="83" y="29"/>
                        </a:cubicBezTo>
                        <a:cubicBezTo>
                          <a:pt x="83" y="29"/>
                          <a:pt x="83" y="29"/>
                          <a:pt x="83" y="29"/>
                        </a:cubicBezTo>
                        <a:cubicBezTo>
                          <a:pt x="82" y="29"/>
                          <a:pt x="82" y="29"/>
                          <a:pt x="82" y="29"/>
                        </a:cubicBezTo>
                        <a:cubicBezTo>
                          <a:pt x="82" y="29"/>
                          <a:pt x="81" y="28"/>
                          <a:pt x="80" y="29"/>
                        </a:cubicBezTo>
                        <a:close/>
                        <a:moveTo>
                          <a:pt x="79" y="28"/>
                        </a:moveTo>
                        <a:cubicBezTo>
                          <a:pt x="79" y="28"/>
                          <a:pt x="79" y="28"/>
                          <a:pt x="79" y="28"/>
                        </a:cubicBezTo>
                        <a:cubicBezTo>
                          <a:pt x="79" y="28"/>
                          <a:pt x="79" y="28"/>
                          <a:pt x="80" y="28"/>
                        </a:cubicBezTo>
                        <a:cubicBezTo>
                          <a:pt x="79" y="28"/>
                          <a:pt x="79" y="28"/>
                          <a:pt x="79" y="28"/>
                        </a:cubicBezTo>
                        <a:cubicBezTo>
                          <a:pt x="79" y="28"/>
                          <a:pt x="79" y="28"/>
                          <a:pt x="79" y="28"/>
                        </a:cubicBezTo>
                        <a:close/>
                        <a:moveTo>
                          <a:pt x="78" y="28"/>
                        </a:moveTo>
                        <a:cubicBezTo>
                          <a:pt x="78" y="28"/>
                          <a:pt x="78" y="28"/>
                          <a:pt x="78" y="28"/>
                        </a:cubicBezTo>
                        <a:cubicBezTo>
                          <a:pt x="78" y="28"/>
                          <a:pt x="78" y="28"/>
                          <a:pt x="78" y="28"/>
                        </a:cubicBezTo>
                        <a:cubicBezTo>
                          <a:pt x="78" y="28"/>
                          <a:pt x="78" y="27"/>
                          <a:pt x="78" y="28"/>
                        </a:cubicBezTo>
                        <a:close/>
                        <a:moveTo>
                          <a:pt x="76" y="27"/>
                        </a:moveTo>
                        <a:cubicBezTo>
                          <a:pt x="76" y="27"/>
                          <a:pt x="75" y="27"/>
                          <a:pt x="75" y="27"/>
                        </a:cubicBezTo>
                        <a:cubicBezTo>
                          <a:pt x="75" y="27"/>
                          <a:pt x="76" y="27"/>
                          <a:pt x="76" y="27"/>
                        </a:cubicBezTo>
                        <a:close/>
                        <a:moveTo>
                          <a:pt x="76" y="27"/>
                        </a:moveTo>
                        <a:cubicBezTo>
                          <a:pt x="76" y="27"/>
                          <a:pt x="76" y="26"/>
                          <a:pt x="76" y="27"/>
                        </a:cubicBezTo>
                        <a:cubicBezTo>
                          <a:pt x="76" y="27"/>
                          <a:pt x="76" y="27"/>
                          <a:pt x="76" y="27"/>
                        </a:cubicBezTo>
                        <a:cubicBezTo>
                          <a:pt x="76" y="27"/>
                          <a:pt x="77" y="27"/>
                          <a:pt x="77" y="27"/>
                        </a:cubicBezTo>
                        <a:cubicBezTo>
                          <a:pt x="76" y="26"/>
                          <a:pt x="76" y="26"/>
                          <a:pt x="76" y="26"/>
                        </a:cubicBezTo>
                        <a:cubicBezTo>
                          <a:pt x="76" y="26"/>
                          <a:pt x="75" y="26"/>
                          <a:pt x="75" y="27"/>
                        </a:cubicBezTo>
                        <a:cubicBezTo>
                          <a:pt x="75" y="26"/>
                          <a:pt x="76" y="26"/>
                          <a:pt x="76" y="26"/>
                        </a:cubicBezTo>
                        <a:cubicBezTo>
                          <a:pt x="76" y="27"/>
                          <a:pt x="76" y="27"/>
                          <a:pt x="76" y="27"/>
                        </a:cubicBezTo>
                        <a:cubicBezTo>
                          <a:pt x="76" y="27"/>
                          <a:pt x="76" y="27"/>
                          <a:pt x="76" y="27"/>
                        </a:cubicBezTo>
                        <a:close/>
                        <a:moveTo>
                          <a:pt x="80" y="28"/>
                        </a:moveTo>
                        <a:cubicBezTo>
                          <a:pt x="80" y="28"/>
                          <a:pt x="79" y="27"/>
                          <a:pt x="79" y="28"/>
                        </a:cubicBezTo>
                        <a:cubicBezTo>
                          <a:pt x="79" y="28"/>
                          <a:pt x="80" y="28"/>
                          <a:pt x="80" y="28"/>
                        </a:cubicBezTo>
                        <a:cubicBezTo>
                          <a:pt x="80" y="28"/>
                          <a:pt x="80" y="28"/>
                          <a:pt x="80" y="28"/>
                        </a:cubicBezTo>
                        <a:cubicBezTo>
                          <a:pt x="80" y="28"/>
                          <a:pt x="80" y="28"/>
                          <a:pt x="80" y="28"/>
                        </a:cubicBezTo>
                        <a:close/>
                        <a:moveTo>
                          <a:pt x="77" y="27"/>
                        </a:moveTo>
                        <a:cubicBezTo>
                          <a:pt x="77" y="27"/>
                          <a:pt x="77" y="27"/>
                          <a:pt x="77" y="27"/>
                        </a:cubicBezTo>
                        <a:cubicBezTo>
                          <a:pt x="77" y="27"/>
                          <a:pt x="77" y="27"/>
                          <a:pt x="77" y="27"/>
                        </a:cubicBezTo>
                        <a:cubicBezTo>
                          <a:pt x="77" y="27"/>
                          <a:pt x="77" y="27"/>
                          <a:pt x="77" y="27"/>
                        </a:cubicBezTo>
                        <a:cubicBezTo>
                          <a:pt x="77" y="27"/>
                          <a:pt x="77" y="27"/>
                          <a:pt x="77" y="27"/>
                        </a:cubicBezTo>
                        <a:close/>
                        <a:moveTo>
                          <a:pt x="78" y="27"/>
                        </a:moveTo>
                        <a:cubicBezTo>
                          <a:pt x="78" y="27"/>
                          <a:pt x="78" y="27"/>
                          <a:pt x="78" y="27"/>
                        </a:cubicBezTo>
                        <a:cubicBezTo>
                          <a:pt x="78" y="27"/>
                          <a:pt x="78" y="27"/>
                          <a:pt x="78" y="27"/>
                        </a:cubicBezTo>
                        <a:close/>
                        <a:moveTo>
                          <a:pt x="77" y="27"/>
                        </a:moveTo>
                        <a:cubicBezTo>
                          <a:pt x="77" y="27"/>
                          <a:pt x="77" y="27"/>
                          <a:pt x="77" y="26"/>
                        </a:cubicBezTo>
                        <a:cubicBezTo>
                          <a:pt x="77" y="26"/>
                          <a:pt x="77" y="26"/>
                          <a:pt x="77" y="26"/>
                        </a:cubicBezTo>
                        <a:cubicBezTo>
                          <a:pt x="77" y="26"/>
                          <a:pt x="77" y="27"/>
                          <a:pt x="77" y="27"/>
                        </a:cubicBezTo>
                        <a:close/>
                        <a:moveTo>
                          <a:pt x="74" y="25"/>
                        </a:moveTo>
                        <a:cubicBezTo>
                          <a:pt x="74" y="25"/>
                          <a:pt x="73" y="25"/>
                          <a:pt x="73" y="25"/>
                        </a:cubicBezTo>
                        <a:cubicBezTo>
                          <a:pt x="73" y="26"/>
                          <a:pt x="74" y="26"/>
                          <a:pt x="74" y="25"/>
                        </a:cubicBezTo>
                        <a:close/>
                        <a:moveTo>
                          <a:pt x="72" y="25"/>
                        </a:moveTo>
                        <a:cubicBezTo>
                          <a:pt x="72" y="25"/>
                          <a:pt x="72" y="25"/>
                          <a:pt x="72" y="24"/>
                        </a:cubicBezTo>
                        <a:cubicBezTo>
                          <a:pt x="71" y="25"/>
                          <a:pt x="72" y="25"/>
                          <a:pt x="72" y="25"/>
                        </a:cubicBezTo>
                        <a:cubicBezTo>
                          <a:pt x="72" y="25"/>
                          <a:pt x="72" y="25"/>
                          <a:pt x="72" y="25"/>
                        </a:cubicBezTo>
                        <a:cubicBezTo>
                          <a:pt x="72" y="25"/>
                          <a:pt x="72" y="25"/>
                          <a:pt x="72" y="25"/>
                        </a:cubicBezTo>
                        <a:cubicBezTo>
                          <a:pt x="72" y="25"/>
                          <a:pt x="72" y="25"/>
                          <a:pt x="72" y="25"/>
                        </a:cubicBezTo>
                        <a:cubicBezTo>
                          <a:pt x="72" y="24"/>
                          <a:pt x="72" y="25"/>
                          <a:pt x="72" y="25"/>
                        </a:cubicBezTo>
                        <a:close/>
                        <a:moveTo>
                          <a:pt x="71" y="24"/>
                        </a:moveTo>
                        <a:cubicBezTo>
                          <a:pt x="71" y="24"/>
                          <a:pt x="71" y="24"/>
                          <a:pt x="71" y="24"/>
                        </a:cubicBezTo>
                        <a:cubicBezTo>
                          <a:pt x="71" y="24"/>
                          <a:pt x="72" y="25"/>
                          <a:pt x="71" y="24"/>
                        </a:cubicBezTo>
                        <a:cubicBezTo>
                          <a:pt x="71" y="24"/>
                          <a:pt x="71" y="24"/>
                          <a:pt x="71" y="24"/>
                        </a:cubicBezTo>
                        <a:cubicBezTo>
                          <a:pt x="71" y="24"/>
                          <a:pt x="71" y="24"/>
                          <a:pt x="71" y="24"/>
                        </a:cubicBezTo>
                        <a:close/>
                        <a:moveTo>
                          <a:pt x="71" y="24"/>
                        </a:moveTo>
                        <a:cubicBezTo>
                          <a:pt x="71" y="24"/>
                          <a:pt x="70" y="24"/>
                          <a:pt x="70" y="24"/>
                        </a:cubicBezTo>
                        <a:cubicBezTo>
                          <a:pt x="71" y="24"/>
                          <a:pt x="71" y="24"/>
                          <a:pt x="71" y="24"/>
                        </a:cubicBezTo>
                        <a:cubicBezTo>
                          <a:pt x="71" y="24"/>
                          <a:pt x="71" y="24"/>
                          <a:pt x="71" y="24"/>
                        </a:cubicBezTo>
                        <a:close/>
                        <a:moveTo>
                          <a:pt x="72" y="24"/>
                        </a:moveTo>
                        <a:cubicBezTo>
                          <a:pt x="72" y="24"/>
                          <a:pt x="73" y="25"/>
                          <a:pt x="73" y="25"/>
                        </a:cubicBezTo>
                        <a:cubicBezTo>
                          <a:pt x="72" y="24"/>
                          <a:pt x="72" y="24"/>
                          <a:pt x="72" y="24"/>
                        </a:cubicBezTo>
                        <a:close/>
                        <a:moveTo>
                          <a:pt x="67" y="23"/>
                        </a:moveTo>
                        <a:cubicBezTo>
                          <a:pt x="67" y="23"/>
                          <a:pt x="67" y="23"/>
                          <a:pt x="67" y="23"/>
                        </a:cubicBezTo>
                        <a:cubicBezTo>
                          <a:pt x="67" y="23"/>
                          <a:pt x="67" y="23"/>
                          <a:pt x="67" y="23"/>
                        </a:cubicBezTo>
                        <a:cubicBezTo>
                          <a:pt x="67" y="23"/>
                          <a:pt x="67" y="23"/>
                          <a:pt x="67" y="23"/>
                        </a:cubicBezTo>
                        <a:cubicBezTo>
                          <a:pt x="67" y="23"/>
                          <a:pt x="67" y="23"/>
                          <a:pt x="67" y="23"/>
                        </a:cubicBezTo>
                        <a:cubicBezTo>
                          <a:pt x="67" y="23"/>
                          <a:pt x="67" y="24"/>
                          <a:pt x="67" y="23"/>
                        </a:cubicBezTo>
                        <a:cubicBezTo>
                          <a:pt x="67" y="23"/>
                          <a:pt x="67" y="23"/>
                          <a:pt x="67" y="23"/>
                        </a:cubicBezTo>
                        <a:cubicBezTo>
                          <a:pt x="67" y="23"/>
                          <a:pt x="68" y="23"/>
                          <a:pt x="68" y="23"/>
                        </a:cubicBezTo>
                        <a:cubicBezTo>
                          <a:pt x="68" y="23"/>
                          <a:pt x="68" y="23"/>
                          <a:pt x="68" y="23"/>
                        </a:cubicBezTo>
                        <a:cubicBezTo>
                          <a:pt x="68" y="24"/>
                          <a:pt x="68" y="24"/>
                          <a:pt x="69" y="24"/>
                        </a:cubicBezTo>
                        <a:cubicBezTo>
                          <a:pt x="69" y="24"/>
                          <a:pt x="69" y="24"/>
                          <a:pt x="69" y="24"/>
                        </a:cubicBezTo>
                        <a:cubicBezTo>
                          <a:pt x="69" y="24"/>
                          <a:pt x="69" y="23"/>
                          <a:pt x="69" y="23"/>
                        </a:cubicBezTo>
                        <a:cubicBezTo>
                          <a:pt x="68" y="24"/>
                          <a:pt x="68" y="23"/>
                          <a:pt x="68" y="23"/>
                        </a:cubicBezTo>
                        <a:cubicBezTo>
                          <a:pt x="68" y="23"/>
                          <a:pt x="68" y="23"/>
                          <a:pt x="68" y="23"/>
                        </a:cubicBezTo>
                        <a:cubicBezTo>
                          <a:pt x="68" y="23"/>
                          <a:pt x="68" y="23"/>
                          <a:pt x="68" y="23"/>
                        </a:cubicBezTo>
                        <a:cubicBezTo>
                          <a:pt x="68" y="23"/>
                          <a:pt x="67" y="23"/>
                          <a:pt x="67" y="23"/>
                        </a:cubicBezTo>
                        <a:close/>
                        <a:moveTo>
                          <a:pt x="64" y="21"/>
                        </a:moveTo>
                        <a:cubicBezTo>
                          <a:pt x="64" y="21"/>
                          <a:pt x="64" y="21"/>
                          <a:pt x="64" y="21"/>
                        </a:cubicBezTo>
                        <a:cubicBezTo>
                          <a:pt x="64" y="21"/>
                          <a:pt x="64" y="21"/>
                          <a:pt x="64" y="21"/>
                        </a:cubicBezTo>
                        <a:cubicBezTo>
                          <a:pt x="64" y="21"/>
                          <a:pt x="64" y="21"/>
                          <a:pt x="64" y="21"/>
                        </a:cubicBezTo>
                        <a:cubicBezTo>
                          <a:pt x="64" y="21"/>
                          <a:pt x="64" y="21"/>
                          <a:pt x="64" y="21"/>
                        </a:cubicBezTo>
                        <a:close/>
                        <a:moveTo>
                          <a:pt x="80" y="26"/>
                        </a:moveTo>
                        <a:cubicBezTo>
                          <a:pt x="80" y="26"/>
                          <a:pt x="80" y="26"/>
                          <a:pt x="80" y="26"/>
                        </a:cubicBezTo>
                        <a:cubicBezTo>
                          <a:pt x="80" y="26"/>
                          <a:pt x="80" y="26"/>
                          <a:pt x="80" y="26"/>
                        </a:cubicBezTo>
                        <a:close/>
                        <a:moveTo>
                          <a:pt x="96" y="30"/>
                        </a:moveTo>
                        <a:cubicBezTo>
                          <a:pt x="97" y="30"/>
                          <a:pt x="95" y="29"/>
                          <a:pt x="96" y="29"/>
                        </a:cubicBezTo>
                        <a:cubicBezTo>
                          <a:pt x="96" y="29"/>
                          <a:pt x="96" y="29"/>
                          <a:pt x="96" y="29"/>
                        </a:cubicBezTo>
                        <a:cubicBezTo>
                          <a:pt x="96" y="29"/>
                          <a:pt x="96" y="29"/>
                          <a:pt x="97" y="29"/>
                        </a:cubicBezTo>
                        <a:cubicBezTo>
                          <a:pt x="97" y="30"/>
                          <a:pt x="96" y="30"/>
                          <a:pt x="96" y="30"/>
                        </a:cubicBezTo>
                        <a:close/>
                        <a:moveTo>
                          <a:pt x="97" y="25"/>
                        </a:moveTo>
                        <a:cubicBezTo>
                          <a:pt x="97" y="25"/>
                          <a:pt x="97" y="25"/>
                          <a:pt x="97" y="25"/>
                        </a:cubicBezTo>
                        <a:cubicBezTo>
                          <a:pt x="97" y="25"/>
                          <a:pt x="97" y="25"/>
                          <a:pt x="97" y="25"/>
                        </a:cubicBezTo>
                        <a:cubicBezTo>
                          <a:pt x="97" y="25"/>
                          <a:pt x="97" y="25"/>
                          <a:pt x="97" y="25"/>
                        </a:cubicBezTo>
                        <a:cubicBezTo>
                          <a:pt x="97" y="25"/>
                          <a:pt x="97" y="25"/>
                          <a:pt x="97" y="25"/>
                        </a:cubicBezTo>
                        <a:close/>
                        <a:moveTo>
                          <a:pt x="95" y="31"/>
                        </a:moveTo>
                        <a:cubicBezTo>
                          <a:pt x="95" y="31"/>
                          <a:pt x="95" y="31"/>
                          <a:pt x="95" y="31"/>
                        </a:cubicBezTo>
                        <a:cubicBezTo>
                          <a:pt x="95" y="31"/>
                          <a:pt x="95" y="31"/>
                          <a:pt x="96" y="31"/>
                        </a:cubicBezTo>
                        <a:cubicBezTo>
                          <a:pt x="96" y="31"/>
                          <a:pt x="96" y="31"/>
                          <a:pt x="96" y="31"/>
                        </a:cubicBezTo>
                        <a:cubicBezTo>
                          <a:pt x="96" y="31"/>
                          <a:pt x="96" y="31"/>
                          <a:pt x="96" y="31"/>
                        </a:cubicBezTo>
                        <a:cubicBezTo>
                          <a:pt x="95" y="31"/>
                          <a:pt x="95" y="31"/>
                          <a:pt x="95" y="31"/>
                        </a:cubicBezTo>
                        <a:cubicBezTo>
                          <a:pt x="95" y="31"/>
                          <a:pt x="96" y="31"/>
                          <a:pt x="96" y="31"/>
                        </a:cubicBezTo>
                        <a:cubicBezTo>
                          <a:pt x="96" y="31"/>
                          <a:pt x="95" y="31"/>
                          <a:pt x="95" y="31"/>
                        </a:cubicBezTo>
                        <a:close/>
                        <a:moveTo>
                          <a:pt x="95" y="30"/>
                        </a:moveTo>
                        <a:cubicBezTo>
                          <a:pt x="95" y="30"/>
                          <a:pt x="95" y="30"/>
                          <a:pt x="96" y="30"/>
                        </a:cubicBezTo>
                        <a:cubicBezTo>
                          <a:pt x="96" y="30"/>
                          <a:pt x="96" y="30"/>
                          <a:pt x="96" y="30"/>
                        </a:cubicBezTo>
                        <a:cubicBezTo>
                          <a:pt x="96" y="30"/>
                          <a:pt x="96" y="30"/>
                          <a:pt x="96" y="31"/>
                        </a:cubicBezTo>
                        <a:cubicBezTo>
                          <a:pt x="96" y="30"/>
                          <a:pt x="95" y="30"/>
                          <a:pt x="95" y="30"/>
                        </a:cubicBezTo>
                        <a:cubicBezTo>
                          <a:pt x="95" y="30"/>
                          <a:pt x="95" y="30"/>
                          <a:pt x="96" y="30"/>
                        </a:cubicBezTo>
                        <a:cubicBezTo>
                          <a:pt x="96" y="30"/>
                          <a:pt x="96" y="30"/>
                          <a:pt x="96" y="30"/>
                        </a:cubicBezTo>
                        <a:cubicBezTo>
                          <a:pt x="96" y="30"/>
                          <a:pt x="95" y="30"/>
                          <a:pt x="95" y="30"/>
                        </a:cubicBezTo>
                        <a:cubicBezTo>
                          <a:pt x="95" y="30"/>
                          <a:pt x="95" y="30"/>
                          <a:pt x="95" y="30"/>
                        </a:cubicBezTo>
                        <a:cubicBezTo>
                          <a:pt x="95" y="30"/>
                          <a:pt x="95" y="30"/>
                          <a:pt x="95" y="30"/>
                        </a:cubicBezTo>
                        <a:cubicBezTo>
                          <a:pt x="95" y="30"/>
                          <a:pt x="95" y="30"/>
                          <a:pt x="95" y="30"/>
                        </a:cubicBezTo>
                        <a:cubicBezTo>
                          <a:pt x="94" y="30"/>
                          <a:pt x="94" y="30"/>
                          <a:pt x="94" y="30"/>
                        </a:cubicBezTo>
                        <a:cubicBezTo>
                          <a:pt x="94" y="29"/>
                          <a:pt x="94" y="29"/>
                          <a:pt x="94" y="29"/>
                        </a:cubicBezTo>
                        <a:cubicBezTo>
                          <a:pt x="94" y="29"/>
                          <a:pt x="95" y="29"/>
                          <a:pt x="95" y="30"/>
                        </a:cubicBezTo>
                        <a:close/>
                        <a:moveTo>
                          <a:pt x="95" y="32"/>
                        </a:moveTo>
                        <a:cubicBezTo>
                          <a:pt x="95" y="32"/>
                          <a:pt x="95" y="32"/>
                          <a:pt x="95" y="32"/>
                        </a:cubicBezTo>
                        <a:cubicBezTo>
                          <a:pt x="95" y="32"/>
                          <a:pt x="95" y="32"/>
                          <a:pt x="95" y="32"/>
                        </a:cubicBezTo>
                        <a:cubicBezTo>
                          <a:pt x="95" y="32"/>
                          <a:pt x="95" y="32"/>
                          <a:pt x="95" y="32"/>
                        </a:cubicBezTo>
                        <a:close/>
                        <a:moveTo>
                          <a:pt x="97" y="25"/>
                        </a:moveTo>
                        <a:cubicBezTo>
                          <a:pt x="97" y="25"/>
                          <a:pt x="97" y="25"/>
                          <a:pt x="97" y="25"/>
                        </a:cubicBezTo>
                        <a:cubicBezTo>
                          <a:pt x="97" y="25"/>
                          <a:pt x="97" y="25"/>
                          <a:pt x="97" y="25"/>
                        </a:cubicBezTo>
                        <a:cubicBezTo>
                          <a:pt x="97" y="25"/>
                          <a:pt x="97" y="25"/>
                          <a:pt x="97" y="25"/>
                        </a:cubicBezTo>
                        <a:cubicBezTo>
                          <a:pt x="97" y="25"/>
                          <a:pt x="97" y="25"/>
                          <a:pt x="97" y="25"/>
                        </a:cubicBezTo>
                        <a:close/>
                        <a:moveTo>
                          <a:pt x="91" y="31"/>
                        </a:moveTo>
                        <a:cubicBezTo>
                          <a:pt x="91" y="31"/>
                          <a:pt x="91" y="31"/>
                          <a:pt x="91" y="31"/>
                        </a:cubicBezTo>
                        <a:cubicBezTo>
                          <a:pt x="91" y="31"/>
                          <a:pt x="91" y="31"/>
                          <a:pt x="91" y="31"/>
                        </a:cubicBezTo>
                        <a:cubicBezTo>
                          <a:pt x="91" y="31"/>
                          <a:pt x="91" y="31"/>
                          <a:pt x="91" y="30"/>
                        </a:cubicBezTo>
                        <a:cubicBezTo>
                          <a:pt x="91" y="30"/>
                          <a:pt x="90" y="30"/>
                          <a:pt x="89" y="30"/>
                        </a:cubicBezTo>
                        <a:cubicBezTo>
                          <a:pt x="89" y="30"/>
                          <a:pt x="89" y="30"/>
                          <a:pt x="89" y="29"/>
                        </a:cubicBezTo>
                        <a:cubicBezTo>
                          <a:pt x="90" y="29"/>
                          <a:pt x="90" y="30"/>
                          <a:pt x="90" y="30"/>
                        </a:cubicBezTo>
                        <a:cubicBezTo>
                          <a:pt x="91" y="30"/>
                          <a:pt x="91" y="30"/>
                          <a:pt x="91" y="30"/>
                        </a:cubicBezTo>
                        <a:cubicBezTo>
                          <a:pt x="91" y="30"/>
                          <a:pt x="91" y="30"/>
                          <a:pt x="91" y="30"/>
                        </a:cubicBezTo>
                        <a:cubicBezTo>
                          <a:pt x="91" y="30"/>
                          <a:pt x="91" y="30"/>
                          <a:pt x="92" y="30"/>
                        </a:cubicBezTo>
                        <a:cubicBezTo>
                          <a:pt x="91" y="30"/>
                          <a:pt x="91" y="30"/>
                          <a:pt x="91" y="30"/>
                        </a:cubicBezTo>
                        <a:cubicBezTo>
                          <a:pt x="91" y="30"/>
                          <a:pt x="92" y="30"/>
                          <a:pt x="92" y="30"/>
                        </a:cubicBezTo>
                        <a:cubicBezTo>
                          <a:pt x="92" y="30"/>
                          <a:pt x="92" y="30"/>
                          <a:pt x="92" y="30"/>
                        </a:cubicBezTo>
                        <a:cubicBezTo>
                          <a:pt x="92" y="31"/>
                          <a:pt x="91" y="30"/>
                          <a:pt x="91" y="31"/>
                        </a:cubicBezTo>
                        <a:cubicBezTo>
                          <a:pt x="92" y="31"/>
                          <a:pt x="92" y="31"/>
                          <a:pt x="92" y="31"/>
                        </a:cubicBezTo>
                        <a:cubicBezTo>
                          <a:pt x="92" y="31"/>
                          <a:pt x="93" y="31"/>
                          <a:pt x="93" y="31"/>
                        </a:cubicBezTo>
                        <a:cubicBezTo>
                          <a:pt x="93" y="31"/>
                          <a:pt x="94" y="31"/>
                          <a:pt x="94" y="31"/>
                        </a:cubicBezTo>
                        <a:cubicBezTo>
                          <a:pt x="94" y="31"/>
                          <a:pt x="94" y="31"/>
                          <a:pt x="94" y="31"/>
                        </a:cubicBezTo>
                        <a:cubicBezTo>
                          <a:pt x="94" y="32"/>
                          <a:pt x="95" y="31"/>
                          <a:pt x="95" y="32"/>
                        </a:cubicBezTo>
                        <a:cubicBezTo>
                          <a:pt x="95" y="32"/>
                          <a:pt x="95" y="32"/>
                          <a:pt x="95" y="32"/>
                        </a:cubicBezTo>
                        <a:cubicBezTo>
                          <a:pt x="95" y="32"/>
                          <a:pt x="95" y="32"/>
                          <a:pt x="95" y="32"/>
                        </a:cubicBezTo>
                        <a:cubicBezTo>
                          <a:pt x="94" y="32"/>
                          <a:pt x="94" y="32"/>
                          <a:pt x="94" y="32"/>
                        </a:cubicBezTo>
                        <a:cubicBezTo>
                          <a:pt x="94" y="32"/>
                          <a:pt x="94" y="32"/>
                          <a:pt x="94" y="32"/>
                        </a:cubicBezTo>
                        <a:cubicBezTo>
                          <a:pt x="94" y="31"/>
                          <a:pt x="94" y="32"/>
                          <a:pt x="94" y="32"/>
                        </a:cubicBezTo>
                        <a:cubicBezTo>
                          <a:pt x="94" y="32"/>
                          <a:pt x="94" y="32"/>
                          <a:pt x="95" y="32"/>
                        </a:cubicBezTo>
                        <a:cubicBezTo>
                          <a:pt x="94" y="32"/>
                          <a:pt x="94" y="32"/>
                          <a:pt x="94" y="31"/>
                        </a:cubicBezTo>
                        <a:cubicBezTo>
                          <a:pt x="93" y="31"/>
                          <a:pt x="93" y="31"/>
                          <a:pt x="93" y="31"/>
                        </a:cubicBezTo>
                        <a:cubicBezTo>
                          <a:pt x="93" y="31"/>
                          <a:pt x="93" y="31"/>
                          <a:pt x="93" y="31"/>
                        </a:cubicBezTo>
                        <a:cubicBezTo>
                          <a:pt x="93" y="31"/>
                          <a:pt x="92" y="31"/>
                          <a:pt x="92" y="31"/>
                        </a:cubicBezTo>
                        <a:cubicBezTo>
                          <a:pt x="92" y="31"/>
                          <a:pt x="92" y="31"/>
                          <a:pt x="92" y="31"/>
                        </a:cubicBezTo>
                        <a:cubicBezTo>
                          <a:pt x="91" y="31"/>
                          <a:pt x="92" y="31"/>
                          <a:pt x="91" y="31"/>
                        </a:cubicBezTo>
                        <a:cubicBezTo>
                          <a:pt x="91" y="31"/>
                          <a:pt x="92" y="31"/>
                          <a:pt x="92" y="31"/>
                        </a:cubicBezTo>
                        <a:cubicBezTo>
                          <a:pt x="91" y="31"/>
                          <a:pt x="91" y="31"/>
                          <a:pt x="91" y="31"/>
                        </a:cubicBezTo>
                        <a:cubicBezTo>
                          <a:pt x="91" y="31"/>
                          <a:pt x="91" y="31"/>
                          <a:pt x="91" y="31"/>
                        </a:cubicBezTo>
                        <a:cubicBezTo>
                          <a:pt x="91" y="31"/>
                          <a:pt x="91" y="31"/>
                          <a:pt x="91" y="31"/>
                        </a:cubicBezTo>
                        <a:cubicBezTo>
                          <a:pt x="91" y="31"/>
                          <a:pt x="91" y="31"/>
                          <a:pt x="91" y="31"/>
                        </a:cubicBezTo>
                        <a:cubicBezTo>
                          <a:pt x="90" y="31"/>
                          <a:pt x="90" y="31"/>
                          <a:pt x="90" y="31"/>
                        </a:cubicBezTo>
                        <a:cubicBezTo>
                          <a:pt x="90" y="31"/>
                          <a:pt x="91" y="31"/>
                          <a:pt x="90" y="31"/>
                        </a:cubicBezTo>
                        <a:cubicBezTo>
                          <a:pt x="90" y="30"/>
                          <a:pt x="91" y="31"/>
                          <a:pt x="91" y="31"/>
                        </a:cubicBezTo>
                        <a:close/>
                        <a:moveTo>
                          <a:pt x="92" y="31"/>
                        </a:moveTo>
                        <a:cubicBezTo>
                          <a:pt x="92" y="31"/>
                          <a:pt x="92" y="31"/>
                          <a:pt x="92" y="31"/>
                        </a:cubicBezTo>
                        <a:cubicBezTo>
                          <a:pt x="92" y="31"/>
                          <a:pt x="92" y="31"/>
                          <a:pt x="92" y="31"/>
                        </a:cubicBezTo>
                        <a:cubicBezTo>
                          <a:pt x="92" y="31"/>
                          <a:pt x="92" y="31"/>
                          <a:pt x="92" y="31"/>
                        </a:cubicBezTo>
                        <a:cubicBezTo>
                          <a:pt x="92" y="31"/>
                          <a:pt x="93" y="31"/>
                          <a:pt x="92" y="31"/>
                        </a:cubicBezTo>
                        <a:close/>
                        <a:moveTo>
                          <a:pt x="95" y="28"/>
                        </a:moveTo>
                        <a:cubicBezTo>
                          <a:pt x="95" y="28"/>
                          <a:pt x="95" y="28"/>
                          <a:pt x="95" y="28"/>
                        </a:cubicBezTo>
                        <a:cubicBezTo>
                          <a:pt x="95" y="28"/>
                          <a:pt x="95" y="28"/>
                          <a:pt x="95" y="28"/>
                        </a:cubicBezTo>
                        <a:cubicBezTo>
                          <a:pt x="95" y="28"/>
                          <a:pt x="95" y="28"/>
                          <a:pt x="95" y="28"/>
                        </a:cubicBezTo>
                        <a:cubicBezTo>
                          <a:pt x="95" y="27"/>
                          <a:pt x="94" y="28"/>
                          <a:pt x="94" y="27"/>
                        </a:cubicBezTo>
                        <a:cubicBezTo>
                          <a:pt x="94" y="27"/>
                          <a:pt x="94" y="27"/>
                          <a:pt x="94" y="27"/>
                        </a:cubicBezTo>
                        <a:cubicBezTo>
                          <a:pt x="95" y="28"/>
                          <a:pt x="95" y="28"/>
                          <a:pt x="95" y="28"/>
                        </a:cubicBezTo>
                        <a:close/>
                        <a:moveTo>
                          <a:pt x="96" y="25"/>
                        </a:moveTo>
                        <a:cubicBezTo>
                          <a:pt x="95" y="25"/>
                          <a:pt x="96" y="25"/>
                          <a:pt x="96" y="25"/>
                        </a:cubicBezTo>
                        <a:cubicBezTo>
                          <a:pt x="96" y="25"/>
                          <a:pt x="96" y="25"/>
                          <a:pt x="96" y="25"/>
                        </a:cubicBezTo>
                        <a:cubicBezTo>
                          <a:pt x="96" y="25"/>
                          <a:pt x="95" y="25"/>
                          <a:pt x="95" y="25"/>
                        </a:cubicBezTo>
                        <a:cubicBezTo>
                          <a:pt x="95" y="25"/>
                          <a:pt x="95" y="25"/>
                          <a:pt x="95" y="25"/>
                        </a:cubicBezTo>
                        <a:cubicBezTo>
                          <a:pt x="95" y="25"/>
                          <a:pt x="95" y="25"/>
                          <a:pt x="94" y="25"/>
                        </a:cubicBezTo>
                        <a:cubicBezTo>
                          <a:pt x="94" y="25"/>
                          <a:pt x="95" y="25"/>
                          <a:pt x="95" y="25"/>
                        </a:cubicBezTo>
                        <a:cubicBezTo>
                          <a:pt x="94" y="25"/>
                          <a:pt x="94" y="25"/>
                          <a:pt x="94" y="25"/>
                        </a:cubicBezTo>
                        <a:cubicBezTo>
                          <a:pt x="95" y="25"/>
                          <a:pt x="95" y="25"/>
                          <a:pt x="96" y="25"/>
                        </a:cubicBezTo>
                        <a:close/>
                        <a:moveTo>
                          <a:pt x="96" y="26"/>
                        </a:moveTo>
                        <a:cubicBezTo>
                          <a:pt x="95" y="26"/>
                          <a:pt x="95" y="26"/>
                          <a:pt x="95" y="26"/>
                        </a:cubicBezTo>
                        <a:cubicBezTo>
                          <a:pt x="95" y="26"/>
                          <a:pt x="95" y="26"/>
                          <a:pt x="94" y="26"/>
                        </a:cubicBezTo>
                        <a:cubicBezTo>
                          <a:pt x="94" y="26"/>
                          <a:pt x="95" y="26"/>
                          <a:pt x="94" y="26"/>
                        </a:cubicBezTo>
                        <a:cubicBezTo>
                          <a:pt x="95" y="26"/>
                          <a:pt x="95" y="26"/>
                          <a:pt x="95" y="26"/>
                        </a:cubicBezTo>
                        <a:cubicBezTo>
                          <a:pt x="95" y="27"/>
                          <a:pt x="95" y="26"/>
                          <a:pt x="95" y="26"/>
                        </a:cubicBezTo>
                        <a:cubicBezTo>
                          <a:pt x="94" y="26"/>
                          <a:pt x="94" y="27"/>
                          <a:pt x="94" y="27"/>
                        </a:cubicBezTo>
                        <a:cubicBezTo>
                          <a:pt x="94" y="27"/>
                          <a:pt x="94" y="27"/>
                          <a:pt x="94" y="27"/>
                        </a:cubicBezTo>
                        <a:cubicBezTo>
                          <a:pt x="94" y="27"/>
                          <a:pt x="94" y="27"/>
                          <a:pt x="94" y="27"/>
                        </a:cubicBezTo>
                        <a:cubicBezTo>
                          <a:pt x="94" y="26"/>
                          <a:pt x="94" y="27"/>
                          <a:pt x="94" y="27"/>
                        </a:cubicBezTo>
                        <a:cubicBezTo>
                          <a:pt x="94" y="26"/>
                          <a:pt x="93" y="26"/>
                          <a:pt x="93" y="26"/>
                        </a:cubicBezTo>
                        <a:cubicBezTo>
                          <a:pt x="93" y="26"/>
                          <a:pt x="93" y="26"/>
                          <a:pt x="93" y="26"/>
                        </a:cubicBezTo>
                        <a:cubicBezTo>
                          <a:pt x="94" y="26"/>
                          <a:pt x="94" y="26"/>
                          <a:pt x="93" y="26"/>
                        </a:cubicBezTo>
                        <a:cubicBezTo>
                          <a:pt x="93" y="26"/>
                          <a:pt x="94" y="26"/>
                          <a:pt x="94" y="26"/>
                        </a:cubicBezTo>
                        <a:cubicBezTo>
                          <a:pt x="94" y="26"/>
                          <a:pt x="94" y="26"/>
                          <a:pt x="94" y="26"/>
                        </a:cubicBezTo>
                        <a:cubicBezTo>
                          <a:pt x="94" y="26"/>
                          <a:pt x="94" y="26"/>
                          <a:pt x="94" y="26"/>
                        </a:cubicBezTo>
                        <a:cubicBezTo>
                          <a:pt x="94" y="26"/>
                          <a:pt x="94" y="26"/>
                          <a:pt x="94" y="26"/>
                        </a:cubicBezTo>
                        <a:cubicBezTo>
                          <a:pt x="94" y="26"/>
                          <a:pt x="94" y="26"/>
                          <a:pt x="94" y="26"/>
                        </a:cubicBezTo>
                        <a:cubicBezTo>
                          <a:pt x="94" y="26"/>
                          <a:pt x="94" y="26"/>
                          <a:pt x="94" y="26"/>
                        </a:cubicBezTo>
                        <a:cubicBezTo>
                          <a:pt x="93" y="26"/>
                          <a:pt x="93" y="25"/>
                          <a:pt x="92" y="25"/>
                        </a:cubicBezTo>
                        <a:cubicBezTo>
                          <a:pt x="92" y="25"/>
                          <a:pt x="92" y="25"/>
                          <a:pt x="92" y="25"/>
                        </a:cubicBezTo>
                        <a:cubicBezTo>
                          <a:pt x="92" y="25"/>
                          <a:pt x="93" y="25"/>
                          <a:pt x="94" y="26"/>
                        </a:cubicBezTo>
                        <a:cubicBezTo>
                          <a:pt x="94" y="26"/>
                          <a:pt x="95" y="26"/>
                          <a:pt x="95" y="26"/>
                        </a:cubicBezTo>
                        <a:cubicBezTo>
                          <a:pt x="95" y="26"/>
                          <a:pt x="95" y="26"/>
                          <a:pt x="95" y="26"/>
                        </a:cubicBezTo>
                        <a:cubicBezTo>
                          <a:pt x="95" y="26"/>
                          <a:pt x="95" y="26"/>
                          <a:pt x="95" y="26"/>
                        </a:cubicBezTo>
                        <a:cubicBezTo>
                          <a:pt x="95" y="26"/>
                          <a:pt x="95" y="26"/>
                          <a:pt x="95" y="26"/>
                        </a:cubicBezTo>
                        <a:cubicBezTo>
                          <a:pt x="95" y="26"/>
                          <a:pt x="95" y="26"/>
                          <a:pt x="96" y="26"/>
                        </a:cubicBezTo>
                        <a:close/>
                        <a:moveTo>
                          <a:pt x="94" y="27"/>
                        </a:moveTo>
                        <a:cubicBezTo>
                          <a:pt x="94" y="27"/>
                          <a:pt x="94" y="27"/>
                          <a:pt x="94" y="27"/>
                        </a:cubicBezTo>
                        <a:cubicBezTo>
                          <a:pt x="94" y="27"/>
                          <a:pt x="94" y="27"/>
                          <a:pt x="94" y="27"/>
                        </a:cubicBezTo>
                        <a:cubicBezTo>
                          <a:pt x="94" y="27"/>
                          <a:pt x="94" y="27"/>
                          <a:pt x="94" y="27"/>
                        </a:cubicBezTo>
                        <a:cubicBezTo>
                          <a:pt x="94" y="27"/>
                          <a:pt x="94" y="27"/>
                          <a:pt x="94" y="27"/>
                        </a:cubicBezTo>
                        <a:cubicBezTo>
                          <a:pt x="94" y="27"/>
                          <a:pt x="94" y="27"/>
                          <a:pt x="94" y="27"/>
                        </a:cubicBezTo>
                        <a:cubicBezTo>
                          <a:pt x="94" y="27"/>
                          <a:pt x="94" y="27"/>
                          <a:pt x="94" y="27"/>
                        </a:cubicBezTo>
                        <a:close/>
                        <a:moveTo>
                          <a:pt x="93" y="28"/>
                        </a:move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4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ubicBezTo>
                          <a:pt x="93" y="28"/>
                          <a:pt x="93" y="28"/>
                          <a:pt x="93" y="28"/>
                        </a:cubicBezTo>
                        <a:close/>
                        <a:moveTo>
                          <a:pt x="93" y="27"/>
                        </a:moveTo>
                        <a:cubicBezTo>
                          <a:pt x="93" y="27"/>
                          <a:pt x="93" y="27"/>
                          <a:pt x="93" y="27"/>
                        </a:cubicBezTo>
                        <a:cubicBezTo>
                          <a:pt x="93" y="27"/>
                          <a:pt x="93" y="27"/>
                          <a:pt x="93" y="27"/>
                        </a:cubicBezTo>
                        <a:cubicBezTo>
                          <a:pt x="93" y="27"/>
                          <a:pt x="93" y="27"/>
                          <a:pt x="93" y="27"/>
                        </a:cubicBezTo>
                        <a:cubicBezTo>
                          <a:pt x="92" y="27"/>
                          <a:pt x="93" y="27"/>
                          <a:pt x="93" y="27"/>
                        </a:cubicBezTo>
                        <a:close/>
                        <a:moveTo>
                          <a:pt x="90" y="32"/>
                        </a:moveTo>
                        <a:cubicBezTo>
                          <a:pt x="90" y="32"/>
                          <a:pt x="90" y="32"/>
                          <a:pt x="90" y="32"/>
                        </a:cubicBezTo>
                        <a:cubicBezTo>
                          <a:pt x="90" y="32"/>
                          <a:pt x="90" y="32"/>
                          <a:pt x="90" y="32"/>
                        </a:cubicBezTo>
                        <a:cubicBezTo>
                          <a:pt x="91" y="32"/>
                          <a:pt x="91" y="32"/>
                          <a:pt x="91" y="32"/>
                        </a:cubicBezTo>
                        <a:cubicBezTo>
                          <a:pt x="91" y="32"/>
                          <a:pt x="91" y="32"/>
                          <a:pt x="91" y="32"/>
                        </a:cubicBezTo>
                        <a:cubicBezTo>
                          <a:pt x="91" y="32"/>
                          <a:pt x="91" y="32"/>
                          <a:pt x="91" y="32"/>
                        </a:cubicBezTo>
                        <a:cubicBezTo>
                          <a:pt x="91" y="32"/>
                          <a:pt x="91" y="32"/>
                          <a:pt x="90" y="32"/>
                        </a:cubicBezTo>
                        <a:cubicBezTo>
                          <a:pt x="90" y="32"/>
                          <a:pt x="90" y="32"/>
                          <a:pt x="90" y="32"/>
                        </a:cubicBezTo>
                        <a:cubicBezTo>
                          <a:pt x="90" y="33"/>
                          <a:pt x="90" y="32"/>
                          <a:pt x="90" y="32"/>
                        </a:cubicBezTo>
                        <a:close/>
                        <a:moveTo>
                          <a:pt x="91" y="28"/>
                        </a:moveTo>
                        <a:cubicBezTo>
                          <a:pt x="91" y="28"/>
                          <a:pt x="91" y="28"/>
                          <a:pt x="91" y="28"/>
                        </a:cubicBezTo>
                        <a:cubicBezTo>
                          <a:pt x="91" y="28"/>
                          <a:pt x="91" y="28"/>
                          <a:pt x="91" y="28"/>
                        </a:cubicBezTo>
                        <a:cubicBezTo>
                          <a:pt x="91" y="28"/>
                          <a:pt x="91" y="28"/>
                          <a:pt x="91" y="28"/>
                        </a:cubicBezTo>
                        <a:cubicBezTo>
                          <a:pt x="90" y="28"/>
                          <a:pt x="90" y="28"/>
                          <a:pt x="90" y="28"/>
                        </a:cubicBezTo>
                        <a:cubicBezTo>
                          <a:pt x="90" y="28"/>
                          <a:pt x="90" y="28"/>
                          <a:pt x="90" y="28"/>
                        </a:cubicBezTo>
                        <a:cubicBezTo>
                          <a:pt x="90" y="28"/>
                          <a:pt x="91" y="28"/>
                          <a:pt x="91" y="28"/>
                        </a:cubicBezTo>
                        <a:cubicBezTo>
                          <a:pt x="91" y="28"/>
                          <a:pt x="91" y="28"/>
                          <a:pt x="90" y="28"/>
                        </a:cubicBezTo>
                        <a:cubicBezTo>
                          <a:pt x="90" y="28"/>
                          <a:pt x="91" y="28"/>
                          <a:pt x="91" y="28"/>
                        </a:cubicBezTo>
                        <a:cubicBezTo>
                          <a:pt x="90" y="28"/>
                          <a:pt x="90" y="28"/>
                          <a:pt x="90" y="27"/>
                        </a:cubicBezTo>
                        <a:cubicBezTo>
                          <a:pt x="90" y="27"/>
                          <a:pt x="90" y="27"/>
                          <a:pt x="90" y="27"/>
                        </a:cubicBezTo>
                        <a:cubicBezTo>
                          <a:pt x="91" y="27"/>
                          <a:pt x="91" y="27"/>
                          <a:pt x="91" y="27"/>
                        </a:cubicBezTo>
                        <a:cubicBezTo>
                          <a:pt x="91" y="27"/>
                          <a:pt x="91" y="27"/>
                          <a:pt x="91" y="27"/>
                        </a:cubicBezTo>
                        <a:cubicBezTo>
                          <a:pt x="92" y="27"/>
                          <a:pt x="91" y="27"/>
                          <a:pt x="92" y="27"/>
                        </a:cubicBezTo>
                        <a:cubicBezTo>
                          <a:pt x="92" y="27"/>
                          <a:pt x="92" y="27"/>
                          <a:pt x="92" y="27"/>
                        </a:cubicBezTo>
                        <a:cubicBezTo>
                          <a:pt x="92" y="27"/>
                          <a:pt x="92" y="28"/>
                          <a:pt x="92" y="28"/>
                        </a:cubicBezTo>
                        <a:cubicBezTo>
                          <a:pt x="92" y="28"/>
                          <a:pt x="92" y="28"/>
                          <a:pt x="92" y="28"/>
                        </a:cubicBezTo>
                        <a:cubicBezTo>
                          <a:pt x="92" y="28"/>
                          <a:pt x="92" y="28"/>
                          <a:pt x="92" y="28"/>
                        </a:cubicBezTo>
                        <a:cubicBezTo>
                          <a:pt x="92" y="28"/>
                          <a:pt x="92" y="28"/>
                          <a:pt x="92" y="28"/>
                        </a:cubicBezTo>
                        <a:cubicBezTo>
                          <a:pt x="92" y="28"/>
                          <a:pt x="92" y="28"/>
                          <a:pt x="92" y="28"/>
                        </a:cubicBezTo>
                        <a:cubicBezTo>
                          <a:pt x="92" y="28"/>
                          <a:pt x="91" y="28"/>
                          <a:pt x="91" y="28"/>
                        </a:cubicBezTo>
                        <a:close/>
                        <a:moveTo>
                          <a:pt x="91" y="26"/>
                        </a:moveTo>
                        <a:cubicBezTo>
                          <a:pt x="91" y="27"/>
                          <a:pt x="91" y="26"/>
                          <a:pt x="92" y="27"/>
                        </a:cubicBezTo>
                        <a:cubicBezTo>
                          <a:pt x="92" y="27"/>
                          <a:pt x="92" y="27"/>
                          <a:pt x="92" y="27"/>
                        </a:cubicBezTo>
                        <a:cubicBezTo>
                          <a:pt x="92" y="27"/>
                          <a:pt x="92" y="27"/>
                          <a:pt x="92" y="27"/>
                        </a:cubicBezTo>
                        <a:cubicBezTo>
                          <a:pt x="92" y="27"/>
                          <a:pt x="91" y="27"/>
                          <a:pt x="91" y="27"/>
                        </a:cubicBezTo>
                        <a:cubicBezTo>
                          <a:pt x="91" y="27"/>
                          <a:pt x="91" y="27"/>
                          <a:pt x="91" y="26"/>
                        </a:cubicBezTo>
                        <a:close/>
                        <a:moveTo>
                          <a:pt x="89" y="24"/>
                        </a:moveTo>
                        <a:cubicBezTo>
                          <a:pt x="89" y="24"/>
                          <a:pt x="89" y="24"/>
                          <a:pt x="89" y="24"/>
                        </a:cubicBezTo>
                        <a:cubicBezTo>
                          <a:pt x="89" y="24"/>
                          <a:pt x="89" y="24"/>
                          <a:pt x="89" y="24"/>
                        </a:cubicBezTo>
                        <a:close/>
                        <a:moveTo>
                          <a:pt x="89" y="24"/>
                        </a:moveTo>
                        <a:cubicBezTo>
                          <a:pt x="89" y="24"/>
                          <a:pt x="89" y="24"/>
                          <a:pt x="89" y="24"/>
                        </a:cubicBezTo>
                        <a:cubicBezTo>
                          <a:pt x="89" y="24"/>
                          <a:pt x="89" y="24"/>
                          <a:pt x="89" y="24"/>
                        </a:cubicBezTo>
                        <a:close/>
                        <a:moveTo>
                          <a:pt x="89" y="23"/>
                        </a:moveTo>
                        <a:cubicBezTo>
                          <a:pt x="89" y="24"/>
                          <a:pt x="90" y="23"/>
                          <a:pt x="90" y="24"/>
                        </a:cubicBezTo>
                        <a:cubicBezTo>
                          <a:pt x="90" y="24"/>
                          <a:pt x="90" y="24"/>
                          <a:pt x="90" y="24"/>
                        </a:cubicBezTo>
                        <a:cubicBezTo>
                          <a:pt x="90" y="24"/>
                          <a:pt x="91" y="24"/>
                          <a:pt x="91" y="24"/>
                        </a:cubicBezTo>
                        <a:cubicBezTo>
                          <a:pt x="91" y="24"/>
                          <a:pt x="91" y="24"/>
                          <a:pt x="91" y="24"/>
                        </a:cubicBezTo>
                        <a:cubicBezTo>
                          <a:pt x="91" y="24"/>
                          <a:pt x="91" y="24"/>
                          <a:pt x="91" y="24"/>
                        </a:cubicBezTo>
                        <a:cubicBezTo>
                          <a:pt x="91" y="24"/>
                          <a:pt x="91" y="24"/>
                          <a:pt x="91" y="24"/>
                        </a:cubicBezTo>
                        <a:cubicBezTo>
                          <a:pt x="91" y="24"/>
                          <a:pt x="91" y="24"/>
                          <a:pt x="92" y="24"/>
                        </a:cubicBezTo>
                        <a:cubicBezTo>
                          <a:pt x="91" y="24"/>
                          <a:pt x="91" y="24"/>
                          <a:pt x="91" y="24"/>
                        </a:cubicBezTo>
                        <a:cubicBezTo>
                          <a:pt x="91" y="24"/>
                          <a:pt x="90" y="24"/>
                          <a:pt x="90" y="24"/>
                        </a:cubicBezTo>
                        <a:cubicBezTo>
                          <a:pt x="90" y="24"/>
                          <a:pt x="90" y="24"/>
                          <a:pt x="90" y="24"/>
                        </a:cubicBezTo>
                        <a:cubicBezTo>
                          <a:pt x="90" y="24"/>
                          <a:pt x="90" y="24"/>
                          <a:pt x="89" y="24"/>
                        </a:cubicBezTo>
                        <a:cubicBezTo>
                          <a:pt x="89" y="24"/>
                          <a:pt x="89" y="24"/>
                          <a:pt x="89" y="23"/>
                        </a:cubicBezTo>
                        <a:close/>
                        <a:moveTo>
                          <a:pt x="90" y="24"/>
                        </a:moveTo>
                        <a:cubicBezTo>
                          <a:pt x="90" y="24"/>
                          <a:pt x="91" y="24"/>
                          <a:pt x="91" y="24"/>
                        </a:cubicBezTo>
                        <a:cubicBezTo>
                          <a:pt x="90" y="24"/>
                          <a:pt x="90" y="24"/>
                          <a:pt x="90" y="24"/>
                        </a:cubicBezTo>
                        <a:close/>
                        <a:moveTo>
                          <a:pt x="90" y="27"/>
                        </a:moveTo>
                        <a:cubicBezTo>
                          <a:pt x="90" y="27"/>
                          <a:pt x="90" y="27"/>
                          <a:pt x="90" y="27"/>
                        </a:cubicBezTo>
                        <a:cubicBezTo>
                          <a:pt x="90" y="27"/>
                          <a:pt x="90" y="27"/>
                          <a:pt x="90" y="27"/>
                        </a:cubicBezTo>
                        <a:cubicBezTo>
                          <a:pt x="90" y="27"/>
                          <a:pt x="90" y="27"/>
                          <a:pt x="90" y="27"/>
                        </a:cubicBezTo>
                        <a:cubicBezTo>
                          <a:pt x="90" y="27"/>
                          <a:pt x="90" y="27"/>
                          <a:pt x="90" y="27"/>
                        </a:cubicBezTo>
                        <a:close/>
                        <a:moveTo>
                          <a:pt x="89" y="26"/>
                        </a:moveTo>
                        <a:cubicBezTo>
                          <a:pt x="89" y="26"/>
                          <a:pt x="90" y="26"/>
                          <a:pt x="90" y="26"/>
                        </a:cubicBezTo>
                        <a:cubicBezTo>
                          <a:pt x="90" y="26"/>
                          <a:pt x="90" y="26"/>
                          <a:pt x="90" y="26"/>
                        </a:cubicBezTo>
                        <a:cubicBezTo>
                          <a:pt x="90" y="26"/>
                          <a:pt x="90" y="26"/>
                          <a:pt x="90" y="26"/>
                        </a:cubicBezTo>
                        <a:cubicBezTo>
                          <a:pt x="90" y="26"/>
                          <a:pt x="90" y="26"/>
                          <a:pt x="90" y="26"/>
                        </a:cubicBezTo>
                        <a:cubicBezTo>
                          <a:pt x="90" y="26"/>
                          <a:pt x="90" y="27"/>
                          <a:pt x="89" y="26"/>
                        </a:cubicBezTo>
                        <a:cubicBezTo>
                          <a:pt x="90" y="26"/>
                          <a:pt x="90" y="27"/>
                          <a:pt x="90" y="27"/>
                        </a:cubicBezTo>
                        <a:cubicBezTo>
                          <a:pt x="90" y="27"/>
                          <a:pt x="89" y="27"/>
                          <a:pt x="89" y="27"/>
                        </a:cubicBezTo>
                        <a:cubicBezTo>
                          <a:pt x="89" y="27"/>
                          <a:pt x="89" y="27"/>
                          <a:pt x="90" y="27"/>
                        </a:cubicBezTo>
                        <a:cubicBezTo>
                          <a:pt x="89" y="26"/>
                          <a:pt x="89" y="27"/>
                          <a:pt x="89" y="26"/>
                        </a:cubicBezTo>
                        <a:cubicBezTo>
                          <a:pt x="89" y="27"/>
                          <a:pt x="89" y="27"/>
                          <a:pt x="89" y="27"/>
                        </a:cubicBezTo>
                        <a:cubicBezTo>
                          <a:pt x="89" y="27"/>
                          <a:pt x="89" y="27"/>
                          <a:pt x="89" y="27"/>
                        </a:cubicBezTo>
                        <a:cubicBezTo>
                          <a:pt x="89" y="27"/>
                          <a:pt x="89" y="27"/>
                          <a:pt x="88" y="27"/>
                        </a:cubicBezTo>
                        <a:cubicBezTo>
                          <a:pt x="89" y="26"/>
                          <a:pt x="88" y="26"/>
                          <a:pt x="89" y="26"/>
                        </a:cubicBezTo>
                        <a:cubicBezTo>
                          <a:pt x="88" y="26"/>
                          <a:pt x="88" y="26"/>
                          <a:pt x="88" y="26"/>
                        </a:cubicBezTo>
                        <a:cubicBezTo>
                          <a:pt x="88" y="26"/>
                          <a:pt x="88" y="26"/>
                          <a:pt x="88" y="26"/>
                        </a:cubicBezTo>
                        <a:cubicBezTo>
                          <a:pt x="88" y="26"/>
                          <a:pt x="88" y="27"/>
                          <a:pt x="88" y="27"/>
                        </a:cubicBezTo>
                        <a:cubicBezTo>
                          <a:pt x="88" y="26"/>
                          <a:pt x="88" y="26"/>
                          <a:pt x="88" y="26"/>
                        </a:cubicBezTo>
                        <a:cubicBezTo>
                          <a:pt x="88" y="26"/>
                          <a:pt x="88" y="26"/>
                          <a:pt x="87" y="26"/>
                        </a:cubicBezTo>
                        <a:cubicBezTo>
                          <a:pt x="87" y="26"/>
                          <a:pt x="87" y="26"/>
                          <a:pt x="87" y="26"/>
                        </a:cubicBezTo>
                        <a:cubicBezTo>
                          <a:pt x="87" y="26"/>
                          <a:pt x="87" y="26"/>
                          <a:pt x="87" y="26"/>
                        </a:cubicBezTo>
                        <a:cubicBezTo>
                          <a:pt x="86" y="26"/>
                          <a:pt x="86" y="26"/>
                          <a:pt x="86" y="25"/>
                        </a:cubicBezTo>
                        <a:cubicBezTo>
                          <a:pt x="86" y="25"/>
                          <a:pt x="87" y="26"/>
                          <a:pt x="87" y="26"/>
                        </a:cubicBezTo>
                        <a:cubicBezTo>
                          <a:pt x="87" y="26"/>
                          <a:pt x="87" y="26"/>
                          <a:pt x="87" y="26"/>
                        </a:cubicBezTo>
                        <a:cubicBezTo>
                          <a:pt x="87" y="26"/>
                          <a:pt x="87" y="26"/>
                          <a:pt x="88" y="26"/>
                        </a:cubicBezTo>
                        <a:cubicBezTo>
                          <a:pt x="88" y="26"/>
                          <a:pt x="88" y="26"/>
                          <a:pt x="88" y="26"/>
                        </a:cubicBezTo>
                        <a:cubicBezTo>
                          <a:pt x="88" y="26"/>
                          <a:pt x="89" y="26"/>
                          <a:pt x="89" y="26"/>
                        </a:cubicBezTo>
                        <a:cubicBezTo>
                          <a:pt x="89" y="26"/>
                          <a:pt x="90" y="26"/>
                          <a:pt x="89" y="26"/>
                        </a:cubicBezTo>
                        <a:close/>
                        <a:moveTo>
                          <a:pt x="89" y="24"/>
                        </a:moveTo>
                        <a:cubicBezTo>
                          <a:pt x="89" y="24"/>
                          <a:pt x="89" y="24"/>
                          <a:pt x="89" y="24"/>
                        </a:cubicBezTo>
                        <a:cubicBezTo>
                          <a:pt x="89" y="24"/>
                          <a:pt x="89" y="24"/>
                          <a:pt x="89" y="24"/>
                        </a:cubicBezTo>
                        <a:cubicBezTo>
                          <a:pt x="90" y="24"/>
                          <a:pt x="90" y="24"/>
                          <a:pt x="91" y="25"/>
                        </a:cubicBezTo>
                        <a:cubicBezTo>
                          <a:pt x="91" y="25"/>
                          <a:pt x="91" y="25"/>
                          <a:pt x="91" y="25"/>
                        </a:cubicBezTo>
                        <a:cubicBezTo>
                          <a:pt x="91" y="25"/>
                          <a:pt x="91" y="25"/>
                          <a:pt x="91" y="25"/>
                        </a:cubicBezTo>
                        <a:cubicBezTo>
                          <a:pt x="91" y="25"/>
                          <a:pt x="91" y="25"/>
                          <a:pt x="91" y="25"/>
                        </a:cubicBezTo>
                        <a:cubicBezTo>
                          <a:pt x="91" y="25"/>
                          <a:pt x="91" y="25"/>
                          <a:pt x="91" y="25"/>
                        </a:cubicBezTo>
                        <a:cubicBezTo>
                          <a:pt x="91" y="25"/>
                          <a:pt x="91" y="25"/>
                          <a:pt x="91" y="25"/>
                        </a:cubicBezTo>
                        <a:cubicBezTo>
                          <a:pt x="91" y="25"/>
                          <a:pt x="92" y="25"/>
                          <a:pt x="92" y="25"/>
                        </a:cubicBezTo>
                        <a:cubicBezTo>
                          <a:pt x="92" y="25"/>
                          <a:pt x="91" y="25"/>
                          <a:pt x="91" y="25"/>
                        </a:cubicBezTo>
                        <a:cubicBezTo>
                          <a:pt x="91" y="25"/>
                          <a:pt x="91" y="25"/>
                          <a:pt x="90" y="25"/>
                        </a:cubicBezTo>
                        <a:cubicBezTo>
                          <a:pt x="90" y="25"/>
                          <a:pt x="90" y="25"/>
                          <a:pt x="90" y="25"/>
                        </a:cubicBezTo>
                        <a:cubicBezTo>
                          <a:pt x="90" y="25"/>
                          <a:pt x="90" y="25"/>
                          <a:pt x="90" y="25"/>
                        </a:cubicBezTo>
                        <a:cubicBezTo>
                          <a:pt x="90" y="25"/>
                          <a:pt x="89" y="24"/>
                          <a:pt x="89" y="24"/>
                        </a:cubicBezTo>
                        <a:cubicBezTo>
                          <a:pt x="89" y="24"/>
                          <a:pt x="89" y="24"/>
                          <a:pt x="89" y="24"/>
                        </a:cubicBezTo>
                        <a:close/>
                        <a:moveTo>
                          <a:pt x="90" y="24"/>
                        </a:moveTo>
                        <a:cubicBezTo>
                          <a:pt x="90" y="24"/>
                          <a:pt x="90" y="24"/>
                          <a:pt x="90" y="24"/>
                        </a:cubicBezTo>
                        <a:cubicBezTo>
                          <a:pt x="90" y="24"/>
                          <a:pt x="90" y="24"/>
                          <a:pt x="90" y="24"/>
                        </a:cubicBezTo>
                        <a:close/>
                        <a:moveTo>
                          <a:pt x="88" y="29"/>
                        </a:moveTo>
                        <a:cubicBezTo>
                          <a:pt x="88" y="29"/>
                          <a:pt x="89" y="29"/>
                          <a:pt x="89" y="29"/>
                        </a:cubicBezTo>
                        <a:cubicBezTo>
                          <a:pt x="89" y="30"/>
                          <a:pt x="89" y="30"/>
                          <a:pt x="89" y="30"/>
                        </a:cubicBezTo>
                        <a:cubicBezTo>
                          <a:pt x="89" y="30"/>
                          <a:pt x="88" y="29"/>
                          <a:pt x="88" y="29"/>
                        </a:cubicBezTo>
                        <a:cubicBezTo>
                          <a:pt x="88" y="30"/>
                          <a:pt x="88" y="29"/>
                          <a:pt x="88" y="29"/>
                        </a:cubicBezTo>
                        <a:close/>
                        <a:moveTo>
                          <a:pt x="88" y="27"/>
                        </a:moveTo>
                        <a:cubicBezTo>
                          <a:pt x="88" y="27"/>
                          <a:pt x="88" y="27"/>
                          <a:pt x="88" y="27"/>
                        </a:cubicBezTo>
                        <a:cubicBezTo>
                          <a:pt x="88" y="27"/>
                          <a:pt x="89" y="27"/>
                          <a:pt x="89" y="28"/>
                        </a:cubicBezTo>
                        <a:cubicBezTo>
                          <a:pt x="89" y="28"/>
                          <a:pt x="89" y="28"/>
                          <a:pt x="89" y="28"/>
                        </a:cubicBezTo>
                        <a:cubicBezTo>
                          <a:pt x="89" y="28"/>
                          <a:pt x="89" y="28"/>
                          <a:pt x="89" y="28"/>
                        </a:cubicBezTo>
                        <a:cubicBezTo>
                          <a:pt x="89" y="28"/>
                          <a:pt x="89" y="28"/>
                          <a:pt x="89" y="28"/>
                        </a:cubicBezTo>
                        <a:cubicBezTo>
                          <a:pt x="89" y="28"/>
                          <a:pt x="89" y="28"/>
                          <a:pt x="88" y="27"/>
                        </a:cubicBezTo>
                        <a:cubicBezTo>
                          <a:pt x="88" y="28"/>
                          <a:pt x="87" y="27"/>
                          <a:pt x="87" y="27"/>
                        </a:cubicBezTo>
                        <a:cubicBezTo>
                          <a:pt x="87" y="27"/>
                          <a:pt x="87" y="27"/>
                          <a:pt x="88" y="27"/>
                        </a:cubicBezTo>
                        <a:close/>
                        <a:moveTo>
                          <a:pt x="88" y="29"/>
                        </a:moveTo>
                        <a:cubicBezTo>
                          <a:pt x="88" y="29"/>
                          <a:pt x="88" y="29"/>
                          <a:pt x="88" y="29"/>
                        </a:cubicBezTo>
                        <a:cubicBezTo>
                          <a:pt x="88" y="29"/>
                          <a:pt x="89" y="29"/>
                          <a:pt x="89" y="29"/>
                        </a:cubicBezTo>
                        <a:cubicBezTo>
                          <a:pt x="88" y="29"/>
                          <a:pt x="88" y="29"/>
                          <a:pt x="88" y="29"/>
                        </a:cubicBezTo>
                        <a:cubicBezTo>
                          <a:pt x="88" y="29"/>
                          <a:pt x="88" y="29"/>
                          <a:pt x="88" y="29"/>
                        </a:cubicBezTo>
                        <a:cubicBezTo>
                          <a:pt x="88" y="29"/>
                          <a:pt x="88" y="29"/>
                          <a:pt x="88" y="29"/>
                        </a:cubicBezTo>
                        <a:cubicBezTo>
                          <a:pt x="88" y="29"/>
                          <a:pt x="88" y="29"/>
                          <a:pt x="88" y="29"/>
                        </a:cubicBezTo>
                        <a:close/>
                        <a:moveTo>
                          <a:pt x="88" y="31"/>
                        </a:moveTo>
                        <a:cubicBezTo>
                          <a:pt x="88" y="31"/>
                          <a:pt x="88" y="31"/>
                          <a:pt x="88" y="31"/>
                        </a:cubicBezTo>
                        <a:cubicBezTo>
                          <a:pt x="88" y="31"/>
                          <a:pt x="88" y="31"/>
                          <a:pt x="88" y="31"/>
                        </a:cubicBezTo>
                        <a:cubicBezTo>
                          <a:pt x="88" y="31"/>
                          <a:pt x="88" y="31"/>
                          <a:pt x="88" y="31"/>
                        </a:cubicBezTo>
                        <a:close/>
                        <a:moveTo>
                          <a:pt x="89" y="25"/>
                        </a:moveTo>
                        <a:cubicBezTo>
                          <a:pt x="89" y="25"/>
                          <a:pt x="89" y="25"/>
                          <a:pt x="90" y="25"/>
                        </a:cubicBezTo>
                        <a:cubicBezTo>
                          <a:pt x="89" y="25"/>
                          <a:pt x="89" y="25"/>
                          <a:pt x="90" y="25"/>
                        </a:cubicBezTo>
                        <a:cubicBezTo>
                          <a:pt x="90" y="25"/>
                          <a:pt x="89" y="25"/>
                          <a:pt x="89" y="25"/>
                        </a:cubicBezTo>
                        <a:close/>
                        <a:moveTo>
                          <a:pt x="86" y="28"/>
                        </a:moveTo>
                        <a:cubicBezTo>
                          <a:pt x="86" y="28"/>
                          <a:pt x="85" y="28"/>
                          <a:pt x="85" y="28"/>
                        </a:cubicBezTo>
                        <a:cubicBezTo>
                          <a:pt x="86" y="28"/>
                          <a:pt x="86" y="28"/>
                          <a:pt x="86" y="28"/>
                        </a:cubicBezTo>
                        <a:cubicBezTo>
                          <a:pt x="86" y="28"/>
                          <a:pt x="86" y="28"/>
                          <a:pt x="86" y="28"/>
                        </a:cubicBezTo>
                        <a:cubicBezTo>
                          <a:pt x="87" y="28"/>
                          <a:pt x="86" y="29"/>
                          <a:pt x="86" y="29"/>
                        </a:cubicBezTo>
                        <a:cubicBezTo>
                          <a:pt x="87" y="29"/>
                          <a:pt x="87" y="29"/>
                          <a:pt x="87" y="29"/>
                        </a:cubicBezTo>
                        <a:cubicBezTo>
                          <a:pt x="87" y="29"/>
                          <a:pt x="87" y="28"/>
                          <a:pt x="87" y="28"/>
                        </a:cubicBezTo>
                        <a:cubicBezTo>
                          <a:pt x="87" y="28"/>
                          <a:pt x="87" y="28"/>
                          <a:pt x="87" y="28"/>
                        </a:cubicBezTo>
                        <a:cubicBezTo>
                          <a:pt x="87" y="29"/>
                          <a:pt x="87" y="29"/>
                          <a:pt x="87" y="29"/>
                        </a:cubicBezTo>
                        <a:cubicBezTo>
                          <a:pt x="87" y="29"/>
                          <a:pt x="87" y="29"/>
                          <a:pt x="88" y="29"/>
                        </a:cubicBezTo>
                        <a:cubicBezTo>
                          <a:pt x="87" y="29"/>
                          <a:pt x="86" y="28"/>
                          <a:pt x="86" y="29"/>
                        </a:cubicBezTo>
                        <a:cubicBezTo>
                          <a:pt x="85" y="28"/>
                          <a:pt x="85" y="28"/>
                          <a:pt x="85" y="28"/>
                        </a:cubicBezTo>
                        <a:cubicBezTo>
                          <a:pt x="85" y="28"/>
                          <a:pt x="85" y="28"/>
                          <a:pt x="86" y="28"/>
                        </a:cubicBezTo>
                        <a:close/>
                        <a:moveTo>
                          <a:pt x="89" y="25"/>
                        </a:moveTo>
                        <a:cubicBezTo>
                          <a:pt x="89" y="25"/>
                          <a:pt x="89" y="25"/>
                          <a:pt x="89" y="25"/>
                        </a:cubicBezTo>
                        <a:cubicBezTo>
                          <a:pt x="89" y="24"/>
                          <a:pt x="88" y="24"/>
                          <a:pt x="88" y="24"/>
                        </a:cubicBezTo>
                        <a:cubicBezTo>
                          <a:pt x="88" y="24"/>
                          <a:pt x="88" y="24"/>
                          <a:pt x="89" y="24"/>
                        </a:cubicBezTo>
                        <a:cubicBezTo>
                          <a:pt x="88" y="24"/>
                          <a:pt x="88" y="24"/>
                          <a:pt x="87" y="24"/>
                        </a:cubicBezTo>
                        <a:cubicBezTo>
                          <a:pt x="87" y="24"/>
                          <a:pt x="87" y="24"/>
                          <a:pt x="87" y="24"/>
                        </a:cubicBezTo>
                        <a:cubicBezTo>
                          <a:pt x="87" y="24"/>
                          <a:pt x="87" y="24"/>
                          <a:pt x="86" y="24"/>
                        </a:cubicBezTo>
                        <a:cubicBezTo>
                          <a:pt x="86" y="24"/>
                          <a:pt x="86" y="24"/>
                          <a:pt x="86" y="24"/>
                        </a:cubicBezTo>
                        <a:cubicBezTo>
                          <a:pt x="86" y="24"/>
                          <a:pt x="86" y="23"/>
                          <a:pt x="85" y="23"/>
                        </a:cubicBezTo>
                        <a:cubicBezTo>
                          <a:pt x="85" y="23"/>
                          <a:pt x="86" y="23"/>
                          <a:pt x="86" y="23"/>
                        </a:cubicBezTo>
                        <a:cubicBezTo>
                          <a:pt x="87" y="24"/>
                          <a:pt x="88" y="24"/>
                          <a:pt x="88" y="24"/>
                        </a:cubicBezTo>
                        <a:cubicBezTo>
                          <a:pt x="88" y="24"/>
                          <a:pt x="88" y="24"/>
                          <a:pt x="88" y="24"/>
                        </a:cubicBezTo>
                        <a:cubicBezTo>
                          <a:pt x="89" y="24"/>
                          <a:pt x="89" y="24"/>
                          <a:pt x="89" y="24"/>
                        </a:cubicBezTo>
                        <a:cubicBezTo>
                          <a:pt x="89" y="24"/>
                          <a:pt x="89" y="24"/>
                          <a:pt x="89" y="24"/>
                        </a:cubicBezTo>
                        <a:cubicBezTo>
                          <a:pt x="89" y="24"/>
                          <a:pt x="89" y="24"/>
                          <a:pt x="89" y="25"/>
                        </a:cubicBezTo>
                        <a:cubicBezTo>
                          <a:pt x="89" y="25"/>
                          <a:pt x="89" y="25"/>
                          <a:pt x="89" y="25"/>
                        </a:cubicBezTo>
                        <a:close/>
                        <a:moveTo>
                          <a:pt x="86" y="28"/>
                        </a:moveTo>
                        <a:cubicBezTo>
                          <a:pt x="86" y="28"/>
                          <a:pt x="86" y="28"/>
                          <a:pt x="86" y="28"/>
                        </a:cubicBezTo>
                        <a:cubicBezTo>
                          <a:pt x="86" y="28"/>
                          <a:pt x="86" y="28"/>
                          <a:pt x="86" y="27"/>
                        </a:cubicBezTo>
                        <a:cubicBezTo>
                          <a:pt x="86" y="27"/>
                          <a:pt x="87" y="28"/>
                          <a:pt x="88" y="28"/>
                        </a:cubicBezTo>
                        <a:cubicBezTo>
                          <a:pt x="87" y="28"/>
                          <a:pt x="86" y="28"/>
                          <a:pt x="86" y="28"/>
                        </a:cubicBezTo>
                        <a:close/>
                        <a:moveTo>
                          <a:pt x="88" y="24"/>
                        </a:moveTo>
                        <a:cubicBezTo>
                          <a:pt x="88" y="23"/>
                          <a:pt x="88" y="23"/>
                          <a:pt x="88" y="24"/>
                        </a:cubicBezTo>
                        <a:cubicBezTo>
                          <a:pt x="88" y="24"/>
                          <a:pt x="88" y="24"/>
                          <a:pt x="88" y="24"/>
                        </a:cubicBezTo>
                        <a:close/>
                        <a:moveTo>
                          <a:pt x="85" y="30"/>
                        </a:moveTo>
                        <a:cubicBezTo>
                          <a:pt x="85" y="30"/>
                          <a:pt x="85" y="30"/>
                          <a:pt x="85" y="30"/>
                        </a:cubicBezTo>
                        <a:cubicBezTo>
                          <a:pt x="85" y="30"/>
                          <a:pt x="85" y="30"/>
                          <a:pt x="85" y="30"/>
                        </a:cubicBezTo>
                        <a:close/>
                        <a:moveTo>
                          <a:pt x="86" y="26"/>
                        </a:moveTo>
                        <a:cubicBezTo>
                          <a:pt x="86" y="25"/>
                          <a:pt x="85" y="25"/>
                          <a:pt x="85" y="25"/>
                        </a:cubicBezTo>
                        <a:cubicBezTo>
                          <a:pt x="85" y="25"/>
                          <a:pt x="84" y="25"/>
                          <a:pt x="84" y="25"/>
                        </a:cubicBezTo>
                        <a:cubicBezTo>
                          <a:pt x="84" y="25"/>
                          <a:pt x="85" y="25"/>
                          <a:pt x="85" y="25"/>
                        </a:cubicBezTo>
                        <a:cubicBezTo>
                          <a:pt x="86" y="25"/>
                          <a:pt x="86" y="25"/>
                          <a:pt x="86" y="25"/>
                        </a:cubicBezTo>
                        <a:cubicBezTo>
                          <a:pt x="86" y="25"/>
                          <a:pt x="86" y="25"/>
                          <a:pt x="86" y="26"/>
                        </a:cubicBezTo>
                        <a:cubicBezTo>
                          <a:pt x="86" y="26"/>
                          <a:pt x="86" y="26"/>
                          <a:pt x="86" y="25"/>
                        </a:cubicBezTo>
                        <a:cubicBezTo>
                          <a:pt x="86" y="26"/>
                          <a:pt x="86" y="26"/>
                          <a:pt x="86" y="26"/>
                        </a:cubicBezTo>
                        <a:cubicBezTo>
                          <a:pt x="86" y="26"/>
                          <a:pt x="86" y="26"/>
                          <a:pt x="86" y="26"/>
                        </a:cubicBezTo>
                        <a:cubicBezTo>
                          <a:pt x="86" y="26"/>
                          <a:pt x="86" y="26"/>
                          <a:pt x="86" y="26"/>
                        </a:cubicBezTo>
                        <a:close/>
                        <a:moveTo>
                          <a:pt x="84" y="31"/>
                        </a:moveTo>
                        <a:cubicBezTo>
                          <a:pt x="84" y="31"/>
                          <a:pt x="84" y="31"/>
                          <a:pt x="84" y="31"/>
                        </a:cubicBezTo>
                        <a:cubicBezTo>
                          <a:pt x="84" y="31"/>
                          <a:pt x="84" y="31"/>
                          <a:pt x="84" y="31"/>
                        </a:cubicBezTo>
                        <a:cubicBezTo>
                          <a:pt x="84" y="31"/>
                          <a:pt x="83" y="31"/>
                          <a:pt x="84" y="31"/>
                        </a:cubicBezTo>
                        <a:close/>
                        <a:moveTo>
                          <a:pt x="86" y="22"/>
                        </a:moveTo>
                        <a:cubicBezTo>
                          <a:pt x="86" y="22"/>
                          <a:pt x="86" y="22"/>
                          <a:pt x="86" y="22"/>
                        </a:cubicBezTo>
                        <a:cubicBezTo>
                          <a:pt x="86" y="22"/>
                          <a:pt x="86" y="22"/>
                          <a:pt x="85" y="22"/>
                        </a:cubicBezTo>
                        <a:cubicBezTo>
                          <a:pt x="85" y="22"/>
                          <a:pt x="86" y="22"/>
                          <a:pt x="86" y="22"/>
                        </a:cubicBezTo>
                        <a:close/>
                        <a:moveTo>
                          <a:pt x="85" y="25"/>
                        </a:moveTo>
                        <a:cubicBezTo>
                          <a:pt x="85" y="25"/>
                          <a:pt x="85" y="25"/>
                          <a:pt x="85" y="25"/>
                        </a:cubicBezTo>
                        <a:cubicBezTo>
                          <a:pt x="84" y="25"/>
                          <a:pt x="85" y="25"/>
                          <a:pt x="85" y="25"/>
                        </a:cubicBezTo>
                        <a:close/>
                        <a:moveTo>
                          <a:pt x="81" y="31"/>
                        </a:moveTo>
                        <a:cubicBezTo>
                          <a:pt x="81" y="31"/>
                          <a:pt x="81" y="31"/>
                          <a:pt x="80" y="31"/>
                        </a:cubicBezTo>
                        <a:cubicBezTo>
                          <a:pt x="81" y="31"/>
                          <a:pt x="81" y="31"/>
                          <a:pt x="81" y="31"/>
                        </a:cubicBezTo>
                        <a:cubicBezTo>
                          <a:pt x="81" y="31"/>
                          <a:pt x="81" y="31"/>
                          <a:pt x="81" y="31"/>
                        </a:cubicBezTo>
                        <a:cubicBezTo>
                          <a:pt x="81" y="31"/>
                          <a:pt x="82" y="31"/>
                          <a:pt x="81" y="31"/>
                        </a:cubicBezTo>
                        <a:close/>
                        <a:moveTo>
                          <a:pt x="81" y="31"/>
                        </a:moveTo>
                        <a:cubicBezTo>
                          <a:pt x="81" y="31"/>
                          <a:pt x="81" y="31"/>
                          <a:pt x="81" y="31"/>
                        </a:cubicBezTo>
                        <a:cubicBezTo>
                          <a:pt x="81" y="31"/>
                          <a:pt x="81" y="31"/>
                          <a:pt x="81" y="31"/>
                        </a:cubicBezTo>
                        <a:cubicBezTo>
                          <a:pt x="81" y="30"/>
                          <a:pt x="80" y="30"/>
                          <a:pt x="80" y="30"/>
                        </a:cubicBezTo>
                        <a:cubicBezTo>
                          <a:pt x="80" y="30"/>
                          <a:pt x="80" y="30"/>
                          <a:pt x="81" y="30"/>
                        </a:cubicBezTo>
                        <a:cubicBezTo>
                          <a:pt x="81" y="30"/>
                          <a:pt x="81" y="30"/>
                          <a:pt x="81" y="31"/>
                        </a:cubicBezTo>
                        <a:cubicBezTo>
                          <a:pt x="81" y="31"/>
                          <a:pt x="81" y="31"/>
                          <a:pt x="81" y="30"/>
                        </a:cubicBezTo>
                        <a:cubicBezTo>
                          <a:pt x="81" y="30"/>
                          <a:pt x="81" y="31"/>
                          <a:pt x="81" y="31"/>
                        </a:cubicBezTo>
                        <a:cubicBezTo>
                          <a:pt x="81" y="31"/>
                          <a:pt x="81" y="31"/>
                          <a:pt x="81" y="31"/>
                        </a:cubicBezTo>
                        <a:close/>
                        <a:moveTo>
                          <a:pt x="82" y="22"/>
                        </a:moveTo>
                        <a:cubicBezTo>
                          <a:pt x="82" y="22"/>
                          <a:pt x="82" y="22"/>
                          <a:pt x="82" y="22"/>
                        </a:cubicBezTo>
                        <a:cubicBezTo>
                          <a:pt x="82" y="22"/>
                          <a:pt x="83" y="22"/>
                          <a:pt x="83" y="23"/>
                        </a:cubicBezTo>
                        <a:cubicBezTo>
                          <a:pt x="83" y="22"/>
                          <a:pt x="83" y="23"/>
                          <a:pt x="83" y="22"/>
                        </a:cubicBezTo>
                        <a:cubicBezTo>
                          <a:pt x="83" y="22"/>
                          <a:pt x="83" y="23"/>
                          <a:pt x="83" y="23"/>
                        </a:cubicBezTo>
                        <a:cubicBezTo>
                          <a:pt x="83" y="23"/>
                          <a:pt x="82" y="23"/>
                          <a:pt x="82" y="22"/>
                        </a:cubicBezTo>
                        <a:close/>
                        <a:moveTo>
                          <a:pt x="83" y="21"/>
                        </a:moveTo>
                        <a:cubicBezTo>
                          <a:pt x="83" y="21"/>
                          <a:pt x="83" y="21"/>
                          <a:pt x="83" y="21"/>
                        </a:cubicBezTo>
                        <a:cubicBezTo>
                          <a:pt x="83" y="21"/>
                          <a:pt x="83" y="21"/>
                          <a:pt x="83" y="21"/>
                        </a:cubicBezTo>
                        <a:cubicBezTo>
                          <a:pt x="83" y="21"/>
                          <a:pt x="83" y="21"/>
                          <a:pt x="83" y="21"/>
                        </a:cubicBezTo>
                        <a:cubicBezTo>
                          <a:pt x="83" y="21"/>
                          <a:pt x="83" y="21"/>
                          <a:pt x="83" y="21"/>
                        </a:cubicBezTo>
                        <a:cubicBezTo>
                          <a:pt x="83" y="21"/>
                          <a:pt x="83" y="21"/>
                          <a:pt x="83" y="21"/>
                        </a:cubicBezTo>
                        <a:close/>
                        <a:moveTo>
                          <a:pt x="80" y="21"/>
                        </a:moveTo>
                        <a:cubicBezTo>
                          <a:pt x="80" y="20"/>
                          <a:pt x="80" y="20"/>
                          <a:pt x="80" y="20"/>
                        </a:cubicBezTo>
                        <a:cubicBezTo>
                          <a:pt x="80" y="20"/>
                          <a:pt x="80" y="20"/>
                          <a:pt x="80" y="20"/>
                        </a:cubicBezTo>
                        <a:cubicBezTo>
                          <a:pt x="81" y="20"/>
                          <a:pt x="82" y="21"/>
                          <a:pt x="83" y="21"/>
                        </a:cubicBezTo>
                        <a:cubicBezTo>
                          <a:pt x="83" y="21"/>
                          <a:pt x="82" y="21"/>
                          <a:pt x="82" y="21"/>
                        </a:cubicBezTo>
                        <a:cubicBezTo>
                          <a:pt x="82" y="21"/>
                          <a:pt x="82" y="21"/>
                          <a:pt x="82" y="21"/>
                        </a:cubicBezTo>
                        <a:cubicBezTo>
                          <a:pt x="82" y="21"/>
                          <a:pt x="82" y="21"/>
                          <a:pt x="82" y="21"/>
                        </a:cubicBezTo>
                        <a:cubicBezTo>
                          <a:pt x="82" y="21"/>
                          <a:pt x="82" y="21"/>
                          <a:pt x="82" y="21"/>
                        </a:cubicBezTo>
                        <a:cubicBezTo>
                          <a:pt x="81" y="21"/>
                          <a:pt x="81" y="21"/>
                          <a:pt x="81" y="20"/>
                        </a:cubicBezTo>
                        <a:cubicBezTo>
                          <a:pt x="81" y="21"/>
                          <a:pt x="81" y="21"/>
                          <a:pt x="81" y="21"/>
                        </a:cubicBezTo>
                        <a:cubicBezTo>
                          <a:pt x="81" y="21"/>
                          <a:pt x="81" y="21"/>
                          <a:pt x="80" y="21"/>
                        </a:cubicBezTo>
                        <a:close/>
                        <a:moveTo>
                          <a:pt x="82" y="22"/>
                        </a:moveTo>
                        <a:cubicBezTo>
                          <a:pt x="82" y="22"/>
                          <a:pt x="81" y="22"/>
                          <a:pt x="81" y="22"/>
                        </a:cubicBezTo>
                        <a:cubicBezTo>
                          <a:pt x="82" y="22"/>
                          <a:pt x="82" y="22"/>
                          <a:pt x="82" y="22"/>
                        </a:cubicBezTo>
                        <a:cubicBezTo>
                          <a:pt x="82" y="22"/>
                          <a:pt x="82" y="22"/>
                          <a:pt x="82" y="22"/>
                        </a:cubicBezTo>
                        <a:close/>
                        <a:moveTo>
                          <a:pt x="78" y="22"/>
                        </a:moveTo>
                        <a:cubicBezTo>
                          <a:pt x="79" y="22"/>
                          <a:pt x="80" y="22"/>
                          <a:pt x="81" y="23"/>
                        </a:cubicBezTo>
                        <a:cubicBezTo>
                          <a:pt x="81" y="23"/>
                          <a:pt x="81" y="23"/>
                          <a:pt x="80" y="23"/>
                        </a:cubicBezTo>
                        <a:cubicBezTo>
                          <a:pt x="80" y="23"/>
                          <a:pt x="80" y="23"/>
                          <a:pt x="80" y="23"/>
                        </a:cubicBezTo>
                        <a:cubicBezTo>
                          <a:pt x="81" y="23"/>
                          <a:pt x="81" y="23"/>
                          <a:pt x="81" y="23"/>
                        </a:cubicBezTo>
                        <a:cubicBezTo>
                          <a:pt x="81" y="23"/>
                          <a:pt x="81" y="23"/>
                          <a:pt x="81" y="23"/>
                        </a:cubicBezTo>
                        <a:cubicBezTo>
                          <a:pt x="81" y="23"/>
                          <a:pt x="81" y="23"/>
                          <a:pt x="80" y="23"/>
                        </a:cubicBezTo>
                        <a:cubicBezTo>
                          <a:pt x="80" y="23"/>
                          <a:pt x="81" y="23"/>
                          <a:pt x="81" y="23"/>
                        </a:cubicBezTo>
                        <a:cubicBezTo>
                          <a:pt x="81" y="23"/>
                          <a:pt x="81" y="23"/>
                          <a:pt x="81" y="23"/>
                        </a:cubicBezTo>
                        <a:cubicBezTo>
                          <a:pt x="81" y="23"/>
                          <a:pt x="81" y="24"/>
                          <a:pt x="81" y="24"/>
                        </a:cubicBezTo>
                        <a:cubicBezTo>
                          <a:pt x="81" y="24"/>
                          <a:pt x="81" y="24"/>
                          <a:pt x="81" y="24"/>
                        </a:cubicBezTo>
                        <a:cubicBezTo>
                          <a:pt x="81" y="24"/>
                          <a:pt x="81" y="23"/>
                          <a:pt x="81" y="23"/>
                        </a:cubicBezTo>
                        <a:cubicBezTo>
                          <a:pt x="81" y="24"/>
                          <a:pt x="81" y="24"/>
                          <a:pt x="81" y="24"/>
                        </a:cubicBezTo>
                        <a:cubicBezTo>
                          <a:pt x="81" y="24"/>
                          <a:pt x="80" y="24"/>
                          <a:pt x="80" y="24"/>
                        </a:cubicBezTo>
                        <a:cubicBezTo>
                          <a:pt x="80" y="24"/>
                          <a:pt x="80" y="24"/>
                          <a:pt x="80" y="24"/>
                        </a:cubicBezTo>
                        <a:cubicBezTo>
                          <a:pt x="80" y="23"/>
                          <a:pt x="80" y="24"/>
                          <a:pt x="80" y="23"/>
                        </a:cubicBezTo>
                        <a:cubicBezTo>
                          <a:pt x="80" y="23"/>
                          <a:pt x="80" y="23"/>
                          <a:pt x="80" y="23"/>
                        </a:cubicBezTo>
                        <a:cubicBezTo>
                          <a:pt x="80" y="23"/>
                          <a:pt x="80" y="23"/>
                          <a:pt x="80" y="23"/>
                        </a:cubicBezTo>
                        <a:cubicBezTo>
                          <a:pt x="79" y="23"/>
                          <a:pt x="79" y="23"/>
                          <a:pt x="79" y="23"/>
                        </a:cubicBezTo>
                        <a:cubicBezTo>
                          <a:pt x="79" y="23"/>
                          <a:pt x="79" y="23"/>
                          <a:pt x="79" y="23"/>
                        </a:cubicBezTo>
                        <a:cubicBezTo>
                          <a:pt x="79" y="23"/>
                          <a:pt x="79" y="23"/>
                          <a:pt x="80" y="23"/>
                        </a:cubicBezTo>
                        <a:cubicBezTo>
                          <a:pt x="80" y="23"/>
                          <a:pt x="80" y="23"/>
                          <a:pt x="80" y="23"/>
                        </a:cubicBezTo>
                        <a:cubicBezTo>
                          <a:pt x="80" y="23"/>
                          <a:pt x="79" y="23"/>
                          <a:pt x="79" y="23"/>
                        </a:cubicBezTo>
                        <a:cubicBezTo>
                          <a:pt x="79" y="23"/>
                          <a:pt x="79" y="23"/>
                          <a:pt x="79" y="23"/>
                        </a:cubicBezTo>
                        <a:cubicBezTo>
                          <a:pt x="78" y="23"/>
                          <a:pt x="78" y="23"/>
                          <a:pt x="78" y="23"/>
                        </a:cubicBezTo>
                        <a:cubicBezTo>
                          <a:pt x="78" y="23"/>
                          <a:pt x="78" y="23"/>
                          <a:pt x="78" y="23"/>
                        </a:cubicBezTo>
                        <a:cubicBezTo>
                          <a:pt x="78" y="22"/>
                          <a:pt x="77" y="22"/>
                          <a:pt x="76" y="22"/>
                        </a:cubicBezTo>
                        <a:cubicBezTo>
                          <a:pt x="76" y="22"/>
                          <a:pt x="77" y="22"/>
                          <a:pt x="77" y="22"/>
                        </a:cubicBezTo>
                        <a:cubicBezTo>
                          <a:pt x="77" y="22"/>
                          <a:pt x="78" y="22"/>
                          <a:pt x="77" y="22"/>
                        </a:cubicBezTo>
                        <a:cubicBezTo>
                          <a:pt x="78" y="22"/>
                          <a:pt x="78" y="22"/>
                          <a:pt x="78" y="22"/>
                        </a:cubicBezTo>
                        <a:cubicBezTo>
                          <a:pt x="78" y="22"/>
                          <a:pt x="79" y="22"/>
                          <a:pt x="79" y="23"/>
                        </a:cubicBezTo>
                        <a:cubicBezTo>
                          <a:pt x="79" y="23"/>
                          <a:pt x="79" y="23"/>
                          <a:pt x="80" y="23"/>
                        </a:cubicBezTo>
                        <a:cubicBezTo>
                          <a:pt x="80" y="23"/>
                          <a:pt x="80" y="23"/>
                          <a:pt x="80" y="23"/>
                        </a:cubicBezTo>
                        <a:cubicBezTo>
                          <a:pt x="79" y="23"/>
                          <a:pt x="79" y="23"/>
                          <a:pt x="79" y="23"/>
                        </a:cubicBezTo>
                        <a:cubicBezTo>
                          <a:pt x="79" y="22"/>
                          <a:pt x="79" y="22"/>
                          <a:pt x="79" y="22"/>
                        </a:cubicBezTo>
                        <a:cubicBezTo>
                          <a:pt x="78" y="22"/>
                          <a:pt x="78" y="22"/>
                          <a:pt x="78" y="22"/>
                        </a:cubicBezTo>
                        <a:cubicBezTo>
                          <a:pt x="78" y="22"/>
                          <a:pt x="78" y="22"/>
                          <a:pt x="78" y="22"/>
                        </a:cubicBezTo>
                        <a:close/>
                        <a:moveTo>
                          <a:pt x="81" y="22"/>
                        </a:moveTo>
                        <a:cubicBezTo>
                          <a:pt x="81" y="22"/>
                          <a:pt x="81" y="22"/>
                          <a:pt x="81" y="22"/>
                        </a:cubicBezTo>
                        <a:cubicBezTo>
                          <a:pt x="81" y="22"/>
                          <a:pt x="81" y="22"/>
                          <a:pt x="81" y="22"/>
                        </a:cubicBezTo>
                        <a:cubicBezTo>
                          <a:pt x="81" y="22"/>
                          <a:pt x="81" y="22"/>
                          <a:pt x="81" y="22"/>
                        </a:cubicBezTo>
                        <a:cubicBezTo>
                          <a:pt x="81" y="22"/>
                          <a:pt x="81" y="22"/>
                          <a:pt x="81" y="22"/>
                        </a:cubicBezTo>
                        <a:cubicBezTo>
                          <a:pt x="81" y="22"/>
                          <a:pt x="81" y="22"/>
                          <a:pt x="82" y="22"/>
                        </a:cubicBezTo>
                        <a:cubicBezTo>
                          <a:pt x="81" y="22"/>
                          <a:pt x="81" y="22"/>
                          <a:pt x="81" y="22"/>
                        </a:cubicBezTo>
                        <a:cubicBezTo>
                          <a:pt x="81" y="22"/>
                          <a:pt x="81" y="22"/>
                          <a:pt x="81" y="22"/>
                        </a:cubicBezTo>
                        <a:cubicBezTo>
                          <a:pt x="81" y="22"/>
                          <a:pt x="81" y="22"/>
                          <a:pt x="81" y="22"/>
                        </a:cubicBezTo>
                        <a:close/>
                        <a:moveTo>
                          <a:pt x="79" y="23"/>
                        </a:moveTo>
                        <a:cubicBezTo>
                          <a:pt x="79" y="23"/>
                          <a:pt x="79" y="23"/>
                          <a:pt x="79" y="23"/>
                        </a:cubicBezTo>
                        <a:cubicBezTo>
                          <a:pt x="79" y="24"/>
                          <a:pt x="79" y="23"/>
                          <a:pt x="79" y="23"/>
                        </a:cubicBezTo>
                        <a:cubicBezTo>
                          <a:pt x="79" y="23"/>
                          <a:pt x="78" y="23"/>
                          <a:pt x="78" y="23"/>
                        </a:cubicBezTo>
                        <a:cubicBezTo>
                          <a:pt x="78" y="23"/>
                          <a:pt x="78" y="23"/>
                          <a:pt x="79" y="23"/>
                        </a:cubicBezTo>
                        <a:close/>
                        <a:moveTo>
                          <a:pt x="74" y="25"/>
                        </a:moveTo>
                        <a:cubicBezTo>
                          <a:pt x="74" y="26"/>
                          <a:pt x="74" y="25"/>
                          <a:pt x="74" y="25"/>
                        </a:cubicBezTo>
                        <a:cubicBezTo>
                          <a:pt x="74" y="25"/>
                          <a:pt x="74" y="25"/>
                          <a:pt x="74" y="25"/>
                        </a:cubicBezTo>
                        <a:cubicBezTo>
                          <a:pt x="74" y="25"/>
                          <a:pt x="74" y="25"/>
                          <a:pt x="74" y="25"/>
                        </a:cubicBezTo>
                        <a:close/>
                        <a:moveTo>
                          <a:pt x="74" y="20"/>
                        </a:moveTo>
                        <a:cubicBezTo>
                          <a:pt x="74" y="20"/>
                          <a:pt x="74" y="20"/>
                          <a:pt x="74" y="20"/>
                        </a:cubicBezTo>
                        <a:cubicBezTo>
                          <a:pt x="74" y="20"/>
                          <a:pt x="74" y="20"/>
                          <a:pt x="74" y="20"/>
                        </a:cubicBezTo>
                        <a:cubicBezTo>
                          <a:pt x="74" y="19"/>
                          <a:pt x="73" y="19"/>
                          <a:pt x="73" y="19"/>
                        </a:cubicBezTo>
                        <a:cubicBezTo>
                          <a:pt x="73" y="19"/>
                          <a:pt x="73" y="19"/>
                          <a:pt x="73" y="19"/>
                        </a:cubicBezTo>
                        <a:cubicBezTo>
                          <a:pt x="73" y="19"/>
                          <a:pt x="74" y="19"/>
                          <a:pt x="75" y="19"/>
                        </a:cubicBezTo>
                        <a:cubicBezTo>
                          <a:pt x="75" y="19"/>
                          <a:pt x="75" y="19"/>
                          <a:pt x="75" y="19"/>
                        </a:cubicBezTo>
                        <a:cubicBezTo>
                          <a:pt x="75" y="20"/>
                          <a:pt x="75" y="20"/>
                          <a:pt x="75" y="20"/>
                        </a:cubicBezTo>
                        <a:cubicBezTo>
                          <a:pt x="75" y="19"/>
                          <a:pt x="75" y="19"/>
                          <a:pt x="74" y="19"/>
                        </a:cubicBezTo>
                        <a:cubicBezTo>
                          <a:pt x="74" y="20"/>
                          <a:pt x="74" y="20"/>
                          <a:pt x="74" y="20"/>
                        </a:cubicBezTo>
                        <a:cubicBezTo>
                          <a:pt x="74" y="20"/>
                          <a:pt x="74" y="20"/>
                          <a:pt x="74" y="20"/>
                        </a:cubicBezTo>
                        <a:cubicBezTo>
                          <a:pt x="75" y="20"/>
                          <a:pt x="75" y="20"/>
                          <a:pt x="75" y="20"/>
                        </a:cubicBezTo>
                        <a:cubicBezTo>
                          <a:pt x="75" y="20"/>
                          <a:pt x="75" y="20"/>
                          <a:pt x="75" y="20"/>
                        </a:cubicBezTo>
                        <a:cubicBezTo>
                          <a:pt x="75" y="20"/>
                          <a:pt x="74" y="20"/>
                          <a:pt x="74" y="20"/>
                        </a:cubicBezTo>
                        <a:close/>
                        <a:moveTo>
                          <a:pt x="74" y="20"/>
                        </a:moveTo>
                        <a:cubicBezTo>
                          <a:pt x="74" y="19"/>
                          <a:pt x="74" y="19"/>
                          <a:pt x="74" y="19"/>
                        </a:cubicBezTo>
                        <a:cubicBezTo>
                          <a:pt x="74" y="19"/>
                          <a:pt x="74" y="19"/>
                          <a:pt x="74" y="19"/>
                        </a:cubicBezTo>
                        <a:cubicBezTo>
                          <a:pt x="74" y="20"/>
                          <a:pt x="74" y="20"/>
                          <a:pt x="74" y="20"/>
                        </a:cubicBezTo>
                        <a:close/>
                        <a:moveTo>
                          <a:pt x="71" y="28"/>
                        </a:moveTo>
                        <a:cubicBezTo>
                          <a:pt x="71" y="28"/>
                          <a:pt x="71" y="28"/>
                          <a:pt x="71" y="28"/>
                        </a:cubicBezTo>
                        <a:cubicBezTo>
                          <a:pt x="71" y="28"/>
                          <a:pt x="71" y="28"/>
                          <a:pt x="71" y="28"/>
                        </a:cubicBezTo>
                        <a:close/>
                        <a:moveTo>
                          <a:pt x="71" y="22"/>
                        </a:moveTo>
                        <a:cubicBezTo>
                          <a:pt x="70" y="22"/>
                          <a:pt x="70" y="23"/>
                          <a:pt x="71" y="23"/>
                        </a:cubicBezTo>
                        <a:cubicBezTo>
                          <a:pt x="70" y="23"/>
                          <a:pt x="70" y="22"/>
                          <a:pt x="70" y="23"/>
                        </a:cubicBezTo>
                        <a:cubicBezTo>
                          <a:pt x="71" y="23"/>
                          <a:pt x="71" y="23"/>
                          <a:pt x="71" y="23"/>
                        </a:cubicBezTo>
                        <a:cubicBezTo>
                          <a:pt x="72" y="23"/>
                          <a:pt x="71" y="23"/>
                          <a:pt x="71" y="23"/>
                        </a:cubicBezTo>
                        <a:cubicBezTo>
                          <a:pt x="71" y="23"/>
                          <a:pt x="71" y="23"/>
                          <a:pt x="71" y="23"/>
                        </a:cubicBezTo>
                        <a:cubicBezTo>
                          <a:pt x="70" y="23"/>
                          <a:pt x="70" y="23"/>
                          <a:pt x="70" y="22"/>
                        </a:cubicBezTo>
                        <a:cubicBezTo>
                          <a:pt x="70" y="23"/>
                          <a:pt x="70" y="23"/>
                          <a:pt x="70" y="22"/>
                        </a:cubicBezTo>
                        <a:cubicBezTo>
                          <a:pt x="70" y="22"/>
                          <a:pt x="70" y="22"/>
                          <a:pt x="70" y="22"/>
                        </a:cubicBezTo>
                        <a:cubicBezTo>
                          <a:pt x="70" y="22"/>
                          <a:pt x="70" y="22"/>
                          <a:pt x="70" y="22"/>
                        </a:cubicBezTo>
                        <a:cubicBezTo>
                          <a:pt x="70" y="22"/>
                          <a:pt x="69" y="22"/>
                          <a:pt x="69" y="22"/>
                        </a:cubicBezTo>
                        <a:cubicBezTo>
                          <a:pt x="69" y="22"/>
                          <a:pt x="69" y="22"/>
                          <a:pt x="70" y="22"/>
                        </a:cubicBezTo>
                        <a:cubicBezTo>
                          <a:pt x="70" y="22"/>
                          <a:pt x="70" y="22"/>
                          <a:pt x="71" y="22"/>
                        </a:cubicBezTo>
                        <a:close/>
                        <a:moveTo>
                          <a:pt x="72" y="23"/>
                        </a:moveTo>
                        <a:cubicBezTo>
                          <a:pt x="72" y="23"/>
                          <a:pt x="72" y="23"/>
                          <a:pt x="72" y="23"/>
                        </a:cubicBezTo>
                        <a:cubicBezTo>
                          <a:pt x="72" y="23"/>
                          <a:pt x="72" y="23"/>
                          <a:pt x="72" y="23"/>
                        </a:cubicBezTo>
                        <a:cubicBezTo>
                          <a:pt x="72" y="24"/>
                          <a:pt x="72" y="23"/>
                          <a:pt x="72" y="23"/>
                        </a:cubicBezTo>
                        <a:cubicBezTo>
                          <a:pt x="72" y="23"/>
                          <a:pt x="72" y="23"/>
                          <a:pt x="72" y="23"/>
                        </a:cubicBezTo>
                        <a:cubicBezTo>
                          <a:pt x="72" y="23"/>
                          <a:pt x="71" y="23"/>
                          <a:pt x="71" y="23"/>
                        </a:cubicBezTo>
                        <a:cubicBezTo>
                          <a:pt x="72" y="23"/>
                          <a:pt x="72" y="23"/>
                          <a:pt x="72" y="23"/>
                        </a:cubicBezTo>
                        <a:close/>
                        <a:moveTo>
                          <a:pt x="70" y="27"/>
                        </a:moveTo>
                        <a:cubicBezTo>
                          <a:pt x="70" y="27"/>
                          <a:pt x="70" y="28"/>
                          <a:pt x="70" y="28"/>
                        </a:cubicBezTo>
                        <a:cubicBezTo>
                          <a:pt x="70" y="28"/>
                          <a:pt x="70" y="28"/>
                          <a:pt x="70" y="28"/>
                        </a:cubicBezTo>
                        <a:cubicBezTo>
                          <a:pt x="70" y="28"/>
                          <a:pt x="70" y="28"/>
                          <a:pt x="70" y="28"/>
                        </a:cubicBezTo>
                        <a:cubicBezTo>
                          <a:pt x="70" y="28"/>
                          <a:pt x="69" y="28"/>
                          <a:pt x="70" y="27"/>
                        </a:cubicBezTo>
                        <a:cubicBezTo>
                          <a:pt x="69" y="27"/>
                          <a:pt x="69" y="27"/>
                          <a:pt x="69" y="27"/>
                        </a:cubicBezTo>
                        <a:cubicBezTo>
                          <a:pt x="69" y="28"/>
                          <a:pt x="69" y="27"/>
                          <a:pt x="69" y="27"/>
                        </a:cubicBezTo>
                        <a:cubicBezTo>
                          <a:pt x="69" y="27"/>
                          <a:pt x="69" y="27"/>
                          <a:pt x="70" y="27"/>
                        </a:cubicBezTo>
                        <a:close/>
                        <a:moveTo>
                          <a:pt x="72" y="19"/>
                        </a:moveTo>
                        <a:cubicBezTo>
                          <a:pt x="72" y="19"/>
                          <a:pt x="71" y="19"/>
                          <a:pt x="71" y="19"/>
                        </a:cubicBezTo>
                        <a:cubicBezTo>
                          <a:pt x="71" y="19"/>
                          <a:pt x="71" y="19"/>
                          <a:pt x="71" y="18"/>
                        </a:cubicBezTo>
                        <a:cubicBezTo>
                          <a:pt x="71" y="18"/>
                          <a:pt x="71" y="19"/>
                          <a:pt x="71" y="19"/>
                        </a:cubicBezTo>
                        <a:cubicBezTo>
                          <a:pt x="71" y="18"/>
                          <a:pt x="71" y="18"/>
                          <a:pt x="71" y="18"/>
                        </a:cubicBezTo>
                        <a:cubicBezTo>
                          <a:pt x="71" y="18"/>
                          <a:pt x="71" y="18"/>
                          <a:pt x="71" y="18"/>
                        </a:cubicBezTo>
                        <a:cubicBezTo>
                          <a:pt x="71" y="18"/>
                          <a:pt x="71" y="18"/>
                          <a:pt x="71" y="18"/>
                        </a:cubicBezTo>
                        <a:cubicBezTo>
                          <a:pt x="71" y="18"/>
                          <a:pt x="71" y="18"/>
                          <a:pt x="72" y="18"/>
                        </a:cubicBezTo>
                        <a:cubicBezTo>
                          <a:pt x="72" y="18"/>
                          <a:pt x="72" y="18"/>
                          <a:pt x="72" y="18"/>
                        </a:cubicBezTo>
                        <a:cubicBezTo>
                          <a:pt x="72" y="18"/>
                          <a:pt x="72" y="19"/>
                          <a:pt x="72" y="19"/>
                        </a:cubicBezTo>
                        <a:cubicBezTo>
                          <a:pt x="72" y="19"/>
                          <a:pt x="72" y="19"/>
                          <a:pt x="71" y="18"/>
                        </a:cubicBezTo>
                        <a:cubicBezTo>
                          <a:pt x="71" y="19"/>
                          <a:pt x="72" y="19"/>
                          <a:pt x="72" y="19"/>
                        </a:cubicBezTo>
                        <a:close/>
                        <a:moveTo>
                          <a:pt x="69" y="28"/>
                        </a:moveTo>
                        <a:cubicBezTo>
                          <a:pt x="69" y="28"/>
                          <a:pt x="69" y="28"/>
                          <a:pt x="69" y="28"/>
                        </a:cubicBezTo>
                        <a:cubicBezTo>
                          <a:pt x="69" y="28"/>
                          <a:pt x="69" y="28"/>
                          <a:pt x="69" y="28"/>
                        </a:cubicBezTo>
                        <a:cubicBezTo>
                          <a:pt x="69" y="28"/>
                          <a:pt x="68" y="28"/>
                          <a:pt x="68" y="28"/>
                        </a:cubicBezTo>
                        <a:lnTo>
                          <a:pt x="69" y="28"/>
                        </a:lnTo>
                        <a:close/>
                        <a:moveTo>
                          <a:pt x="63" y="24"/>
                        </a:moveTo>
                        <a:cubicBezTo>
                          <a:pt x="63" y="25"/>
                          <a:pt x="63" y="24"/>
                          <a:pt x="63" y="24"/>
                        </a:cubicBezTo>
                        <a:cubicBezTo>
                          <a:pt x="63" y="24"/>
                          <a:pt x="63" y="24"/>
                          <a:pt x="63" y="24"/>
                        </a:cubicBezTo>
                        <a:cubicBezTo>
                          <a:pt x="63" y="24"/>
                          <a:pt x="64" y="25"/>
                          <a:pt x="64" y="24"/>
                        </a:cubicBezTo>
                        <a:cubicBezTo>
                          <a:pt x="64" y="24"/>
                          <a:pt x="64" y="24"/>
                          <a:pt x="64" y="24"/>
                        </a:cubicBezTo>
                        <a:cubicBezTo>
                          <a:pt x="64" y="25"/>
                          <a:pt x="64" y="25"/>
                          <a:pt x="64" y="25"/>
                        </a:cubicBezTo>
                        <a:cubicBezTo>
                          <a:pt x="64" y="25"/>
                          <a:pt x="64" y="25"/>
                          <a:pt x="64" y="25"/>
                        </a:cubicBezTo>
                        <a:cubicBezTo>
                          <a:pt x="64" y="25"/>
                          <a:pt x="64" y="25"/>
                          <a:pt x="63" y="24"/>
                        </a:cubicBezTo>
                        <a:close/>
                        <a:moveTo>
                          <a:pt x="60" y="23"/>
                        </a:moveTo>
                        <a:cubicBezTo>
                          <a:pt x="60" y="23"/>
                          <a:pt x="60" y="23"/>
                          <a:pt x="60" y="23"/>
                        </a:cubicBezTo>
                        <a:cubicBezTo>
                          <a:pt x="60" y="23"/>
                          <a:pt x="60" y="23"/>
                          <a:pt x="61" y="23"/>
                        </a:cubicBezTo>
                        <a:cubicBezTo>
                          <a:pt x="61" y="23"/>
                          <a:pt x="60" y="23"/>
                          <a:pt x="60" y="23"/>
                        </a:cubicBezTo>
                        <a:cubicBezTo>
                          <a:pt x="60" y="23"/>
                          <a:pt x="60" y="23"/>
                          <a:pt x="60" y="23"/>
                        </a:cubicBezTo>
                        <a:cubicBezTo>
                          <a:pt x="60" y="23"/>
                          <a:pt x="59" y="23"/>
                          <a:pt x="59" y="22"/>
                        </a:cubicBezTo>
                        <a:cubicBezTo>
                          <a:pt x="59" y="23"/>
                          <a:pt x="59" y="23"/>
                          <a:pt x="60" y="23"/>
                        </a:cubicBezTo>
                        <a:close/>
                        <a:moveTo>
                          <a:pt x="63" y="25"/>
                        </a:moveTo>
                        <a:cubicBezTo>
                          <a:pt x="62" y="25"/>
                          <a:pt x="62" y="25"/>
                          <a:pt x="62" y="25"/>
                        </a:cubicBezTo>
                        <a:cubicBezTo>
                          <a:pt x="62" y="24"/>
                          <a:pt x="62" y="25"/>
                          <a:pt x="62" y="24"/>
                        </a:cubicBezTo>
                        <a:cubicBezTo>
                          <a:pt x="63" y="24"/>
                          <a:pt x="63" y="25"/>
                          <a:pt x="63" y="25"/>
                        </a:cubicBezTo>
                        <a:cubicBezTo>
                          <a:pt x="63" y="25"/>
                          <a:pt x="62" y="24"/>
                          <a:pt x="63" y="25"/>
                        </a:cubicBezTo>
                        <a:close/>
                        <a:moveTo>
                          <a:pt x="60" y="22"/>
                        </a:moveTo>
                        <a:cubicBezTo>
                          <a:pt x="61" y="22"/>
                          <a:pt x="61" y="22"/>
                          <a:pt x="61" y="22"/>
                        </a:cubicBezTo>
                        <a:cubicBezTo>
                          <a:pt x="61" y="22"/>
                          <a:pt x="61" y="22"/>
                          <a:pt x="61" y="22"/>
                        </a:cubicBezTo>
                        <a:cubicBezTo>
                          <a:pt x="61" y="22"/>
                          <a:pt x="61" y="22"/>
                          <a:pt x="61" y="22"/>
                        </a:cubicBezTo>
                        <a:cubicBezTo>
                          <a:pt x="61" y="22"/>
                          <a:pt x="61" y="22"/>
                          <a:pt x="60" y="22"/>
                        </a:cubicBezTo>
                        <a:close/>
                        <a:moveTo>
                          <a:pt x="59" y="22"/>
                        </a:moveTo>
                        <a:cubicBezTo>
                          <a:pt x="59" y="22"/>
                          <a:pt x="59" y="22"/>
                          <a:pt x="59" y="22"/>
                        </a:cubicBezTo>
                        <a:cubicBezTo>
                          <a:pt x="59" y="22"/>
                          <a:pt x="59" y="22"/>
                          <a:pt x="59" y="21"/>
                        </a:cubicBezTo>
                        <a:cubicBezTo>
                          <a:pt x="58" y="21"/>
                          <a:pt x="58" y="22"/>
                          <a:pt x="58" y="21"/>
                        </a:cubicBezTo>
                        <a:cubicBezTo>
                          <a:pt x="58" y="21"/>
                          <a:pt x="58" y="21"/>
                          <a:pt x="58" y="21"/>
                        </a:cubicBezTo>
                        <a:cubicBezTo>
                          <a:pt x="58" y="21"/>
                          <a:pt x="59" y="21"/>
                          <a:pt x="59" y="21"/>
                        </a:cubicBezTo>
                        <a:cubicBezTo>
                          <a:pt x="58" y="21"/>
                          <a:pt x="58" y="21"/>
                          <a:pt x="58" y="21"/>
                        </a:cubicBezTo>
                        <a:cubicBezTo>
                          <a:pt x="58" y="21"/>
                          <a:pt x="58" y="21"/>
                          <a:pt x="59" y="21"/>
                        </a:cubicBezTo>
                        <a:cubicBezTo>
                          <a:pt x="59" y="21"/>
                          <a:pt x="58" y="21"/>
                          <a:pt x="58" y="21"/>
                        </a:cubicBezTo>
                        <a:cubicBezTo>
                          <a:pt x="58" y="21"/>
                          <a:pt x="59" y="21"/>
                          <a:pt x="59" y="21"/>
                        </a:cubicBezTo>
                        <a:cubicBezTo>
                          <a:pt x="59" y="21"/>
                          <a:pt x="59" y="21"/>
                          <a:pt x="59" y="21"/>
                        </a:cubicBezTo>
                        <a:cubicBezTo>
                          <a:pt x="59" y="21"/>
                          <a:pt x="60" y="21"/>
                          <a:pt x="60" y="22"/>
                        </a:cubicBezTo>
                        <a:cubicBezTo>
                          <a:pt x="59" y="22"/>
                          <a:pt x="59" y="21"/>
                          <a:pt x="59" y="21"/>
                        </a:cubicBezTo>
                        <a:cubicBezTo>
                          <a:pt x="59" y="22"/>
                          <a:pt x="59" y="22"/>
                          <a:pt x="59" y="22"/>
                        </a:cubicBezTo>
                        <a:cubicBezTo>
                          <a:pt x="60" y="22"/>
                          <a:pt x="60" y="22"/>
                          <a:pt x="60" y="22"/>
                        </a:cubicBezTo>
                        <a:cubicBezTo>
                          <a:pt x="60" y="22"/>
                          <a:pt x="60" y="22"/>
                          <a:pt x="60" y="22"/>
                        </a:cubicBezTo>
                        <a:cubicBezTo>
                          <a:pt x="60" y="22"/>
                          <a:pt x="60" y="22"/>
                          <a:pt x="60" y="22"/>
                        </a:cubicBezTo>
                        <a:cubicBezTo>
                          <a:pt x="60" y="22"/>
                          <a:pt x="60" y="22"/>
                          <a:pt x="60" y="22"/>
                        </a:cubicBezTo>
                        <a:cubicBezTo>
                          <a:pt x="60" y="22"/>
                          <a:pt x="60" y="21"/>
                          <a:pt x="60" y="22"/>
                        </a:cubicBezTo>
                        <a:cubicBezTo>
                          <a:pt x="60" y="22"/>
                          <a:pt x="60" y="21"/>
                          <a:pt x="60" y="21"/>
                        </a:cubicBezTo>
                        <a:cubicBezTo>
                          <a:pt x="60" y="21"/>
                          <a:pt x="60" y="21"/>
                          <a:pt x="60" y="21"/>
                        </a:cubicBezTo>
                        <a:cubicBezTo>
                          <a:pt x="60" y="22"/>
                          <a:pt x="60" y="22"/>
                          <a:pt x="61" y="22"/>
                        </a:cubicBezTo>
                        <a:cubicBezTo>
                          <a:pt x="61" y="22"/>
                          <a:pt x="60" y="22"/>
                          <a:pt x="60" y="22"/>
                        </a:cubicBezTo>
                        <a:cubicBezTo>
                          <a:pt x="60" y="22"/>
                          <a:pt x="60" y="22"/>
                          <a:pt x="61" y="22"/>
                        </a:cubicBezTo>
                        <a:cubicBezTo>
                          <a:pt x="61" y="22"/>
                          <a:pt x="61" y="22"/>
                          <a:pt x="61" y="22"/>
                        </a:cubicBezTo>
                        <a:cubicBezTo>
                          <a:pt x="61" y="22"/>
                          <a:pt x="61" y="22"/>
                          <a:pt x="61" y="22"/>
                        </a:cubicBezTo>
                        <a:cubicBezTo>
                          <a:pt x="61" y="22"/>
                          <a:pt x="61" y="22"/>
                          <a:pt x="61" y="22"/>
                        </a:cubicBezTo>
                        <a:cubicBezTo>
                          <a:pt x="62" y="22"/>
                          <a:pt x="62" y="22"/>
                          <a:pt x="62" y="22"/>
                        </a:cubicBezTo>
                        <a:cubicBezTo>
                          <a:pt x="62" y="22"/>
                          <a:pt x="62" y="23"/>
                          <a:pt x="62" y="23"/>
                        </a:cubicBezTo>
                        <a:cubicBezTo>
                          <a:pt x="62" y="23"/>
                          <a:pt x="63" y="23"/>
                          <a:pt x="63" y="23"/>
                        </a:cubicBezTo>
                        <a:cubicBezTo>
                          <a:pt x="63" y="23"/>
                          <a:pt x="63" y="23"/>
                          <a:pt x="63" y="23"/>
                        </a:cubicBezTo>
                        <a:cubicBezTo>
                          <a:pt x="63" y="23"/>
                          <a:pt x="63" y="23"/>
                          <a:pt x="62" y="23"/>
                        </a:cubicBezTo>
                        <a:cubicBezTo>
                          <a:pt x="62" y="23"/>
                          <a:pt x="62" y="23"/>
                          <a:pt x="62" y="23"/>
                        </a:cubicBezTo>
                        <a:cubicBezTo>
                          <a:pt x="62" y="23"/>
                          <a:pt x="62" y="23"/>
                          <a:pt x="62" y="23"/>
                        </a:cubicBezTo>
                        <a:cubicBezTo>
                          <a:pt x="62" y="23"/>
                          <a:pt x="62" y="23"/>
                          <a:pt x="62" y="23"/>
                        </a:cubicBezTo>
                        <a:cubicBezTo>
                          <a:pt x="61" y="22"/>
                          <a:pt x="62" y="23"/>
                          <a:pt x="61" y="23"/>
                        </a:cubicBezTo>
                        <a:cubicBezTo>
                          <a:pt x="61" y="23"/>
                          <a:pt x="61" y="23"/>
                          <a:pt x="61" y="23"/>
                        </a:cubicBezTo>
                        <a:cubicBezTo>
                          <a:pt x="61" y="23"/>
                          <a:pt x="61" y="23"/>
                          <a:pt x="61" y="23"/>
                        </a:cubicBezTo>
                        <a:cubicBezTo>
                          <a:pt x="61" y="23"/>
                          <a:pt x="61" y="23"/>
                          <a:pt x="61" y="23"/>
                        </a:cubicBezTo>
                        <a:cubicBezTo>
                          <a:pt x="61" y="23"/>
                          <a:pt x="61" y="23"/>
                          <a:pt x="60" y="23"/>
                        </a:cubicBezTo>
                        <a:cubicBezTo>
                          <a:pt x="60" y="23"/>
                          <a:pt x="61" y="23"/>
                          <a:pt x="61" y="23"/>
                        </a:cubicBezTo>
                        <a:cubicBezTo>
                          <a:pt x="60" y="22"/>
                          <a:pt x="60" y="23"/>
                          <a:pt x="60" y="23"/>
                        </a:cubicBezTo>
                        <a:cubicBezTo>
                          <a:pt x="60" y="22"/>
                          <a:pt x="60" y="22"/>
                          <a:pt x="60" y="22"/>
                        </a:cubicBezTo>
                        <a:cubicBezTo>
                          <a:pt x="60" y="22"/>
                          <a:pt x="60" y="22"/>
                          <a:pt x="60" y="22"/>
                        </a:cubicBezTo>
                        <a:cubicBezTo>
                          <a:pt x="60" y="22"/>
                          <a:pt x="60" y="22"/>
                          <a:pt x="60" y="22"/>
                        </a:cubicBezTo>
                        <a:cubicBezTo>
                          <a:pt x="60" y="22"/>
                          <a:pt x="59" y="22"/>
                          <a:pt x="59" y="22"/>
                        </a:cubicBezTo>
                        <a:cubicBezTo>
                          <a:pt x="59" y="22"/>
                          <a:pt x="59" y="22"/>
                          <a:pt x="59" y="22"/>
                        </a:cubicBezTo>
                        <a:close/>
                        <a:moveTo>
                          <a:pt x="61" y="22"/>
                        </a:moveTo>
                        <a:cubicBezTo>
                          <a:pt x="61" y="23"/>
                          <a:pt x="61" y="22"/>
                          <a:pt x="61" y="22"/>
                        </a:cubicBezTo>
                        <a:cubicBezTo>
                          <a:pt x="61" y="22"/>
                          <a:pt x="61" y="22"/>
                          <a:pt x="61" y="22"/>
                        </a:cubicBezTo>
                        <a:cubicBezTo>
                          <a:pt x="61" y="22"/>
                          <a:pt x="61" y="22"/>
                          <a:pt x="61" y="22"/>
                        </a:cubicBezTo>
                        <a:close/>
                        <a:moveTo>
                          <a:pt x="63" y="24"/>
                        </a:moveTo>
                        <a:cubicBezTo>
                          <a:pt x="62" y="24"/>
                          <a:pt x="62" y="24"/>
                          <a:pt x="62" y="24"/>
                        </a:cubicBezTo>
                        <a:cubicBezTo>
                          <a:pt x="62" y="24"/>
                          <a:pt x="63" y="24"/>
                          <a:pt x="63" y="24"/>
                        </a:cubicBezTo>
                        <a:close/>
                        <a:moveTo>
                          <a:pt x="62" y="22"/>
                        </a:moveTo>
                        <a:cubicBezTo>
                          <a:pt x="62" y="22"/>
                          <a:pt x="62" y="22"/>
                          <a:pt x="61" y="22"/>
                        </a:cubicBezTo>
                        <a:cubicBezTo>
                          <a:pt x="61" y="22"/>
                          <a:pt x="62" y="22"/>
                          <a:pt x="61" y="22"/>
                        </a:cubicBezTo>
                        <a:cubicBezTo>
                          <a:pt x="61" y="21"/>
                          <a:pt x="62" y="22"/>
                          <a:pt x="62" y="22"/>
                        </a:cubicBezTo>
                        <a:cubicBezTo>
                          <a:pt x="62" y="22"/>
                          <a:pt x="62" y="22"/>
                          <a:pt x="63" y="22"/>
                        </a:cubicBezTo>
                        <a:cubicBezTo>
                          <a:pt x="63" y="22"/>
                          <a:pt x="62" y="22"/>
                          <a:pt x="62" y="22"/>
                        </a:cubicBezTo>
                        <a:cubicBezTo>
                          <a:pt x="62" y="22"/>
                          <a:pt x="62" y="22"/>
                          <a:pt x="62" y="22"/>
                        </a:cubicBezTo>
                        <a:close/>
                        <a:moveTo>
                          <a:pt x="61" y="25"/>
                        </a:move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1" y="25"/>
                          <a:pt x="61" y="25"/>
                        </a:cubicBezTo>
                        <a:close/>
                        <a:moveTo>
                          <a:pt x="62" y="19"/>
                        </a:moveTo>
                        <a:cubicBezTo>
                          <a:pt x="62" y="19"/>
                          <a:pt x="62" y="19"/>
                          <a:pt x="62" y="19"/>
                        </a:cubicBezTo>
                        <a:cubicBezTo>
                          <a:pt x="62" y="19"/>
                          <a:pt x="62" y="19"/>
                          <a:pt x="63" y="19"/>
                        </a:cubicBezTo>
                        <a:cubicBezTo>
                          <a:pt x="62" y="19"/>
                          <a:pt x="62" y="19"/>
                          <a:pt x="62" y="19"/>
                        </a:cubicBezTo>
                        <a:close/>
                        <a:moveTo>
                          <a:pt x="61" y="25"/>
                        </a:move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0" y="25"/>
                          <a:pt x="60" y="25"/>
                        </a:cubicBezTo>
                        <a:cubicBezTo>
                          <a:pt x="60" y="25"/>
                          <a:pt x="60" y="25"/>
                          <a:pt x="60" y="25"/>
                        </a:cubicBezTo>
                        <a:cubicBezTo>
                          <a:pt x="61" y="25"/>
                          <a:pt x="61" y="25"/>
                          <a:pt x="61" y="25"/>
                        </a:cubicBezTo>
                        <a:cubicBezTo>
                          <a:pt x="61" y="25"/>
                          <a:pt x="61" y="25"/>
                          <a:pt x="61" y="25"/>
                        </a:cubicBezTo>
                        <a:close/>
                        <a:moveTo>
                          <a:pt x="60" y="24"/>
                        </a:moveTo>
                        <a:cubicBezTo>
                          <a:pt x="60" y="24"/>
                          <a:pt x="60" y="24"/>
                          <a:pt x="60" y="24"/>
                        </a:cubicBezTo>
                        <a:cubicBezTo>
                          <a:pt x="60" y="24"/>
                          <a:pt x="60" y="24"/>
                          <a:pt x="60" y="24"/>
                        </a:cubicBezTo>
                        <a:cubicBezTo>
                          <a:pt x="60" y="24"/>
                          <a:pt x="60" y="24"/>
                          <a:pt x="60" y="24"/>
                        </a:cubicBezTo>
                        <a:cubicBezTo>
                          <a:pt x="60" y="24"/>
                          <a:pt x="60" y="24"/>
                          <a:pt x="60" y="24"/>
                        </a:cubicBezTo>
                        <a:cubicBezTo>
                          <a:pt x="60" y="24"/>
                          <a:pt x="60" y="24"/>
                          <a:pt x="60" y="24"/>
                        </a:cubicBezTo>
                        <a:cubicBezTo>
                          <a:pt x="60" y="24"/>
                          <a:pt x="60" y="24"/>
                          <a:pt x="60" y="24"/>
                        </a:cubicBezTo>
                        <a:cubicBezTo>
                          <a:pt x="60" y="24"/>
                          <a:pt x="60" y="24"/>
                          <a:pt x="60" y="24"/>
                        </a:cubicBezTo>
                        <a:close/>
                        <a:moveTo>
                          <a:pt x="57" y="23"/>
                        </a:moveTo>
                        <a:cubicBezTo>
                          <a:pt x="57" y="23"/>
                          <a:pt x="57" y="23"/>
                          <a:pt x="57" y="23"/>
                        </a:cubicBezTo>
                        <a:cubicBezTo>
                          <a:pt x="57" y="23"/>
                          <a:pt x="58" y="23"/>
                          <a:pt x="58" y="23"/>
                        </a:cubicBezTo>
                        <a:cubicBezTo>
                          <a:pt x="58" y="24"/>
                          <a:pt x="59" y="24"/>
                          <a:pt x="59" y="24"/>
                        </a:cubicBezTo>
                        <a:cubicBezTo>
                          <a:pt x="59" y="24"/>
                          <a:pt x="59" y="24"/>
                          <a:pt x="59" y="24"/>
                        </a:cubicBezTo>
                        <a:cubicBezTo>
                          <a:pt x="58" y="24"/>
                          <a:pt x="58" y="24"/>
                          <a:pt x="58" y="24"/>
                        </a:cubicBezTo>
                        <a:cubicBezTo>
                          <a:pt x="58" y="24"/>
                          <a:pt x="57" y="23"/>
                          <a:pt x="57" y="23"/>
                        </a:cubicBezTo>
                        <a:cubicBezTo>
                          <a:pt x="57" y="23"/>
                          <a:pt x="57" y="23"/>
                          <a:pt x="57" y="23"/>
                        </a:cubicBezTo>
                        <a:cubicBezTo>
                          <a:pt x="57" y="23"/>
                          <a:pt x="57" y="23"/>
                          <a:pt x="57" y="23"/>
                        </a:cubicBezTo>
                        <a:cubicBezTo>
                          <a:pt x="57" y="24"/>
                          <a:pt x="57" y="23"/>
                          <a:pt x="56" y="23"/>
                        </a:cubicBezTo>
                        <a:cubicBezTo>
                          <a:pt x="56" y="23"/>
                          <a:pt x="56" y="23"/>
                          <a:pt x="56" y="23"/>
                        </a:cubicBezTo>
                        <a:cubicBezTo>
                          <a:pt x="55" y="23"/>
                          <a:pt x="55" y="23"/>
                          <a:pt x="55" y="23"/>
                        </a:cubicBezTo>
                        <a:cubicBezTo>
                          <a:pt x="56" y="23"/>
                          <a:pt x="56" y="23"/>
                          <a:pt x="57" y="23"/>
                        </a:cubicBezTo>
                        <a:cubicBezTo>
                          <a:pt x="57" y="23"/>
                          <a:pt x="57" y="23"/>
                          <a:pt x="57" y="23"/>
                        </a:cubicBezTo>
                        <a:cubicBezTo>
                          <a:pt x="57" y="23"/>
                          <a:pt x="57" y="23"/>
                          <a:pt x="57" y="23"/>
                        </a:cubicBezTo>
                        <a:cubicBezTo>
                          <a:pt x="57" y="23"/>
                          <a:pt x="57" y="23"/>
                          <a:pt x="57" y="23"/>
                        </a:cubicBezTo>
                        <a:cubicBezTo>
                          <a:pt x="56" y="23"/>
                          <a:pt x="57" y="23"/>
                          <a:pt x="57" y="23"/>
                        </a:cubicBezTo>
                        <a:cubicBezTo>
                          <a:pt x="57" y="23"/>
                          <a:pt x="57" y="23"/>
                          <a:pt x="57" y="23"/>
                        </a:cubicBezTo>
                        <a:cubicBezTo>
                          <a:pt x="56" y="23"/>
                          <a:pt x="56" y="23"/>
                          <a:pt x="56" y="23"/>
                        </a:cubicBezTo>
                        <a:cubicBezTo>
                          <a:pt x="56" y="22"/>
                          <a:pt x="57" y="23"/>
                          <a:pt x="57" y="23"/>
                        </a:cubicBezTo>
                        <a:close/>
                        <a:moveTo>
                          <a:pt x="57" y="22"/>
                        </a:moveTo>
                        <a:cubicBezTo>
                          <a:pt x="57" y="22"/>
                          <a:pt x="57" y="22"/>
                          <a:pt x="57" y="22"/>
                        </a:cubicBezTo>
                        <a:cubicBezTo>
                          <a:pt x="57" y="22"/>
                          <a:pt x="57" y="22"/>
                          <a:pt x="57" y="22"/>
                        </a:cubicBezTo>
                        <a:cubicBezTo>
                          <a:pt x="57" y="22"/>
                          <a:pt x="57" y="22"/>
                          <a:pt x="57" y="22"/>
                        </a:cubicBezTo>
                        <a:cubicBezTo>
                          <a:pt x="56" y="22"/>
                          <a:pt x="57" y="22"/>
                          <a:pt x="56" y="22"/>
                        </a:cubicBezTo>
                        <a:cubicBezTo>
                          <a:pt x="56" y="22"/>
                          <a:pt x="56" y="22"/>
                          <a:pt x="56" y="22"/>
                        </a:cubicBezTo>
                        <a:cubicBezTo>
                          <a:pt x="56" y="22"/>
                          <a:pt x="56" y="22"/>
                          <a:pt x="56" y="22"/>
                        </a:cubicBezTo>
                        <a:cubicBezTo>
                          <a:pt x="56" y="22"/>
                          <a:pt x="57" y="22"/>
                          <a:pt x="56" y="22"/>
                        </a:cubicBezTo>
                        <a:cubicBezTo>
                          <a:pt x="57" y="22"/>
                          <a:pt x="57" y="22"/>
                          <a:pt x="57" y="22"/>
                        </a:cubicBezTo>
                        <a:close/>
                        <a:moveTo>
                          <a:pt x="59" y="22"/>
                        </a:moveTo>
                        <a:cubicBezTo>
                          <a:pt x="59" y="22"/>
                          <a:pt x="58" y="22"/>
                          <a:pt x="58" y="22"/>
                        </a:cubicBezTo>
                        <a:cubicBezTo>
                          <a:pt x="58" y="22"/>
                          <a:pt x="58" y="22"/>
                          <a:pt x="58" y="22"/>
                        </a:cubicBezTo>
                        <a:cubicBezTo>
                          <a:pt x="58" y="22"/>
                          <a:pt x="58" y="22"/>
                          <a:pt x="59" y="22"/>
                        </a:cubicBezTo>
                        <a:close/>
                        <a:moveTo>
                          <a:pt x="57" y="22"/>
                        </a:moveTo>
                        <a:cubicBezTo>
                          <a:pt x="57" y="22"/>
                          <a:pt x="57" y="22"/>
                          <a:pt x="58" y="22"/>
                        </a:cubicBezTo>
                        <a:cubicBezTo>
                          <a:pt x="58" y="22"/>
                          <a:pt x="58" y="22"/>
                          <a:pt x="58" y="22"/>
                        </a:cubicBezTo>
                        <a:cubicBezTo>
                          <a:pt x="58" y="22"/>
                          <a:pt x="57" y="22"/>
                          <a:pt x="57" y="22"/>
                        </a:cubicBezTo>
                        <a:close/>
                        <a:moveTo>
                          <a:pt x="58" y="22"/>
                        </a:moveTo>
                        <a:cubicBezTo>
                          <a:pt x="58" y="22"/>
                          <a:pt x="58" y="22"/>
                          <a:pt x="58" y="22"/>
                        </a:cubicBezTo>
                        <a:cubicBezTo>
                          <a:pt x="58" y="22"/>
                          <a:pt x="58" y="22"/>
                          <a:pt x="58" y="22"/>
                        </a:cubicBezTo>
                        <a:cubicBezTo>
                          <a:pt x="58" y="22"/>
                          <a:pt x="58" y="22"/>
                          <a:pt x="58" y="22"/>
                        </a:cubicBezTo>
                        <a:cubicBezTo>
                          <a:pt x="58" y="22"/>
                          <a:pt x="58" y="22"/>
                          <a:pt x="58" y="22"/>
                        </a:cubicBezTo>
                        <a:close/>
                        <a:moveTo>
                          <a:pt x="58" y="23"/>
                        </a:moveTo>
                        <a:cubicBezTo>
                          <a:pt x="58" y="23"/>
                          <a:pt x="58" y="23"/>
                          <a:pt x="58" y="23"/>
                        </a:cubicBezTo>
                        <a:cubicBezTo>
                          <a:pt x="58" y="23"/>
                          <a:pt x="57" y="23"/>
                          <a:pt x="57" y="23"/>
                        </a:cubicBezTo>
                        <a:lnTo>
                          <a:pt x="58" y="23"/>
                        </a:lnTo>
                        <a:close/>
                        <a:moveTo>
                          <a:pt x="56" y="21"/>
                        </a:moveTo>
                        <a:cubicBezTo>
                          <a:pt x="56" y="21"/>
                          <a:pt x="56" y="21"/>
                          <a:pt x="56" y="21"/>
                        </a:cubicBezTo>
                        <a:cubicBezTo>
                          <a:pt x="56" y="21"/>
                          <a:pt x="56" y="21"/>
                          <a:pt x="56" y="21"/>
                        </a:cubicBezTo>
                        <a:cubicBezTo>
                          <a:pt x="56" y="21"/>
                          <a:pt x="57" y="21"/>
                          <a:pt x="57" y="21"/>
                        </a:cubicBezTo>
                        <a:cubicBezTo>
                          <a:pt x="57" y="21"/>
                          <a:pt x="56" y="21"/>
                          <a:pt x="56" y="21"/>
                        </a:cubicBezTo>
                        <a:close/>
                        <a:moveTo>
                          <a:pt x="54" y="23"/>
                        </a:moveTo>
                        <a:cubicBezTo>
                          <a:pt x="54" y="23"/>
                          <a:pt x="54" y="23"/>
                          <a:pt x="54" y="23"/>
                        </a:cubicBezTo>
                        <a:cubicBezTo>
                          <a:pt x="54" y="23"/>
                          <a:pt x="54" y="23"/>
                          <a:pt x="54" y="23"/>
                        </a:cubicBezTo>
                        <a:cubicBezTo>
                          <a:pt x="54" y="23"/>
                          <a:pt x="54" y="23"/>
                          <a:pt x="54" y="23"/>
                        </a:cubicBezTo>
                        <a:cubicBezTo>
                          <a:pt x="54" y="22"/>
                          <a:pt x="54" y="23"/>
                          <a:pt x="54" y="23"/>
                        </a:cubicBezTo>
                        <a:close/>
                        <a:moveTo>
                          <a:pt x="54" y="23"/>
                        </a:moveTo>
                        <a:cubicBezTo>
                          <a:pt x="54" y="23"/>
                          <a:pt x="54" y="23"/>
                          <a:pt x="54" y="23"/>
                        </a:cubicBezTo>
                        <a:cubicBezTo>
                          <a:pt x="54" y="23"/>
                          <a:pt x="54" y="23"/>
                          <a:pt x="54" y="23"/>
                        </a:cubicBezTo>
                        <a:close/>
                        <a:moveTo>
                          <a:pt x="52" y="19"/>
                        </a:moveTo>
                        <a:cubicBezTo>
                          <a:pt x="52" y="19"/>
                          <a:pt x="52" y="19"/>
                          <a:pt x="51" y="19"/>
                        </a:cubicBezTo>
                        <a:cubicBezTo>
                          <a:pt x="52" y="19"/>
                          <a:pt x="51" y="19"/>
                          <a:pt x="52" y="19"/>
                        </a:cubicBezTo>
                        <a:cubicBezTo>
                          <a:pt x="52" y="19"/>
                          <a:pt x="52" y="19"/>
                          <a:pt x="52" y="19"/>
                        </a:cubicBezTo>
                        <a:cubicBezTo>
                          <a:pt x="52" y="19"/>
                          <a:pt x="52" y="19"/>
                          <a:pt x="52" y="19"/>
                        </a:cubicBezTo>
                        <a:close/>
                        <a:moveTo>
                          <a:pt x="51" y="19"/>
                        </a:moveTo>
                        <a:cubicBezTo>
                          <a:pt x="51" y="19"/>
                          <a:pt x="51" y="19"/>
                          <a:pt x="51" y="19"/>
                        </a:cubicBezTo>
                        <a:cubicBezTo>
                          <a:pt x="51" y="19"/>
                          <a:pt x="51" y="19"/>
                          <a:pt x="50" y="19"/>
                        </a:cubicBezTo>
                        <a:cubicBezTo>
                          <a:pt x="50" y="19"/>
                          <a:pt x="51" y="19"/>
                          <a:pt x="51" y="19"/>
                        </a:cubicBezTo>
                        <a:cubicBezTo>
                          <a:pt x="51" y="19"/>
                          <a:pt x="51" y="19"/>
                          <a:pt x="51" y="19"/>
                        </a:cubicBezTo>
                        <a:cubicBezTo>
                          <a:pt x="51" y="19"/>
                          <a:pt x="51" y="19"/>
                          <a:pt x="51" y="19"/>
                        </a:cubicBezTo>
                        <a:cubicBezTo>
                          <a:pt x="51" y="19"/>
                          <a:pt x="51" y="19"/>
                          <a:pt x="52" y="19"/>
                        </a:cubicBezTo>
                        <a:cubicBezTo>
                          <a:pt x="51" y="19"/>
                          <a:pt x="51" y="19"/>
                          <a:pt x="51" y="19"/>
                        </a:cubicBezTo>
                        <a:cubicBezTo>
                          <a:pt x="51" y="19"/>
                          <a:pt x="51" y="19"/>
                          <a:pt x="51" y="19"/>
                        </a:cubicBezTo>
                        <a:cubicBezTo>
                          <a:pt x="51" y="19"/>
                          <a:pt x="51" y="19"/>
                          <a:pt x="51" y="19"/>
                        </a:cubicBezTo>
                        <a:cubicBezTo>
                          <a:pt x="51" y="19"/>
                          <a:pt x="51" y="19"/>
                          <a:pt x="51" y="19"/>
                        </a:cubicBezTo>
                        <a:close/>
                        <a:moveTo>
                          <a:pt x="47" y="20"/>
                        </a:moveTo>
                        <a:cubicBezTo>
                          <a:pt x="46" y="20"/>
                          <a:pt x="46" y="19"/>
                          <a:pt x="46" y="19"/>
                        </a:cubicBezTo>
                        <a:cubicBezTo>
                          <a:pt x="45" y="19"/>
                          <a:pt x="44" y="19"/>
                          <a:pt x="46" y="19"/>
                        </a:cubicBezTo>
                        <a:cubicBezTo>
                          <a:pt x="46" y="19"/>
                          <a:pt x="46" y="19"/>
                          <a:pt x="45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7" y="20"/>
                          <a:pt x="47" y="19"/>
                          <a:pt x="47" y="19"/>
                        </a:cubicBezTo>
                        <a:cubicBezTo>
                          <a:pt x="47" y="19"/>
                          <a:pt x="47" y="20"/>
                          <a:pt x="47" y="20"/>
                        </a:cubicBezTo>
                        <a:cubicBezTo>
                          <a:pt x="47" y="20"/>
                          <a:pt x="47" y="20"/>
                          <a:pt x="47" y="20"/>
                        </a:cubicBezTo>
                        <a:close/>
                        <a:moveTo>
                          <a:pt x="46" y="19"/>
                        </a:moveTo>
                        <a:cubicBezTo>
                          <a:pt x="46" y="19"/>
                          <a:pt x="46" y="19"/>
                          <a:pt x="46" y="19"/>
                        </a:cubicBezTo>
                        <a:cubicBezTo>
                          <a:pt x="46" y="19"/>
                          <a:pt x="46" y="19"/>
                          <a:pt x="46" y="19"/>
                        </a:cubicBezTo>
                        <a:close/>
                        <a:moveTo>
                          <a:pt x="45" y="20"/>
                        </a:moveTo>
                        <a:cubicBezTo>
                          <a:pt x="46" y="20"/>
                          <a:pt x="46" y="20"/>
                          <a:pt x="46" y="20"/>
                        </a:cubicBezTo>
                        <a:cubicBezTo>
                          <a:pt x="46" y="21"/>
                          <a:pt x="46" y="20"/>
                          <a:pt x="46" y="20"/>
                        </a:cubicBezTo>
                        <a:cubicBezTo>
                          <a:pt x="46" y="20"/>
                          <a:pt x="46" y="20"/>
                          <a:pt x="46" y="20"/>
                        </a:cubicBezTo>
                        <a:cubicBezTo>
                          <a:pt x="46" y="20"/>
                          <a:pt x="46" y="20"/>
                          <a:pt x="45" y="20"/>
                        </a:cubicBezTo>
                        <a:cubicBezTo>
                          <a:pt x="45" y="20"/>
                          <a:pt x="45" y="20"/>
                          <a:pt x="45" y="20"/>
                        </a:cubicBezTo>
                        <a:close/>
                        <a:moveTo>
                          <a:pt x="45" y="20"/>
                        </a:moveTo>
                        <a:cubicBezTo>
                          <a:pt x="44" y="20"/>
                          <a:pt x="45" y="20"/>
                          <a:pt x="45" y="20"/>
                        </a:cubicBezTo>
                        <a:cubicBezTo>
                          <a:pt x="45" y="20"/>
                          <a:pt x="44" y="20"/>
                          <a:pt x="44" y="20"/>
                        </a:cubicBezTo>
                        <a:cubicBezTo>
                          <a:pt x="44" y="20"/>
                          <a:pt x="44" y="20"/>
                          <a:pt x="44" y="20"/>
                        </a:cubicBezTo>
                        <a:cubicBezTo>
                          <a:pt x="44" y="19"/>
                          <a:pt x="44" y="20"/>
                          <a:pt x="45" y="20"/>
                        </a:cubicBezTo>
                        <a:close/>
                        <a:moveTo>
                          <a:pt x="41" y="18"/>
                        </a:moveTo>
                        <a:cubicBezTo>
                          <a:pt x="41" y="18"/>
                          <a:pt x="40" y="18"/>
                          <a:pt x="40" y="18"/>
                        </a:cubicBezTo>
                        <a:cubicBezTo>
                          <a:pt x="40" y="18"/>
                          <a:pt x="40" y="18"/>
                          <a:pt x="40" y="18"/>
                        </a:cubicBezTo>
                        <a:cubicBezTo>
                          <a:pt x="39" y="18"/>
                          <a:pt x="39" y="17"/>
                          <a:pt x="38" y="17"/>
                        </a:cubicBezTo>
                        <a:cubicBezTo>
                          <a:pt x="38" y="17"/>
                          <a:pt x="38" y="17"/>
                          <a:pt x="38" y="17"/>
                        </a:cubicBezTo>
                        <a:cubicBezTo>
                          <a:pt x="37" y="17"/>
                          <a:pt x="37" y="17"/>
                          <a:pt x="37" y="17"/>
                        </a:cubicBezTo>
                        <a:cubicBezTo>
                          <a:pt x="37" y="17"/>
                          <a:pt x="37" y="17"/>
                          <a:pt x="37" y="17"/>
                        </a:cubicBezTo>
                        <a:cubicBezTo>
                          <a:pt x="37" y="17"/>
                          <a:pt x="37" y="17"/>
                          <a:pt x="37" y="17"/>
                        </a:cubicBezTo>
                        <a:cubicBezTo>
                          <a:pt x="37" y="17"/>
                          <a:pt x="37" y="17"/>
                          <a:pt x="37" y="17"/>
                        </a:cubicBezTo>
                        <a:cubicBezTo>
                          <a:pt x="36" y="17"/>
                          <a:pt x="36" y="17"/>
                          <a:pt x="36" y="17"/>
                        </a:cubicBezTo>
                        <a:cubicBezTo>
                          <a:pt x="36" y="17"/>
                          <a:pt x="36" y="16"/>
                          <a:pt x="36" y="16"/>
                        </a:cubicBezTo>
                        <a:cubicBezTo>
                          <a:pt x="36" y="16"/>
                          <a:pt x="36" y="16"/>
                          <a:pt x="37" y="16"/>
                        </a:cubicBezTo>
                        <a:cubicBezTo>
                          <a:pt x="37" y="16"/>
                          <a:pt x="37" y="17"/>
                          <a:pt x="37" y="17"/>
                        </a:cubicBezTo>
                        <a:cubicBezTo>
                          <a:pt x="37" y="17"/>
                          <a:pt x="38" y="17"/>
                          <a:pt x="38" y="17"/>
                        </a:cubicBezTo>
                        <a:cubicBezTo>
                          <a:pt x="38" y="17"/>
                          <a:pt x="38" y="17"/>
                          <a:pt x="38" y="17"/>
                        </a:cubicBezTo>
                        <a:cubicBezTo>
                          <a:pt x="38" y="17"/>
                          <a:pt x="38" y="17"/>
                          <a:pt x="39" y="17"/>
                        </a:cubicBezTo>
                        <a:cubicBezTo>
                          <a:pt x="39" y="17"/>
                          <a:pt x="38" y="17"/>
                          <a:pt x="38" y="17"/>
                        </a:cubicBezTo>
                        <a:cubicBezTo>
                          <a:pt x="39" y="17"/>
                          <a:pt x="39" y="17"/>
                          <a:pt x="39" y="17"/>
                        </a:cubicBezTo>
                        <a:cubicBezTo>
                          <a:pt x="40" y="18"/>
                          <a:pt x="41" y="18"/>
                          <a:pt x="42" y="18"/>
                        </a:cubicBezTo>
                        <a:cubicBezTo>
                          <a:pt x="42" y="18"/>
                          <a:pt x="42" y="18"/>
                          <a:pt x="42" y="18"/>
                        </a:cubicBezTo>
                        <a:cubicBezTo>
                          <a:pt x="42" y="18"/>
                          <a:pt x="42" y="18"/>
                          <a:pt x="43" y="18"/>
                        </a:cubicBezTo>
                        <a:cubicBezTo>
                          <a:pt x="43" y="19"/>
                          <a:pt x="44" y="19"/>
                          <a:pt x="45" y="19"/>
                        </a:cubicBezTo>
                        <a:cubicBezTo>
                          <a:pt x="44" y="19"/>
                          <a:pt x="42" y="19"/>
                          <a:pt x="41" y="18"/>
                        </a:cubicBezTo>
                        <a:cubicBezTo>
                          <a:pt x="41" y="18"/>
                          <a:pt x="41" y="18"/>
                          <a:pt x="41" y="18"/>
                        </a:cubicBezTo>
                        <a:close/>
                        <a:moveTo>
                          <a:pt x="45" y="19"/>
                        </a:move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ubicBezTo>
                          <a:pt x="45" y="19"/>
                          <a:pt x="45" y="19"/>
                          <a:pt x="45" y="19"/>
                        </a:cubicBezTo>
                        <a:close/>
                        <a:moveTo>
                          <a:pt x="34" y="16"/>
                        </a:moveTo>
                        <a:cubicBezTo>
                          <a:pt x="36" y="17"/>
                          <a:pt x="37" y="18"/>
                          <a:pt x="38" y="18"/>
                        </a:cubicBezTo>
                        <a:cubicBezTo>
                          <a:pt x="37" y="18"/>
                          <a:pt x="35" y="17"/>
                          <a:pt x="34" y="16"/>
                        </a:cubicBezTo>
                        <a:close/>
                        <a:moveTo>
                          <a:pt x="30" y="14"/>
                        </a:moveTo>
                        <a:cubicBezTo>
                          <a:pt x="30" y="14"/>
                          <a:pt x="31" y="14"/>
                          <a:pt x="31" y="14"/>
                        </a:cubicBezTo>
                        <a:cubicBezTo>
                          <a:pt x="31" y="14"/>
                          <a:pt x="31" y="14"/>
                          <a:pt x="31" y="14"/>
                        </a:cubicBezTo>
                        <a:cubicBezTo>
                          <a:pt x="31" y="14"/>
                          <a:pt x="31" y="14"/>
                          <a:pt x="31" y="14"/>
                        </a:cubicBezTo>
                        <a:cubicBezTo>
                          <a:pt x="31" y="14"/>
                          <a:pt x="31" y="14"/>
                          <a:pt x="31" y="14"/>
                        </a:cubicBezTo>
                        <a:cubicBezTo>
                          <a:pt x="31" y="15"/>
                          <a:pt x="31" y="14"/>
                          <a:pt x="31" y="14"/>
                        </a:cubicBezTo>
                        <a:cubicBezTo>
                          <a:pt x="31" y="15"/>
                          <a:pt x="31" y="15"/>
                          <a:pt x="31" y="15"/>
                        </a:cubicBezTo>
                        <a:cubicBezTo>
                          <a:pt x="31" y="14"/>
                          <a:pt x="31" y="14"/>
                          <a:pt x="31" y="15"/>
                        </a:cubicBezTo>
                        <a:lnTo>
                          <a:pt x="30" y="14"/>
                        </a:lnTo>
                        <a:close/>
                        <a:moveTo>
                          <a:pt x="25" y="14"/>
                        </a:moveTo>
                        <a:cubicBezTo>
                          <a:pt x="25" y="14"/>
                          <a:pt x="24" y="14"/>
                          <a:pt x="24" y="14"/>
                        </a:cubicBezTo>
                        <a:cubicBezTo>
                          <a:pt x="24" y="14"/>
                          <a:pt x="24" y="14"/>
                          <a:pt x="24" y="14"/>
                        </a:cubicBezTo>
                        <a:cubicBezTo>
                          <a:pt x="24" y="14"/>
                          <a:pt x="25" y="14"/>
                          <a:pt x="25" y="14"/>
                        </a:cubicBezTo>
                        <a:cubicBezTo>
                          <a:pt x="25" y="14"/>
                          <a:pt x="25" y="14"/>
                          <a:pt x="25" y="14"/>
                        </a:cubicBezTo>
                        <a:cubicBezTo>
                          <a:pt x="25" y="14"/>
                          <a:pt x="25" y="14"/>
                          <a:pt x="25" y="14"/>
                        </a:cubicBezTo>
                        <a:cubicBezTo>
                          <a:pt x="25" y="14"/>
                          <a:pt x="25" y="14"/>
                          <a:pt x="25" y="14"/>
                        </a:cubicBezTo>
                        <a:cubicBezTo>
                          <a:pt x="25" y="14"/>
                          <a:pt x="26" y="14"/>
                          <a:pt x="26" y="14"/>
                        </a:cubicBezTo>
                        <a:cubicBezTo>
                          <a:pt x="25" y="14"/>
                          <a:pt x="25" y="14"/>
                          <a:pt x="25" y="14"/>
                        </a:cubicBezTo>
                        <a:cubicBezTo>
                          <a:pt x="25" y="14"/>
                          <a:pt x="25" y="14"/>
                          <a:pt x="25" y="14"/>
                        </a:cubicBezTo>
                        <a:close/>
                        <a:moveTo>
                          <a:pt x="15" y="11"/>
                        </a:moveTo>
                        <a:cubicBezTo>
                          <a:pt x="16" y="12"/>
                          <a:pt x="16" y="12"/>
                          <a:pt x="17" y="12"/>
                        </a:cubicBezTo>
                        <a:cubicBezTo>
                          <a:pt x="17" y="12"/>
                          <a:pt x="17" y="12"/>
                          <a:pt x="17" y="12"/>
                        </a:cubicBezTo>
                        <a:cubicBezTo>
                          <a:pt x="17" y="12"/>
                          <a:pt x="17" y="12"/>
                          <a:pt x="17" y="12"/>
                        </a:cubicBezTo>
                        <a:cubicBezTo>
                          <a:pt x="17" y="12"/>
                          <a:pt x="17" y="12"/>
                          <a:pt x="17" y="12"/>
                        </a:cubicBezTo>
                        <a:cubicBezTo>
                          <a:pt x="17" y="12"/>
                          <a:pt x="17" y="12"/>
                          <a:pt x="17" y="12"/>
                        </a:cubicBezTo>
                        <a:cubicBezTo>
                          <a:pt x="18" y="12"/>
                          <a:pt x="17" y="12"/>
                          <a:pt x="17" y="12"/>
                        </a:cubicBezTo>
                        <a:cubicBezTo>
                          <a:pt x="18" y="12"/>
                          <a:pt x="19" y="12"/>
                          <a:pt x="20" y="12"/>
                        </a:cubicBezTo>
                        <a:cubicBezTo>
                          <a:pt x="20" y="12"/>
                          <a:pt x="19" y="12"/>
                          <a:pt x="19" y="12"/>
                        </a:cubicBezTo>
                        <a:cubicBezTo>
                          <a:pt x="19" y="12"/>
                          <a:pt x="19" y="12"/>
                          <a:pt x="19" y="12"/>
                        </a:cubicBezTo>
                        <a:cubicBezTo>
                          <a:pt x="19" y="12"/>
                          <a:pt x="20" y="13"/>
                          <a:pt x="20" y="13"/>
                        </a:cubicBezTo>
                        <a:cubicBezTo>
                          <a:pt x="20" y="13"/>
                          <a:pt x="20" y="13"/>
                          <a:pt x="21" y="13"/>
                        </a:cubicBezTo>
                        <a:cubicBezTo>
                          <a:pt x="21" y="13"/>
                          <a:pt x="20" y="13"/>
                          <a:pt x="21" y="13"/>
                        </a:cubicBezTo>
                        <a:cubicBezTo>
                          <a:pt x="21" y="13"/>
                          <a:pt x="20" y="13"/>
                          <a:pt x="20" y="13"/>
                        </a:cubicBezTo>
                        <a:cubicBezTo>
                          <a:pt x="20" y="13"/>
                          <a:pt x="20" y="13"/>
                          <a:pt x="20" y="13"/>
                        </a:cubicBezTo>
                        <a:cubicBezTo>
                          <a:pt x="20" y="13"/>
                          <a:pt x="20" y="13"/>
                          <a:pt x="20" y="13"/>
                        </a:cubicBezTo>
                        <a:cubicBezTo>
                          <a:pt x="19" y="13"/>
                          <a:pt x="19" y="13"/>
                          <a:pt x="19" y="13"/>
                        </a:cubicBezTo>
                        <a:cubicBezTo>
                          <a:pt x="19" y="12"/>
                          <a:pt x="19" y="13"/>
                          <a:pt x="19" y="13"/>
                        </a:cubicBezTo>
                        <a:cubicBezTo>
                          <a:pt x="19" y="13"/>
                          <a:pt x="19" y="13"/>
                          <a:pt x="19" y="13"/>
                        </a:cubicBezTo>
                        <a:cubicBezTo>
                          <a:pt x="19" y="13"/>
                          <a:pt x="19" y="12"/>
                          <a:pt x="19" y="13"/>
                        </a:cubicBezTo>
                        <a:cubicBezTo>
                          <a:pt x="19" y="12"/>
                          <a:pt x="19" y="13"/>
                          <a:pt x="19" y="12"/>
                        </a:cubicBezTo>
                        <a:cubicBezTo>
                          <a:pt x="19" y="12"/>
                          <a:pt x="19" y="12"/>
                          <a:pt x="18" y="12"/>
                        </a:cubicBezTo>
                        <a:cubicBezTo>
                          <a:pt x="19" y="12"/>
                          <a:pt x="18" y="12"/>
                          <a:pt x="18" y="12"/>
                        </a:cubicBezTo>
                        <a:cubicBezTo>
                          <a:pt x="18" y="12"/>
                          <a:pt x="18" y="12"/>
                          <a:pt x="18" y="12"/>
                        </a:cubicBezTo>
                        <a:cubicBezTo>
                          <a:pt x="18" y="12"/>
                          <a:pt x="18" y="12"/>
                          <a:pt x="17" y="12"/>
                        </a:cubicBezTo>
                        <a:cubicBezTo>
                          <a:pt x="17" y="12"/>
                          <a:pt x="17" y="12"/>
                          <a:pt x="17" y="12"/>
                        </a:cubicBezTo>
                        <a:cubicBezTo>
                          <a:pt x="17" y="12"/>
                          <a:pt x="17" y="12"/>
                          <a:pt x="17" y="12"/>
                        </a:cubicBezTo>
                        <a:cubicBezTo>
                          <a:pt x="17" y="12"/>
                          <a:pt x="17" y="12"/>
                          <a:pt x="17" y="12"/>
                        </a:cubicBezTo>
                        <a:cubicBezTo>
                          <a:pt x="17" y="12"/>
                          <a:pt x="16" y="12"/>
                          <a:pt x="16" y="12"/>
                        </a:cubicBezTo>
                        <a:cubicBezTo>
                          <a:pt x="16" y="12"/>
                          <a:pt x="16" y="12"/>
                          <a:pt x="16" y="12"/>
                        </a:cubicBezTo>
                        <a:cubicBezTo>
                          <a:pt x="16" y="12"/>
                          <a:pt x="16" y="12"/>
                          <a:pt x="16" y="12"/>
                        </a:cubicBezTo>
                        <a:cubicBezTo>
                          <a:pt x="16" y="12"/>
                          <a:pt x="16" y="12"/>
                          <a:pt x="16" y="12"/>
                        </a:cubicBezTo>
                        <a:cubicBezTo>
                          <a:pt x="15" y="12"/>
                          <a:pt x="15" y="12"/>
                          <a:pt x="14" y="12"/>
                        </a:cubicBezTo>
                        <a:cubicBezTo>
                          <a:pt x="14" y="11"/>
                          <a:pt x="15" y="12"/>
                          <a:pt x="15" y="12"/>
                        </a:cubicBezTo>
                        <a:cubicBezTo>
                          <a:pt x="15" y="12"/>
                          <a:pt x="15" y="12"/>
                          <a:pt x="15" y="12"/>
                        </a:cubicBezTo>
                        <a:cubicBezTo>
                          <a:pt x="15" y="12"/>
                          <a:pt x="15" y="12"/>
                          <a:pt x="15" y="12"/>
                        </a:cubicBezTo>
                        <a:cubicBezTo>
                          <a:pt x="15" y="11"/>
                          <a:pt x="15" y="12"/>
                          <a:pt x="15" y="11"/>
                        </a:cubicBezTo>
                        <a:cubicBezTo>
                          <a:pt x="15" y="11"/>
                          <a:pt x="15" y="12"/>
                          <a:pt x="16" y="12"/>
                        </a:cubicBezTo>
                        <a:cubicBezTo>
                          <a:pt x="16" y="11"/>
                          <a:pt x="15" y="12"/>
                          <a:pt x="15" y="11"/>
                        </a:cubicBezTo>
                        <a:close/>
                        <a:moveTo>
                          <a:pt x="21" y="12"/>
                        </a:moveTo>
                        <a:cubicBezTo>
                          <a:pt x="20" y="12"/>
                          <a:pt x="20" y="12"/>
                          <a:pt x="20" y="12"/>
                        </a:cubicBezTo>
                        <a:cubicBezTo>
                          <a:pt x="20" y="12"/>
                          <a:pt x="20" y="12"/>
                          <a:pt x="21" y="12"/>
                        </a:cubicBezTo>
                        <a:close/>
                        <a:moveTo>
                          <a:pt x="19" y="12"/>
                        </a:moveTo>
                        <a:cubicBezTo>
                          <a:pt x="19" y="12"/>
                          <a:pt x="19" y="12"/>
                          <a:pt x="19" y="12"/>
                        </a:cubicBezTo>
                        <a:cubicBezTo>
                          <a:pt x="19" y="11"/>
                          <a:pt x="20" y="12"/>
                          <a:pt x="19" y="12"/>
                        </a:cubicBezTo>
                        <a:close/>
                        <a:moveTo>
                          <a:pt x="19" y="11"/>
                        </a:moveTo>
                        <a:cubicBezTo>
                          <a:pt x="19" y="11"/>
                          <a:pt x="19" y="11"/>
                          <a:pt x="18" y="11"/>
                        </a:cubicBezTo>
                        <a:cubicBezTo>
                          <a:pt x="19" y="11"/>
                          <a:pt x="19" y="11"/>
                          <a:pt x="19" y="11"/>
                        </a:cubicBezTo>
                        <a:close/>
                        <a:moveTo>
                          <a:pt x="12" y="11"/>
                        </a:moveTo>
                        <a:cubicBezTo>
                          <a:pt x="12" y="11"/>
                          <a:pt x="12" y="11"/>
                          <a:pt x="12" y="11"/>
                        </a:cubicBezTo>
                        <a:cubicBezTo>
                          <a:pt x="12" y="11"/>
                          <a:pt x="12" y="11"/>
                          <a:pt x="12" y="11"/>
                        </a:cubicBezTo>
                        <a:close/>
                        <a:moveTo>
                          <a:pt x="11" y="9"/>
                        </a:moveTo>
                        <a:cubicBezTo>
                          <a:pt x="11" y="9"/>
                          <a:pt x="11" y="8"/>
                          <a:pt x="11" y="8"/>
                        </a:cubicBezTo>
                        <a:cubicBezTo>
                          <a:pt x="11" y="8"/>
                          <a:pt x="11" y="9"/>
                          <a:pt x="11" y="9"/>
                        </a:cubicBezTo>
                        <a:cubicBezTo>
                          <a:pt x="11" y="9"/>
                          <a:pt x="12" y="9"/>
                          <a:pt x="12" y="9"/>
                        </a:cubicBezTo>
                        <a:cubicBezTo>
                          <a:pt x="11" y="9"/>
                          <a:pt x="11" y="9"/>
                          <a:pt x="11" y="9"/>
                        </a:cubicBezTo>
                        <a:close/>
                        <a:moveTo>
                          <a:pt x="10" y="9"/>
                        </a:moveTo>
                        <a:cubicBezTo>
                          <a:pt x="10" y="9"/>
                          <a:pt x="10" y="8"/>
                          <a:pt x="11" y="8"/>
                        </a:cubicBezTo>
                        <a:cubicBezTo>
                          <a:pt x="11" y="8"/>
                          <a:pt x="10" y="8"/>
                          <a:pt x="10" y="8"/>
                        </a:cubicBezTo>
                        <a:cubicBezTo>
                          <a:pt x="10" y="8"/>
                          <a:pt x="11" y="8"/>
                          <a:pt x="11" y="8"/>
                        </a:cubicBezTo>
                        <a:cubicBezTo>
                          <a:pt x="11" y="9"/>
                          <a:pt x="10" y="9"/>
                          <a:pt x="10" y="9"/>
                        </a:cubicBezTo>
                        <a:close/>
                        <a:moveTo>
                          <a:pt x="4" y="4"/>
                        </a:moveTo>
                        <a:cubicBezTo>
                          <a:pt x="4" y="4"/>
                          <a:pt x="4" y="4"/>
                          <a:pt x="4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cubicBezTo>
                          <a:pt x="4" y="4"/>
                          <a:pt x="4" y="4"/>
                          <a:pt x="4" y="4"/>
                        </a:cubicBezTo>
                        <a:close/>
                        <a:moveTo>
                          <a:pt x="2" y="7"/>
                        </a:moveTo>
                        <a:cubicBezTo>
                          <a:pt x="1" y="7"/>
                          <a:pt x="1" y="6"/>
                          <a:pt x="1" y="6"/>
                        </a:cubicBezTo>
                        <a:cubicBezTo>
                          <a:pt x="1" y="6"/>
                          <a:pt x="1" y="6"/>
                          <a:pt x="2" y="7"/>
                        </a:cubicBezTo>
                        <a:close/>
                        <a:moveTo>
                          <a:pt x="151" y="39"/>
                        </a:moveTo>
                        <a:cubicBezTo>
                          <a:pt x="151" y="39"/>
                          <a:pt x="151" y="39"/>
                          <a:pt x="151" y="40"/>
                        </a:cubicBezTo>
                        <a:cubicBezTo>
                          <a:pt x="151" y="40"/>
                          <a:pt x="151" y="40"/>
                          <a:pt x="151" y="39"/>
                        </a:cubicBezTo>
                        <a:cubicBezTo>
                          <a:pt x="151" y="39"/>
                          <a:pt x="150" y="39"/>
                          <a:pt x="151" y="39"/>
                        </a:cubicBezTo>
                        <a:close/>
                        <a:moveTo>
                          <a:pt x="129" y="36"/>
                        </a:moveTo>
                        <a:cubicBezTo>
                          <a:pt x="129" y="36"/>
                          <a:pt x="129" y="36"/>
                          <a:pt x="129" y="36"/>
                        </a:cubicBezTo>
                        <a:cubicBezTo>
                          <a:pt x="129" y="36"/>
                          <a:pt x="129" y="35"/>
                          <a:pt x="128" y="36"/>
                        </a:cubicBezTo>
                        <a:cubicBezTo>
                          <a:pt x="129" y="35"/>
                          <a:pt x="129" y="36"/>
                          <a:pt x="129" y="36"/>
                        </a:cubicBezTo>
                        <a:close/>
                        <a:moveTo>
                          <a:pt x="129" y="37"/>
                        </a:moveTo>
                        <a:cubicBezTo>
                          <a:pt x="129" y="37"/>
                          <a:pt x="128" y="37"/>
                          <a:pt x="128" y="37"/>
                        </a:cubicBezTo>
                        <a:cubicBezTo>
                          <a:pt x="128" y="37"/>
                          <a:pt x="128" y="37"/>
                          <a:pt x="128" y="37"/>
                        </a:cubicBezTo>
                        <a:cubicBezTo>
                          <a:pt x="128" y="37"/>
                          <a:pt x="128" y="37"/>
                          <a:pt x="129" y="37"/>
                        </a:cubicBezTo>
                        <a:close/>
                        <a:moveTo>
                          <a:pt x="127" y="37"/>
                        </a:moveTo>
                        <a:cubicBezTo>
                          <a:pt x="127" y="36"/>
                          <a:pt x="127" y="36"/>
                          <a:pt x="126" y="36"/>
                        </a:cubicBezTo>
                        <a:cubicBezTo>
                          <a:pt x="126" y="36"/>
                          <a:pt x="126" y="36"/>
                          <a:pt x="126" y="36"/>
                        </a:cubicBezTo>
                        <a:cubicBezTo>
                          <a:pt x="126" y="36"/>
                          <a:pt x="127" y="36"/>
                          <a:pt x="127" y="36"/>
                        </a:cubicBezTo>
                        <a:cubicBezTo>
                          <a:pt x="127" y="36"/>
                          <a:pt x="127" y="36"/>
                          <a:pt x="127" y="36"/>
                        </a:cubicBezTo>
                        <a:cubicBezTo>
                          <a:pt x="127" y="37"/>
                          <a:pt x="127" y="36"/>
                          <a:pt x="127" y="37"/>
                        </a:cubicBezTo>
                        <a:close/>
                        <a:moveTo>
                          <a:pt x="126" y="40"/>
                        </a:moveTo>
                        <a:cubicBezTo>
                          <a:pt x="126" y="40"/>
                          <a:pt x="126" y="40"/>
                          <a:pt x="126" y="40"/>
                        </a:cubicBezTo>
                        <a:cubicBezTo>
                          <a:pt x="125" y="40"/>
                          <a:pt x="125" y="40"/>
                          <a:pt x="125" y="40"/>
                        </a:cubicBezTo>
                        <a:cubicBezTo>
                          <a:pt x="125" y="39"/>
                          <a:pt x="125" y="39"/>
                          <a:pt x="125" y="39"/>
                        </a:cubicBezTo>
                        <a:cubicBezTo>
                          <a:pt x="125" y="39"/>
                          <a:pt x="125" y="39"/>
                          <a:pt x="125" y="39"/>
                        </a:cubicBezTo>
                        <a:cubicBezTo>
                          <a:pt x="125" y="39"/>
                          <a:pt x="125" y="39"/>
                          <a:pt x="126" y="39"/>
                        </a:cubicBezTo>
                        <a:cubicBezTo>
                          <a:pt x="125" y="39"/>
                          <a:pt x="125" y="39"/>
                          <a:pt x="125" y="39"/>
                        </a:cubicBezTo>
                        <a:cubicBezTo>
                          <a:pt x="125" y="40"/>
                          <a:pt x="126" y="39"/>
                          <a:pt x="126" y="40"/>
                        </a:cubicBezTo>
                        <a:close/>
                        <a:moveTo>
                          <a:pt x="118" y="41"/>
                        </a:moveTo>
                        <a:cubicBezTo>
                          <a:pt x="118" y="41"/>
                          <a:pt x="118" y="40"/>
                          <a:pt x="117" y="41"/>
                        </a:cubicBezTo>
                        <a:cubicBezTo>
                          <a:pt x="117" y="41"/>
                          <a:pt x="117" y="41"/>
                          <a:pt x="117" y="41"/>
                        </a:cubicBezTo>
                        <a:cubicBezTo>
                          <a:pt x="118" y="40"/>
                          <a:pt x="118" y="41"/>
                          <a:pt x="118" y="41"/>
                        </a:cubicBezTo>
                        <a:cubicBezTo>
                          <a:pt x="118" y="41"/>
                          <a:pt x="118" y="41"/>
                          <a:pt x="118" y="41"/>
                        </a:cubicBezTo>
                        <a:cubicBezTo>
                          <a:pt x="118" y="41"/>
                          <a:pt x="118" y="41"/>
                          <a:pt x="118" y="41"/>
                        </a:cubicBezTo>
                        <a:close/>
                        <a:moveTo>
                          <a:pt x="117" y="34"/>
                        </a:moveTo>
                        <a:cubicBezTo>
                          <a:pt x="117" y="34"/>
                          <a:pt x="117" y="34"/>
                          <a:pt x="116" y="34"/>
                        </a:cubicBezTo>
                        <a:cubicBezTo>
                          <a:pt x="117" y="33"/>
                          <a:pt x="117" y="34"/>
                          <a:pt x="117" y="34"/>
                        </a:cubicBezTo>
                        <a:cubicBezTo>
                          <a:pt x="117" y="34"/>
                          <a:pt x="117" y="34"/>
                          <a:pt x="117" y="34"/>
                        </a:cubicBezTo>
                        <a:close/>
                        <a:moveTo>
                          <a:pt x="106" y="38"/>
                        </a:moveTo>
                        <a:cubicBezTo>
                          <a:pt x="106" y="38"/>
                          <a:pt x="106" y="38"/>
                          <a:pt x="106" y="38"/>
                        </a:cubicBezTo>
                        <a:cubicBezTo>
                          <a:pt x="106" y="38"/>
                          <a:pt x="106" y="38"/>
                          <a:pt x="106" y="38"/>
                        </a:cubicBezTo>
                        <a:cubicBezTo>
                          <a:pt x="106" y="38"/>
                          <a:pt x="107" y="38"/>
                          <a:pt x="107" y="38"/>
                        </a:cubicBezTo>
                        <a:cubicBezTo>
                          <a:pt x="107" y="38"/>
                          <a:pt x="107" y="38"/>
                          <a:pt x="106" y="38"/>
                        </a:cubicBezTo>
                        <a:close/>
                        <a:moveTo>
                          <a:pt x="101" y="37"/>
                        </a:moveTo>
                        <a:cubicBezTo>
                          <a:pt x="101" y="37"/>
                          <a:pt x="101" y="37"/>
                          <a:pt x="101" y="37"/>
                        </a:cubicBezTo>
                        <a:cubicBezTo>
                          <a:pt x="101" y="37"/>
                          <a:pt x="101" y="37"/>
                          <a:pt x="100" y="37"/>
                        </a:cubicBezTo>
                        <a:cubicBezTo>
                          <a:pt x="100" y="37"/>
                          <a:pt x="100" y="37"/>
                          <a:pt x="100" y="37"/>
                        </a:cubicBezTo>
                        <a:cubicBezTo>
                          <a:pt x="100" y="37"/>
                          <a:pt x="101" y="37"/>
                          <a:pt x="101" y="37"/>
                        </a:cubicBezTo>
                        <a:close/>
                        <a:moveTo>
                          <a:pt x="102" y="31"/>
                        </a:moveTo>
                        <a:cubicBezTo>
                          <a:pt x="102" y="31"/>
                          <a:pt x="102" y="31"/>
                          <a:pt x="102" y="31"/>
                        </a:cubicBezTo>
                        <a:cubicBezTo>
                          <a:pt x="102" y="32"/>
                          <a:pt x="102" y="31"/>
                          <a:pt x="101" y="31"/>
                        </a:cubicBezTo>
                        <a:cubicBezTo>
                          <a:pt x="101" y="31"/>
                          <a:pt x="102" y="31"/>
                          <a:pt x="102" y="31"/>
                        </a:cubicBezTo>
                        <a:cubicBezTo>
                          <a:pt x="102" y="31"/>
                          <a:pt x="101" y="31"/>
                          <a:pt x="102" y="31"/>
                        </a:cubicBezTo>
                        <a:close/>
                        <a:moveTo>
                          <a:pt x="96" y="31"/>
                        </a:moveTo>
                        <a:cubicBezTo>
                          <a:pt x="96" y="31"/>
                          <a:pt x="97" y="31"/>
                          <a:pt x="97" y="31"/>
                        </a:cubicBezTo>
                        <a:cubicBezTo>
                          <a:pt x="97" y="31"/>
                          <a:pt x="97" y="31"/>
                          <a:pt x="97" y="31"/>
                        </a:cubicBezTo>
                        <a:cubicBezTo>
                          <a:pt x="97" y="32"/>
                          <a:pt x="96" y="31"/>
                          <a:pt x="96" y="31"/>
                        </a:cubicBezTo>
                        <a:close/>
                        <a:moveTo>
                          <a:pt x="94" y="25"/>
                        </a:moveTo>
                        <a:cubicBezTo>
                          <a:pt x="94" y="25"/>
                          <a:pt x="94" y="25"/>
                          <a:pt x="95" y="25"/>
                        </a:cubicBezTo>
                        <a:cubicBezTo>
                          <a:pt x="95" y="25"/>
                          <a:pt x="95" y="26"/>
                          <a:pt x="95" y="26"/>
                        </a:cubicBezTo>
                        <a:cubicBezTo>
                          <a:pt x="95" y="26"/>
                          <a:pt x="95" y="26"/>
                          <a:pt x="95" y="26"/>
                        </a:cubicBezTo>
                        <a:cubicBezTo>
                          <a:pt x="95" y="26"/>
                          <a:pt x="94" y="26"/>
                          <a:pt x="94" y="25"/>
                        </a:cubicBezTo>
                        <a:close/>
                        <a:moveTo>
                          <a:pt x="90" y="29"/>
                        </a:moveTo>
                        <a:cubicBezTo>
                          <a:pt x="90" y="29"/>
                          <a:pt x="91" y="29"/>
                          <a:pt x="91" y="29"/>
                        </a:cubicBezTo>
                        <a:cubicBezTo>
                          <a:pt x="91" y="29"/>
                          <a:pt x="92" y="29"/>
                          <a:pt x="92" y="29"/>
                        </a:cubicBezTo>
                        <a:cubicBezTo>
                          <a:pt x="92" y="29"/>
                          <a:pt x="91" y="29"/>
                          <a:pt x="91" y="29"/>
                        </a:cubicBezTo>
                        <a:cubicBezTo>
                          <a:pt x="91" y="29"/>
                          <a:pt x="92" y="29"/>
                          <a:pt x="92" y="29"/>
                        </a:cubicBezTo>
                        <a:cubicBezTo>
                          <a:pt x="92" y="29"/>
                          <a:pt x="92" y="29"/>
                          <a:pt x="92" y="29"/>
                        </a:cubicBezTo>
                        <a:cubicBezTo>
                          <a:pt x="92" y="29"/>
                          <a:pt x="92" y="29"/>
                          <a:pt x="92" y="29"/>
                        </a:cubicBezTo>
                        <a:cubicBezTo>
                          <a:pt x="92" y="29"/>
                          <a:pt x="92" y="29"/>
                          <a:pt x="92" y="29"/>
                        </a:cubicBezTo>
                        <a:cubicBezTo>
                          <a:pt x="92" y="29"/>
                          <a:pt x="92" y="29"/>
                          <a:pt x="92" y="29"/>
                        </a:cubicBezTo>
                        <a:cubicBezTo>
                          <a:pt x="92" y="29"/>
                          <a:pt x="93" y="29"/>
                          <a:pt x="93" y="29"/>
                        </a:cubicBezTo>
                        <a:cubicBezTo>
                          <a:pt x="93" y="29"/>
                          <a:pt x="93" y="29"/>
                          <a:pt x="93" y="30"/>
                        </a:cubicBezTo>
                        <a:cubicBezTo>
                          <a:pt x="92" y="29"/>
                          <a:pt x="92" y="30"/>
                          <a:pt x="92" y="29"/>
                        </a:cubicBezTo>
                        <a:cubicBezTo>
                          <a:pt x="92" y="29"/>
                          <a:pt x="92" y="29"/>
                          <a:pt x="92" y="29"/>
                        </a:cubicBezTo>
                        <a:cubicBezTo>
                          <a:pt x="92" y="30"/>
                          <a:pt x="92" y="30"/>
                          <a:pt x="92" y="30"/>
                        </a:cubicBezTo>
                        <a:cubicBezTo>
                          <a:pt x="92" y="30"/>
                          <a:pt x="92" y="30"/>
                          <a:pt x="92" y="30"/>
                        </a:cubicBezTo>
                        <a:cubicBezTo>
                          <a:pt x="91" y="30"/>
                          <a:pt x="91" y="30"/>
                          <a:pt x="91" y="30"/>
                        </a:cubicBezTo>
                        <a:cubicBezTo>
                          <a:pt x="90" y="30"/>
                          <a:pt x="90" y="29"/>
                          <a:pt x="90" y="29"/>
                        </a:cubicBezTo>
                        <a:cubicBezTo>
                          <a:pt x="90" y="29"/>
                          <a:pt x="90" y="29"/>
                          <a:pt x="90" y="29"/>
                        </a:cubicBezTo>
                        <a:cubicBezTo>
                          <a:pt x="90" y="29"/>
                          <a:pt x="90" y="29"/>
                          <a:pt x="90" y="29"/>
                        </a:cubicBezTo>
                        <a:close/>
                        <a:moveTo>
                          <a:pt x="89" y="28"/>
                        </a:moveTo>
                        <a:cubicBezTo>
                          <a:pt x="89" y="28"/>
                          <a:pt x="89" y="28"/>
                          <a:pt x="89" y="28"/>
                        </a:cubicBezTo>
                        <a:cubicBezTo>
                          <a:pt x="89" y="28"/>
                          <a:pt x="89" y="28"/>
                          <a:pt x="89" y="28"/>
                        </a:cubicBezTo>
                        <a:cubicBezTo>
                          <a:pt x="89" y="28"/>
                          <a:pt x="89" y="28"/>
                          <a:pt x="89" y="28"/>
                        </a:cubicBezTo>
                        <a:cubicBezTo>
                          <a:pt x="89" y="28"/>
                          <a:pt x="89" y="28"/>
                          <a:pt x="89" y="28"/>
                        </a:cubicBezTo>
                        <a:cubicBezTo>
                          <a:pt x="89" y="28"/>
                          <a:pt x="89" y="28"/>
                          <a:pt x="90" y="28"/>
                        </a:cubicBezTo>
                        <a:cubicBezTo>
                          <a:pt x="90" y="29"/>
                          <a:pt x="89" y="28"/>
                          <a:pt x="89" y="29"/>
                        </a:cubicBezTo>
                        <a:cubicBezTo>
                          <a:pt x="89" y="29"/>
                          <a:pt x="89" y="28"/>
                          <a:pt x="89" y="28"/>
                        </a:cubicBezTo>
                        <a:close/>
                        <a:moveTo>
                          <a:pt x="86" y="26"/>
                        </a:moveTo>
                        <a:cubicBezTo>
                          <a:pt x="86" y="26"/>
                          <a:pt x="86" y="26"/>
                          <a:pt x="87" y="26"/>
                        </a:cubicBezTo>
                        <a:cubicBezTo>
                          <a:pt x="87" y="26"/>
                          <a:pt x="87" y="26"/>
                          <a:pt x="87" y="26"/>
                        </a:cubicBezTo>
                        <a:cubicBezTo>
                          <a:pt x="87" y="26"/>
                          <a:pt x="87" y="26"/>
                          <a:pt x="87" y="26"/>
                        </a:cubicBezTo>
                        <a:cubicBezTo>
                          <a:pt x="87" y="26"/>
                          <a:pt x="87" y="26"/>
                          <a:pt x="87" y="26"/>
                        </a:cubicBezTo>
                        <a:cubicBezTo>
                          <a:pt x="87" y="27"/>
                          <a:pt x="88" y="26"/>
                          <a:pt x="87" y="27"/>
                        </a:cubicBezTo>
                        <a:cubicBezTo>
                          <a:pt x="88" y="27"/>
                          <a:pt x="88" y="27"/>
                          <a:pt x="88" y="27"/>
                        </a:cubicBezTo>
                        <a:cubicBezTo>
                          <a:pt x="88" y="27"/>
                          <a:pt x="88" y="27"/>
                          <a:pt x="88" y="26"/>
                        </a:cubicBezTo>
                        <a:cubicBezTo>
                          <a:pt x="88" y="27"/>
                          <a:pt x="88" y="27"/>
                          <a:pt x="88" y="27"/>
                        </a:cubicBezTo>
                        <a:cubicBezTo>
                          <a:pt x="88" y="27"/>
                          <a:pt x="88" y="27"/>
                          <a:pt x="87" y="27"/>
                        </a:cubicBezTo>
                        <a:cubicBezTo>
                          <a:pt x="88" y="27"/>
                          <a:pt x="86" y="27"/>
                          <a:pt x="86" y="26"/>
                        </a:cubicBezTo>
                        <a:cubicBezTo>
                          <a:pt x="86" y="26"/>
                          <a:pt x="86" y="26"/>
                          <a:pt x="86" y="26"/>
                        </a:cubicBezTo>
                        <a:close/>
                        <a:moveTo>
                          <a:pt x="86" y="23"/>
                        </a:moveTo>
                        <a:cubicBezTo>
                          <a:pt x="86" y="22"/>
                          <a:pt x="87" y="23"/>
                          <a:pt x="87" y="23"/>
                        </a:cubicBezTo>
                        <a:cubicBezTo>
                          <a:pt x="87" y="23"/>
                          <a:pt x="87" y="23"/>
                          <a:pt x="87" y="23"/>
                        </a:cubicBezTo>
                        <a:cubicBezTo>
                          <a:pt x="87" y="23"/>
                          <a:pt x="87" y="23"/>
                          <a:pt x="87" y="23"/>
                        </a:cubicBezTo>
                        <a:cubicBezTo>
                          <a:pt x="87" y="23"/>
                          <a:pt x="87" y="23"/>
                          <a:pt x="87" y="23"/>
                        </a:cubicBezTo>
                        <a:cubicBezTo>
                          <a:pt x="87" y="23"/>
                          <a:pt x="86" y="23"/>
                          <a:pt x="85" y="23"/>
                        </a:cubicBezTo>
                        <a:cubicBezTo>
                          <a:pt x="86" y="23"/>
                          <a:pt x="86" y="23"/>
                          <a:pt x="86" y="23"/>
                        </a:cubicBezTo>
                        <a:close/>
                        <a:moveTo>
                          <a:pt x="84" y="28"/>
                        </a:moveTo>
                        <a:cubicBezTo>
                          <a:pt x="84" y="27"/>
                          <a:pt x="84" y="27"/>
                          <a:pt x="83" y="27"/>
                        </a:cubicBezTo>
                        <a:cubicBezTo>
                          <a:pt x="83" y="27"/>
                          <a:pt x="83" y="27"/>
                          <a:pt x="83" y="27"/>
                        </a:cubicBezTo>
                        <a:cubicBezTo>
                          <a:pt x="84" y="27"/>
                          <a:pt x="84" y="27"/>
                          <a:pt x="84" y="27"/>
                        </a:cubicBezTo>
                        <a:cubicBezTo>
                          <a:pt x="84" y="28"/>
                          <a:pt x="84" y="28"/>
                          <a:pt x="84" y="28"/>
                        </a:cubicBezTo>
                        <a:close/>
                        <a:moveTo>
                          <a:pt x="63" y="22"/>
                        </a:moveTo>
                        <a:cubicBezTo>
                          <a:pt x="63" y="22"/>
                          <a:pt x="64" y="22"/>
                          <a:pt x="64" y="22"/>
                        </a:cubicBezTo>
                        <a:cubicBezTo>
                          <a:pt x="64" y="22"/>
                          <a:pt x="64" y="22"/>
                          <a:pt x="64" y="22"/>
                        </a:cubicBezTo>
                        <a:cubicBezTo>
                          <a:pt x="64" y="23"/>
                          <a:pt x="64" y="22"/>
                          <a:pt x="64" y="22"/>
                        </a:cubicBezTo>
                        <a:cubicBezTo>
                          <a:pt x="64" y="22"/>
                          <a:pt x="64" y="22"/>
                          <a:pt x="64" y="22"/>
                        </a:cubicBezTo>
                        <a:cubicBezTo>
                          <a:pt x="64" y="23"/>
                          <a:pt x="64" y="23"/>
                          <a:pt x="64" y="23"/>
                        </a:cubicBezTo>
                        <a:cubicBezTo>
                          <a:pt x="64" y="23"/>
                          <a:pt x="63" y="23"/>
                          <a:pt x="63" y="22"/>
                        </a:cubicBezTo>
                        <a:cubicBezTo>
                          <a:pt x="63" y="22"/>
                          <a:pt x="63" y="22"/>
                          <a:pt x="63" y="22"/>
                        </a:cubicBezTo>
                        <a:cubicBezTo>
                          <a:pt x="64" y="22"/>
                          <a:pt x="63" y="22"/>
                          <a:pt x="63" y="22"/>
                        </a:cubicBezTo>
                        <a:cubicBezTo>
                          <a:pt x="63" y="22"/>
                          <a:pt x="63" y="22"/>
                          <a:pt x="63" y="22"/>
                        </a:cubicBezTo>
                        <a:cubicBezTo>
                          <a:pt x="63" y="23"/>
                          <a:pt x="63" y="22"/>
                          <a:pt x="63" y="22"/>
                        </a:cubicBezTo>
                        <a:cubicBezTo>
                          <a:pt x="63" y="22"/>
                          <a:pt x="63" y="22"/>
                          <a:pt x="63" y="22"/>
                        </a:cubicBezTo>
                        <a:cubicBezTo>
                          <a:pt x="63" y="22"/>
                          <a:pt x="63" y="22"/>
                          <a:pt x="63" y="22"/>
                        </a:cubicBezTo>
                        <a:close/>
                        <a:moveTo>
                          <a:pt x="56" y="22"/>
                        </a:moveTo>
                        <a:cubicBezTo>
                          <a:pt x="56" y="22"/>
                          <a:pt x="56" y="22"/>
                          <a:pt x="56" y="22"/>
                        </a:cubicBezTo>
                        <a:cubicBezTo>
                          <a:pt x="56" y="22"/>
                          <a:pt x="56" y="22"/>
                          <a:pt x="56" y="22"/>
                        </a:cubicBezTo>
                        <a:cubicBezTo>
                          <a:pt x="56" y="22"/>
                          <a:pt x="56" y="22"/>
                          <a:pt x="56" y="22"/>
                        </a:cubicBezTo>
                        <a:cubicBezTo>
                          <a:pt x="56" y="22"/>
                          <a:pt x="56" y="22"/>
                          <a:pt x="56" y="22"/>
                        </a:cubicBezTo>
                        <a:cubicBezTo>
                          <a:pt x="56" y="22"/>
                          <a:pt x="56" y="22"/>
                          <a:pt x="56" y="22"/>
                        </a:cubicBezTo>
                        <a:cubicBezTo>
                          <a:pt x="56" y="22"/>
                          <a:pt x="56" y="22"/>
                          <a:pt x="56" y="22"/>
                        </a:cubicBezTo>
                        <a:cubicBezTo>
                          <a:pt x="56" y="22"/>
                          <a:pt x="56" y="22"/>
                          <a:pt x="55" y="22"/>
                        </a:cubicBezTo>
                        <a:cubicBezTo>
                          <a:pt x="55" y="21"/>
                          <a:pt x="55" y="22"/>
                          <a:pt x="56" y="22"/>
                        </a:cubicBezTo>
                        <a:cubicBezTo>
                          <a:pt x="56" y="22"/>
                          <a:pt x="56" y="22"/>
                          <a:pt x="56" y="22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84000">
                        <a:schemeClr val="accent2">
                          <a:lumMod val="40000"/>
                          <a:lumOff val="60000"/>
                        </a:schemeClr>
                      </a:gs>
                      <a:gs pos="0">
                        <a:schemeClr val="accent2"/>
                      </a:gs>
                      <a:gs pos="55000">
                        <a:schemeClr val="accent2"/>
                      </a:gs>
                    </a:gsLst>
                    <a:lin ang="135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/>
                  </a:p>
                </p:txBody>
              </p:sp>
              <p:grpSp>
                <p:nvGrpSpPr>
                  <p:cNvPr id="243" name="组合 242"/>
                  <p:cNvGrpSpPr/>
                  <p:nvPr/>
                </p:nvGrpSpPr>
                <p:grpSpPr>
                  <a:xfrm>
                    <a:off x="7198336" y="1616731"/>
                    <a:ext cx="1241952" cy="1403350"/>
                    <a:chOff x="1720035" y="8183563"/>
                    <a:chExt cx="1241952" cy="1403350"/>
                  </a:xfrm>
                </p:grpSpPr>
                <p:sp>
                  <p:nvSpPr>
                    <p:cNvPr id="245" name="任意多边形: 形状 244">
                      <a:extLst>
                        <a:ext uri="{FF2B5EF4-FFF2-40B4-BE49-F238E27FC236}">
                          <a16:creationId xmlns:a16="http://schemas.microsoft.com/office/drawing/2014/main" id="{DA82A811-B8D1-48FD-B4CE-FF60AAECA058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811174" y="9498013"/>
                      <a:ext cx="30163" cy="20638"/>
                    </a:xfrm>
                    <a:custGeom>
                      <a:avLst/>
                      <a:gdLst>
                        <a:gd name="T0" fmla="*/ 5 w 12"/>
                        <a:gd name="T1" fmla="*/ 8 h 8"/>
                        <a:gd name="T2" fmla="*/ 0 w 12"/>
                        <a:gd name="T3" fmla="*/ 8 h 8"/>
                        <a:gd name="T4" fmla="*/ 12 w 12"/>
                        <a:gd name="T5" fmla="*/ 1 h 8"/>
                        <a:gd name="T6" fmla="*/ 11 w 12"/>
                        <a:gd name="T7" fmla="*/ 4 h 8"/>
                        <a:gd name="T8" fmla="*/ 5 w 12"/>
                        <a:gd name="T9" fmla="*/ 8 h 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" h="8">
                          <a:moveTo>
                            <a:pt x="5" y="8"/>
                          </a:moveTo>
                          <a:cubicBezTo>
                            <a:pt x="4" y="8"/>
                            <a:pt x="3" y="8"/>
                            <a:pt x="0" y="8"/>
                          </a:cubicBezTo>
                          <a:cubicBezTo>
                            <a:pt x="3" y="3"/>
                            <a:pt x="7" y="0"/>
                            <a:pt x="12" y="1"/>
                          </a:cubicBezTo>
                          <a:cubicBezTo>
                            <a:pt x="12" y="2"/>
                            <a:pt x="11" y="3"/>
                            <a:pt x="11" y="4"/>
                          </a:cubicBezTo>
                          <a:cubicBezTo>
                            <a:pt x="9" y="6"/>
                            <a:pt x="7" y="7"/>
                            <a:pt x="5" y="8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  <p:sp>
                  <p:nvSpPr>
                    <p:cNvPr id="246" name="任意多边形: 形状 245">
                      <a:extLst>
                        <a:ext uri="{FF2B5EF4-FFF2-40B4-BE49-F238E27FC236}">
                          <a16:creationId xmlns:a16="http://schemas.microsoft.com/office/drawing/2014/main" id="{6714A036-7E32-4524-BAF5-D9D812EBF147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854037" y="8551863"/>
                      <a:ext cx="77788" cy="76200"/>
                    </a:xfrm>
                    <a:custGeom>
                      <a:avLst/>
                      <a:gdLst>
                        <a:gd name="T0" fmla="*/ 0 w 32"/>
                        <a:gd name="T1" fmla="*/ 29 h 31"/>
                        <a:gd name="T2" fmla="*/ 11 w 32"/>
                        <a:gd name="T3" fmla="*/ 15 h 31"/>
                        <a:gd name="T4" fmla="*/ 15 w 32"/>
                        <a:gd name="T5" fmla="*/ 9 h 31"/>
                        <a:gd name="T6" fmla="*/ 32 w 32"/>
                        <a:gd name="T7" fmla="*/ 0 h 31"/>
                        <a:gd name="T8" fmla="*/ 2 w 32"/>
                        <a:gd name="T9" fmla="*/ 31 h 31"/>
                        <a:gd name="T10" fmla="*/ 0 w 32"/>
                        <a:gd name="T11" fmla="*/ 29 h 3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2" h="31">
                          <a:moveTo>
                            <a:pt x="0" y="29"/>
                          </a:moveTo>
                          <a:cubicBezTo>
                            <a:pt x="3" y="24"/>
                            <a:pt x="7" y="20"/>
                            <a:pt x="11" y="15"/>
                          </a:cubicBezTo>
                          <a:cubicBezTo>
                            <a:pt x="12" y="13"/>
                            <a:pt x="13" y="11"/>
                            <a:pt x="15" y="9"/>
                          </a:cubicBezTo>
                          <a:cubicBezTo>
                            <a:pt x="19" y="1"/>
                            <a:pt x="22" y="0"/>
                            <a:pt x="32" y="0"/>
                          </a:cubicBezTo>
                          <a:cubicBezTo>
                            <a:pt x="21" y="10"/>
                            <a:pt x="13" y="22"/>
                            <a:pt x="2" y="31"/>
                          </a:cubicBezTo>
                          <a:cubicBezTo>
                            <a:pt x="1" y="30"/>
                            <a:pt x="0" y="30"/>
                            <a:pt x="0" y="29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  <p:sp>
                  <p:nvSpPr>
                    <p:cNvPr id="247" name="任意多边形: 形状 246">
                      <a:extLst>
                        <a:ext uri="{FF2B5EF4-FFF2-40B4-BE49-F238E27FC236}">
                          <a16:creationId xmlns:a16="http://schemas.microsoft.com/office/drawing/2014/main" id="{57A49B57-1546-408F-8E56-59FCCBD13BC0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938174" y="8516938"/>
                      <a:ext cx="23813" cy="22225"/>
                    </a:xfrm>
                    <a:custGeom>
                      <a:avLst/>
                      <a:gdLst>
                        <a:gd name="T0" fmla="*/ 10 w 10"/>
                        <a:gd name="T1" fmla="*/ 2 h 9"/>
                        <a:gd name="T2" fmla="*/ 2 w 10"/>
                        <a:gd name="T3" fmla="*/ 9 h 9"/>
                        <a:gd name="T4" fmla="*/ 0 w 10"/>
                        <a:gd name="T5" fmla="*/ 7 h 9"/>
                        <a:gd name="T6" fmla="*/ 7 w 10"/>
                        <a:gd name="T7" fmla="*/ 0 h 9"/>
                        <a:gd name="T8" fmla="*/ 10 w 10"/>
                        <a:gd name="T9" fmla="*/ 2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" h="9">
                          <a:moveTo>
                            <a:pt x="10" y="2"/>
                          </a:moveTo>
                          <a:cubicBezTo>
                            <a:pt x="7" y="5"/>
                            <a:pt x="4" y="7"/>
                            <a:pt x="2" y="9"/>
                          </a:cubicBezTo>
                          <a:cubicBezTo>
                            <a:pt x="1" y="9"/>
                            <a:pt x="0" y="8"/>
                            <a:pt x="0" y="7"/>
                          </a:cubicBezTo>
                          <a:cubicBezTo>
                            <a:pt x="2" y="5"/>
                            <a:pt x="5" y="2"/>
                            <a:pt x="7" y="0"/>
                          </a:cubicBezTo>
                          <a:cubicBezTo>
                            <a:pt x="8" y="1"/>
                            <a:pt x="9" y="1"/>
                            <a:pt x="10" y="2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  <p:sp>
                  <p:nvSpPr>
                    <p:cNvPr id="248" name="任意多边形: 形状 247">
                      <a:extLst>
                        <a:ext uri="{FF2B5EF4-FFF2-40B4-BE49-F238E27FC236}">
                          <a16:creationId xmlns:a16="http://schemas.microsoft.com/office/drawing/2014/main" id="{02CCAE1B-BED1-41A0-8387-8FE481DDAAEA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796887" y="8693150"/>
                      <a:ext cx="11113" cy="14288"/>
                    </a:xfrm>
                    <a:custGeom>
                      <a:avLst/>
                      <a:gdLst>
                        <a:gd name="T0" fmla="*/ 5 w 5"/>
                        <a:gd name="T1" fmla="*/ 1 h 6"/>
                        <a:gd name="T2" fmla="*/ 1 w 5"/>
                        <a:gd name="T3" fmla="*/ 6 h 6"/>
                        <a:gd name="T4" fmla="*/ 0 w 5"/>
                        <a:gd name="T5" fmla="*/ 5 h 6"/>
                        <a:gd name="T6" fmla="*/ 3 w 5"/>
                        <a:gd name="T7" fmla="*/ 0 h 6"/>
                        <a:gd name="T8" fmla="*/ 5 w 5"/>
                        <a:gd name="T9" fmla="*/ 1 h 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" h="6">
                          <a:moveTo>
                            <a:pt x="5" y="1"/>
                          </a:moveTo>
                          <a:cubicBezTo>
                            <a:pt x="3" y="3"/>
                            <a:pt x="2" y="4"/>
                            <a:pt x="1" y="6"/>
                          </a:cubicBezTo>
                          <a:cubicBezTo>
                            <a:pt x="1" y="6"/>
                            <a:pt x="0" y="5"/>
                            <a:pt x="0" y="5"/>
                          </a:cubicBezTo>
                          <a:cubicBezTo>
                            <a:pt x="1" y="3"/>
                            <a:pt x="2" y="2"/>
                            <a:pt x="3" y="0"/>
                          </a:cubicBezTo>
                          <a:cubicBezTo>
                            <a:pt x="4" y="0"/>
                            <a:pt x="4" y="1"/>
                            <a:pt x="5" y="1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  <p:sp>
                  <p:nvSpPr>
                    <p:cNvPr id="249" name="任意多边形: 形状 248">
                      <a:extLst>
                        <a:ext uri="{FF2B5EF4-FFF2-40B4-BE49-F238E27FC236}">
                          <a16:creationId xmlns:a16="http://schemas.microsoft.com/office/drawing/2014/main" id="{CE59B7AD-8201-426A-B1B0-3DFE0A93E30B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700049" y="8836025"/>
                      <a:ext cx="12700" cy="17463"/>
                    </a:xfrm>
                    <a:custGeom>
                      <a:avLst/>
                      <a:gdLst>
                        <a:gd name="T0" fmla="*/ 5 w 5"/>
                        <a:gd name="T1" fmla="*/ 1 h 7"/>
                        <a:gd name="T2" fmla="*/ 1 w 5"/>
                        <a:gd name="T3" fmla="*/ 7 h 7"/>
                        <a:gd name="T4" fmla="*/ 0 w 5"/>
                        <a:gd name="T5" fmla="*/ 6 h 7"/>
                        <a:gd name="T6" fmla="*/ 3 w 5"/>
                        <a:gd name="T7" fmla="*/ 0 h 7"/>
                        <a:gd name="T8" fmla="*/ 5 w 5"/>
                        <a:gd name="T9" fmla="*/ 1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" h="7">
                          <a:moveTo>
                            <a:pt x="5" y="1"/>
                          </a:moveTo>
                          <a:cubicBezTo>
                            <a:pt x="3" y="3"/>
                            <a:pt x="2" y="5"/>
                            <a:pt x="1" y="7"/>
                          </a:cubicBezTo>
                          <a:cubicBezTo>
                            <a:pt x="1" y="7"/>
                            <a:pt x="0" y="7"/>
                            <a:pt x="0" y="6"/>
                          </a:cubicBezTo>
                          <a:cubicBezTo>
                            <a:pt x="1" y="4"/>
                            <a:pt x="2" y="2"/>
                            <a:pt x="3" y="0"/>
                          </a:cubicBezTo>
                          <a:cubicBezTo>
                            <a:pt x="3" y="0"/>
                            <a:pt x="4" y="0"/>
                            <a:pt x="5" y="1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  <p:sp>
                  <p:nvSpPr>
                    <p:cNvPr id="250" name="任意多边形: 形状 249">
                      <a:extLst>
                        <a:ext uri="{FF2B5EF4-FFF2-40B4-BE49-F238E27FC236}">
                          <a16:creationId xmlns:a16="http://schemas.microsoft.com/office/drawing/2014/main" id="{EC092391-4932-4659-B539-B891C7F8B0BD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722274" y="8799513"/>
                      <a:ext cx="12700" cy="17463"/>
                    </a:xfrm>
                    <a:custGeom>
                      <a:avLst/>
                      <a:gdLst>
                        <a:gd name="T0" fmla="*/ 0 w 5"/>
                        <a:gd name="T1" fmla="*/ 6 h 7"/>
                        <a:gd name="T2" fmla="*/ 3 w 5"/>
                        <a:gd name="T3" fmla="*/ 0 h 7"/>
                        <a:gd name="T4" fmla="*/ 5 w 5"/>
                        <a:gd name="T5" fmla="*/ 1 h 7"/>
                        <a:gd name="T6" fmla="*/ 2 w 5"/>
                        <a:gd name="T7" fmla="*/ 7 h 7"/>
                        <a:gd name="T8" fmla="*/ 0 w 5"/>
                        <a:gd name="T9" fmla="*/ 6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5" h="7">
                          <a:moveTo>
                            <a:pt x="0" y="6"/>
                          </a:moveTo>
                          <a:cubicBezTo>
                            <a:pt x="1" y="4"/>
                            <a:pt x="2" y="2"/>
                            <a:pt x="3" y="0"/>
                          </a:cubicBezTo>
                          <a:cubicBezTo>
                            <a:pt x="4" y="0"/>
                            <a:pt x="5" y="0"/>
                            <a:pt x="5" y="1"/>
                          </a:cubicBezTo>
                          <a:cubicBezTo>
                            <a:pt x="4" y="3"/>
                            <a:pt x="3" y="5"/>
                            <a:pt x="2" y="7"/>
                          </a:cubicBezTo>
                          <a:cubicBezTo>
                            <a:pt x="1" y="7"/>
                            <a:pt x="0" y="6"/>
                            <a:pt x="0" y="6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  <p:sp>
                  <p:nvSpPr>
                    <p:cNvPr id="251" name="任意多边形: 形状 250">
                      <a:extLst>
                        <a:ext uri="{FF2B5EF4-FFF2-40B4-BE49-F238E27FC236}">
                          <a16:creationId xmlns:a16="http://schemas.microsoft.com/office/drawing/2014/main" id="{68A69963-FE93-4CAE-921D-5310373A1F89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836574" y="8639175"/>
                      <a:ext cx="14288" cy="17463"/>
                    </a:xfrm>
                    <a:custGeom>
                      <a:avLst/>
                      <a:gdLst>
                        <a:gd name="T0" fmla="*/ 6 w 6"/>
                        <a:gd name="T1" fmla="*/ 3 h 7"/>
                        <a:gd name="T2" fmla="*/ 2 w 6"/>
                        <a:gd name="T3" fmla="*/ 7 h 7"/>
                        <a:gd name="T4" fmla="*/ 0 w 6"/>
                        <a:gd name="T5" fmla="*/ 5 h 7"/>
                        <a:gd name="T6" fmla="*/ 3 w 6"/>
                        <a:gd name="T7" fmla="*/ 0 h 7"/>
                        <a:gd name="T8" fmla="*/ 6 w 6"/>
                        <a:gd name="T9" fmla="*/ 3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" h="7">
                          <a:moveTo>
                            <a:pt x="6" y="3"/>
                          </a:moveTo>
                          <a:cubicBezTo>
                            <a:pt x="5" y="4"/>
                            <a:pt x="3" y="5"/>
                            <a:pt x="2" y="7"/>
                          </a:cubicBezTo>
                          <a:cubicBezTo>
                            <a:pt x="1" y="6"/>
                            <a:pt x="1" y="5"/>
                            <a:pt x="0" y="5"/>
                          </a:cubicBezTo>
                          <a:cubicBezTo>
                            <a:pt x="1" y="3"/>
                            <a:pt x="2" y="2"/>
                            <a:pt x="3" y="0"/>
                          </a:cubicBezTo>
                          <a:cubicBezTo>
                            <a:pt x="4" y="1"/>
                            <a:pt x="5" y="2"/>
                            <a:pt x="6" y="3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  <p:sp>
                  <p:nvSpPr>
                    <p:cNvPr id="252" name="任意多边形: 形状 251">
                      <a:extLst>
                        <a:ext uri="{FF2B5EF4-FFF2-40B4-BE49-F238E27FC236}">
                          <a16:creationId xmlns:a16="http://schemas.microsoft.com/office/drawing/2014/main" id="{A2F6F2B8-FF0A-4533-BBE9-8D8A0BF5FA61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495262" y="8183563"/>
                      <a:ext cx="6350" cy="22225"/>
                    </a:xfrm>
                    <a:custGeom>
                      <a:avLst/>
                      <a:gdLst>
                        <a:gd name="T0" fmla="*/ 2 w 3"/>
                        <a:gd name="T1" fmla="*/ 0 h 9"/>
                        <a:gd name="T2" fmla="*/ 3 w 3"/>
                        <a:gd name="T3" fmla="*/ 9 h 9"/>
                        <a:gd name="T4" fmla="*/ 2 w 3"/>
                        <a:gd name="T5" fmla="*/ 0 h 9"/>
                        <a:gd name="T6" fmla="*/ 2 w 3"/>
                        <a:gd name="T7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" h="9">
                          <a:moveTo>
                            <a:pt x="2" y="0"/>
                          </a:moveTo>
                          <a:cubicBezTo>
                            <a:pt x="2" y="3"/>
                            <a:pt x="3" y="6"/>
                            <a:pt x="3" y="9"/>
                          </a:cubicBezTo>
                          <a:cubicBezTo>
                            <a:pt x="0" y="6"/>
                            <a:pt x="0" y="3"/>
                            <a:pt x="2" y="0"/>
                          </a:cubicBezTo>
                          <a:cubicBezTo>
                            <a:pt x="2" y="0"/>
                            <a:pt x="2" y="0"/>
                            <a:pt x="2" y="0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  <p:sp>
                  <p:nvSpPr>
                    <p:cNvPr id="253" name="任意多边形: 形状 252">
                      <a:extLst>
                        <a:ext uri="{FF2B5EF4-FFF2-40B4-BE49-F238E27FC236}">
                          <a16:creationId xmlns:a16="http://schemas.microsoft.com/office/drawing/2014/main" id="{6CE3DB34-5B98-44E4-89E7-FF129C543F6B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674649" y="9558338"/>
                      <a:ext cx="55563" cy="28575"/>
                    </a:xfrm>
                    <a:custGeom>
                      <a:avLst/>
                      <a:gdLst>
                        <a:gd name="T0" fmla="*/ 0 w 22"/>
                        <a:gd name="T1" fmla="*/ 12 h 12"/>
                        <a:gd name="T2" fmla="*/ 22 w 22"/>
                        <a:gd name="T3" fmla="*/ 0 h 12"/>
                        <a:gd name="T4" fmla="*/ 0 w 22"/>
                        <a:gd name="T5" fmla="*/ 12 h 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2" h="12">
                          <a:moveTo>
                            <a:pt x="0" y="12"/>
                          </a:moveTo>
                          <a:cubicBezTo>
                            <a:pt x="6" y="7"/>
                            <a:pt x="11" y="0"/>
                            <a:pt x="22" y="0"/>
                          </a:cubicBezTo>
                          <a:cubicBezTo>
                            <a:pt x="15" y="7"/>
                            <a:pt x="8" y="10"/>
                            <a:pt x="0" y="12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  <p:sp>
                  <p:nvSpPr>
                    <p:cNvPr id="254" name="任意多边形: 形状 253">
                      <a:extLst>
                        <a:ext uri="{FF2B5EF4-FFF2-40B4-BE49-F238E27FC236}">
                          <a16:creationId xmlns:a16="http://schemas.microsoft.com/office/drawing/2014/main" id="{6DD3F673-9834-40B1-802D-E2860C115C8D}"/>
                        </a:ext>
                      </a:extLst>
                    </p:cNvPr>
                    <p:cNvSpPr/>
                    <p:nvPr/>
                  </p:nvSpPr>
                  <p:spPr bwMode="auto">
                    <a:xfrm rot="2356777">
                      <a:off x="1720035" y="9144817"/>
                      <a:ext cx="99329" cy="58758"/>
                    </a:xfrm>
                    <a:custGeom>
                      <a:avLst/>
                      <a:gdLst>
                        <a:gd name="T0" fmla="*/ 46 w 182"/>
                        <a:gd name="T1" fmla="*/ 85 h 108"/>
                        <a:gd name="T2" fmla="*/ 49 w 182"/>
                        <a:gd name="T3" fmla="*/ 80 h 108"/>
                        <a:gd name="T4" fmla="*/ 56 w 182"/>
                        <a:gd name="T5" fmla="*/ 78 h 108"/>
                        <a:gd name="T6" fmla="*/ 59 w 182"/>
                        <a:gd name="T7" fmla="*/ 77 h 108"/>
                        <a:gd name="T8" fmla="*/ 67 w 182"/>
                        <a:gd name="T9" fmla="*/ 73 h 108"/>
                        <a:gd name="T10" fmla="*/ 67 w 182"/>
                        <a:gd name="T11" fmla="*/ 63 h 108"/>
                        <a:gd name="T12" fmla="*/ 77 w 182"/>
                        <a:gd name="T13" fmla="*/ 58 h 108"/>
                        <a:gd name="T14" fmla="*/ 83 w 182"/>
                        <a:gd name="T15" fmla="*/ 64 h 108"/>
                        <a:gd name="T16" fmla="*/ 88 w 182"/>
                        <a:gd name="T17" fmla="*/ 63 h 108"/>
                        <a:gd name="T18" fmla="*/ 95 w 182"/>
                        <a:gd name="T19" fmla="*/ 59 h 108"/>
                        <a:gd name="T20" fmla="*/ 104 w 182"/>
                        <a:gd name="T21" fmla="*/ 51 h 108"/>
                        <a:gd name="T22" fmla="*/ 110 w 182"/>
                        <a:gd name="T23" fmla="*/ 50 h 108"/>
                        <a:gd name="T24" fmla="*/ 116 w 182"/>
                        <a:gd name="T25" fmla="*/ 40 h 108"/>
                        <a:gd name="T26" fmla="*/ 121 w 182"/>
                        <a:gd name="T27" fmla="*/ 39 h 108"/>
                        <a:gd name="T28" fmla="*/ 129 w 182"/>
                        <a:gd name="T29" fmla="*/ 31 h 108"/>
                        <a:gd name="T30" fmla="*/ 162 w 182"/>
                        <a:gd name="T31" fmla="*/ 11 h 108"/>
                        <a:gd name="T32" fmla="*/ 176 w 182"/>
                        <a:gd name="T33" fmla="*/ 2 h 108"/>
                        <a:gd name="T34" fmla="*/ 43 w 182"/>
                        <a:gd name="T35" fmla="*/ 77 h 108"/>
                        <a:gd name="T36" fmla="*/ 52 w 182"/>
                        <a:gd name="T37" fmla="*/ 73 h 108"/>
                        <a:gd name="T38" fmla="*/ 47 w 182"/>
                        <a:gd name="T39" fmla="*/ 77 h 108"/>
                        <a:gd name="T40" fmla="*/ 52 w 182"/>
                        <a:gd name="T41" fmla="*/ 75 h 108"/>
                        <a:gd name="T42" fmla="*/ 39 w 182"/>
                        <a:gd name="T43" fmla="*/ 85 h 108"/>
                        <a:gd name="T44" fmla="*/ 41 w 182"/>
                        <a:gd name="T45" fmla="*/ 88 h 108"/>
                        <a:gd name="T46" fmla="*/ 30 w 182"/>
                        <a:gd name="T47" fmla="*/ 98 h 108"/>
                        <a:gd name="T48" fmla="*/ 34 w 182"/>
                        <a:gd name="T49" fmla="*/ 94 h 108"/>
                        <a:gd name="T50" fmla="*/ 44 w 182"/>
                        <a:gd name="T51" fmla="*/ 84 h 108"/>
                        <a:gd name="T52" fmla="*/ 53 w 182"/>
                        <a:gd name="T53" fmla="*/ 74 h 108"/>
                        <a:gd name="T54" fmla="*/ 37 w 182"/>
                        <a:gd name="T55" fmla="*/ 82 h 108"/>
                        <a:gd name="T56" fmla="*/ 36 w 182"/>
                        <a:gd name="T57" fmla="*/ 81 h 108"/>
                        <a:gd name="T58" fmla="*/ 48 w 182"/>
                        <a:gd name="T59" fmla="*/ 84 h 108"/>
                        <a:gd name="T60" fmla="*/ 52 w 182"/>
                        <a:gd name="T61" fmla="*/ 79 h 108"/>
                        <a:gd name="T62" fmla="*/ 62 w 182"/>
                        <a:gd name="T63" fmla="*/ 66 h 108"/>
                        <a:gd name="T64" fmla="*/ 70 w 182"/>
                        <a:gd name="T65" fmla="*/ 62 h 108"/>
                        <a:gd name="T66" fmla="*/ 74 w 182"/>
                        <a:gd name="T67" fmla="*/ 61 h 108"/>
                        <a:gd name="T68" fmla="*/ 69 w 182"/>
                        <a:gd name="T69" fmla="*/ 66 h 108"/>
                        <a:gd name="T70" fmla="*/ 71 w 182"/>
                        <a:gd name="T71" fmla="*/ 63 h 108"/>
                        <a:gd name="T72" fmla="*/ 77 w 182"/>
                        <a:gd name="T73" fmla="*/ 68 h 108"/>
                        <a:gd name="T74" fmla="*/ 113 w 182"/>
                        <a:gd name="T75" fmla="*/ 42 h 108"/>
                        <a:gd name="T76" fmla="*/ 106 w 182"/>
                        <a:gd name="T77" fmla="*/ 46 h 108"/>
                        <a:gd name="T78" fmla="*/ 104 w 182"/>
                        <a:gd name="T79" fmla="*/ 49 h 108"/>
                        <a:gd name="T80" fmla="*/ 96 w 182"/>
                        <a:gd name="T81" fmla="*/ 52 h 108"/>
                        <a:gd name="T82" fmla="*/ 83 w 182"/>
                        <a:gd name="T83" fmla="*/ 57 h 108"/>
                        <a:gd name="T84" fmla="*/ 75 w 182"/>
                        <a:gd name="T85" fmla="*/ 57 h 108"/>
                        <a:gd name="T86" fmla="*/ 94 w 182"/>
                        <a:gd name="T87" fmla="*/ 49 h 108"/>
                        <a:gd name="T88" fmla="*/ 109 w 182"/>
                        <a:gd name="T89" fmla="*/ 40 h 108"/>
                        <a:gd name="T90" fmla="*/ 110 w 182"/>
                        <a:gd name="T91" fmla="*/ 43 h 108"/>
                        <a:gd name="T92" fmla="*/ 81 w 182"/>
                        <a:gd name="T93" fmla="*/ 57 h 108"/>
                        <a:gd name="T94" fmla="*/ 96 w 182"/>
                        <a:gd name="T95" fmla="*/ 52 h 108"/>
                        <a:gd name="T96" fmla="*/ 99 w 182"/>
                        <a:gd name="T97" fmla="*/ 48 h 108"/>
                        <a:gd name="T98" fmla="*/ 110 w 182"/>
                        <a:gd name="T99" fmla="*/ 40 h 108"/>
                        <a:gd name="T100" fmla="*/ 98 w 182"/>
                        <a:gd name="T101" fmla="*/ 48 h 108"/>
                        <a:gd name="T102" fmla="*/ 85 w 182"/>
                        <a:gd name="T103" fmla="*/ 56 h 108"/>
                        <a:gd name="T104" fmla="*/ 103 w 182"/>
                        <a:gd name="T105" fmla="*/ 47 h 108"/>
                        <a:gd name="T106" fmla="*/ 79 w 182"/>
                        <a:gd name="T107" fmla="*/ 60 h 108"/>
                        <a:gd name="T108" fmla="*/ 80 w 182"/>
                        <a:gd name="T109" fmla="*/ 58 h 108"/>
                        <a:gd name="T110" fmla="*/ 86 w 182"/>
                        <a:gd name="T111" fmla="*/ 63 h 108"/>
                        <a:gd name="T112" fmla="*/ 87 w 182"/>
                        <a:gd name="T113" fmla="*/ 53 h 108"/>
                        <a:gd name="T114" fmla="*/ 96 w 182"/>
                        <a:gd name="T115" fmla="*/ 57 h 108"/>
                        <a:gd name="T116" fmla="*/ 115 w 182"/>
                        <a:gd name="T117" fmla="*/ 39 h 108"/>
                        <a:gd name="T118" fmla="*/ 114 w 182"/>
                        <a:gd name="T119" fmla="*/ 38 h 108"/>
                        <a:gd name="T120" fmla="*/ 128 w 182"/>
                        <a:gd name="T121" fmla="*/ 29 h 108"/>
                        <a:gd name="T122" fmla="*/ 163 w 182"/>
                        <a:gd name="T123" fmla="*/ 9 h 108"/>
                        <a:gd name="T124" fmla="*/ 82 w 182"/>
                        <a:gd name="T125" fmla="*/ 66 h 1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182" h="108">
                          <a:moveTo>
                            <a:pt x="1" y="101"/>
                          </a:moveTo>
                          <a:cubicBezTo>
                            <a:pt x="0" y="101"/>
                            <a:pt x="1" y="101"/>
                            <a:pt x="1" y="101"/>
                          </a:cubicBezTo>
                          <a:cubicBezTo>
                            <a:pt x="1" y="101"/>
                            <a:pt x="1" y="101"/>
                            <a:pt x="1" y="100"/>
                          </a:cubicBezTo>
                          <a:cubicBezTo>
                            <a:pt x="1" y="101"/>
                            <a:pt x="1" y="101"/>
                            <a:pt x="1" y="101"/>
                          </a:cubicBezTo>
                          <a:close/>
                          <a:moveTo>
                            <a:pt x="21" y="104"/>
                          </a:moveTo>
                          <a:cubicBezTo>
                            <a:pt x="20" y="104"/>
                            <a:pt x="20" y="103"/>
                            <a:pt x="20" y="104"/>
                          </a:cubicBezTo>
                          <a:cubicBezTo>
                            <a:pt x="20" y="103"/>
                            <a:pt x="20" y="104"/>
                            <a:pt x="19" y="103"/>
                          </a:cubicBezTo>
                          <a:cubicBezTo>
                            <a:pt x="20" y="103"/>
                            <a:pt x="20" y="104"/>
                            <a:pt x="21" y="104"/>
                          </a:cubicBezTo>
                          <a:close/>
                          <a:moveTo>
                            <a:pt x="23" y="102"/>
                          </a:moveTo>
                          <a:cubicBezTo>
                            <a:pt x="23" y="102"/>
                            <a:pt x="23" y="102"/>
                            <a:pt x="23" y="102"/>
                          </a:cubicBezTo>
                          <a:cubicBezTo>
                            <a:pt x="23" y="102"/>
                            <a:pt x="23" y="102"/>
                            <a:pt x="23" y="102"/>
                          </a:cubicBezTo>
                          <a:cubicBezTo>
                            <a:pt x="23" y="102"/>
                            <a:pt x="23" y="102"/>
                            <a:pt x="23" y="102"/>
                          </a:cubicBezTo>
                          <a:close/>
                          <a:moveTo>
                            <a:pt x="25" y="101"/>
                          </a:moveTo>
                          <a:cubicBezTo>
                            <a:pt x="24" y="102"/>
                            <a:pt x="25" y="101"/>
                            <a:pt x="24" y="101"/>
                          </a:cubicBezTo>
                          <a:cubicBezTo>
                            <a:pt x="24" y="101"/>
                            <a:pt x="24" y="101"/>
                            <a:pt x="24" y="101"/>
                          </a:cubicBezTo>
                          <a:cubicBezTo>
                            <a:pt x="24" y="101"/>
                            <a:pt x="25" y="101"/>
                            <a:pt x="25" y="101"/>
                          </a:cubicBezTo>
                          <a:close/>
                          <a:moveTo>
                            <a:pt x="28" y="100"/>
                          </a:moveTo>
                          <a:cubicBezTo>
                            <a:pt x="28" y="100"/>
                            <a:pt x="28" y="100"/>
                            <a:pt x="28" y="100"/>
                          </a:cubicBezTo>
                          <a:cubicBezTo>
                            <a:pt x="28" y="99"/>
                            <a:pt x="28" y="99"/>
                            <a:pt x="28" y="99"/>
                          </a:cubicBezTo>
                          <a:cubicBezTo>
                            <a:pt x="28" y="100"/>
                            <a:pt x="28" y="100"/>
                            <a:pt x="28" y="100"/>
                          </a:cubicBezTo>
                          <a:close/>
                          <a:moveTo>
                            <a:pt x="33" y="97"/>
                          </a:moveTo>
                          <a:cubicBezTo>
                            <a:pt x="33" y="97"/>
                            <a:pt x="33" y="97"/>
                            <a:pt x="33" y="97"/>
                          </a:cubicBezTo>
                          <a:cubicBezTo>
                            <a:pt x="33" y="97"/>
                            <a:pt x="33" y="97"/>
                            <a:pt x="33" y="97"/>
                          </a:cubicBezTo>
                          <a:cubicBezTo>
                            <a:pt x="33" y="97"/>
                            <a:pt x="33" y="97"/>
                            <a:pt x="33" y="97"/>
                          </a:cubicBezTo>
                          <a:close/>
                          <a:moveTo>
                            <a:pt x="34" y="97"/>
                          </a:moveTo>
                          <a:cubicBezTo>
                            <a:pt x="33" y="97"/>
                            <a:pt x="33" y="97"/>
                            <a:pt x="33" y="97"/>
                          </a:cubicBezTo>
                          <a:cubicBezTo>
                            <a:pt x="33" y="97"/>
                            <a:pt x="34" y="97"/>
                            <a:pt x="34" y="97"/>
                          </a:cubicBezTo>
                          <a:close/>
                          <a:moveTo>
                            <a:pt x="34" y="95"/>
                          </a:moveTo>
                          <a:cubicBezTo>
                            <a:pt x="34" y="95"/>
                            <a:pt x="34" y="96"/>
                            <a:pt x="34" y="96"/>
                          </a:cubicBezTo>
                          <a:cubicBezTo>
                            <a:pt x="34" y="96"/>
                            <a:pt x="34" y="95"/>
                            <a:pt x="34" y="95"/>
                          </a:cubicBezTo>
                          <a:close/>
                          <a:moveTo>
                            <a:pt x="37" y="92"/>
                          </a:moveTo>
                          <a:cubicBezTo>
                            <a:pt x="37" y="92"/>
                            <a:pt x="37" y="92"/>
                            <a:pt x="36" y="92"/>
                          </a:cubicBezTo>
                          <a:cubicBezTo>
                            <a:pt x="36" y="93"/>
                            <a:pt x="36" y="92"/>
                            <a:pt x="37" y="92"/>
                          </a:cubicBezTo>
                          <a:cubicBezTo>
                            <a:pt x="36" y="93"/>
                            <a:pt x="36" y="93"/>
                            <a:pt x="36" y="93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ubicBezTo>
                            <a:pt x="37" y="92"/>
                            <a:pt x="37" y="92"/>
                            <a:pt x="37" y="92"/>
                          </a:cubicBezTo>
                          <a:close/>
                          <a:moveTo>
                            <a:pt x="38" y="93"/>
                          </a:moveTo>
                          <a:cubicBezTo>
                            <a:pt x="38" y="93"/>
                            <a:pt x="38" y="93"/>
                            <a:pt x="38" y="92"/>
                          </a:cubicBezTo>
                          <a:cubicBezTo>
                            <a:pt x="38" y="93"/>
                            <a:pt x="38" y="93"/>
                            <a:pt x="38" y="93"/>
                          </a:cubicBezTo>
                          <a:cubicBezTo>
                            <a:pt x="38" y="93"/>
                            <a:pt x="38" y="93"/>
                            <a:pt x="38" y="93"/>
                          </a:cubicBezTo>
                          <a:close/>
                          <a:moveTo>
                            <a:pt x="39" y="91"/>
                          </a:moveTo>
                          <a:cubicBezTo>
                            <a:pt x="39" y="91"/>
                            <a:pt x="40" y="91"/>
                            <a:pt x="40" y="91"/>
                          </a:cubicBezTo>
                          <a:cubicBezTo>
                            <a:pt x="40" y="91"/>
                            <a:pt x="39" y="91"/>
                            <a:pt x="39" y="91"/>
                          </a:cubicBezTo>
                          <a:cubicBezTo>
                            <a:pt x="39" y="91"/>
                            <a:pt x="39" y="92"/>
                            <a:pt x="39" y="91"/>
                          </a:cubicBezTo>
                          <a:close/>
                          <a:moveTo>
                            <a:pt x="41" y="90"/>
                          </a:moveTo>
                          <a:cubicBezTo>
                            <a:pt x="41" y="90"/>
                            <a:pt x="41" y="90"/>
                            <a:pt x="41" y="90"/>
                          </a:cubicBezTo>
                          <a:cubicBezTo>
                            <a:pt x="41" y="91"/>
                            <a:pt x="41" y="91"/>
                            <a:pt x="41" y="91"/>
                          </a:cubicBezTo>
                          <a:cubicBezTo>
                            <a:pt x="41" y="90"/>
                            <a:pt x="41" y="90"/>
                            <a:pt x="41" y="90"/>
                          </a:cubicBezTo>
                          <a:close/>
                          <a:moveTo>
                            <a:pt x="42" y="91"/>
                          </a:moveTo>
                          <a:cubicBezTo>
                            <a:pt x="42" y="91"/>
                            <a:pt x="41" y="91"/>
                            <a:pt x="41" y="91"/>
                          </a:cubicBezTo>
                          <a:cubicBezTo>
                            <a:pt x="41" y="91"/>
                            <a:pt x="42" y="91"/>
                            <a:pt x="42" y="91"/>
                          </a:cubicBezTo>
                          <a:close/>
                          <a:moveTo>
                            <a:pt x="43" y="90"/>
                          </a:moveTo>
                          <a:cubicBezTo>
                            <a:pt x="43" y="91"/>
                            <a:pt x="43" y="91"/>
                            <a:pt x="43" y="91"/>
                          </a:cubicBezTo>
                          <a:cubicBezTo>
                            <a:pt x="42" y="91"/>
                            <a:pt x="43" y="90"/>
                            <a:pt x="43" y="90"/>
                          </a:cubicBezTo>
                          <a:close/>
                          <a:moveTo>
                            <a:pt x="41" y="84"/>
                          </a:moveTo>
                          <a:cubicBezTo>
                            <a:pt x="41" y="84"/>
                            <a:pt x="41" y="85"/>
                            <a:pt x="41" y="85"/>
                          </a:cubicBezTo>
                          <a:cubicBezTo>
                            <a:pt x="40" y="85"/>
                            <a:pt x="40" y="85"/>
                            <a:pt x="41" y="84"/>
                          </a:cubicBezTo>
                          <a:close/>
                          <a:moveTo>
                            <a:pt x="43" y="88"/>
                          </a:moveTo>
                          <a:cubicBezTo>
                            <a:pt x="43" y="88"/>
                            <a:pt x="43" y="88"/>
                            <a:pt x="42" y="88"/>
                          </a:cubicBezTo>
                          <a:cubicBezTo>
                            <a:pt x="43" y="88"/>
                            <a:pt x="43" y="88"/>
                            <a:pt x="43" y="87"/>
                          </a:cubicBezTo>
                          <a:cubicBezTo>
                            <a:pt x="43" y="87"/>
                            <a:pt x="43" y="87"/>
                            <a:pt x="43" y="88"/>
                          </a:cubicBezTo>
                          <a:close/>
                          <a:moveTo>
                            <a:pt x="41" y="85"/>
                          </a:moveTo>
                          <a:cubicBezTo>
                            <a:pt x="41" y="85"/>
                            <a:pt x="41" y="85"/>
                            <a:pt x="41" y="85"/>
                          </a:cubicBezTo>
                          <a:cubicBezTo>
                            <a:pt x="41" y="85"/>
                            <a:pt x="41" y="85"/>
                            <a:pt x="41" y="85"/>
                          </a:cubicBezTo>
                          <a:cubicBezTo>
                            <a:pt x="41" y="85"/>
                            <a:pt x="41" y="85"/>
                            <a:pt x="41" y="85"/>
                          </a:cubicBezTo>
                          <a:close/>
                          <a:moveTo>
                            <a:pt x="39" y="80"/>
                          </a:moveTo>
                          <a:cubicBezTo>
                            <a:pt x="39" y="80"/>
                            <a:pt x="39" y="80"/>
                            <a:pt x="39" y="80"/>
                          </a:cubicBezTo>
                          <a:cubicBezTo>
                            <a:pt x="39" y="80"/>
                            <a:pt x="39" y="80"/>
                            <a:pt x="39" y="80"/>
                          </a:cubicBezTo>
                          <a:close/>
                          <a:moveTo>
                            <a:pt x="42" y="83"/>
                          </a:moveTo>
                          <a:cubicBezTo>
                            <a:pt x="43" y="83"/>
                            <a:pt x="43" y="83"/>
                            <a:pt x="43" y="83"/>
                          </a:cubicBezTo>
                          <a:cubicBezTo>
                            <a:pt x="42" y="83"/>
                            <a:pt x="42" y="83"/>
                            <a:pt x="42" y="83"/>
                          </a:cubicBezTo>
                          <a:cubicBezTo>
                            <a:pt x="42" y="83"/>
                            <a:pt x="42" y="83"/>
                            <a:pt x="42" y="83"/>
                          </a:cubicBezTo>
                          <a:close/>
                          <a:moveTo>
                            <a:pt x="45" y="86"/>
                          </a:moveTo>
                          <a:cubicBezTo>
                            <a:pt x="44" y="86"/>
                            <a:pt x="44" y="86"/>
                            <a:pt x="44" y="86"/>
                          </a:cubicBezTo>
                          <a:cubicBezTo>
                            <a:pt x="44" y="86"/>
                            <a:pt x="44" y="86"/>
                            <a:pt x="44" y="86"/>
                          </a:cubicBezTo>
                          <a:cubicBezTo>
                            <a:pt x="45" y="86"/>
                            <a:pt x="45" y="85"/>
                            <a:pt x="45" y="85"/>
                          </a:cubicBezTo>
                          <a:cubicBezTo>
                            <a:pt x="45" y="85"/>
                            <a:pt x="45" y="85"/>
                            <a:pt x="45" y="85"/>
                          </a:cubicBezTo>
                          <a:cubicBezTo>
                            <a:pt x="45" y="85"/>
                            <a:pt x="45" y="85"/>
                            <a:pt x="46" y="85"/>
                          </a:cubicBezTo>
                          <a:cubicBezTo>
                            <a:pt x="45" y="86"/>
                            <a:pt x="45" y="86"/>
                            <a:pt x="45" y="86"/>
                          </a:cubicBezTo>
                          <a:close/>
                          <a:moveTo>
                            <a:pt x="42" y="83"/>
                          </a:moveTo>
                          <a:cubicBezTo>
                            <a:pt x="42" y="82"/>
                            <a:pt x="43" y="82"/>
                            <a:pt x="43" y="82"/>
                          </a:cubicBezTo>
                          <a:cubicBezTo>
                            <a:pt x="43" y="82"/>
                            <a:pt x="43" y="83"/>
                            <a:pt x="43" y="83"/>
                          </a:cubicBezTo>
                          <a:cubicBezTo>
                            <a:pt x="42" y="83"/>
                            <a:pt x="43" y="82"/>
                            <a:pt x="42" y="83"/>
                          </a:cubicBezTo>
                          <a:close/>
                          <a:moveTo>
                            <a:pt x="45" y="87"/>
                          </a:moveTo>
                          <a:cubicBezTo>
                            <a:pt x="45" y="86"/>
                            <a:pt x="45" y="86"/>
                            <a:pt x="45" y="86"/>
                          </a:cubicBezTo>
                          <a:cubicBezTo>
                            <a:pt x="45" y="86"/>
                            <a:pt x="45" y="86"/>
                            <a:pt x="45" y="86"/>
                          </a:cubicBezTo>
                          <a:cubicBezTo>
                            <a:pt x="46" y="86"/>
                            <a:pt x="45" y="86"/>
                            <a:pt x="45" y="87"/>
                          </a:cubicBezTo>
                          <a:close/>
                          <a:moveTo>
                            <a:pt x="44" y="83"/>
                          </a:moveTo>
                          <a:cubicBezTo>
                            <a:pt x="43" y="83"/>
                            <a:pt x="43" y="83"/>
                            <a:pt x="43" y="83"/>
                          </a:cubicBezTo>
                          <a:cubicBezTo>
                            <a:pt x="43" y="83"/>
                            <a:pt x="43" y="83"/>
                            <a:pt x="44" y="83"/>
                          </a:cubicBezTo>
                          <a:cubicBezTo>
                            <a:pt x="44" y="83"/>
                            <a:pt x="44" y="83"/>
                            <a:pt x="44" y="83"/>
                          </a:cubicBezTo>
                          <a:close/>
                          <a:moveTo>
                            <a:pt x="46" y="85"/>
                          </a:moveTo>
                          <a:cubicBezTo>
                            <a:pt x="46" y="85"/>
                            <a:pt x="46" y="86"/>
                            <a:pt x="45" y="86"/>
                          </a:cubicBezTo>
                          <a:cubicBezTo>
                            <a:pt x="45" y="86"/>
                            <a:pt x="46" y="85"/>
                            <a:pt x="46" y="85"/>
                          </a:cubicBezTo>
                          <a:close/>
                          <a:moveTo>
                            <a:pt x="41" y="77"/>
                          </a:moveTo>
                          <a:cubicBezTo>
                            <a:pt x="41" y="77"/>
                            <a:pt x="41" y="77"/>
                            <a:pt x="41" y="77"/>
                          </a:cubicBezTo>
                          <a:cubicBezTo>
                            <a:pt x="41" y="77"/>
                            <a:pt x="41" y="77"/>
                            <a:pt x="41" y="77"/>
                          </a:cubicBezTo>
                          <a:cubicBezTo>
                            <a:pt x="41" y="77"/>
                            <a:pt x="41" y="77"/>
                            <a:pt x="41" y="77"/>
                          </a:cubicBezTo>
                          <a:cubicBezTo>
                            <a:pt x="42" y="77"/>
                            <a:pt x="42" y="77"/>
                            <a:pt x="42" y="77"/>
                          </a:cubicBezTo>
                          <a:cubicBezTo>
                            <a:pt x="42" y="77"/>
                            <a:pt x="41" y="77"/>
                            <a:pt x="41" y="77"/>
                          </a:cubicBezTo>
                          <a:close/>
                          <a:moveTo>
                            <a:pt x="44" y="82"/>
                          </a:moveTo>
                          <a:cubicBezTo>
                            <a:pt x="45" y="82"/>
                            <a:pt x="45" y="82"/>
                            <a:pt x="46" y="82"/>
                          </a:cubicBezTo>
                          <a:cubicBezTo>
                            <a:pt x="45" y="82"/>
                            <a:pt x="45" y="82"/>
                            <a:pt x="44" y="82"/>
                          </a:cubicBezTo>
                          <a:close/>
                          <a:moveTo>
                            <a:pt x="47" y="85"/>
                          </a:moveTo>
                          <a:cubicBezTo>
                            <a:pt x="47" y="85"/>
                            <a:pt x="47" y="86"/>
                            <a:pt x="46" y="86"/>
                          </a:cubicBezTo>
                          <a:cubicBezTo>
                            <a:pt x="46" y="86"/>
                            <a:pt x="46" y="86"/>
                            <a:pt x="46" y="86"/>
                          </a:cubicBezTo>
                          <a:lnTo>
                            <a:pt x="47" y="85"/>
                          </a:lnTo>
                          <a:close/>
                          <a:moveTo>
                            <a:pt x="48" y="88"/>
                          </a:moveTo>
                          <a:cubicBezTo>
                            <a:pt x="48" y="88"/>
                            <a:pt x="48" y="88"/>
                            <a:pt x="48" y="88"/>
                          </a:cubicBezTo>
                          <a:cubicBezTo>
                            <a:pt x="48" y="87"/>
                            <a:pt x="48" y="88"/>
                            <a:pt x="48" y="87"/>
                          </a:cubicBezTo>
                          <a:cubicBezTo>
                            <a:pt x="48" y="88"/>
                            <a:pt x="48" y="88"/>
                            <a:pt x="48" y="88"/>
                          </a:cubicBezTo>
                          <a:close/>
                          <a:moveTo>
                            <a:pt x="42" y="77"/>
                          </a:moveTo>
                          <a:cubicBezTo>
                            <a:pt x="42" y="76"/>
                            <a:pt x="43" y="77"/>
                            <a:pt x="42" y="77"/>
                          </a:cubicBezTo>
                          <a:cubicBezTo>
                            <a:pt x="42" y="77"/>
                            <a:pt x="42" y="77"/>
                            <a:pt x="42" y="77"/>
                          </a:cubicBezTo>
                          <a:cubicBezTo>
                            <a:pt x="42" y="77"/>
                            <a:pt x="42" y="77"/>
                            <a:pt x="42" y="77"/>
                          </a:cubicBezTo>
                          <a:close/>
                          <a:moveTo>
                            <a:pt x="44" y="81"/>
                          </a:moveTo>
                          <a:cubicBezTo>
                            <a:pt x="45" y="81"/>
                            <a:pt x="45" y="81"/>
                            <a:pt x="45" y="81"/>
                          </a:cubicBezTo>
                          <a:cubicBezTo>
                            <a:pt x="45" y="81"/>
                            <a:pt x="45" y="81"/>
                            <a:pt x="45" y="81"/>
                          </a:cubicBezTo>
                          <a:cubicBezTo>
                            <a:pt x="45" y="81"/>
                            <a:pt x="45" y="81"/>
                            <a:pt x="45" y="81"/>
                          </a:cubicBezTo>
                          <a:cubicBezTo>
                            <a:pt x="45" y="81"/>
                            <a:pt x="44" y="81"/>
                            <a:pt x="44" y="81"/>
                          </a:cubicBezTo>
                          <a:close/>
                          <a:moveTo>
                            <a:pt x="46" y="84"/>
                          </a:moveTo>
                          <a:cubicBezTo>
                            <a:pt x="46" y="84"/>
                            <a:pt x="47" y="84"/>
                            <a:pt x="47" y="84"/>
                          </a:cubicBezTo>
                          <a:cubicBezTo>
                            <a:pt x="46" y="84"/>
                            <a:pt x="46" y="84"/>
                            <a:pt x="46" y="84"/>
                          </a:cubicBezTo>
                          <a:cubicBezTo>
                            <a:pt x="46" y="84"/>
                            <a:pt x="46" y="84"/>
                            <a:pt x="46" y="84"/>
                          </a:cubicBezTo>
                          <a:close/>
                          <a:moveTo>
                            <a:pt x="46" y="81"/>
                          </a:moveTo>
                          <a:cubicBezTo>
                            <a:pt x="46" y="81"/>
                            <a:pt x="46" y="81"/>
                            <a:pt x="46" y="81"/>
                          </a:cubicBezTo>
                          <a:cubicBezTo>
                            <a:pt x="45" y="81"/>
                            <a:pt x="46" y="81"/>
                            <a:pt x="46" y="81"/>
                          </a:cubicBezTo>
                          <a:cubicBezTo>
                            <a:pt x="46" y="81"/>
                            <a:pt x="46" y="81"/>
                            <a:pt x="46" y="81"/>
                          </a:cubicBezTo>
                          <a:cubicBezTo>
                            <a:pt x="46" y="81"/>
                            <a:pt x="46" y="81"/>
                            <a:pt x="46" y="81"/>
                          </a:cubicBezTo>
                          <a:cubicBezTo>
                            <a:pt x="46" y="81"/>
                            <a:pt x="46" y="81"/>
                            <a:pt x="46" y="81"/>
                          </a:cubicBezTo>
                          <a:close/>
                          <a:moveTo>
                            <a:pt x="48" y="85"/>
                          </a:moveTo>
                          <a:cubicBezTo>
                            <a:pt x="48" y="85"/>
                            <a:pt x="48" y="85"/>
                            <a:pt x="48" y="85"/>
                          </a:cubicBezTo>
                          <a:cubicBezTo>
                            <a:pt x="48" y="85"/>
                            <a:pt x="48" y="85"/>
                            <a:pt x="48" y="85"/>
                          </a:cubicBezTo>
                          <a:close/>
                          <a:moveTo>
                            <a:pt x="47" y="83"/>
                          </a:moveTo>
                          <a:cubicBezTo>
                            <a:pt x="47" y="83"/>
                            <a:pt x="47" y="83"/>
                            <a:pt x="47" y="83"/>
                          </a:cubicBezTo>
                          <a:cubicBezTo>
                            <a:pt x="47" y="83"/>
                            <a:pt x="47" y="83"/>
                            <a:pt x="47" y="83"/>
                          </a:cubicBezTo>
                          <a:cubicBezTo>
                            <a:pt x="47" y="83"/>
                            <a:pt x="47" y="83"/>
                            <a:pt x="47" y="83"/>
                          </a:cubicBezTo>
                          <a:cubicBezTo>
                            <a:pt x="47" y="83"/>
                            <a:pt x="47" y="83"/>
                            <a:pt x="47" y="83"/>
                          </a:cubicBezTo>
                          <a:close/>
                          <a:moveTo>
                            <a:pt x="47" y="83"/>
                          </a:moveTo>
                          <a:cubicBezTo>
                            <a:pt x="47" y="83"/>
                            <a:pt x="48" y="83"/>
                            <a:pt x="48" y="82"/>
                          </a:cubicBezTo>
                          <a:cubicBezTo>
                            <a:pt x="48" y="83"/>
                            <a:pt x="48" y="83"/>
                            <a:pt x="48" y="83"/>
                          </a:cubicBezTo>
                          <a:cubicBezTo>
                            <a:pt x="48" y="83"/>
                            <a:pt x="48" y="83"/>
                            <a:pt x="47" y="83"/>
                          </a:cubicBezTo>
                          <a:close/>
                          <a:moveTo>
                            <a:pt x="47" y="80"/>
                          </a:moveTo>
                          <a:cubicBezTo>
                            <a:pt x="47" y="80"/>
                            <a:pt x="47" y="80"/>
                            <a:pt x="47" y="80"/>
                          </a:cubicBezTo>
                          <a:cubicBezTo>
                            <a:pt x="47" y="80"/>
                            <a:pt x="46" y="80"/>
                            <a:pt x="46" y="80"/>
                          </a:cubicBezTo>
                          <a:cubicBezTo>
                            <a:pt x="46" y="80"/>
                            <a:pt x="46" y="80"/>
                            <a:pt x="47" y="80"/>
                          </a:cubicBezTo>
                          <a:close/>
                          <a:moveTo>
                            <a:pt x="51" y="86"/>
                          </a:moveTo>
                          <a:cubicBezTo>
                            <a:pt x="51" y="86"/>
                            <a:pt x="51" y="86"/>
                            <a:pt x="51" y="86"/>
                          </a:cubicBezTo>
                          <a:cubicBezTo>
                            <a:pt x="51" y="86"/>
                            <a:pt x="51" y="86"/>
                            <a:pt x="51" y="86"/>
                          </a:cubicBezTo>
                          <a:cubicBezTo>
                            <a:pt x="51" y="86"/>
                            <a:pt x="51" y="86"/>
                            <a:pt x="51" y="86"/>
                          </a:cubicBezTo>
                          <a:cubicBezTo>
                            <a:pt x="51" y="86"/>
                            <a:pt x="51" y="86"/>
                            <a:pt x="51" y="86"/>
                          </a:cubicBezTo>
                          <a:cubicBezTo>
                            <a:pt x="51" y="86"/>
                            <a:pt x="51" y="86"/>
                            <a:pt x="51" y="86"/>
                          </a:cubicBezTo>
                          <a:cubicBezTo>
                            <a:pt x="51" y="86"/>
                            <a:pt x="51" y="86"/>
                            <a:pt x="51" y="86"/>
                          </a:cubicBezTo>
                          <a:cubicBezTo>
                            <a:pt x="51" y="86"/>
                            <a:pt x="51" y="86"/>
                            <a:pt x="51" y="86"/>
                          </a:cubicBezTo>
                          <a:close/>
                          <a:moveTo>
                            <a:pt x="48" y="79"/>
                          </a:moveTo>
                          <a:cubicBezTo>
                            <a:pt x="48" y="80"/>
                            <a:pt x="48" y="79"/>
                            <a:pt x="47" y="80"/>
                          </a:cubicBezTo>
                          <a:cubicBezTo>
                            <a:pt x="47" y="79"/>
                            <a:pt x="47" y="79"/>
                            <a:pt x="48" y="79"/>
                          </a:cubicBezTo>
                          <a:cubicBezTo>
                            <a:pt x="48" y="79"/>
                            <a:pt x="48" y="79"/>
                            <a:pt x="48" y="79"/>
                          </a:cubicBezTo>
                          <a:cubicBezTo>
                            <a:pt x="48" y="79"/>
                            <a:pt x="48" y="79"/>
                            <a:pt x="48" y="79"/>
                          </a:cubicBezTo>
                          <a:close/>
                          <a:moveTo>
                            <a:pt x="46" y="76"/>
                          </a:moveTo>
                          <a:cubicBezTo>
                            <a:pt x="46" y="76"/>
                            <a:pt x="47" y="76"/>
                            <a:pt x="47" y="76"/>
                          </a:cubicBezTo>
                          <a:cubicBezTo>
                            <a:pt x="47" y="76"/>
                            <a:pt x="46" y="76"/>
                            <a:pt x="46" y="76"/>
                          </a:cubicBezTo>
                          <a:close/>
                          <a:moveTo>
                            <a:pt x="48" y="79"/>
                          </a:moveTo>
                          <a:cubicBezTo>
                            <a:pt x="48" y="79"/>
                            <a:pt x="49" y="79"/>
                            <a:pt x="49" y="79"/>
                          </a:cubicBezTo>
                          <a:cubicBezTo>
                            <a:pt x="49" y="79"/>
                            <a:pt x="49" y="79"/>
                            <a:pt x="49" y="79"/>
                          </a:cubicBezTo>
                          <a:cubicBezTo>
                            <a:pt x="48" y="79"/>
                            <a:pt x="48" y="79"/>
                            <a:pt x="48" y="79"/>
                          </a:cubicBezTo>
                          <a:cubicBezTo>
                            <a:pt x="48" y="79"/>
                            <a:pt x="48" y="79"/>
                            <a:pt x="48" y="79"/>
                          </a:cubicBezTo>
                          <a:close/>
                          <a:moveTo>
                            <a:pt x="50" y="81"/>
                          </a:moveTo>
                          <a:cubicBezTo>
                            <a:pt x="50" y="81"/>
                            <a:pt x="50" y="81"/>
                            <a:pt x="50" y="81"/>
                          </a:cubicBezTo>
                          <a:cubicBezTo>
                            <a:pt x="50" y="81"/>
                            <a:pt x="50" y="81"/>
                            <a:pt x="50" y="81"/>
                          </a:cubicBezTo>
                          <a:cubicBezTo>
                            <a:pt x="50" y="81"/>
                            <a:pt x="50" y="81"/>
                            <a:pt x="50" y="81"/>
                          </a:cubicBezTo>
                          <a:close/>
                          <a:moveTo>
                            <a:pt x="51" y="83"/>
                          </a:moveTo>
                          <a:cubicBezTo>
                            <a:pt x="51" y="83"/>
                            <a:pt x="51" y="83"/>
                            <a:pt x="51" y="83"/>
                          </a:cubicBezTo>
                          <a:cubicBezTo>
                            <a:pt x="51" y="83"/>
                            <a:pt x="51" y="83"/>
                            <a:pt x="51" y="83"/>
                          </a:cubicBezTo>
                          <a:close/>
                          <a:moveTo>
                            <a:pt x="50" y="79"/>
                          </a:moveTo>
                          <a:cubicBezTo>
                            <a:pt x="50" y="79"/>
                            <a:pt x="49" y="80"/>
                            <a:pt x="49" y="80"/>
                          </a:cubicBezTo>
                          <a:cubicBezTo>
                            <a:pt x="49" y="79"/>
                            <a:pt x="49" y="79"/>
                            <a:pt x="50" y="79"/>
                          </a:cubicBezTo>
                          <a:close/>
                          <a:moveTo>
                            <a:pt x="49" y="78"/>
                          </a:moveTo>
                          <a:cubicBezTo>
                            <a:pt x="49" y="79"/>
                            <a:pt x="49" y="79"/>
                            <a:pt x="48" y="79"/>
                          </a:cubicBezTo>
                          <a:cubicBezTo>
                            <a:pt x="48" y="79"/>
                            <a:pt x="48" y="78"/>
                            <a:pt x="49" y="78"/>
                          </a:cubicBezTo>
                          <a:cubicBezTo>
                            <a:pt x="49" y="78"/>
                            <a:pt x="49" y="79"/>
                            <a:pt x="49" y="78"/>
                          </a:cubicBezTo>
                          <a:close/>
                          <a:moveTo>
                            <a:pt x="49" y="80"/>
                          </a:moveTo>
                          <a:cubicBezTo>
                            <a:pt x="49" y="80"/>
                            <a:pt x="49" y="80"/>
                            <a:pt x="49" y="80"/>
                          </a:cubicBezTo>
                          <a:cubicBezTo>
                            <a:pt x="49" y="80"/>
                            <a:pt x="49" y="80"/>
                            <a:pt x="49" y="80"/>
                          </a:cubicBezTo>
                          <a:cubicBezTo>
                            <a:pt x="49" y="80"/>
                            <a:pt x="49" y="80"/>
                            <a:pt x="49" y="80"/>
                          </a:cubicBezTo>
                          <a:cubicBezTo>
                            <a:pt x="50" y="79"/>
                            <a:pt x="50" y="80"/>
                            <a:pt x="50" y="79"/>
                          </a:cubicBezTo>
                          <a:cubicBezTo>
                            <a:pt x="50" y="80"/>
                            <a:pt x="50" y="80"/>
                            <a:pt x="49" y="80"/>
                          </a:cubicBezTo>
                          <a:close/>
                          <a:moveTo>
                            <a:pt x="48" y="77"/>
                          </a:moveTo>
                          <a:cubicBezTo>
                            <a:pt x="48" y="77"/>
                            <a:pt x="48" y="77"/>
                            <a:pt x="48" y="77"/>
                          </a:cubicBezTo>
                          <a:cubicBezTo>
                            <a:pt x="48" y="77"/>
                            <a:pt x="48" y="77"/>
                            <a:pt x="48" y="77"/>
                          </a:cubicBezTo>
                          <a:close/>
                          <a:moveTo>
                            <a:pt x="51" y="81"/>
                          </a:moveTo>
                          <a:cubicBezTo>
                            <a:pt x="51" y="81"/>
                            <a:pt x="51" y="81"/>
                            <a:pt x="51" y="81"/>
                          </a:cubicBezTo>
                          <a:cubicBezTo>
                            <a:pt x="51" y="81"/>
                            <a:pt x="51" y="81"/>
                            <a:pt x="51" y="81"/>
                          </a:cubicBezTo>
                          <a:cubicBezTo>
                            <a:pt x="51" y="81"/>
                            <a:pt x="51" y="81"/>
                            <a:pt x="51" y="81"/>
                          </a:cubicBezTo>
                          <a:close/>
                          <a:moveTo>
                            <a:pt x="51" y="78"/>
                          </a:moveTo>
                          <a:cubicBezTo>
                            <a:pt x="51" y="78"/>
                            <a:pt x="50" y="78"/>
                            <a:pt x="49" y="78"/>
                          </a:cubicBezTo>
                          <a:cubicBezTo>
                            <a:pt x="49" y="78"/>
                            <a:pt x="50" y="78"/>
                            <a:pt x="50" y="78"/>
                          </a:cubicBezTo>
                          <a:cubicBezTo>
                            <a:pt x="50" y="78"/>
                            <a:pt x="50" y="78"/>
                            <a:pt x="51" y="78"/>
                          </a:cubicBezTo>
                          <a:close/>
                          <a:moveTo>
                            <a:pt x="52" y="83"/>
                          </a:moveTo>
                          <a:cubicBezTo>
                            <a:pt x="52" y="83"/>
                            <a:pt x="52" y="83"/>
                            <a:pt x="52" y="83"/>
                          </a:cubicBezTo>
                          <a:cubicBezTo>
                            <a:pt x="52" y="83"/>
                            <a:pt x="52" y="83"/>
                            <a:pt x="52" y="83"/>
                          </a:cubicBezTo>
                          <a:cubicBezTo>
                            <a:pt x="52" y="83"/>
                            <a:pt x="52" y="83"/>
                            <a:pt x="52" y="82"/>
                          </a:cubicBezTo>
                          <a:cubicBezTo>
                            <a:pt x="53" y="82"/>
                            <a:pt x="52" y="83"/>
                            <a:pt x="53" y="82"/>
                          </a:cubicBezTo>
                          <a:cubicBezTo>
                            <a:pt x="53" y="83"/>
                            <a:pt x="52" y="83"/>
                            <a:pt x="52" y="83"/>
                          </a:cubicBezTo>
                          <a:close/>
                          <a:moveTo>
                            <a:pt x="51" y="79"/>
                          </a:moveTo>
                          <a:cubicBezTo>
                            <a:pt x="51" y="79"/>
                            <a:pt x="51" y="79"/>
                            <a:pt x="51" y="79"/>
                          </a:cubicBezTo>
                          <a:cubicBezTo>
                            <a:pt x="51" y="79"/>
                            <a:pt x="51" y="79"/>
                            <a:pt x="51" y="79"/>
                          </a:cubicBezTo>
                          <a:cubicBezTo>
                            <a:pt x="51" y="79"/>
                            <a:pt x="51" y="79"/>
                            <a:pt x="51" y="79"/>
                          </a:cubicBezTo>
                          <a:cubicBezTo>
                            <a:pt x="51" y="79"/>
                            <a:pt x="51" y="79"/>
                            <a:pt x="51" y="79"/>
                          </a:cubicBezTo>
                          <a:cubicBezTo>
                            <a:pt x="51" y="79"/>
                            <a:pt x="51" y="79"/>
                            <a:pt x="51" y="79"/>
                          </a:cubicBezTo>
                          <a:close/>
                          <a:moveTo>
                            <a:pt x="51" y="79"/>
                          </a:moveTo>
                          <a:cubicBezTo>
                            <a:pt x="51" y="78"/>
                            <a:pt x="52" y="78"/>
                            <a:pt x="52" y="78"/>
                          </a:cubicBezTo>
                          <a:cubicBezTo>
                            <a:pt x="52" y="78"/>
                            <a:pt x="51" y="78"/>
                            <a:pt x="51" y="79"/>
                          </a:cubicBezTo>
                          <a:close/>
                          <a:moveTo>
                            <a:pt x="54" y="83"/>
                          </a:moveTo>
                          <a:cubicBezTo>
                            <a:pt x="54" y="83"/>
                            <a:pt x="54" y="83"/>
                            <a:pt x="54" y="83"/>
                          </a:cubicBezTo>
                          <a:cubicBezTo>
                            <a:pt x="54" y="83"/>
                            <a:pt x="54" y="83"/>
                            <a:pt x="54" y="83"/>
                          </a:cubicBezTo>
                          <a:cubicBezTo>
                            <a:pt x="54" y="83"/>
                            <a:pt x="54" y="83"/>
                            <a:pt x="54" y="83"/>
                          </a:cubicBezTo>
                          <a:close/>
                          <a:moveTo>
                            <a:pt x="52" y="80"/>
                          </a:moveTo>
                          <a:cubicBezTo>
                            <a:pt x="52" y="80"/>
                            <a:pt x="52" y="80"/>
                            <a:pt x="52" y="80"/>
                          </a:cubicBezTo>
                          <a:cubicBezTo>
                            <a:pt x="52" y="80"/>
                            <a:pt x="52" y="80"/>
                            <a:pt x="52" y="80"/>
                          </a:cubicBezTo>
                          <a:cubicBezTo>
                            <a:pt x="52" y="80"/>
                            <a:pt x="52" y="80"/>
                            <a:pt x="52" y="80"/>
                          </a:cubicBezTo>
                          <a:close/>
                          <a:moveTo>
                            <a:pt x="51" y="77"/>
                          </a:moveTo>
                          <a:cubicBezTo>
                            <a:pt x="52" y="77"/>
                            <a:pt x="51" y="78"/>
                            <a:pt x="51" y="78"/>
                          </a:cubicBezTo>
                          <a:cubicBezTo>
                            <a:pt x="51" y="77"/>
                            <a:pt x="51" y="77"/>
                            <a:pt x="51" y="77"/>
                          </a:cubicBezTo>
                          <a:close/>
                          <a:moveTo>
                            <a:pt x="54" y="82"/>
                          </a:moveTo>
                          <a:cubicBezTo>
                            <a:pt x="53" y="82"/>
                            <a:pt x="54" y="82"/>
                            <a:pt x="54" y="82"/>
                          </a:cubicBezTo>
                          <a:cubicBezTo>
                            <a:pt x="54" y="82"/>
                            <a:pt x="54" y="82"/>
                            <a:pt x="54" y="82"/>
                          </a:cubicBezTo>
                          <a:cubicBezTo>
                            <a:pt x="54" y="82"/>
                            <a:pt x="54" y="82"/>
                            <a:pt x="54" y="82"/>
                          </a:cubicBezTo>
                          <a:close/>
                          <a:moveTo>
                            <a:pt x="54" y="80"/>
                          </a:moveTo>
                          <a:cubicBezTo>
                            <a:pt x="53" y="80"/>
                            <a:pt x="53" y="80"/>
                            <a:pt x="53" y="80"/>
                          </a:cubicBezTo>
                          <a:cubicBezTo>
                            <a:pt x="53" y="80"/>
                            <a:pt x="54" y="80"/>
                            <a:pt x="54" y="80"/>
                          </a:cubicBezTo>
                          <a:close/>
                          <a:moveTo>
                            <a:pt x="52" y="78"/>
                          </a:moveTo>
                          <a:cubicBezTo>
                            <a:pt x="53" y="78"/>
                            <a:pt x="53" y="78"/>
                            <a:pt x="53" y="78"/>
                          </a:cubicBezTo>
                          <a:cubicBezTo>
                            <a:pt x="53" y="78"/>
                            <a:pt x="53" y="78"/>
                            <a:pt x="53" y="78"/>
                          </a:cubicBezTo>
                          <a:cubicBezTo>
                            <a:pt x="54" y="78"/>
                            <a:pt x="53" y="78"/>
                            <a:pt x="53" y="78"/>
                          </a:cubicBezTo>
                          <a:cubicBezTo>
                            <a:pt x="53" y="78"/>
                            <a:pt x="53" y="78"/>
                            <a:pt x="53" y="78"/>
                          </a:cubicBezTo>
                          <a:cubicBezTo>
                            <a:pt x="53" y="78"/>
                            <a:pt x="53" y="78"/>
                            <a:pt x="52" y="78"/>
                          </a:cubicBezTo>
                          <a:close/>
                          <a:moveTo>
                            <a:pt x="51" y="75"/>
                          </a:moveTo>
                          <a:cubicBezTo>
                            <a:pt x="51" y="75"/>
                            <a:pt x="51" y="75"/>
                            <a:pt x="51" y="75"/>
                          </a:cubicBezTo>
                          <a:cubicBezTo>
                            <a:pt x="51" y="75"/>
                            <a:pt x="51" y="75"/>
                            <a:pt x="51" y="75"/>
                          </a:cubicBezTo>
                          <a:cubicBezTo>
                            <a:pt x="51" y="75"/>
                            <a:pt x="51" y="75"/>
                            <a:pt x="51" y="75"/>
                          </a:cubicBezTo>
                          <a:close/>
                          <a:moveTo>
                            <a:pt x="54" y="81"/>
                          </a:moveTo>
                          <a:cubicBezTo>
                            <a:pt x="54" y="81"/>
                            <a:pt x="54" y="81"/>
                            <a:pt x="54" y="81"/>
                          </a:cubicBezTo>
                          <a:cubicBezTo>
                            <a:pt x="54" y="81"/>
                            <a:pt x="55" y="80"/>
                            <a:pt x="55" y="80"/>
                          </a:cubicBezTo>
                          <a:cubicBezTo>
                            <a:pt x="55" y="80"/>
                            <a:pt x="55" y="81"/>
                            <a:pt x="54" y="81"/>
                          </a:cubicBezTo>
                          <a:close/>
                          <a:moveTo>
                            <a:pt x="50" y="73"/>
                          </a:moveTo>
                          <a:cubicBezTo>
                            <a:pt x="50" y="73"/>
                            <a:pt x="50" y="72"/>
                            <a:pt x="51" y="72"/>
                          </a:cubicBezTo>
                          <a:cubicBezTo>
                            <a:pt x="51" y="72"/>
                            <a:pt x="51" y="72"/>
                            <a:pt x="51" y="73"/>
                          </a:cubicBezTo>
                          <a:cubicBezTo>
                            <a:pt x="51" y="73"/>
                            <a:pt x="51" y="72"/>
                            <a:pt x="51" y="72"/>
                          </a:cubicBezTo>
                          <a:cubicBezTo>
                            <a:pt x="51" y="73"/>
                            <a:pt x="51" y="72"/>
                            <a:pt x="51" y="73"/>
                          </a:cubicBezTo>
                          <a:cubicBezTo>
                            <a:pt x="50" y="73"/>
                            <a:pt x="50" y="73"/>
                            <a:pt x="50" y="73"/>
                          </a:cubicBezTo>
                          <a:close/>
                          <a:moveTo>
                            <a:pt x="54" y="79"/>
                          </a:moveTo>
                          <a:cubicBezTo>
                            <a:pt x="54" y="79"/>
                            <a:pt x="54" y="79"/>
                            <a:pt x="55" y="79"/>
                          </a:cubicBezTo>
                          <a:cubicBezTo>
                            <a:pt x="55" y="79"/>
                            <a:pt x="54" y="79"/>
                            <a:pt x="54" y="79"/>
                          </a:cubicBezTo>
                          <a:cubicBezTo>
                            <a:pt x="54" y="79"/>
                            <a:pt x="55" y="79"/>
                            <a:pt x="54" y="79"/>
                          </a:cubicBezTo>
                          <a:close/>
                          <a:moveTo>
                            <a:pt x="54" y="79"/>
                          </a:moveTo>
                          <a:cubicBezTo>
                            <a:pt x="54" y="79"/>
                            <a:pt x="54" y="79"/>
                            <a:pt x="54" y="79"/>
                          </a:cubicBezTo>
                          <a:cubicBezTo>
                            <a:pt x="55" y="79"/>
                            <a:pt x="55" y="79"/>
                            <a:pt x="55" y="79"/>
                          </a:cubicBezTo>
                          <a:cubicBezTo>
                            <a:pt x="55" y="79"/>
                            <a:pt x="55" y="79"/>
                            <a:pt x="55" y="79"/>
                          </a:cubicBezTo>
                          <a:cubicBezTo>
                            <a:pt x="55" y="79"/>
                            <a:pt x="55" y="79"/>
                            <a:pt x="54" y="79"/>
                          </a:cubicBezTo>
                          <a:close/>
                          <a:moveTo>
                            <a:pt x="55" y="79"/>
                          </a:moveTo>
                          <a:cubicBezTo>
                            <a:pt x="55" y="79"/>
                            <a:pt x="55" y="79"/>
                            <a:pt x="55" y="79"/>
                          </a:cubicBezTo>
                          <a:cubicBezTo>
                            <a:pt x="55" y="79"/>
                            <a:pt x="55" y="79"/>
                            <a:pt x="55" y="79"/>
                          </a:cubicBezTo>
                          <a:cubicBezTo>
                            <a:pt x="55" y="79"/>
                            <a:pt x="55" y="79"/>
                            <a:pt x="55" y="79"/>
                          </a:cubicBezTo>
                          <a:cubicBezTo>
                            <a:pt x="55" y="79"/>
                            <a:pt x="55" y="79"/>
                            <a:pt x="55" y="79"/>
                          </a:cubicBezTo>
                          <a:close/>
                          <a:moveTo>
                            <a:pt x="54" y="77"/>
                          </a:moveTo>
                          <a:cubicBezTo>
                            <a:pt x="54" y="77"/>
                            <a:pt x="55" y="77"/>
                            <a:pt x="55" y="77"/>
                          </a:cubicBezTo>
                          <a:cubicBezTo>
                            <a:pt x="55" y="77"/>
                            <a:pt x="55" y="77"/>
                            <a:pt x="55" y="77"/>
                          </a:cubicBezTo>
                          <a:cubicBezTo>
                            <a:pt x="55" y="77"/>
                            <a:pt x="55" y="77"/>
                            <a:pt x="55" y="77"/>
                          </a:cubicBezTo>
                          <a:cubicBezTo>
                            <a:pt x="55" y="77"/>
                            <a:pt x="55" y="77"/>
                            <a:pt x="54" y="77"/>
                          </a:cubicBezTo>
                          <a:cubicBezTo>
                            <a:pt x="54" y="77"/>
                            <a:pt x="54" y="77"/>
                            <a:pt x="54" y="77"/>
                          </a:cubicBezTo>
                          <a:cubicBezTo>
                            <a:pt x="54" y="77"/>
                            <a:pt x="54" y="77"/>
                            <a:pt x="54" y="77"/>
                          </a:cubicBezTo>
                          <a:close/>
                          <a:moveTo>
                            <a:pt x="52" y="71"/>
                          </a:moveTo>
                          <a:cubicBezTo>
                            <a:pt x="51" y="71"/>
                            <a:pt x="51" y="72"/>
                            <a:pt x="51" y="72"/>
                          </a:cubicBezTo>
                          <a:cubicBezTo>
                            <a:pt x="51" y="72"/>
                            <a:pt x="52" y="71"/>
                            <a:pt x="52" y="71"/>
                          </a:cubicBezTo>
                          <a:close/>
                          <a:moveTo>
                            <a:pt x="56" y="78"/>
                          </a:moveTo>
                          <a:cubicBezTo>
                            <a:pt x="56" y="78"/>
                            <a:pt x="56" y="78"/>
                            <a:pt x="56" y="78"/>
                          </a:cubicBezTo>
                          <a:cubicBezTo>
                            <a:pt x="56" y="78"/>
                            <a:pt x="55" y="79"/>
                            <a:pt x="55" y="78"/>
                          </a:cubicBezTo>
                          <a:cubicBezTo>
                            <a:pt x="55" y="78"/>
                            <a:pt x="56" y="78"/>
                            <a:pt x="56" y="78"/>
                          </a:cubicBezTo>
                          <a:close/>
                          <a:moveTo>
                            <a:pt x="56" y="77"/>
                          </a:moveTo>
                          <a:cubicBezTo>
                            <a:pt x="56" y="77"/>
                            <a:pt x="55" y="77"/>
                            <a:pt x="55" y="78"/>
                          </a:cubicBezTo>
                          <a:cubicBezTo>
                            <a:pt x="55" y="77"/>
                            <a:pt x="56" y="77"/>
                            <a:pt x="56" y="77"/>
                          </a:cubicBezTo>
                          <a:close/>
                          <a:moveTo>
                            <a:pt x="54" y="75"/>
                          </a:moveTo>
                          <a:cubicBezTo>
                            <a:pt x="54" y="75"/>
                            <a:pt x="54" y="75"/>
                            <a:pt x="54" y="75"/>
                          </a:cubicBezTo>
                          <a:cubicBezTo>
                            <a:pt x="54" y="75"/>
                            <a:pt x="55" y="74"/>
                            <a:pt x="55" y="74"/>
                          </a:cubicBezTo>
                          <a:cubicBezTo>
                            <a:pt x="55" y="75"/>
                            <a:pt x="55" y="75"/>
                            <a:pt x="55" y="75"/>
                          </a:cubicBezTo>
                          <a:cubicBezTo>
                            <a:pt x="55" y="75"/>
                            <a:pt x="55" y="75"/>
                            <a:pt x="54" y="75"/>
                          </a:cubicBezTo>
                          <a:close/>
                          <a:moveTo>
                            <a:pt x="52" y="72"/>
                          </a:moveTo>
                          <a:cubicBezTo>
                            <a:pt x="52" y="72"/>
                            <a:pt x="52" y="72"/>
                            <a:pt x="52" y="72"/>
                          </a:cubicBezTo>
                          <a:cubicBezTo>
                            <a:pt x="53" y="71"/>
                            <a:pt x="53" y="71"/>
                            <a:pt x="53" y="71"/>
                          </a:cubicBezTo>
                          <a:cubicBezTo>
                            <a:pt x="53" y="71"/>
                            <a:pt x="53" y="71"/>
                            <a:pt x="53" y="71"/>
                          </a:cubicBezTo>
                          <a:cubicBezTo>
                            <a:pt x="53" y="71"/>
                            <a:pt x="53" y="72"/>
                            <a:pt x="52" y="72"/>
                          </a:cubicBezTo>
                          <a:close/>
                          <a:moveTo>
                            <a:pt x="56" y="78"/>
                          </a:moveTo>
                          <a:cubicBezTo>
                            <a:pt x="57" y="78"/>
                            <a:pt x="57" y="78"/>
                            <a:pt x="58" y="78"/>
                          </a:cubicBezTo>
                          <a:cubicBezTo>
                            <a:pt x="58" y="78"/>
                            <a:pt x="57" y="78"/>
                            <a:pt x="57" y="78"/>
                          </a:cubicBezTo>
                          <a:lnTo>
                            <a:pt x="56" y="78"/>
                          </a:lnTo>
                          <a:close/>
                          <a:moveTo>
                            <a:pt x="59" y="82"/>
                          </a:moveTo>
                          <a:cubicBezTo>
                            <a:pt x="59" y="82"/>
                            <a:pt x="59" y="82"/>
                            <a:pt x="59" y="82"/>
                          </a:cubicBezTo>
                          <a:cubicBezTo>
                            <a:pt x="59" y="82"/>
                            <a:pt x="59" y="81"/>
                            <a:pt x="59" y="82"/>
                          </a:cubicBezTo>
                          <a:close/>
                          <a:moveTo>
                            <a:pt x="55" y="75"/>
                          </a:moveTo>
                          <a:cubicBezTo>
                            <a:pt x="55" y="75"/>
                            <a:pt x="55" y="75"/>
                            <a:pt x="55" y="75"/>
                          </a:cubicBezTo>
                          <a:cubicBezTo>
                            <a:pt x="55" y="75"/>
                            <a:pt x="55" y="75"/>
                            <a:pt x="55" y="75"/>
                          </a:cubicBezTo>
                          <a:close/>
                          <a:moveTo>
                            <a:pt x="53" y="71"/>
                          </a:moveTo>
                          <a:cubicBezTo>
                            <a:pt x="53" y="71"/>
                            <a:pt x="53" y="71"/>
                            <a:pt x="53" y="71"/>
                          </a:cubicBezTo>
                          <a:cubicBezTo>
                            <a:pt x="53" y="71"/>
                            <a:pt x="53" y="71"/>
                            <a:pt x="53" y="71"/>
                          </a:cubicBezTo>
                          <a:cubicBezTo>
                            <a:pt x="53" y="71"/>
                            <a:pt x="53" y="71"/>
                            <a:pt x="53" y="71"/>
                          </a:cubicBezTo>
                          <a:cubicBezTo>
                            <a:pt x="53" y="71"/>
                            <a:pt x="53" y="71"/>
                            <a:pt x="53" y="71"/>
                          </a:cubicBezTo>
                          <a:close/>
                          <a:moveTo>
                            <a:pt x="54" y="71"/>
                          </a:moveTo>
                          <a:cubicBezTo>
                            <a:pt x="54" y="71"/>
                            <a:pt x="54" y="71"/>
                            <a:pt x="54" y="71"/>
                          </a:cubicBezTo>
                          <a:cubicBezTo>
                            <a:pt x="54" y="71"/>
                            <a:pt x="54" y="71"/>
                            <a:pt x="54" y="71"/>
                          </a:cubicBezTo>
                          <a:cubicBezTo>
                            <a:pt x="54" y="71"/>
                            <a:pt x="54" y="71"/>
                            <a:pt x="54" y="71"/>
                          </a:cubicBezTo>
                          <a:cubicBezTo>
                            <a:pt x="54" y="71"/>
                            <a:pt x="54" y="71"/>
                            <a:pt x="54" y="71"/>
                          </a:cubicBezTo>
                          <a:cubicBezTo>
                            <a:pt x="54" y="71"/>
                            <a:pt x="54" y="71"/>
                            <a:pt x="55" y="70"/>
                          </a:cubicBezTo>
                          <a:cubicBezTo>
                            <a:pt x="55" y="71"/>
                            <a:pt x="54" y="71"/>
                            <a:pt x="54" y="71"/>
                          </a:cubicBezTo>
                          <a:close/>
                          <a:moveTo>
                            <a:pt x="58" y="77"/>
                          </a:moveTo>
                          <a:cubicBezTo>
                            <a:pt x="58" y="77"/>
                            <a:pt x="58" y="77"/>
                            <a:pt x="57" y="78"/>
                          </a:cubicBezTo>
                          <a:cubicBezTo>
                            <a:pt x="57" y="77"/>
                            <a:pt x="58" y="77"/>
                            <a:pt x="58" y="77"/>
                          </a:cubicBezTo>
                          <a:close/>
                          <a:moveTo>
                            <a:pt x="53" y="71"/>
                          </a:moveTo>
                          <a:cubicBezTo>
                            <a:pt x="54" y="70"/>
                            <a:pt x="54" y="70"/>
                            <a:pt x="54" y="70"/>
                          </a:cubicBezTo>
                          <a:cubicBezTo>
                            <a:pt x="54" y="70"/>
                            <a:pt x="54" y="70"/>
                            <a:pt x="53" y="71"/>
                          </a:cubicBezTo>
                          <a:close/>
                          <a:moveTo>
                            <a:pt x="58" y="76"/>
                          </a:moveTo>
                          <a:cubicBezTo>
                            <a:pt x="58" y="76"/>
                            <a:pt x="58" y="77"/>
                            <a:pt x="58" y="77"/>
                          </a:cubicBezTo>
                          <a:cubicBezTo>
                            <a:pt x="58" y="77"/>
                            <a:pt x="58" y="77"/>
                            <a:pt x="58" y="76"/>
                          </a:cubicBezTo>
                          <a:cubicBezTo>
                            <a:pt x="58" y="76"/>
                            <a:pt x="58" y="76"/>
                            <a:pt x="58" y="76"/>
                          </a:cubicBezTo>
                          <a:close/>
                          <a:moveTo>
                            <a:pt x="58" y="75"/>
                          </a:moveTo>
                          <a:cubicBezTo>
                            <a:pt x="58" y="75"/>
                            <a:pt x="58" y="75"/>
                            <a:pt x="58" y="75"/>
                          </a:cubicBezTo>
                          <a:cubicBezTo>
                            <a:pt x="58" y="75"/>
                            <a:pt x="58" y="75"/>
                            <a:pt x="58" y="75"/>
                          </a:cubicBezTo>
                          <a:cubicBezTo>
                            <a:pt x="58" y="75"/>
                            <a:pt x="57" y="76"/>
                            <a:pt x="57" y="75"/>
                          </a:cubicBezTo>
                          <a:cubicBezTo>
                            <a:pt x="58" y="75"/>
                            <a:pt x="58" y="74"/>
                            <a:pt x="59" y="74"/>
                          </a:cubicBezTo>
                          <a:cubicBezTo>
                            <a:pt x="59" y="74"/>
                            <a:pt x="58" y="75"/>
                            <a:pt x="59" y="75"/>
                          </a:cubicBezTo>
                          <a:cubicBezTo>
                            <a:pt x="58" y="75"/>
                            <a:pt x="58" y="75"/>
                            <a:pt x="58" y="75"/>
                          </a:cubicBezTo>
                          <a:cubicBezTo>
                            <a:pt x="58" y="75"/>
                            <a:pt x="58" y="75"/>
                            <a:pt x="59" y="75"/>
                          </a:cubicBezTo>
                          <a:cubicBezTo>
                            <a:pt x="58" y="75"/>
                            <a:pt x="58" y="75"/>
                            <a:pt x="58" y="75"/>
                          </a:cubicBezTo>
                          <a:close/>
                          <a:moveTo>
                            <a:pt x="54" y="70"/>
                          </a:moveTo>
                          <a:cubicBezTo>
                            <a:pt x="54" y="70"/>
                            <a:pt x="55" y="70"/>
                            <a:pt x="54" y="70"/>
                          </a:cubicBezTo>
                          <a:cubicBezTo>
                            <a:pt x="55" y="69"/>
                            <a:pt x="55" y="70"/>
                            <a:pt x="54" y="70"/>
                          </a:cubicBezTo>
                          <a:close/>
                          <a:moveTo>
                            <a:pt x="56" y="71"/>
                          </a:moveTo>
                          <a:cubicBezTo>
                            <a:pt x="56" y="71"/>
                            <a:pt x="56" y="71"/>
                            <a:pt x="57" y="71"/>
                          </a:cubicBezTo>
                          <a:cubicBezTo>
                            <a:pt x="56" y="71"/>
                            <a:pt x="56" y="71"/>
                            <a:pt x="56" y="71"/>
                          </a:cubicBezTo>
                          <a:cubicBezTo>
                            <a:pt x="56" y="71"/>
                            <a:pt x="56" y="71"/>
                            <a:pt x="56" y="71"/>
                          </a:cubicBezTo>
                          <a:cubicBezTo>
                            <a:pt x="57" y="71"/>
                            <a:pt x="56" y="71"/>
                            <a:pt x="56" y="70"/>
                          </a:cubicBezTo>
                          <a:cubicBezTo>
                            <a:pt x="57" y="70"/>
                            <a:pt x="57" y="70"/>
                            <a:pt x="57" y="70"/>
                          </a:cubicBezTo>
                          <a:cubicBezTo>
                            <a:pt x="57" y="70"/>
                            <a:pt x="57" y="71"/>
                            <a:pt x="56" y="71"/>
                          </a:cubicBezTo>
                          <a:cubicBezTo>
                            <a:pt x="57" y="71"/>
                            <a:pt x="57" y="71"/>
                            <a:pt x="57" y="71"/>
                          </a:cubicBezTo>
                          <a:cubicBezTo>
                            <a:pt x="56" y="71"/>
                            <a:pt x="56" y="72"/>
                            <a:pt x="56" y="72"/>
                          </a:cubicBezTo>
                          <a:cubicBezTo>
                            <a:pt x="56" y="71"/>
                            <a:pt x="56" y="71"/>
                            <a:pt x="56" y="71"/>
                          </a:cubicBezTo>
                          <a:cubicBezTo>
                            <a:pt x="56" y="71"/>
                            <a:pt x="56" y="71"/>
                            <a:pt x="56" y="71"/>
                          </a:cubicBezTo>
                          <a:cubicBezTo>
                            <a:pt x="56" y="71"/>
                            <a:pt x="56" y="71"/>
                            <a:pt x="56" y="71"/>
                          </a:cubicBezTo>
                          <a:cubicBezTo>
                            <a:pt x="56" y="71"/>
                            <a:pt x="56" y="71"/>
                            <a:pt x="56" y="71"/>
                          </a:cubicBezTo>
                          <a:cubicBezTo>
                            <a:pt x="56" y="71"/>
                            <a:pt x="56" y="71"/>
                            <a:pt x="56" y="71"/>
                          </a:cubicBezTo>
                          <a:close/>
                          <a:moveTo>
                            <a:pt x="56" y="70"/>
                          </a:moveTo>
                          <a:cubicBezTo>
                            <a:pt x="56" y="70"/>
                            <a:pt x="56" y="70"/>
                            <a:pt x="56" y="70"/>
                          </a:cubicBezTo>
                          <a:cubicBezTo>
                            <a:pt x="55" y="70"/>
                            <a:pt x="55" y="70"/>
                            <a:pt x="55" y="70"/>
                          </a:cubicBezTo>
                          <a:cubicBezTo>
                            <a:pt x="55" y="70"/>
                            <a:pt x="55" y="70"/>
                            <a:pt x="55" y="70"/>
                          </a:cubicBezTo>
                          <a:cubicBezTo>
                            <a:pt x="55" y="70"/>
                            <a:pt x="55" y="70"/>
                            <a:pt x="55" y="70"/>
                          </a:cubicBezTo>
                          <a:cubicBezTo>
                            <a:pt x="55" y="70"/>
                            <a:pt x="55" y="70"/>
                            <a:pt x="55" y="70"/>
                          </a:cubicBezTo>
                          <a:cubicBezTo>
                            <a:pt x="55" y="70"/>
                            <a:pt x="55" y="70"/>
                            <a:pt x="55" y="70"/>
                          </a:cubicBezTo>
                          <a:cubicBezTo>
                            <a:pt x="55" y="70"/>
                            <a:pt x="56" y="70"/>
                            <a:pt x="56" y="69"/>
                          </a:cubicBezTo>
                          <a:cubicBezTo>
                            <a:pt x="56" y="69"/>
                            <a:pt x="56" y="69"/>
                            <a:pt x="56" y="70"/>
                          </a:cubicBezTo>
                          <a:cubicBezTo>
                            <a:pt x="56" y="70"/>
                            <a:pt x="56" y="70"/>
                            <a:pt x="56" y="70"/>
                          </a:cubicBezTo>
                          <a:cubicBezTo>
                            <a:pt x="56" y="70"/>
                            <a:pt x="56" y="70"/>
                            <a:pt x="56" y="70"/>
                          </a:cubicBezTo>
                          <a:cubicBezTo>
                            <a:pt x="56" y="70"/>
                            <a:pt x="56" y="70"/>
                            <a:pt x="56" y="70"/>
                          </a:cubicBezTo>
                          <a:close/>
                          <a:moveTo>
                            <a:pt x="55" y="70"/>
                          </a:moveTo>
                          <a:cubicBezTo>
                            <a:pt x="55" y="69"/>
                            <a:pt x="55" y="69"/>
                            <a:pt x="56" y="69"/>
                          </a:cubicBezTo>
                          <a:cubicBezTo>
                            <a:pt x="56" y="69"/>
                            <a:pt x="55" y="69"/>
                            <a:pt x="55" y="69"/>
                          </a:cubicBezTo>
                          <a:cubicBezTo>
                            <a:pt x="55" y="70"/>
                            <a:pt x="55" y="69"/>
                            <a:pt x="55" y="70"/>
                          </a:cubicBezTo>
                          <a:close/>
                          <a:moveTo>
                            <a:pt x="60" y="77"/>
                          </a:moveTo>
                          <a:cubicBezTo>
                            <a:pt x="59" y="77"/>
                            <a:pt x="59" y="77"/>
                            <a:pt x="59" y="77"/>
                          </a:cubicBezTo>
                          <a:cubicBezTo>
                            <a:pt x="59" y="77"/>
                            <a:pt x="59" y="77"/>
                            <a:pt x="60" y="77"/>
                          </a:cubicBezTo>
                          <a:cubicBezTo>
                            <a:pt x="60" y="77"/>
                            <a:pt x="60" y="77"/>
                            <a:pt x="60" y="77"/>
                          </a:cubicBezTo>
                          <a:close/>
                          <a:moveTo>
                            <a:pt x="62" y="80"/>
                          </a:moveTo>
                          <a:cubicBezTo>
                            <a:pt x="62" y="80"/>
                            <a:pt x="61" y="80"/>
                            <a:pt x="62" y="80"/>
                          </a:cubicBezTo>
                          <a:cubicBezTo>
                            <a:pt x="61" y="80"/>
                            <a:pt x="61" y="80"/>
                            <a:pt x="61" y="80"/>
                          </a:cubicBezTo>
                          <a:cubicBezTo>
                            <a:pt x="61" y="80"/>
                            <a:pt x="62" y="80"/>
                            <a:pt x="62" y="80"/>
                          </a:cubicBezTo>
                          <a:close/>
                          <a:moveTo>
                            <a:pt x="60" y="76"/>
                          </a:moveTo>
                          <a:cubicBezTo>
                            <a:pt x="60" y="76"/>
                            <a:pt x="60" y="76"/>
                            <a:pt x="60" y="76"/>
                          </a:cubicBezTo>
                          <a:cubicBezTo>
                            <a:pt x="60" y="76"/>
                            <a:pt x="60" y="76"/>
                            <a:pt x="60" y="76"/>
                          </a:cubicBezTo>
                          <a:cubicBezTo>
                            <a:pt x="60" y="76"/>
                            <a:pt x="60" y="76"/>
                            <a:pt x="60" y="76"/>
                          </a:cubicBezTo>
                          <a:cubicBezTo>
                            <a:pt x="60" y="76"/>
                            <a:pt x="60" y="76"/>
                            <a:pt x="60" y="76"/>
                          </a:cubicBezTo>
                          <a:close/>
                          <a:moveTo>
                            <a:pt x="57" y="71"/>
                          </a:moveTo>
                          <a:cubicBezTo>
                            <a:pt x="57" y="71"/>
                            <a:pt x="57" y="71"/>
                            <a:pt x="57" y="71"/>
                          </a:cubicBezTo>
                          <a:cubicBezTo>
                            <a:pt x="57" y="70"/>
                            <a:pt x="58" y="70"/>
                            <a:pt x="59" y="70"/>
                          </a:cubicBezTo>
                          <a:cubicBezTo>
                            <a:pt x="59" y="70"/>
                            <a:pt x="58" y="70"/>
                            <a:pt x="57" y="71"/>
                          </a:cubicBezTo>
                          <a:cubicBezTo>
                            <a:pt x="57" y="71"/>
                            <a:pt x="58" y="71"/>
                            <a:pt x="57" y="71"/>
                          </a:cubicBezTo>
                          <a:cubicBezTo>
                            <a:pt x="57" y="71"/>
                            <a:pt x="57" y="71"/>
                            <a:pt x="57" y="71"/>
                          </a:cubicBezTo>
                          <a:close/>
                          <a:moveTo>
                            <a:pt x="57" y="70"/>
                          </a:moveTo>
                          <a:cubicBezTo>
                            <a:pt x="57" y="70"/>
                            <a:pt x="57" y="70"/>
                            <a:pt x="57" y="70"/>
                          </a:cubicBezTo>
                          <a:cubicBezTo>
                            <a:pt x="57" y="70"/>
                            <a:pt x="57" y="70"/>
                            <a:pt x="57" y="70"/>
                          </a:cubicBezTo>
                          <a:cubicBezTo>
                            <a:pt x="57" y="70"/>
                            <a:pt x="57" y="70"/>
                            <a:pt x="57" y="70"/>
                          </a:cubicBezTo>
                          <a:cubicBezTo>
                            <a:pt x="57" y="70"/>
                            <a:pt x="57" y="70"/>
                            <a:pt x="57" y="70"/>
                          </a:cubicBezTo>
                          <a:cubicBezTo>
                            <a:pt x="57" y="70"/>
                            <a:pt x="57" y="70"/>
                            <a:pt x="57" y="70"/>
                          </a:cubicBezTo>
                          <a:close/>
                          <a:moveTo>
                            <a:pt x="60" y="75"/>
                          </a:moveTo>
                          <a:cubicBezTo>
                            <a:pt x="59" y="75"/>
                            <a:pt x="60" y="75"/>
                            <a:pt x="60" y="75"/>
                          </a:cubicBezTo>
                          <a:cubicBezTo>
                            <a:pt x="60" y="75"/>
                            <a:pt x="60" y="75"/>
                            <a:pt x="60" y="75"/>
                          </a:cubicBezTo>
                          <a:close/>
                          <a:moveTo>
                            <a:pt x="61" y="76"/>
                          </a:moveTo>
                          <a:cubicBezTo>
                            <a:pt x="61" y="76"/>
                            <a:pt x="61" y="76"/>
                            <a:pt x="61" y="76"/>
                          </a:cubicBezTo>
                          <a:cubicBezTo>
                            <a:pt x="61" y="76"/>
                            <a:pt x="61" y="76"/>
                            <a:pt x="61" y="76"/>
                          </a:cubicBezTo>
                          <a:cubicBezTo>
                            <a:pt x="61" y="76"/>
                            <a:pt x="61" y="76"/>
                            <a:pt x="61" y="76"/>
                          </a:cubicBezTo>
                          <a:close/>
                          <a:moveTo>
                            <a:pt x="58" y="70"/>
                          </a:moveTo>
                          <a:cubicBezTo>
                            <a:pt x="58" y="70"/>
                            <a:pt x="58" y="70"/>
                            <a:pt x="58" y="70"/>
                          </a:cubicBezTo>
                          <a:cubicBezTo>
                            <a:pt x="58" y="70"/>
                            <a:pt x="58" y="70"/>
                            <a:pt x="58" y="70"/>
                          </a:cubicBezTo>
                          <a:close/>
                          <a:moveTo>
                            <a:pt x="62" y="75"/>
                          </a:moveTo>
                          <a:cubicBezTo>
                            <a:pt x="62" y="75"/>
                            <a:pt x="60" y="76"/>
                            <a:pt x="61" y="75"/>
                          </a:cubicBezTo>
                          <a:cubicBezTo>
                            <a:pt x="61" y="75"/>
                            <a:pt x="61" y="75"/>
                            <a:pt x="62" y="75"/>
                          </a:cubicBezTo>
                          <a:cubicBezTo>
                            <a:pt x="62" y="75"/>
                            <a:pt x="62" y="75"/>
                            <a:pt x="62" y="75"/>
                          </a:cubicBezTo>
                          <a:close/>
                          <a:moveTo>
                            <a:pt x="62" y="75"/>
                          </a:moveTo>
                          <a:cubicBezTo>
                            <a:pt x="62" y="76"/>
                            <a:pt x="62" y="76"/>
                            <a:pt x="62" y="76"/>
                          </a:cubicBezTo>
                          <a:cubicBezTo>
                            <a:pt x="62" y="76"/>
                            <a:pt x="62" y="76"/>
                            <a:pt x="62" y="76"/>
                          </a:cubicBezTo>
                          <a:cubicBezTo>
                            <a:pt x="62" y="76"/>
                            <a:pt x="62" y="76"/>
                            <a:pt x="62" y="75"/>
                          </a:cubicBezTo>
                          <a:close/>
                          <a:moveTo>
                            <a:pt x="59" y="71"/>
                          </a:moveTo>
                          <a:cubicBezTo>
                            <a:pt x="59" y="71"/>
                            <a:pt x="59" y="71"/>
                            <a:pt x="59" y="71"/>
                          </a:cubicBezTo>
                          <a:cubicBezTo>
                            <a:pt x="60" y="71"/>
                            <a:pt x="59" y="71"/>
                            <a:pt x="59" y="71"/>
                          </a:cubicBezTo>
                          <a:close/>
                          <a:moveTo>
                            <a:pt x="61" y="75"/>
                          </a:moveTo>
                          <a:cubicBezTo>
                            <a:pt x="61" y="75"/>
                            <a:pt x="61" y="75"/>
                            <a:pt x="61" y="74"/>
                          </a:cubicBezTo>
                          <a:cubicBezTo>
                            <a:pt x="61" y="74"/>
                            <a:pt x="61" y="75"/>
                            <a:pt x="62" y="75"/>
                          </a:cubicBezTo>
                          <a:cubicBezTo>
                            <a:pt x="61" y="75"/>
                            <a:pt x="61" y="75"/>
                            <a:pt x="61" y="75"/>
                          </a:cubicBezTo>
                          <a:close/>
                          <a:moveTo>
                            <a:pt x="63" y="75"/>
                          </a:moveTo>
                          <a:cubicBezTo>
                            <a:pt x="63" y="75"/>
                            <a:pt x="63" y="75"/>
                            <a:pt x="63" y="75"/>
                          </a:cubicBezTo>
                          <a:cubicBezTo>
                            <a:pt x="64" y="75"/>
                            <a:pt x="64" y="75"/>
                            <a:pt x="64" y="74"/>
                          </a:cubicBezTo>
                          <a:cubicBezTo>
                            <a:pt x="64" y="74"/>
                            <a:pt x="64" y="74"/>
                            <a:pt x="64" y="74"/>
                          </a:cubicBezTo>
                          <a:cubicBezTo>
                            <a:pt x="64" y="74"/>
                            <a:pt x="65" y="74"/>
                            <a:pt x="65" y="74"/>
                          </a:cubicBezTo>
                          <a:cubicBezTo>
                            <a:pt x="66" y="74"/>
                            <a:pt x="65" y="74"/>
                            <a:pt x="65" y="74"/>
                          </a:cubicBezTo>
                          <a:cubicBezTo>
                            <a:pt x="65" y="74"/>
                            <a:pt x="64" y="75"/>
                            <a:pt x="64" y="75"/>
                          </a:cubicBezTo>
                          <a:cubicBezTo>
                            <a:pt x="64" y="75"/>
                            <a:pt x="63" y="75"/>
                            <a:pt x="63" y="75"/>
                          </a:cubicBezTo>
                          <a:cubicBezTo>
                            <a:pt x="63" y="75"/>
                            <a:pt x="63" y="75"/>
                            <a:pt x="63" y="75"/>
                          </a:cubicBezTo>
                          <a:cubicBezTo>
                            <a:pt x="63" y="75"/>
                            <a:pt x="63" y="75"/>
                            <a:pt x="62" y="76"/>
                          </a:cubicBezTo>
                          <a:cubicBezTo>
                            <a:pt x="62" y="75"/>
                            <a:pt x="63" y="75"/>
                            <a:pt x="63" y="75"/>
                          </a:cubicBezTo>
                          <a:close/>
                          <a:moveTo>
                            <a:pt x="59" y="68"/>
                          </a:moveTo>
                          <a:cubicBezTo>
                            <a:pt x="59" y="68"/>
                            <a:pt x="59" y="68"/>
                            <a:pt x="59" y="68"/>
                          </a:cubicBezTo>
                          <a:cubicBezTo>
                            <a:pt x="59" y="68"/>
                            <a:pt x="59" y="68"/>
                            <a:pt x="59" y="68"/>
                          </a:cubicBezTo>
                          <a:close/>
                          <a:moveTo>
                            <a:pt x="61" y="73"/>
                          </a:moveTo>
                          <a:cubicBezTo>
                            <a:pt x="62" y="73"/>
                            <a:pt x="62" y="72"/>
                            <a:pt x="62" y="72"/>
                          </a:cubicBezTo>
                          <a:cubicBezTo>
                            <a:pt x="62" y="73"/>
                            <a:pt x="62" y="73"/>
                            <a:pt x="61" y="73"/>
                          </a:cubicBezTo>
                          <a:close/>
                          <a:moveTo>
                            <a:pt x="59" y="67"/>
                          </a:moveTo>
                          <a:cubicBezTo>
                            <a:pt x="59" y="67"/>
                            <a:pt x="59" y="67"/>
                            <a:pt x="59" y="67"/>
                          </a:cubicBezTo>
                          <a:cubicBezTo>
                            <a:pt x="59" y="67"/>
                            <a:pt x="59" y="67"/>
                            <a:pt x="59" y="67"/>
                          </a:cubicBezTo>
                          <a:cubicBezTo>
                            <a:pt x="59" y="67"/>
                            <a:pt x="59" y="67"/>
                            <a:pt x="59" y="67"/>
                          </a:cubicBezTo>
                          <a:close/>
                          <a:moveTo>
                            <a:pt x="61" y="70"/>
                          </a:moveTo>
                          <a:cubicBezTo>
                            <a:pt x="61" y="70"/>
                            <a:pt x="61" y="70"/>
                            <a:pt x="61" y="70"/>
                          </a:cubicBezTo>
                          <a:cubicBezTo>
                            <a:pt x="61" y="70"/>
                            <a:pt x="61" y="70"/>
                            <a:pt x="62" y="70"/>
                          </a:cubicBezTo>
                          <a:cubicBezTo>
                            <a:pt x="62" y="70"/>
                            <a:pt x="61" y="70"/>
                            <a:pt x="61" y="70"/>
                          </a:cubicBezTo>
                          <a:close/>
                          <a:moveTo>
                            <a:pt x="59" y="67"/>
                          </a:moveTo>
                          <a:cubicBezTo>
                            <a:pt x="59" y="67"/>
                            <a:pt x="59" y="67"/>
                            <a:pt x="60" y="67"/>
                          </a:cubicBezTo>
                          <a:cubicBezTo>
                            <a:pt x="60" y="67"/>
                            <a:pt x="60" y="67"/>
                            <a:pt x="59" y="67"/>
                          </a:cubicBezTo>
                          <a:close/>
                          <a:moveTo>
                            <a:pt x="62" y="71"/>
                          </a:moveTo>
                          <a:cubicBezTo>
                            <a:pt x="62" y="71"/>
                            <a:pt x="62" y="71"/>
                            <a:pt x="62" y="71"/>
                          </a:cubicBezTo>
                          <a:cubicBezTo>
                            <a:pt x="62" y="71"/>
                            <a:pt x="62" y="71"/>
                            <a:pt x="62" y="71"/>
                          </a:cubicBezTo>
                          <a:close/>
                          <a:moveTo>
                            <a:pt x="61" y="66"/>
                          </a:moveTo>
                          <a:cubicBezTo>
                            <a:pt x="61" y="66"/>
                            <a:pt x="61" y="66"/>
                            <a:pt x="61" y="66"/>
                          </a:cubicBezTo>
                          <a:cubicBezTo>
                            <a:pt x="61" y="67"/>
                            <a:pt x="61" y="66"/>
                            <a:pt x="60" y="67"/>
                          </a:cubicBezTo>
                          <a:cubicBezTo>
                            <a:pt x="60" y="66"/>
                            <a:pt x="61" y="66"/>
                            <a:pt x="61" y="66"/>
                          </a:cubicBezTo>
                          <a:close/>
                          <a:moveTo>
                            <a:pt x="66" y="77"/>
                          </a:moveTo>
                          <a:cubicBezTo>
                            <a:pt x="66" y="77"/>
                            <a:pt x="67" y="76"/>
                            <a:pt x="67" y="76"/>
                          </a:cubicBezTo>
                          <a:cubicBezTo>
                            <a:pt x="67" y="77"/>
                            <a:pt x="67" y="77"/>
                            <a:pt x="66" y="77"/>
                          </a:cubicBezTo>
                          <a:close/>
                          <a:moveTo>
                            <a:pt x="66" y="73"/>
                          </a:moveTo>
                          <a:cubicBezTo>
                            <a:pt x="65" y="73"/>
                            <a:pt x="65" y="73"/>
                            <a:pt x="65" y="73"/>
                          </a:cubicBezTo>
                          <a:cubicBezTo>
                            <a:pt x="65" y="73"/>
                            <a:pt x="66" y="73"/>
                            <a:pt x="66" y="73"/>
                          </a:cubicBezTo>
                          <a:close/>
                          <a:moveTo>
                            <a:pt x="66" y="74"/>
                          </a:moveTo>
                          <a:cubicBezTo>
                            <a:pt x="66" y="74"/>
                            <a:pt x="66" y="74"/>
                            <a:pt x="66" y="74"/>
                          </a:cubicBezTo>
                          <a:cubicBezTo>
                            <a:pt x="66" y="73"/>
                            <a:pt x="67" y="73"/>
                            <a:pt x="67" y="73"/>
                          </a:cubicBezTo>
                          <a:cubicBezTo>
                            <a:pt x="67" y="73"/>
                            <a:pt x="67" y="73"/>
                            <a:pt x="67" y="73"/>
                          </a:cubicBezTo>
                          <a:cubicBezTo>
                            <a:pt x="67" y="73"/>
                            <a:pt x="67" y="73"/>
                            <a:pt x="67" y="73"/>
                          </a:cubicBezTo>
                          <a:cubicBezTo>
                            <a:pt x="67" y="73"/>
                            <a:pt x="68" y="73"/>
                            <a:pt x="68" y="73"/>
                          </a:cubicBezTo>
                          <a:cubicBezTo>
                            <a:pt x="67" y="73"/>
                            <a:pt x="67" y="73"/>
                            <a:pt x="66" y="74"/>
                          </a:cubicBezTo>
                          <a:close/>
                          <a:moveTo>
                            <a:pt x="63" y="69"/>
                          </a:moveTo>
                          <a:cubicBezTo>
                            <a:pt x="64" y="69"/>
                            <a:pt x="64" y="68"/>
                            <a:pt x="64" y="68"/>
                          </a:cubicBezTo>
                          <a:cubicBezTo>
                            <a:pt x="64" y="68"/>
                            <a:pt x="64" y="68"/>
                            <a:pt x="64" y="68"/>
                          </a:cubicBezTo>
                          <a:cubicBezTo>
                            <a:pt x="64" y="69"/>
                            <a:pt x="64" y="69"/>
                            <a:pt x="63" y="69"/>
                          </a:cubicBezTo>
                          <a:close/>
                          <a:moveTo>
                            <a:pt x="66" y="70"/>
                          </a:moveTo>
                          <a:cubicBezTo>
                            <a:pt x="65" y="70"/>
                            <a:pt x="65" y="70"/>
                            <a:pt x="65" y="70"/>
                          </a:cubicBezTo>
                          <a:cubicBezTo>
                            <a:pt x="65" y="70"/>
                            <a:pt x="65" y="70"/>
                            <a:pt x="65" y="70"/>
                          </a:cubicBezTo>
                          <a:cubicBezTo>
                            <a:pt x="65" y="70"/>
                            <a:pt x="65" y="70"/>
                            <a:pt x="65" y="70"/>
                          </a:cubicBezTo>
                          <a:cubicBezTo>
                            <a:pt x="66" y="70"/>
                            <a:pt x="66" y="70"/>
                            <a:pt x="66" y="70"/>
                          </a:cubicBezTo>
                          <a:close/>
                          <a:moveTo>
                            <a:pt x="67" y="72"/>
                          </a:moveTo>
                          <a:cubicBezTo>
                            <a:pt x="67" y="72"/>
                            <a:pt x="67" y="73"/>
                            <a:pt x="67" y="73"/>
                          </a:cubicBezTo>
                          <a:cubicBezTo>
                            <a:pt x="67" y="72"/>
                            <a:pt x="67" y="72"/>
                            <a:pt x="67" y="72"/>
                          </a:cubicBezTo>
                          <a:close/>
                          <a:moveTo>
                            <a:pt x="65" y="68"/>
                          </a:moveTo>
                          <a:cubicBezTo>
                            <a:pt x="65" y="68"/>
                            <a:pt x="65" y="68"/>
                            <a:pt x="64" y="68"/>
                          </a:cubicBezTo>
                          <a:cubicBezTo>
                            <a:pt x="64" y="68"/>
                            <a:pt x="65" y="68"/>
                            <a:pt x="65" y="68"/>
                          </a:cubicBezTo>
                          <a:close/>
                          <a:moveTo>
                            <a:pt x="68" y="73"/>
                          </a:moveTo>
                          <a:cubicBezTo>
                            <a:pt x="68" y="73"/>
                            <a:pt x="68" y="73"/>
                            <a:pt x="68" y="73"/>
                          </a:cubicBezTo>
                          <a:cubicBezTo>
                            <a:pt x="68" y="73"/>
                            <a:pt x="68" y="73"/>
                            <a:pt x="68" y="73"/>
                          </a:cubicBezTo>
                          <a:close/>
                          <a:moveTo>
                            <a:pt x="66" y="69"/>
                          </a:moveTo>
                          <a:cubicBezTo>
                            <a:pt x="66" y="69"/>
                            <a:pt x="66" y="69"/>
                            <a:pt x="66" y="68"/>
                          </a:cubicBezTo>
                          <a:cubicBezTo>
                            <a:pt x="66" y="69"/>
                            <a:pt x="66" y="69"/>
                            <a:pt x="66" y="69"/>
                          </a:cubicBezTo>
                          <a:cubicBezTo>
                            <a:pt x="66" y="69"/>
                            <a:pt x="66" y="69"/>
                            <a:pt x="66" y="69"/>
                          </a:cubicBezTo>
                          <a:close/>
                          <a:moveTo>
                            <a:pt x="67" y="71"/>
                          </a:moveTo>
                          <a:cubicBezTo>
                            <a:pt x="67" y="71"/>
                            <a:pt x="68" y="70"/>
                            <a:pt x="68" y="71"/>
                          </a:cubicBezTo>
                          <a:cubicBezTo>
                            <a:pt x="68" y="71"/>
                            <a:pt x="67" y="71"/>
                            <a:pt x="67" y="71"/>
                          </a:cubicBezTo>
                          <a:close/>
                          <a:moveTo>
                            <a:pt x="68" y="71"/>
                          </a:moveTo>
                          <a:cubicBezTo>
                            <a:pt x="68" y="71"/>
                            <a:pt x="68" y="71"/>
                            <a:pt x="68" y="72"/>
                          </a:cubicBezTo>
                          <a:cubicBezTo>
                            <a:pt x="68" y="71"/>
                            <a:pt x="68" y="71"/>
                            <a:pt x="68" y="71"/>
                          </a:cubicBezTo>
                          <a:close/>
                          <a:moveTo>
                            <a:pt x="70" y="73"/>
                          </a:moveTo>
                          <a:cubicBezTo>
                            <a:pt x="70" y="74"/>
                            <a:pt x="70" y="74"/>
                            <a:pt x="69" y="74"/>
                          </a:cubicBezTo>
                          <a:cubicBezTo>
                            <a:pt x="69" y="74"/>
                            <a:pt x="70" y="74"/>
                            <a:pt x="70" y="73"/>
                          </a:cubicBezTo>
                          <a:close/>
                          <a:moveTo>
                            <a:pt x="66" y="67"/>
                          </a:moveTo>
                          <a:cubicBezTo>
                            <a:pt x="66" y="67"/>
                            <a:pt x="66" y="67"/>
                            <a:pt x="65" y="67"/>
                          </a:cubicBezTo>
                          <a:cubicBezTo>
                            <a:pt x="66" y="67"/>
                            <a:pt x="66" y="67"/>
                            <a:pt x="66" y="67"/>
                          </a:cubicBezTo>
                          <a:close/>
                          <a:moveTo>
                            <a:pt x="65" y="64"/>
                          </a:moveTo>
                          <a:cubicBezTo>
                            <a:pt x="65" y="65"/>
                            <a:pt x="65" y="65"/>
                            <a:pt x="65" y="65"/>
                          </a:cubicBezTo>
                          <a:cubicBezTo>
                            <a:pt x="64" y="64"/>
                            <a:pt x="64" y="64"/>
                            <a:pt x="65" y="64"/>
                          </a:cubicBezTo>
                          <a:cubicBezTo>
                            <a:pt x="65" y="64"/>
                            <a:pt x="65" y="64"/>
                            <a:pt x="65" y="64"/>
                          </a:cubicBezTo>
                          <a:close/>
                          <a:moveTo>
                            <a:pt x="67" y="68"/>
                          </a:moveTo>
                          <a:cubicBezTo>
                            <a:pt x="67" y="68"/>
                            <a:pt x="68" y="68"/>
                            <a:pt x="68" y="68"/>
                          </a:cubicBezTo>
                          <a:cubicBezTo>
                            <a:pt x="68" y="68"/>
                            <a:pt x="68" y="68"/>
                            <a:pt x="68" y="68"/>
                          </a:cubicBezTo>
                          <a:cubicBezTo>
                            <a:pt x="68" y="68"/>
                            <a:pt x="68" y="68"/>
                            <a:pt x="68" y="68"/>
                          </a:cubicBezTo>
                          <a:cubicBezTo>
                            <a:pt x="68" y="68"/>
                            <a:pt x="69" y="67"/>
                            <a:pt x="69" y="68"/>
                          </a:cubicBezTo>
                          <a:cubicBezTo>
                            <a:pt x="69" y="68"/>
                            <a:pt x="69" y="67"/>
                            <a:pt x="69" y="68"/>
                          </a:cubicBezTo>
                          <a:cubicBezTo>
                            <a:pt x="69" y="67"/>
                            <a:pt x="69" y="68"/>
                            <a:pt x="69" y="67"/>
                          </a:cubicBezTo>
                          <a:cubicBezTo>
                            <a:pt x="69" y="68"/>
                            <a:pt x="68" y="68"/>
                            <a:pt x="68" y="68"/>
                          </a:cubicBezTo>
                          <a:cubicBezTo>
                            <a:pt x="68" y="68"/>
                            <a:pt x="68" y="68"/>
                            <a:pt x="68" y="68"/>
                          </a:cubicBezTo>
                          <a:cubicBezTo>
                            <a:pt x="68" y="68"/>
                            <a:pt x="68" y="68"/>
                            <a:pt x="67" y="68"/>
                          </a:cubicBezTo>
                          <a:cubicBezTo>
                            <a:pt x="67" y="68"/>
                            <a:pt x="67" y="68"/>
                            <a:pt x="67" y="68"/>
                          </a:cubicBezTo>
                          <a:close/>
                          <a:moveTo>
                            <a:pt x="66" y="67"/>
                          </a:moveTo>
                          <a:cubicBezTo>
                            <a:pt x="67" y="67"/>
                            <a:pt x="67" y="67"/>
                            <a:pt x="67" y="66"/>
                          </a:cubicBezTo>
                          <a:cubicBezTo>
                            <a:pt x="67" y="67"/>
                            <a:pt x="67" y="67"/>
                            <a:pt x="67" y="67"/>
                          </a:cubicBezTo>
                          <a:cubicBezTo>
                            <a:pt x="67" y="66"/>
                            <a:pt x="67" y="67"/>
                            <a:pt x="67" y="67"/>
                          </a:cubicBezTo>
                          <a:cubicBezTo>
                            <a:pt x="67" y="66"/>
                            <a:pt x="67" y="66"/>
                            <a:pt x="67" y="66"/>
                          </a:cubicBezTo>
                          <a:cubicBezTo>
                            <a:pt x="67" y="66"/>
                            <a:pt x="67" y="66"/>
                            <a:pt x="67" y="66"/>
                          </a:cubicBezTo>
                          <a:cubicBezTo>
                            <a:pt x="67" y="66"/>
                            <a:pt x="67" y="66"/>
                            <a:pt x="67" y="67"/>
                          </a:cubicBezTo>
                          <a:cubicBezTo>
                            <a:pt x="67" y="67"/>
                            <a:pt x="67" y="67"/>
                            <a:pt x="67" y="67"/>
                          </a:cubicBezTo>
                          <a:cubicBezTo>
                            <a:pt x="67" y="67"/>
                            <a:pt x="67" y="67"/>
                            <a:pt x="66" y="67"/>
                          </a:cubicBezTo>
                          <a:cubicBezTo>
                            <a:pt x="66" y="67"/>
                            <a:pt x="66" y="67"/>
                            <a:pt x="66" y="67"/>
                          </a:cubicBezTo>
                          <a:close/>
                          <a:moveTo>
                            <a:pt x="68" y="67"/>
                          </a:moveTo>
                          <a:cubicBezTo>
                            <a:pt x="68" y="67"/>
                            <a:pt x="68" y="68"/>
                            <a:pt x="67" y="67"/>
                          </a:cubicBezTo>
                          <a:cubicBezTo>
                            <a:pt x="68" y="67"/>
                            <a:pt x="68" y="67"/>
                            <a:pt x="68" y="67"/>
                          </a:cubicBezTo>
                          <a:cubicBezTo>
                            <a:pt x="68" y="67"/>
                            <a:pt x="68" y="67"/>
                            <a:pt x="68" y="67"/>
                          </a:cubicBezTo>
                          <a:cubicBezTo>
                            <a:pt x="68" y="67"/>
                            <a:pt x="68" y="67"/>
                            <a:pt x="68" y="67"/>
                          </a:cubicBezTo>
                          <a:close/>
                          <a:moveTo>
                            <a:pt x="67" y="65"/>
                          </a:moveTo>
                          <a:cubicBezTo>
                            <a:pt x="67" y="65"/>
                            <a:pt x="67" y="65"/>
                            <a:pt x="67" y="65"/>
                          </a:cubicBezTo>
                          <a:cubicBezTo>
                            <a:pt x="67" y="65"/>
                            <a:pt x="67" y="65"/>
                            <a:pt x="67" y="65"/>
                          </a:cubicBezTo>
                          <a:cubicBezTo>
                            <a:pt x="67" y="65"/>
                            <a:pt x="67" y="65"/>
                            <a:pt x="67" y="65"/>
                          </a:cubicBezTo>
                          <a:cubicBezTo>
                            <a:pt x="67" y="65"/>
                            <a:pt x="67" y="65"/>
                            <a:pt x="67" y="65"/>
                          </a:cubicBezTo>
                          <a:cubicBezTo>
                            <a:pt x="67" y="65"/>
                            <a:pt x="68" y="65"/>
                            <a:pt x="68" y="65"/>
                          </a:cubicBezTo>
                          <a:cubicBezTo>
                            <a:pt x="68" y="65"/>
                            <a:pt x="67" y="65"/>
                            <a:pt x="67" y="65"/>
                          </a:cubicBezTo>
                          <a:close/>
                          <a:moveTo>
                            <a:pt x="70" y="71"/>
                          </a:moveTo>
                          <a:cubicBezTo>
                            <a:pt x="70" y="71"/>
                            <a:pt x="70" y="71"/>
                            <a:pt x="71" y="70"/>
                          </a:cubicBezTo>
                          <a:cubicBezTo>
                            <a:pt x="71" y="71"/>
                            <a:pt x="70" y="71"/>
                            <a:pt x="70" y="71"/>
                          </a:cubicBezTo>
                          <a:close/>
                          <a:moveTo>
                            <a:pt x="69" y="68"/>
                          </a:moveTo>
                          <a:cubicBezTo>
                            <a:pt x="69" y="68"/>
                            <a:pt x="69" y="68"/>
                            <a:pt x="70" y="68"/>
                          </a:cubicBezTo>
                          <a:cubicBezTo>
                            <a:pt x="70" y="68"/>
                            <a:pt x="69" y="68"/>
                            <a:pt x="69" y="68"/>
                          </a:cubicBezTo>
                          <a:close/>
                          <a:moveTo>
                            <a:pt x="68" y="67"/>
                          </a:moveTo>
                          <a:cubicBezTo>
                            <a:pt x="68" y="67"/>
                            <a:pt x="69" y="66"/>
                            <a:pt x="69" y="67"/>
                          </a:cubicBezTo>
                          <a:cubicBezTo>
                            <a:pt x="69" y="67"/>
                            <a:pt x="69" y="67"/>
                            <a:pt x="68" y="67"/>
                          </a:cubicBezTo>
                          <a:close/>
                          <a:moveTo>
                            <a:pt x="70" y="68"/>
                          </a:moveTo>
                          <a:cubicBezTo>
                            <a:pt x="70" y="68"/>
                            <a:pt x="70" y="68"/>
                            <a:pt x="70" y="68"/>
                          </a:cubicBezTo>
                          <a:cubicBezTo>
                            <a:pt x="70" y="68"/>
                            <a:pt x="70" y="67"/>
                            <a:pt x="71" y="67"/>
                          </a:cubicBezTo>
                          <a:cubicBezTo>
                            <a:pt x="71" y="67"/>
                            <a:pt x="71" y="67"/>
                            <a:pt x="71" y="67"/>
                          </a:cubicBezTo>
                          <a:cubicBezTo>
                            <a:pt x="71" y="67"/>
                            <a:pt x="71" y="67"/>
                            <a:pt x="71" y="67"/>
                          </a:cubicBezTo>
                          <a:cubicBezTo>
                            <a:pt x="71" y="68"/>
                            <a:pt x="70" y="68"/>
                            <a:pt x="70" y="68"/>
                          </a:cubicBezTo>
                          <a:close/>
                          <a:moveTo>
                            <a:pt x="67" y="63"/>
                          </a:moveTo>
                          <a:cubicBezTo>
                            <a:pt x="67" y="63"/>
                            <a:pt x="67" y="63"/>
                            <a:pt x="67" y="63"/>
                          </a:cubicBezTo>
                          <a:cubicBezTo>
                            <a:pt x="67" y="63"/>
                            <a:pt x="68" y="63"/>
                            <a:pt x="68" y="63"/>
                          </a:cubicBezTo>
                          <a:cubicBezTo>
                            <a:pt x="67" y="63"/>
                            <a:pt x="67" y="63"/>
                            <a:pt x="67" y="63"/>
                          </a:cubicBezTo>
                          <a:close/>
                          <a:moveTo>
                            <a:pt x="68" y="64"/>
                          </a:moveTo>
                          <a:cubicBezTo>
                            <a:pt x="68" y="65"/>
                            <a:pt x="68" y="64"/>
                            <a:pt x="68" y="64"/>
                          </a:cubicBezTo>
                          <a:cubicBezTo>
                            <a:pt x="68" y="64"/>
                            <a:pt x="68" y="64"/>
                            <a:pt x="68" y="64"/>
                          </a:cubicBezTo>
                          <a:close/>
                          <a:moveTo>
                            <a:pt x="68" y="62"/>
                          </a:moveTo>
                          <a:cubicBezTo>
                            <a:pt x="69" y="61"/>
                            <a:pt x="70" y="61"/>
                            <a:pt x="70" y="61"/>
                          </a:cubicBezTo>
                          <a:cubicBezTo>
                            <a:pt x="69" y="61"/>
                            <a:pt x="68" y="62"/>
                            <a:pt x="67" y="62"/>
                          </a:cubicBezTo>
                          <a:cubicBezTo>
                            <a:pt x="68" y="62"/>
                            <a:pt x="68" y="62"/>
                            <a:pt x="68" y="62"/>
                          </a:cubicBezTo>
                          <a:close/>
                          <a:moveTo>
                            <a:pt x="73" y="69"/>
                          </a:moveTo>
                          <a:cubicBezTo>
                            <a:pt x="72" y="70"/>
                            <a:pt x="72" y="70"/>
                            <a:pt x="72" y="70"/>
                          </a:cubicBezTo>
                          <a:cubicBezTo>
                            <a:pt x="72" y="70"/>
                            <a:pt x="73" y="69"/>
                            <a:pt x="73" y="69"/>
                          </a:cubicBezTo>
                          <a:close/>
                          <a:moveTo>
                            <a:pt x="69" y="64"/>
                          </a:moveTo>
                          <a:cubicBezTo>
                            <a:pt x="70" y="64"/>
                            <a:pt x="70" y="64"/>
                            <a:pt x="70" y="64"/>
                          </a:cubicBezTo>
                          <a:cubicBezTo>
                            <a:pt x="70" y="64"/>
                            <a:pt x="70" y="64"/>
                            <a:pt x="69" y="65"/>
                          </a:cubicBezTo>
                          <a:cubicBezTo>
                            <a:pt x="69" y="64"/>
                            <a:pt x="70" y="64"/>
                            <a:pt x="69" y="64"/>
                          </a:cubicBezTo>
                          <a:close/>
                          <a:moveTo>
                            <a:pt x="72" y="68"/>
                          </a:moveTo>
                          <a:cubicBezTo>
                            <a:pt x="72" y="68"/>
                            <a:pt x="72" y="68"/>
                            <a:pt x="72" y="68"/>
                          </a:cubicBezTo>
                          <a:cubicBezTo>
                            <a:pt x="72" y="68"/>
                            <a:pt x="73" y="67"/>
                            <a:pt x="73" y="67"/>
                          </a:cubicBezTo>
                          <a:cubicBezTo>
                            <a:pt x="73" y="67"/>
                            <a:pt x="73" y="67"/>
                            <a:pt x="72" y="68"/>
                          </a:cubicBezTo>
                          <a:close/>
                          <a:moveTo>
                            <a:pt x="73" y="67"/>
                          </a:moveTo>
                          <a:cubicBezTo>
                            <a:pt x="73" y="67"/>
                            <a:pt x="73" y="67"/>
                            <a:pt x="73" y="67"/>
                          </a:cubicBezTo>
                          <a:cubicBezTo>
                            <a:pt x="73" y="67"/>
                            <a:pt x="73" y="67"/>
                            <a:pt x="73" y="67"/>
                          </a:cubicBezTo>
                          <a:cubicBezTo>
                            <a:pt x="73" y="67"/>
                            <a:pt x="73" y="67"/>
                            <a:pt x="73" y="67"/>
                          </a:cubicBezTo>
                          <a:cubicBezTo>
                            <a:pt x="73" y="67"/>
                            <a:pt x="73" y="67"/>
                            <a:pt x="73" y="67"/>
                          </a:cubicBezTo>
                          <a:close/>
                          <a:moveTo>
                            <a:pt x="72" y="59"/>
                          </a:moveTo>
                          <a:cubicBezTo>
                            <a:pt x="72" y="60"/>
                            <a:pt x="71" y="60"/>
                            <a:pt x="72" y="59"/>
                          </a:cubicBezTo>
                          <a:close/>
                          <a:moveTo>
                            <a:pt x="74" y="63"/>
                          </a:moveTo>
                          <a:cubicBezTo>
                            <a:pt x="74" y="63"/>
                            <a:pt x="74" y="63"/>
                            <a:pt x="74" y="63"/>
                          </a:cubicBezTo>
                          <a:cubicBezTo>
                            <a:pt x="74" y="63"/>
                            <a:pt x="74" y="63"/>
                            <a:pt x="74" y="63"/>
                          </a:cubicBezTo>
                          <a:cubicBezTo>
                            <a:pt x="74" y="63"/>
                            <a:pt x="74" y="63"/>
                            <a:pt x="74" y="63"/>
                          </a:cubicBezTo>
                          <a:close/>
                          <a:moveTo>
                            <a:pt x="76" y="65"/>
                          </a:moveTo>
                          <a:cubicBezTo>
                            <a:pt x="75" y="65"/>
                            <a:pt x="75" y="65"/>
                            <a:pt x="75" y="65"/>
                          </a:cubicBezTo>
                          <a:cubicBezTo>
                            <a:pt x="75" y="65"/>
                            <a:pt x="75" y="65"/>
                            <a:pt x="76" y="65"/>
                          </a:cubicBezTo>
                          <a:close/>
                          <a:moveTo>
                            <a:pt x="74" y="62"/>
                          </a:moveTo>
                          <a:cubicBezTo>
                            <a:pt x="73" y="62"/>
                            <a:pt x="74" y="61"/>
                            <a:pt x="74" y="62"/>
                          </a:cubicBezTo>
                          <a:cubicBezTo>
                            <a:pt x="74" y="62"/>
                            <a:pt x="74" y="62"/>
                            <a:pt x="74" y="62"/>
                          </a:cubicBezTo>
                          <a:close/>
                          <a:moveTo>
                            <a:pt x="77" y="66"/>
                          </a:moveTo>
                          <a:cubicBezTo>
                            <a:pt x="77" y="66"/>
                            <a:pt x="76" y="67"/>
                            <a:pt x="76" y="67"/>
                          </a:cubicBezTo>
                          <a:cubicBezTo>
                            <a:pt x="76" y="67"/>
                            <a:pt x="76" y="66"/>
                            <a:pt x="77" y="66"/>
                          </a:cubicBezTo>
                          <a:close/>
                          <a:moveTo>
                            <a:pt x="77" y="64"/>
                          </a:moveTo>
                          <a:cubicBezTo>
                            <a:pt x="77" y="64"/>
                            <a:pt x="77" y="64"/>
                            <a:pt x="77" y="64"/>
                          </a:cubicBezTo>
                          <a:cubicBezTo>
                            <a:pt x="77" y="64"/>
                            <a:pt x="76" y="64"/>
                            <a:pt x="76" y="64"/>
                          </a:cubicBezTo>
                          <a:cubicBezTo>
                            <a:pt x="76" y="64"/>
                            <a:pt x="76" y="65"/>
                            <a:pt x="75" y="65"/>
                          </a:cubicBezTo>
                          <a:cubicBezTo>
                            <a:pt x="75" y="64"/>
                            <a:pt x="76" y="64"/>
                            <a:pt x="77" y="64"/>
                          </a:cubicBezTo>
                          <a:close/>
                          <a:moveTo>
                            <a:pt x="77" y="65"/>
                          </a:moveTo>
                          <a:cubicBezTo>
                            <a:pt x="77" y="65"/>
                            <a:pt x="77" y="65"/>
                            <a:pt x="77" y="65"/>
                          </a:cubicBezTo>
                          <a:cubicBezTo>
                            <a:pt x="76" y="65"/>
                            <a:pt x="76" y="65"/>
                            <a:pt x="77" y="65"/>
                          </a:cubicBezTo>
                          <a:close/>
                          <a:moveTo>
                            <a:pt x="75" y="63"/>
                          </a:moveTo>
                          <a:cubicBezTo>
                            <a:pt x="75" y="62"/>
                            <a:pt x="75" y="62"/>
                            <a:pt x="75" y="63"/>
                          </a:cubicBezTo>
                          <a:cubicBezTo>
                            <a:pt x="75" y="63"/>
                            <a:pt x="75" y="63"/>
                            <a:pt x="75" y="63"/>
                          </a:cubicBezTo>
                          <a:cubicBezTo>
                            <a:pt x="75" y="63"/>
                            <a:pt x="75" y="63"/>
                            <a:pt x="75" y="63"/>
                          </a:cubicBezTo>
                          <a:cubicBezTo>
                            <a:pt x="75" y="63"/>
                            <a:pt x="75" y="63"/>
                            <a:pt x="75" y="63"/>
                          </a:cubicBezTo>
                          <a:close/>
                          <a:moveTo>
                            <a:pt x="75" y="62"/>
                          </a:moveTo>
                          <a:cubicBezTo>
                            <a:pt x="75" y="62"/>
                            <a:pt x="75" y="62"/>
                            <a:pt x="75" y="62"/>
                          </a:cubicBezTo>
                          <a:cubicBezTo>
                            <a:pt x="75" y="62"/>
                            <a:pt x="76" y="62"/>
                            <a:pt x="75" y="62"/>
                          </a:cubicBezTo>
                          <a:close/>
                          <a:moveTo>
                            <a:pt x="76" y="63"/>
                          </a:moveTo>
                          <a:cubicBezTo>
                            <a:pt x="76" y="64"/>
                            <a:pt x="76" y="64"/>
                            <a:pt x="76" y="64"/>
                          </a:cubicBezTo>
                          <a:cubicBezTo>
                            <a:pt x="76" y="64"/>
                            <a:pt x="76" y="63"/>
                            <a:pt x="76" y="63"/>
                          </a:cubicBezTo>
                          <a:close/>
                          <a:moveTo>
                            <a:pt x="74" y="58"/>
                          </a:moveTo>
                          <a:cubicBezTo>
                            <a:pt x="74" y="58"/>
                            <a:pt x="74" y="58"/>
                            <a:pt x="74" y="58"/>
                          </a:cubicBezTo>
                          <a:cubicBezTo>
                            <a:pt x="74" y="58"/>
                            <a:pt x="74" y="58"/>
                            <a:pt x="74" y="58"/>
                          </a:cubicBezTo>
                          <a:close/>
                          <a:moveTo>
                            <a:pt x="79" y="68"/>
                          </a:moveTo>
                          <a:cubicBezTo>
                            <a:pt x="79" y="68"/>
                            <a:pt x="80" y="68"/>
                            <a:pt x="80" y="68"/>
                          </a:cubicBezTo>
                          <a:cubicBezTo>
                            <a:pt x="80" y="68"/>
                            <a:pt x="80" y="68"/>
                            <a:pt x="79" y="68"/>
                          </a:cubicBezTo>
                          <a:cubicBezTo>
                            <a:pt x="79" y="68"/>
                            <a:pt x="79" y="68"/>
                            <a:pt x="79" y="68"/>
                          </a:cubicBezTo>
                          <a:close/>
                          <a:moveTo>
                            <a:pt x="76" y="62"/>
                          </a:moveTo>
                          <a:cubicBezTo>
                            <a:pt x="76" y="62"/>
                            <a:pt x="76" y="62"/>
                            <a:pt x="76" y="62"/>
                          </a:cubicBezTo>
                          <a:cubicBezTo>
                            <a:pt x="76" y="62"/>
                            <a:pt x="76" y="62"/>
                            <a:pt x="77" y="62"/>
                          </a:cubicBezTo>
                          <a:cubicBezTo>
                            <a:pt x="77" y="62"/>
                            <a:pt x="76" y="62"/>
                            <a:pt x="76" y="62"/>
                          </a:cubicBezTo>
                          <a:cubicBezTo>
                            <a:pt x="76" y="63"/>
                            <a:pt x="76" y="62"/>
                            <a:pt x="76" y="62"/>
                          </a:cubicBezTo>
                          <a:close/>
                          <a:moveTo>
                            <a:pt x="79" y="66"/>
                          </a:moveTo>
                          <a:cubicBezTo>
                            <a:pt x="79" y="66"/>
                            <a:pt x="79" y="66"/>
                            <a:pt x="79" y="66"/>
                          </a:cubicBezTo>
                          <a:cubicBezTo>
                            <a:pt x="79" y="66"/>
                            <a:pt x="79" y="66"/>
                            <a:pt x="78" y="66"/>
                          </a:cubicBezTo>
                          <a:cubicBezTo>
                            <a:pt x="79" y="66"/>
                            <a:pt x="78" y="66"/>
                            <a:pt x="79" y="66"/>
                          </a:cubicBezTo>
                          <a:close/>
                          <a:moveTo>
                            <a:pt x="78" y="65"/>
                          </a:moveTo>
                          <a:cubicBezTo>
                            <a:pt x="78" y="64"/>
                            <a:pt x="78" y="64"/>
                            <a:pt x="78" y="64"/>
                          </a:cubicBezTo>
                          <a:cubicBezTo>
                            <a:pt x="78" y="65"/>
                            <a:pt x="78" y="65"/>
                            <a:pt x="78" y="65"/>
                          </a:cubicBezTo>
                          <a:close/>
                          <a:moveTo>
                            <a:pt x="75" y="59"/>
                          </a:moveTo>
                          <a:cubicBezTo>
                            <a:pt x="75" y="59"/>
                            <a:pt x="76" y="59"/>
                            <a:pt x="76" y="59"/>
                          </a:cubicBezTo>
                          <a:cubicBezTo>
                            <a:pt x="76" y="59"/>
                            <a:pt x="76" y="59"/>
                            <a:pt x="75" y="59"/>
                          </a:cubicBezTo>
                          <a:close/>
                          <a:moveTo>
                            <a:pt x="78" y="63"/>
                          </a:moveTo>
                          <a:cubicBezTo>
                            <a:pt x="78" y="63"/>
                            <a:pt x="78" y="62"/>
                            <a:pt x="78" y="62"/>
                          </a:cubicBezTo>
                          <a:cubicBezTo>
                            <a:pt x="78" y="63"/>
                            <a:pt x="78" y="63"/>
                            <a:pt x="78" y="63"/>
                          </a:cubicBezTo>
                          <a:close/>
                          <a:moveTo>
                            <a:pt x="78" y="62"/>
                          </a:moveTo>
                          <a:cubicBezTo>
                            <a:pt x="78" y="62"/>
                            <a:pt x="78" y="62"/>
                            <a:pt x="78" y="62"/>
                          </a:cubicBezTo>
                          <a:cubicBezTo>
                            <a:pt x="78" y="62"/>
                            <a:pt x="78" y="62"/>
                            <a:pt x="78" y="62"/>
                          </a:cubicBezTo>
                          <a:close/>
                          <a:moveTo>
                            <a:pt x="81" y="66"/>
                          </a:moveTo>
                          <a:cubicBezTo>
                            <a:pt x="80" y="66"/>
                            <a:pt x="80" y="66"/>
                            <a:pt x="80" y="66"/>
                          </a:cubicBezTo>
                          <a:cubicBezTo>
                            <a:pt x="80" y="66"/>
                            <a:pt x="80" y="66"/>
                            <a:pt x="81" y="66"/>
                          </a:cubicBezTo>
                          <a:close/>
                          <a:moveTo>
                            <a:pt x="76" y="59"/>
                          </a:moveTo>
                          <a:cubicBezTo>
                            <a:pt x="77" y="58"/>
                            <a:pt x="77" y="58"/>
                            <a:pt x="77" y="58"/>
                          </a:cubicBezTo>
                          <a:cubicBezTo>
                            <a:pt x="77" y="59"/>
                            <a:pt x="76" y="59"/>
                            <a:pt x="76" y="59"/>
                          </a:cubicBezTo>
                          <a:cubicBezTo>
                            <a:pt x="76" y="59"/>
                            <a:pt x="76" y="59"/>
                            <a:pt x="76" y="59"/>
                          </a:cubicBezTo>
                          <a:cubicBezTo>
                            <a:pt x="76" y="59"/>
                            <a:pt x="76" y="59"/>
                            <a:pt x="76" y="58"/>
                          </a:cubicBezTo>
                          <a:cubicBezTo>
                            <a:pt x="76" y="58"/>
                            <a:pt x="76" y="58"/>
                            <a:pt x="76" y="58"/>
                          </a:cubicBezTo>
                          <a:cubicBezTo>
                            <a:pt x="77" y="58"/>
                            <a:pt x="76" y="58"/>
                            <a:pt x="76" y="59"/>
                          </a:cubicBezTo>
                          <a:close/>
                          <a:moveTo>
                            <a:pt x="80" y="65"/>
                          </a:moveTo>
                          <a:cubicBezTo>
                            <a:pt x="80" y="65"/>
                            <a:pt x="80" y="65"/>
                            <a:pt x="80" y="65"/>
                          </a:cubicBezTo>
                          <a:cubicBezTo>
                            <a:pt x="80" y="65"/>
                            <a:pt x="80" y="65"/>
                            <a:pt x="80" y="65"/>
                          </a:cubicBezTo>
                          <a:cubicBezTo>
                            <a:pt x="80" y="65"/>
                            <a:pt x="80" y="65"/>
                            <a:pt x="80" y="65"/>
                          </a:cubicBezTo>
                          <a:close/>
                          <a:moveTo>
                            <a:pt x="81" y="68"/>
                          </a:moveTo>
                          <a:cubicBezTo>
                            <a:pt x="82" y="68"/>
                            <a:pt x="82" y="68"/>
                            <a:pt x="82" y="67"/>
                          </a:cubicBezTo>
                          <a:cubicBezTo>
                            <a:pt x="82" y="68"/>
                            <a:pt x="82" y="68"/>
                            <a:pt x="81" y="68"/>
                          </a:cubicBezTo>
                          <a:cubicBezTo>
                            <a:pt x="82" y="68"/>
                            <a:pt x="81" y="68"/>
                            <a:pt x="81" y="68"/>
                          </a:cubicBezTo>
                          <a:close/>
                          <a:moveTo>
                            <a:pt x="83" y="66"/>
                          </a:moveTo>
                          <a:cubicBezTo>
                            <a:pt x="83" y="66"/>
                            <a:pt x="84" y="65"/>
                            <a:pt x="85" y="65"/>
                          </a:cubicBezTo>
                          <a:cubicBezTo>
                            <a:pt x="84" y="66"/>
                            <a:pt x="83" y="66"/>
                            <a:pt x="82" y="67"/>
                          </a:cubicBezTo>
                          <a:cubicBezTo>
                            <a:pt x="82" y="67"/>
                            <a:pt x="82" y="67"/>
                            <a:pt x="81" y="67"/>
                          </a:cubicBezTo>
                          <a:cubicBezTo>
                            <a:pt x="82" y="67"/>
                            <a:pt x="82" y="67"/>
                            <a:pt x="83" y="66"/>
                          </a:cubicBezTo>
                          <a:close/>
                          <a:moveTo>
                            <a:pt x="80" y="64"/>
                          </a:moveTo>
                          <a:cubicBezTo>
                            <a:pt x="80" y="64"/>
                            <a:pt x="80" y="64"/>
                            <a:pt x="80" y="64"/>
                          </a:cubicBezTo>
                          <a:cubicBezTo>
                            <a:pt x="80" y="64"/>
                            <a:pt x="80" y="64"/>
                            <a:pt x="80" y="64"/>
                          </a:cubicBezTo>
                          <a:close/>
                          <a:moveTo>
                            <a:pt x="80" y="64"/>
                          </a:moveTo>
                          <a:cubicBezTo>
                            <a:pt x="79" y="63"/>
                            <a:pt x="80" y="63"/>
                            <a:pt x="80" y="63"/>
                          </a:cubicBezTo>
                          <a:cubicBezTo>
                            <a:pt x="80" y="63"/>
                            <a:pt x="80" y="63"/>
                            <a:pt x="80" y="63"/>
                          </a:cubicBezTo>
                          <a:cubicBezTo>
                            <a:pt x="80" y="63"/>
                            <a:pt x="80" y="63"/>
                            <a:pt x="80" y="64"/>
                          </a:cubicBezTo>
                          <a:close/>
                          <a:moveTo>
                            <a:pt x="82" y="67"/>
                          </a:moveTo>
                          <a:cubicBezTo>
                            <a:pt x="82" y="67"/>
                            <a:pt x="82" y="67"/>
                            <a:pt x="82" y="67"/>
                          </a:cubicBezTo>
                          <a:cubicBezTo>
                            <a:pt x="83" y="67"/>
                            <a:pt x="82" y="68"/>
                            <a:pt x="82" y="67"/>
                          </a:cubicBezTo>
                          <a:close/>
                          <a:moveTo>
                            <a:pt x="81" y="65"/>
                          </a:moveTo>
                          <a:cubicBezTo>
                            <a:pt x="81" y="65"/>
                            <a:pt x="81" y="65"/>
                            <a:pt x="81" y="65"/>
                          </a:cubicBezTo>
                          <a:cubicBezTo>
                            <a:pt x="81" y="65"/>
                            <a:pt x="81" y="65"/>
                            <a:pt x="81" y="65"/>
                          </a:cubicBezTo>
                          <a:cubicBezTo>
                            <a:pt x="81" y="65"/>
                            <a:pt x="81" y="65"/>
                            <a:pt x="81" y="65"/>
                          </a:cubicBezTo>
                          <a:close/>
                          <a:moveTo>
                            <a:pt x="81" y="64"/>
                          </a:moveTo>
                          <a:cubicBezTo>
                            <a:pt x="81" y="64"/>
                            <a:pt x="81" y="65"/>
                            <a:pt x="81" y="65"/>
                          </a:cubicBezTo>
                          <a:cubicBezTo>
                            <a:pt x="81" y="65"/>
                            <a:pt x="81" y="64"/>
                            <a:pt x="81" y="65"/>
                          </a:cubicBezTo>
                          <a:cubicBezTo>
                            <a:pt x="81" y="65"/>
                            <a:pt x="81" y="65"/>
                            <a:pt x="81" y="65"/>
                          </a:cubicBezTo>
                          <a:cubicBezTo>
                            <a:pt x="80" y="65"/>
                            <a:pt x="80" y="65"/>
                            <a:pt x="80" y="65"/>
                          </a:cubicBezTo>
                          <a:lnTo>
                            <a:pt x="81" y="64"/>
                          </a:lnTo>
                          <a:close/>
                          <a:moveTo>
                            <a:pt x="83" y="66"/>
                          </a:moveTo>
                          <a:cubicBezTo>
                            <a:pt x="82" y="66"/>
                            <a:pt x="82" y="66"/>
                            <a:pt x="82" y="67"/>
                          </a:cubicBezTo>
                          <a:cubicBezTo>
                            <a:pt x="82" y="67"/>
                            <a:pt x="82" y="66"/>
                            <a:pt x="82" y="66"/>
                          </a:cubicBezTo>
                          <a:cubicBezTo>
                            <a:pt x="82" y="66"/>
                            <a:pt x="83" y="66"/>
                            <a:pt x="83" y="66"/>
                          </a:cubicBezTo>
                          <a:close/>
                          <a:moveTo>
                            <a:pt x="82" y="66"/>
                          </a:moveTo>
                          <a:cubicBezTo>
                            <a:pt x="82" y="66"/>
                            <a:pt x="82" y="66"/>
                            <a:pt x="82" y="66"/>
                          </a:cubicBezTo>
                          <a:cubicBezTo>
                            <a:pt x="82" y="66"/>
                            <a:pt x="82" y="66"/>
                            <a:pt x="82" y="66"/>
                          </a:cubicBezTo>
                          <a:cubicBezTo>
                            <a:pt x="82" y="66"/>
                            <a:pt x="82" y="66"/>
                            <a:pt x="82" y="66"/>
                          </a:cubicBezTo>
                          <a:close/>
                          <a:moveTo>
                            <a:pt x="80" y="62"/>
                          </a:moveTo>
                          <a:cubicBezTo>
                            <a:pt x="80" y="62"/>
                            <a:pt x="80" y="62"/>
                            <a:pt x="80" y="62"/>
                          </a:cubicBezTo>
                          <a:cubicBezTo>
                            <a:pt x="80" y="62"/>
                            <a:pt x="80" y="62"/>
                            <a:pt x="80" y="62"/>
                          </a:cubicBezTo>
                          <a:cubicBezTo>
                            <a:pt x="80" y="62"/>
                            <a:pt x="80" y="62"/>
                            <a:pt x="80" y="62"/>
                          </a:cubicBezTo>
                          <a:cubicBezTo>
                            <a:pt x="80" y="62"/>
                            <a:pt x="80" y="62"/>
                            <a:pt x="80" y="62"/>
                          </a:cubicBezTo>
                          <a:close/>
                          <a:moveTo>
                            <a:pt x="79" y="61"/>
                          </a:moveTo>
                          <a:cubicBezTo>
                            <a:pt x="79" y="61"/>
                            <a:pt x="79" y="61"/>
                            <a:pt x="79" y="60"/>
                          </a:cubicBezTo>
                          <a:cubicBezTo>
                            <a:pt x="80" y="61"/>
                            <a:pt x="79" y="61"/>
                            <a:pt x="79" y="61"/>
                          </a:cubicBezTo>
                          <a:close/>
                          <a:moveTo>
                            <a:pt x="80" y="61"/>
                          </a:moveTo>
                          <a:cubicBezTo>
                            <a:pt x="79" y="61"/>
                            <a:pt x="79" y="61"/>
                            <a:pt x="79" y="61"/>
                          </a:cubicBezTo>
                          <a:cubicBezTo>
                            <a:pt x="79" y="61"/>
                            <a:pt x="80" y="60"/>
                            <a:pt x="80" y="61"/>
                          </a:cubicBezTo>
                          <a:close/>
                          <a:moveTo>
                            <a:pt x="81" y="63"/>
                          </a:moveTo>
                          <a:cubicBezTo>
                            <a:pt x="81" y="63"/>
                            <a:pt x="81" y="63"/>
                            <a:pt x="81" y="63"/>
                          </a:cubicBezTo>
                          <a:cubicBezTo>
                            <a:pt x="81" y="63"/>
                            <a:pt x="81" y="63"/>
                            <a:pt x="81" y="63"/>
                          </a:cubicBezTo>
                          <a:cubicBezTo>
                            <a:pt x="82" y="63"/>
                            <a:pt x="81" y="63"/>
                            <a:pt x="81" y="63"/>
                          </a:cubicBezTo>
                          <a:cubicBezTo>
                            <a:pt x="81" y="63"/>
                            <a:pt x="81" y="63"/>
                            <a:pt x="81" y="63"/>
                          </a:cubicBezTo>
                          <a:close/>
                          <a:moveTo>
                            <a:pt x="81" y="62"/>
                          </a:moveTo>
                          <a:cubicBezTo>
                            <a:pt x="81" y="62"/>
                            <a:pt x="81" y="62"/>
                            <a:pt x="81" y="62"/>
                          </a:cubicBezTo>
                          <a:cubicBezTo>
                            <a:pt x="81" y="62"/>
                            <a:pt x="81" y="62"/>
                            <a:pt x="81" y="62"/>
                          </a:cubicBezTo>
                          <a:cubicBezTo>
                            <a:pt x="81" y="62"/>
                            <a:pt x="81" y="62"/>
                            <a:pt x="81" y="62"/>
                          </a:cubicBezTo>
                          <a:cubicBezTo>
                            <a:pt x="81" y="62"/>
                            <a:pt x="81" y="62"/>
                            <a:pt x="81" y="62"/>
                          </a:cubicBezTo>
                          <a:close/>
                          <a:moveTo>
                            <a:pt x="80" y="61"/>
                          </a:moveTo>
                          <a:cubicBezTo>
                            <a:pt x="80" y="61"/>
                            <a:pt x="81" y="61"/>
                            <a:pt x="81" y="61"/>
                          </a:cubicBezTo>
                          <a:cubicBezTo>
                            <a:pt x="81" y="61"/>
                            <a:pt x="80" y="61"/>
                            <a:pt x="80" y="61"/>
                          </a:cubicBezTo>
                          <a:close/>
                          <a:moveTo>
                            <a:pt x="80" y="61"/>
                          </a:moveTo>
                          <a:cubicBezTo>
                            <a:pt x="80" y="61"/>
                            <a:pt x="80" y="60"/>
                            <a:pt x="80" y="60"/>
                          </a:cubicBezTo>
                          <a:cubicBezTo>
                            <a:pt x="80" y="60"/>
                            <a:pt x="80" y="60"/>
                            <a:pt x="80" y="61"/>
                          </a:cubicBezTo>
                          <a:close/>
                          <a:moveTo>
                            <a:pt x="83" y="65"/>
                          </a:moveTo>
                          <a:cubicBezTo>
                            <a:pt x="83" y="66"/>
                            <a:pt x="83" y="66"/>
                            <a:pt x="83" y="66"/>
                          </a:cubicBezTo>
                          <a:cubicBezTo>
                            <a:pt x="83" y="66"/>
                            <a:pt x="83" y="65"/>
                            <a:pt x="83" y="65"/>
                          </a:cubicBezTo>
                          <a:close/>
                          <a:moveTo>
                            <a:pt x="83" y="65"/>
                          </a:moveTo>
                          <a:cubicBezTo>
                            <a:pt x="83" y="65"/>
                            <a:pt x="83" y="65"/>
                            <a:pt x="84" y="65"/>
                          </a:cubicBezTo>
                          <a:cubicBezTo>
                            <a:pt x="84" y="65"/>
                            <a:pt x="83" y="65"/>
                            <a:pt x="83" y="65"/>
                          </a:cubicBezTo>
                          <a:close/>
                          <a:moveTo>
                            <a:pt x="82" y="61"/>
                          </a:moveTo>
                          <a:cubicBezTo>
                            <a:pt x="82" y="61"/>
                            <a:pt x="82" y="61"/>
                            <a:pt x="82" y="61"/>
                          </a:cubicBezTo>
                          <a:cubicBezTo>
                            <a:pt x="82" y="61"/>
                            <a:pt x="82" y="61"/>
                            <a:pt x="82" y="61"/>
                          </a:cubicBezTo>
                          <a:cubicBezTo>
                            <a:pt x="82" y="61"/>
                            <a:pt x="82" y="61"/>
                            <a:pt x="82" y="61"/>
                          </a:cubicBezTo>
                          <a:cubicBezTo>
                            <a:pt x="82" y="61"/>
                            <a:pt x="82" y="61"/>
                            <a:pt x="82" y="61"/>
                          </a:cubicBezTo>
                          <a:cubicBezTo>
                            <a:pt x="82" y="62"/>
                            <a:pt x="82" y="62"/>
                            <a:pt x="82" y="62"/>
                          </a:cubicBezTo>
                          <a:cubicBezTo>
                            <a:pt x="82" y="62"/>
                            <a:pt x="82" y="61"/>
                            <a:pt x="82" y="61"/>
                          </a:cubicBezTo>
                          <a:close/>
                          <a:moveTo>
                            <a:pt x="84" y="63"/>
                          </a:moveTo>
                          <a:cubicBezTo>
                            <a:pt x="83" y="64"/>
                            <a:pt x="84" y="64"/>
                            <a:pt x="83" y="64"/>
                          </a:cubicBezTo>
                          <a:cubicBezTo>
                            <a:pt x="83" y="64"/>
                            <a:pt x="83" y="64"/>
                            <a:pt x="83" y="64"/>
                          </a:cubicBezTo>
                          <a:cubicBezTo>
                            <a:pt x="83" y="63"/>
                            <a:pt x="84" y="63"/>
                            <a:pt x="84" y="63"/>
                          </a:cubicBezTo>
                          <a:cubicBezTo>
                            <a:pt x="84" y="63"/>
                            <a:pt x="85" y="63"/>
                            <a:pt x="85" y="63"/>
                          </a:cubicBezTo>
                          <a:cubicBezTo>
                            <a:pt x="84" y="63"/>
                            <a:pt x="84" y="64"/>
                            <a:pt x="83" y="64"/>
                          </a:cubicBezTo>
                          <a:cubicBezTo>
                            <a:pt x="83" y="64"/>
                            <a:pt x="84" y="64"/>
                            <a:pt x="84" y="63"/>
                          </a:cubicBezTo>
                          <a:close/>
                          <a:moveTo>
                            <a:pt x="84" y="63"/>
                          </a:moveTo>
                          <a:cubicBezTo>
                            <a:pt x="84" y="63"/>
                            <a:pt x="84" y="63"/>
                            <a:pt x="84" y="63"/>
                          </a:cubicBezTo>
                          <a:cubicBezTo>
                            <a:pt x="84" y="63"/>
                            <a:pt x="84" y="63"/>
                            <a:pt x="84" y="63"/>
                          </a:cubicBezTo>
                          <a:close/>
                          <a:moveTo>
                            <a:pt x="82" y="61"/>
                          </a:moveTo>
                          <a:cubicBezTo>
                            <a:pt x="83" y="61"/>
                            <a:pt x="83" y="61"/>
                            <a:pt x="83" y="61"/>
                          </a:cubicBezTo>
                          <a:cubicBezTo>
                            <a:pt x="83" y="61"/>
                            <a:pt x="83" y="61"/>
                            <a:pt x="83" y="61"/>
                          </a:cubicBezTo>
                          <a:cubicBezTo>
                            <a:pt x="83" y="61"/>
                            <a:pt x="83" y="61"/>
                            <a:pt x="83" y="61"/>
                          </a:cubicBezTo>
                          <a:cubicBezTo>
                            <a:pt x="83" y="61"/>
                            <a:pt x="83" y="61"/>
                            <a:pt x="82" y="61"/>
                          </a:cubicBezTo>
                          <a:cubicBezTo>
                            <a:pt x="82" y="61"/>
                            <a:pt x="82" y="61"/>
                            <a:pt x="82" y="61"/>
                          </a:cubicBezTo>
                          <a:cubicBezTo>
                            <a:pt x="82" y="61"/>
                            <a:pt x="82" y="61"/>
                            <a:pt x="82" y="61"/>
                          </a:cubicBezTo>
                          <a:close/>
                          <a:moveTo>
                            <a:pt x="84" y="64"/>
                          </a:moveTo>
                          <a:cubicBezTo>
                            <a:pt x="84" y="64"/>
                            <a:pt x="85" y="64"/>
                            <a:pt x="84" y="64"/>
                          </a:cubicBezTo>
                          <a:cubicBezTo>
                            <a:pt x="84" y="64"/>
                            <a:pt x="84" y="64"/>
                            <a:pt x="84" y="64"/>
                          </a:cubicBezTo>
                          <a:close/>
                          <a:moveTo>
                            <a:pt x="82" y="59"/>
                          </a:moveTo>
                          <a:cubicBezTo>
                            <a:pt x="82" y="59"/>
                            <a:pt x="82" y="59"/>
                            <a:pt x="81" y="59"/>
                          </a:cubicBezTo>
                          <a:cubicBezTo>
                            <a:pt x="81" y="59"/>
                            <a:pt x="82" y="59"/>
                            <a:pt x="82" y="59"/>
                          </a:cubicBezTo>
                          <a:close/>
                          <a:moveTo>
                            <a:pt x="81" y="57"/>
                          </a:moveTo>
                          <a:cubicBezTo>
                            <a:pt x="81" y="57"/>
                            <a:pt x="81" y="57"/>
                            <a:pt x="81" y="58"/>
                          </a:cubicBezTo>
                          <a:cubicBezTo>
                            <a:pt x="81" y="58"/>
                            <a:pt x="82" y="57"/>
                            <a:pt x="82" y="57"/>
                          </a:cubicBezTo>
                          <a:cubicBezTo>
                            <a:pt x="82" y="57"/>
                            <a:pt x="82" y="57"/>
                            <a:pt x="82" y="57"/>
                          </a:cubicBezTo>
                          <a:cubicBezTo>
                            <a:pt x="82" y="57"/>
                            <a:pt x="82" y="57"/>
                            <a:pt x="82" y="57"/>
                          </a:cubicBezTo>
                          <a:cubicBezTo>
                            <a:pt x="82" y="57"/>
                            <a:pt x="82" y="57"/>
                            <a:pt x="82" y="57"/>
                          </a:cubicBezTo>
                          <a:cubicBezTo>
                            <a:pt x="82" y="58"/>
                            <a:pt x="81" y="58"/>
                            <a:pt x="81" y="58"/>
                          </a:cubicBezTo>
                          <a:cubicBezTo>
                            <a:pt x="81" y="58"/>
                            <a:pt x="81" y="58"/>
                            <a:pt x="80" y="58"/>
                          </a:cubicBezTo>
                          <a:cubicBezTo>
                            <a:pt x="80" y="58"/>
                            <a:pt x="81" y="58"/>
                            <a:pt x="81" y="58"/>
                          </a:cubicBezTo>
                          <a:cubicBezTo>
                            <a:pt x="80" y="58"/>
                            <a:pt x="80" y="58"/>
                            <a:pt x="79" y="59"/>
                          </a:cubicBezTo>
                          <a:cubicBezTo>
                            <a:pt x="80" y="58"/>
                            <a:pt x="79" y="59"/>
                            <a:pt x="78" y="59"/>
                          </a:cubicBezTo>
                          <a:cubicBezTo>
                            <a:pt x="78" y="59"/>
                            <a:pt x="78" y="59"/>
                            <a:pt x="78" y="59"/>
                          </a:cubicBezTo>
                          <a:cubicBezTo>
                            <a:pt x="79" y="59"/>
                            <a:pt x="80" y="58"/>
                            <a:pt x="81" y="58"/>
                          </a:cubicBezTo>
                          <a:cubicBezTo>
                            <a:pt x="81" y="58"/>
                            <a:pt x="81" y="58"/>
                            <a:pt x="81" y="58"/>
                          </a:cubicBezTo>
                          <a:cubicBezTo>
                            <a:pt x="81" y="58"/>
                            <a:pt x="81" y="57"/>
                            <a:pt x="81" y="57"/>
                          </a:cubicBezTo>
                          <a:cubicBezTo>
                            <a:pt x="81" y="57"/>
                            <a:pt x="81" y="58"/>
                            <a:pt x="81" y="57"/>
                          </a:cubicBezTo>
                          <a:close/>
                          <a:moveTo>
                            <a:pt x="86" y="64"/>
                          </a:moveTo>
                          <a:cubicBezTo>
                            <a:pt x="85" y="64"/>
                            <a:pt x="85" y="64"/>
                            <a:pt x="85" y="64"/>
                          </a:cubicBezTo>
                          <a:cubicBezTo>
                            <a:pt x="85" y="64"/>
                            <a:pt x="85" y="64"/>
                            <a:pt x="85" y="64"/>
                          </a:cubicBezTo>
                          <a:cubicBezTo>
                            <a:pt x="85" y="64"/>
                            <a:pt x="85" y="64"/>
                            <a:pt x="85" y="64"/>
                          </a:cubicBezTo>
                          <a:cubicBezTo>
                            <a:pt x="85" y="64"/>
                            <a:pt x="85" y="64"/>
                            <a:pt x="86" y="64"/>
                          </a:cubicBezTo>
                          <a:close/>
                          <a:moveTo>
                            <a:pt x="83" y="60"/>
                          </a:moveTo>
                          <a:cubicBezTo>
                            <a:pt x="83" y="60"/>
                            <a:pt x="82" y="60"/>
                            <a:pt x="82" y="60"/>
                          </a:cubicBezTo>
                          <a:cubicBezTo>
                            <a:pt x="83" y="60"/>
                            <a:pt x="83" y="60"/>
                            <a:pt x="83" y="60"/>
                          </a:cubicBezTo>
                          <a:close/>
                          <a:moveTo>
                            <a:pt x="86" y="65"/>
                          </a:moveTo>
                          <a:cubicBezTo>
                            <a:pt x="86" y="65"/>
                            <a:pt x="86" y="65"/>
                            <a:pt x="86" y="65"/>
                          </a:cubicBezTo>
                          <a:cubicBezTo>
                            <a:pt x="86" y="65"/>
                            <a:pt x="86" y="65"/>
                            <a:pt x="86" y="65"/>
                          </a:cubicBezTo>
                          <a:close/>
                          <a:moveTo>
                            <a:pt x="86" y="64"/>
                          </a:moveTo>
                          <a:cubicBezTo>
                            <a:pt x="86" y="65"/>
                            <a:pt x="86" y="64"/>
                            <a:pt x="86" y="64"/>
                          </a:cubicBezTo>
                          <a:cubicBezTo>
                            <a:pt x="86" y="64"/>
                            <a:pt x="86" y="64"/>
                            <a:pt x="85" y="65"/>
                          </a:cubicBezTo>
                          <a:cubicBezTo>
                            <a:pt x="85" y="65"/>
                            <a:pt x="85" y="64"/>
                            <a:pt x="86" y="64"/>
                          </a:cubicBezTo>
                          <a:close/>
                          <a:moveTo>
                            <a:pt x="83" y="60"/>
                          </a:moveTo>
                          <a:cubicBezTo>
                            <a:pt x="83" y="60"/>
                            <a:pt x="83" y="60"/>
                            <a:pt x="83" y="60"/>
                          </a:cubicBezTo>
                          <a:cubicBezTo>
                            <a:pt x="83" y="60"/>
                            <a:pt x="83" y="60"/>
                            <a:pt x="83" y="60"/>
                          </a:cubicBezTo>
                          <a:close/>
                          <a:moveTo>
                            <a:pt x="84" y="61"/>
                          </a:moveTo>
                          <a:cubicBezTo>
                            <a:pt x="85" y="61"/>
                            <a:pt x="84" y="61"/>
                            <a:pt x="84" y="61"/>
                          </a:cubicBezTo>
                          <a:cubicBezTo>
                            <a:pt x="85" y="61"/>
                            <a:pt x="85" y="61"/>
                            <a:pt x="85" y="61"/>
                          </a:cubicBezTo>
                          <a:cubicBezTo>
                            <a:pt x="85" y="61"/>
                            <a:pt x="85" y="61"/>
                            <a:pt x="84" y="62"/>
                          </a:cubicBezTo>
                          <a:cubicBezTo>
                            <a:pt x="84" y="61"/>
                            <a:pt x="84" y="61"/>
                            <a:pt x="84" y="61"/>
                          </a:cubicBezTo>
                          <a:cubicBezTo>
                            <a:pt x="84" y="61"/>
                            <a:pt x="84" y="61"/>
                            <a:pt x="84" y="61"/>
                          </a:cubicBezTo>
                          <a:close/>
                          <a:moveTo>
                            <a:pt x="83" y="58"/>
                          </a:moveTo>
                          <a:cubicBezTo>
                            <a:pt x="83" y="57"/>
                            <a:pt x="83" y="58"/>
                            <a:pt x="83" y="58"/>
                          </a:cubicBezTo>
                          <a:cubicBezTo>
                            <a:pt x="83" y="58"/>
                            <a:pt x="83" y="58"/>
                            <a:pt x="83" y="58"/>
                          </a:cubicBezTo>
                          <a:cubicBezTo>
                            <a:pt x="83" y="58"/>
                            <a:pt x="82" y="58"/>
                            <a:pt x="82" y="58"/>
                          </a:cubicBezTo>
                          <a:cubicBezTo>
                            <a:pt x="83" y="58"/>
                            <a:pt x="82" y="58"/>
                            <a:pt x="83" y="58"/>
                          </a:cubicBezTo>
                          <a:cubicBezTo>
                            <a:pt x="83" y="57"/>
                            <a:pt x="83" y="57"/>
                            <a:pt x="84" y="57"/>
                          </a:cubicBezTo>
                          <a:cubicBezTo>
                            <a:pt x="83" y="58"/>
                            <a:pt x="83" y="57"/>
                            <a:pt x="83" y="58"/>
                          </a:cubicBezTo>
                          <a:close/>
                          <a:moveTo>
                            <a:pt x="84" y="60"/>
                          </a:moveTo>
                          <a:cubicBezTo>
                            <a:pt x="84" y="60"/>
                            <a:pt x="84" y="60"/>
                            <a:pt x="84" y="60"/>
                          </a:cubicBezTo>
                          <a:cubicBezTo>
                            <a:pt x="84" y="60"/>
                            <a:pt x="84" y="60"/>
                            <a:pt x="84" y="60"/>
                          </a:cubicBezTo>
                          <a:cubicBezTo>
                            <a:pt x="84" y="60"/>
                            <a:pt x="84" y="60"/>
                            <a:pt x="84" y="60"/>
                          </a:cubicBezTo>
                          <a:cubicBezTo>
                            <a:pt x="84" y="59"/>
                            <a:pt x="84" y="60"/>
                            <a:pt x="84" y="60"/>
                          </a:cubicBezTo>
                          <a:close/>
                          <a:moveTo>
                            <a:pt x="86" y="62"/>
                          </a:moveTo>
                          <a:cubicBezTo>
                            <a:pt x="86" y="62"/>
                            <a:pt x="86" y="62"/>
                            <a:pt x="86" y="62"/>
                          </a:cubicBezTo>
                          <a:cubicBezTo>
                            <a:pt x="86" y="62"/>
                            <a:pt x="86" y="62"/>
                            <a:pt x="86" y="62"/>
                          </a:cubicBezTo>
                          <a:cubicBezTo>
                            <a:pt x="86" y="62"/>
                            <a:pt x="86" y="62"/>
                            <a:pt x="86" y="62"/>
                          </a:cubicBezTo>
                          <a:close/>
                          <a:moveTo>
                            <a:pt x="87" y="64"/>
                          </a:moveTo>
                          <a:cubicBezTo>
                            <a:pt x="87" y="64"/>
                            <a:pt x="87" y="64"/>
                            <a:pt x="87" y="64"/>
                          </a:cubicBezTo>
                          <a:cubicBezTo>
                            <a:pt x="86" y="64"/>
                            <a:pt x="87" y="63"/>
                            <a:pt x="87" y="64"/>
                          </a:cubicBezTo>
                          <a:close/>
                          <a:moveTo>
                            <a:pt x="86" y="62"/>
                          </a:moveTo>
                          <a:cubicBezTo>
                            <a:pt x="86" y="62"/>
                            <a:pt x="86" y="62"/>
                            <a:pt x="86" y="62"/>
                          </a:cubicBezTo>
                          <a:cubicBezTo>
                            <a:pt x="86" y="62"/>
                            <a:pt x="87" y="62"/>
                            <a:pt x="86" y="62"/>
                          </a:cubicBezTo>
                          <a:close/>
                          <a:moveTo>
                            <a:pt x="86" y="58"/>
                          </a:moveTo>
                          <a:cubicBezTo>
                            <a:pt x="86" y="59"/>
                            <a:pt x="86" y="59"/>
                            <a:pt x="85" y="59"/>
                          </a:cubicBezTo>
                          <a:cubicBezTo>
                            <a:pt x="85" y="59"/>
                            <a:pt x="85" y="59"/>
                            <a:pt x="85" y="59"/>
                          </a:cubicBezTo>
                          <a:cubicBezTo>
                            <a:pt x="85" y="59"/>
                            <a:pt x="85" y="59"/>
                            <a:pt x="85" y="59"/>
                          </a:cubicBezTo>
                          <a:cubicBezTo>
                            <a:pt x="85" y="58"/>
                            <a:pt x="85" y="59"/>
                            <a:pt x="85" y="58"/>
                          </a:cubicBezTo>
                          <a:cubicBezTo>
                            <a:pt x="85" y="59"/>
                            <a:pt x="86" y="58"/>
                            <a:pt x="86" y="58"/>
                          </a:cubicBezTo>
                          <a:close/>
                          <a:moveTo>
                            <a:pt x="85" y="58"/>
                          </a:moveTo>
                          <a:cubicBezTo>
                            <a:pt x="85" y="58"/>
                            <a:pt x="85" y="58"/>
                            <a:pt x="85" y="58"/>
                          </a:cubicBezTo>
                          <a:cubicBezTo>
                            <a:pt x="85" y="58"/>
                            <a:pt x="85" y="58"/>
                            <a:pt x="85" y="58"/>
                          </a:cubicBezTo>
                          <a:close/>
                          <a:moveTo>
                            <a:pt x="88" y="63"/>
                          </a:moveTo>
                          <a:cubicBezTo>
                            <a:pt x="88" y="63"/>
                            <a:pt x="88" y="63"/>
                            <a:pt x="88" y="63"/>
                          </a:cubicBezTo>
                          <a:cubicBezTo>
                            <a:pt x="88" y="63"/>
                            <a:pt x="88" y="63"/>
                            <a:pt x="88" y="63"/>
                          </a:cubicBezTo>
                          <a:cubicBezTo>
                            <a:pt x="88" y="63"/>
                            <a:pt x="88" y="63"/>
                            <a:pt x="88" y="63"/>
                          </a:cubicBezTo>
                          <a:close/>
                          <a:moveTo>
                            <a:pt x="85" y="57"/>
                          </a:moveTo>
                          <a:cubicBezTo>
                            <a:pt x="85" y="57"/>
                            <a:pt x="86" y="57"/>
                            <a:pt x="86" y="57"/>
                          </a:cubicBezTo>
                          <a:cubicBezTo>
                            <a:pt x="86" y="57"/>
                            <a:pt x="85" y="57"/>
                            <a:pt x="85" y="57"/>
                          </a:cubicBezTo>
                          <a:close/>
                          <a:moveTo>
                            <a:pt x="86" y="58"/>
                          </a:moveTo>
                          <a:cubicBezTo>
                            <a:pt x="86" y="58"/>
                            <a:pt x="86" y="58"/>
                            <a:pt x="86" y="58"/>
                          </a:cubicBezTo>
                          <a:cubicBezTo>
                            <a:pt x="86" y="58"/>
                            <a:pt x="87" y="58"/>
                            <a:pt x="88" y="58"/>
                          </a:cubicBezTo>
                          <a:cubicBezTo>
                            <a:pt x="87" y="58"/>
                            <a:pt x="86" y="58"/>
                            <a:pt x="86" y="58"/>
                          </a:cubicBezTo>
                          <a:close/>
                          <a:moveTo>
                            <a:pt x="88" y="60"/>
                          </a:moveTo>
                          <a:cubicBezTo>
                            <a:pt x="88" y="61"/>
                            <a:pt x="88" y="61"/>
                            <a:pt x="88" y="61"/>
                          </a:cubicBezTo>
                          <a:cubicBezTo>
                            <a:pt x="88" y="61"/>
                            <a:pt x="88" y="61"/>
                            <a:pt x="88" y="60"/>
                          </a:cubicBezTo>
                          <a:close/>
                          <a:moveTo>
                            <a:pt x="87" y="56"/>
                          </a:moveTo>
                          <a:cubicBezTo>
                            <a:pt x="86" y="56"/>
                            <a:pt x="86" y="57"/>
                            <a:pt x="85" y="57"/>
                          </a:cubicBezTo>
                          <a:cubicBezTo>
                            <a:pt x="85" y="56"/>
                            <a:pt x="86" y="56"/>
                            <a:pt x="87" y="56"/>
                          </a:cubicBezTo>
                          <a:close/>
                          <a:moveTo>
                            <a:pt x="86" y="56"/>
                          </a:moveTo>
                          <a:cubicBezTo>
                            <a:pt x="86" y="56"/>
                            <a:pt x="86" y="56"/>
                            <a:pt x="86" y="56"/>
                          </a:cubicBezTo>
                          <a:cubicBezTo>
                            <a:pt x="86" y="56"/>
                            <a:pt x="86" y="56"/>
                            <a:pt x="85" y="56"/>
                          </a:cubicBezTo>
                          <a:cubicBezTo>
                            <a:pt x="85" y="56"/>
                            <a:pt x="86" y="56"/>
                            <a:pt x="86" y="56"/>
                          </a:cubicBezTo>
                          <a:cubicBezTo>
                            <a:pt x="86" y="56"/>
                            <a:pt x="86" y="56"/>
                            <a:pt x="86" y="56"/>
                          </a:cubicBezTo>
                          <a:close/>
                          <a:moveTo>
                            <a:pt x="89" y="62"/>
                          </a:moveTo>
                          <a:cubicBezTo>
                            <a:pt x="89" y="62"/>
                            <a:pt x="89" y="62"/>
                            <a:pt x="89" y="62"/>
                          </a:cubicBezTo>
                          <a:cubicBezTo>
                            <a:pt x="89" y="62"/>
                            <a:pt x="89" y="62"/>
                            <a:pt x="89" y="62"/>
                          </a:cubicBezTo>
                          <a:cubicBezTo>
                            <a:pt x="89" y="62"/>
                            <a:pt x="89" y="62"/>
                            <a:pt x="89" y="62"/>
                          </a:cubicBezTo>
                          <a:cubicBezTo>
                            <a:pt x="89" y="62"/>
                            <a:pt x="89" y="62"/>
                            <a:pt x="89" y="62"/>
                          </a:cubicBezTo>
                          <a:close/>
                          <a:moveTo>
                            <a:pt x="88" y="57"/>
                          </a:moveTo>
                          <a:cubicBezTo>
                            <a:pt x="88" y="57"/>
                            <a:pt x="88" y="57"/>
                            <a:pt x="88" y="57"/>
                          </a:cubicBezTo>
                          <a:cubicBezTo>
                            <a:pt x="88" y="57"/>
                            <a:pt x="88" y="57"/>
                            <a:pt x="88" y="57"/>
                          </a:cubicBezTo>
                          <a:cubicBezTo>
                            <a:pt x="88" y="57"/>
                            <a:pt x="88" y="57"/>
                            <a:pt x="88" y="57"/>
                          </a:cubicBezTo>
                          <a:close/>
                          <a:moveTo>
                            <a:pt x="91" y="62"/>
                          </a:moveTo>
                          <a:cubicBezTo>
                            <a:pt x="90" y="62"/>
                            <a:pt x="91" y="61"/>
                            <a:pt x="91" y="61"/>
                          </a:cubicBezTo>
                          <a:cubicBezTo>
                            <a:pt x="91" y="61"/>
                            <a:pt x="91" y="62"/>
                            <a:pt x="91" y="62"/>
                          </a:cubicBezTo>
                          <a:close/>
                          <a:moveTo>
                            <a:pt x="90" y="60"/>
                          </a:moveTo>
                          <a:cubicBezTo>
                            <a:pt x="90" y="60"/>
                            <a:pt x="90" y="60"/>
                            <a:pt x="90" y="60"/>
                          </a:cubicBezTo>
                          <a:cubicBezTo>
                            <a:pt x="90" y="60"/>
                            <a:pt x="90" y="60"/>
                            <a:pt x="90" y="60"/>
                          </a:cubicBezTo>
                          <a:cubicBezTo>
                            <a:pt x="90" y="60"/>
                            <a:pt x="90" y="60"/>
                            <a:pt x="90" y="60"/>
                          </a:cubicBezTo>
                          <a:close/>
                          <a:moveTo>
                            <a:pt x="88" y="57"/>
                          </a:moveTo>
                          <a:cubicBezTo>
                            <a:pt x="88" y="57"/>
                            <a:pt x="89" y="56"/>
                            <a:pt x="89" y="56"/>
                          </a:cubicBezTo>
                          <a:cubicBezTo>
                            <a:pt x="89" y="57"/>
                            <a:pt x="89" y="57"/>
                            <a:pt x="88" y="57"/>
                          </a:cubicBezTo>
                          <a:close/>
                          <a:moveTo>
                            <a:pt x="90" y="59"/>
                          </a:moveTo>
                          <a:cubicBezTo>
                            <a:pt x="90" y="59"/>
                            <a:pt x="90" y="59"/>
                            <a:pt x="91" y="59"/>
                          </a:cubicBezTo>
                          <a:cubicBezTo>
                            <a:pt x="91" y="59"/>
                            <a:pt x="90" y="59"/>
                            <a:pt x="90" y="59"/>
                          </a:cubicBezTo>
                          <a:close/>
                          <a:moveTo>
                            <a:pt x="89" y="57"/>
                          </a:moveTo>
                          <a:cubicBezTo>
                            <a:pt x="89" y="57"/>
                            <a:pt x="90" y="57"/>
                            <a:pt x="90" y="57"/>
                          </a:cubicBezTo>
                          <a:cubicBezTo>
                            <a:pt x="90" y="57"/>
                            <a:pt x="90" y="57"/>
                            <a:pt x="89" y="57"/>
                          </a:cubicBezTo>
                          <a:close/>
                          <a:moveTo>
                            <a:pt x="91" y="59"/>
                          </a:moveTo>
                          <a:cubicBezTo>
                            <a:pt x="91" y="59"/>
                            <a:pt x="91" y="59"/>
                            <a:pt x="91" y="59"/>
                          </a:cubicBezTo>
                          <a:cubicBezTo>
                            <a:pt x="91" y="59"/>
                            <a:pt x="91" y="59"/>
                            <a:pt x="91" y="59"/>
                          </a:cubicBezTo>
                          <a:close/>
                          <a:moveTo>
                            <a:pt x="93" y="59"/>
                          </a:moveTo>
                          <a:cubicBezTo>
                            <a:pt x="93" y="60"/>
                            <a:pt x="93" y="60"/>
                            <a:pt x="92" y="60"/>
                          </a:cubicBezTo>
                          <a:cubicBezTo>
                            <a:pt x="92" y="60"/>
                            <a:pt x="93" y="60"/>
                            <a:pt x="93" y="59"/>
                          </a:cubicBezTo>
                          <a:close/>
                          <a:moveTo>
                            <a:pt x="92" y="58"/>
                          </a:moveTo>
                          <a:cubicBezTo>
                            <a:pt x="93" y="58"/>
                            <a:pt x="93" y="58"/>
                            <a:pt x="93" y="58"/>
                          </a:cubicBezTo>
                          <a:cubicBezTo>
                            <a:pt x="93" y="58"/>
                            <a:pt x="93" y="58"/>
                            <a:pt x="93" y="58"/>
                          </a:cubicBezTo>
                          <a:cubicBezTo>
                            <a:pt x="93" y="58"/>
                            <a:pt x="92" y="58"/>
                            <a:pt x="93" y="58"/>
                          </a:cubicBezTo>
                          <a:cubicBezTo>
                            <a:pt x="92" y="58"/>
                            <a:pt x="93" y="58"/>
                            <a:pt x="92" y="59"/>
                          </a:cubicBezTo>
                          <a:cubicBezTo>
                            <a:pt x="92" y="59"/>
                            <a:pt x="92" y="59"/>
                            <a:pt x="92" y="59"/>
                          </a:cubicBezTo>
                          <a:cubicBezTo>
                            <a:pt x="92" y="58"/>
                            <a:pt x="92" y="58"/>
                            <a:pt x="92" y="58"/>
                          </a:cubicBezTo>
                          <a:cubicBezTo>
                            <a:pt x="92" y="58"/>
                            <a:pt x="92" y="58"/>
                            <a:pt x="92" y="58"/>
                          </a:cubicBezTo>
                          <a:cubicBezTo>
                            <a:pt x="92" y="58"/>
                            <a:pt x="92" y="58"/>
                            <a:pt x="92" y="58"/>
                          </a:cubicBezTo>
                          <a:close/>
                          <a:moveTo>
                            <a:pt x="91" y="53"/>
                          </a:moveTo>
                          <a:cubicBezTo>
                            <a:pt x="91" y="54"/>
                            <a:pt x="90" y="54"/>
                            <a:pt x="90" y="54"/>
                          </a:cubicBezTo>
                          <a:cubicBezTo>
                            <a:pt x="90" y="53"/>
                            <a:pt x="90" y="54"/>
                            <a:pt x="91" y="53"/>
                          </a:cubicBezTo>
                          <a:close/>
                          <a:moveTo>
                            <a:pt x="93" y="57"/>
                          </a:moveTo>
                          <a:cubicBezTo>
                            <a:pt x="92" y="57"/>
                            <a:pt x="93" y="57"/>
                            <a:pt x="93" y="57"/>
                          </a:cubicBezTo>
                          <a:cubicBezTo>
                            <a:pt x="92" y="57"/>
                            <a:pt x="92" y="57"/>
                            <a:pt x="92" y="57"/>
                          </a:cubicBezTo>
                          <a:cubicBezTo>
                            <a:pt x="92" y="57"/>
                            <a:pt x="92" y="57"/>
                            <a:pt x="92" y="57"/>
                          </a:cubicBezTo>
                          <a:cubicBezTo>
                            <a:pt x="92" y="57"/>
                            <a:pt x="92" y="57"/>
                            <a:pt x="93" y="57"/>
                          </a:cubicBezTo>
                          <a:cubicBezTo>
                            <a:pt x="93" y="57"/>
                            <a:pt x="93" y="57"/>
                            <a:pt x="93" y="57"/>
                          </a:cubicBezTo>
                          <a:close/>
                          <a:moveTo>
                            <a:pt x="94" y="60"/>
                          </a:moveTo>
                          <a:cubicBezTo>
                            <a:pt x="94" y="60"/>
                            <a:pt x="94" y="60"/>
                            <a:pt x="94" y="60"/>
                          </a:cubicBezTo>
                          <a:cubicBezTo>
                            <a:pt x="94" y="60"/>
                            <a:pt x="94" y="60"/>
                            <a:pt x="94" y="60"/>
                          </a:cubicBezTo>
                          <a:close/>
                          <a:moveTo>
                            <a:pt x="93" y="58"/>
                          </a:moveTo>
                          <a:cubicBezTo>
                            <a:pt x="93" y="58"/>
                            <a:pt x="94" y="58"/>
                            <a:pt x="93" y="59"/>
                          </a:cubicBezTo>
                          <a:cubicBezTo>
                            <a:pt x="93" y="58"/>
                            <a:pt x="93" y="58"/>
                            <a:pt x="94" y="58"/>
                          </a:cubicBezTo>
                          <a:cubicBezTo>
                            <a:pt x="94" y="58"/>
                            <a:pt x="94" y="58"/>
                            <a:pt x="94" y="58"/>
                          </a:cubicBezTo>
                          <a:cubicBezTo>
                            <a:pt x="94" y="58"/>
                            <a:pt x="94" y="58"/>
                            <a:pt x="93" y="58"/>
                          </a:cubicBezTo>
                          <a:close/>
                          <a:moveTo>
                            <a:pt x="92" y="55"/>
                          </a:moveTo>
                          <a:cubicBezTo>
                            <a:pt x="92" y="55"/>
                            <a:pt x="91" y="55"/>
                            <a:pt x="91" y="55"/>
                          </a:cubicBezTo>
                          <a:cubicBezTo>
                            <a:pt x="91" y="55"/>
                            <a:pt x="92" y="55"/>
                            <a:pt x="92" y="55"/>
                          </a:cubicBezTo>
                          <a:close/>
                          <a:moveTo>
                            <a:pt x="93" y="58"/>
                          </a:moveTo>
                          <a:cubicBezTo>
                            <a:pt x="94" y="57"/>
                            <a:pt x="94" y="57"/>
                            <a:pt x="94" y="57"/>
                          </a:cubicBezTo>
                          <a:cubicBezTo>
                            <a:pt x="95" y="57"/>
                            <a:pt x="93" y="58"/>
                            <a:pt x="93" y="58"/>
                          </a:cubicBezTo>
                          <a:cubicBezTo>
                            <a:pt x="93" y="58"/>
                            <a:pt x="93" y="58"/>
                            <a:pt x="93" y="58"/>
                          </a:cubicBezTo>
                          <a:close/>
                          <a:moveTo>
                            <a:pt x="95" y="56"/>
                          </a:moveTo>
                          <a:cubicBezTo>
                            <a:pt x="94" y="56"/>
                            <a:pt x="94" y="56"/>
                            <a:pt x="93" y="57"/>
                          </a:cubicBezTo>
                          <a:cubicBezTo>
                            <a:pt x="93" y="57"/>
                            <a:pt x="94" y="56"/>
                            <a:pt x="95" y="56"/>
                          </a:cubicBezTo>
                          <a:close/>
                          <a:moveTo>
                            <a:pt x="92" y="54"/>
                          </a:moveTo>
                          <a:cubicBezTo>
                            <a:pt x="92" y="53"/>
                            <a:pt x="92" y="53"/>
                            <a:pt x="92" y="53"/>
                          </a:cubicBezTo>
                          <a:cubicBezTo>
                            <a:pt x="92" y="54"/>
                            <a:pt x="92" y="54"/>
                            <a:pt x="92" y="54"/>
                          </a:cubicBezTo>
                          <a:close/>
                          <a:moveTo>
                            <a:pt x="95" y="59"/>
                          </a:moveTo>
                          <a:cubicBezTo>
                            <a:pt x="95" y="59"/>
                            <a:pt x="95" y="59"/>
                            <a:pt x="95" y="59"/>
                          </a:cubicBezTo>
                          <a:cubicBezTo>
                            <a:pt x="95" y="59"/>
                            <a:pt x="95" y="59"/>
                            <a:pt x="95" y="59"/>
                          </a:cubicBezTo>
                          <a:cubicBezTo>
                            <a:pt x="95" y="59"/>
                            <a:pt x="95" y="59"/>
                            <a:pt x="95" y="59"/>
                          </a:cubicBezTo>
                          <a:close/>
                          <a:moveTo>
                            <a:pt x="94" y="57"/>
                          </a:moveTo>
                          <a:cubicBezTo>
                            <a:pt x="94" y="57"/>
                            <a:pt x="94" y="57"/>
                            <a:pt x="94" y="57"/>
                          </a:cubicBezTo>
                          <a:cubicBezTo>
                            <a:pt x="94" y="57"/>
                            <a:pt x="94" y="57"/>
                            <a:pt x="94" y="57"/>
                          </a:cubicBezTo>
                          <a:cubicBezTo>
                            <a:pt x="94" y="57"/>
                            <a:pt x="94" y="57"/>
                            <a:pt x="94" y="57"/>
                          </a:cubicBezTo>
                          <a:cubicBezTo>
                            <a:pt x="94" y="57"/>
                            <a:pt x="94" y="57"/>
                            <a:pt x="94" y="57"/>
                          </a:cubicBezTo>
                          <a:close/>
                          <a:moveTo>
                            <a:pt x="93" y="54"/>
                          </a:moveTo>
                          <a:cubicBezTo>
                            <a:pt x="94" y="54"/>
                            <a:pt x="94" y="54"/>
                            <a:pt x="94" y="54"/>
                          </a:cubicBezTo>
                          <a:cubicBezTo>
                            <a:pt x="94" y="54"/>
                            <a:pt x="94" y="54"/>
                            <a:pt x="94" y="54"/>
                          </a:cubicBezTo>
                          <a:cubicBezTo>
                            <a:pt x="94" y="54"/>
                            <a:pt x="93" y="54"/>
                            <a:pt x="93" y="54"/>
                          </a:cubicBezTo>
                          <a:close/>
                          <a:moveTo>
                            <a:pt x="96" y="57"/>
                          </a:moveTo>
                          <a:cubicBezTo>
                            <a:pt x="97" y="58"/>
                            <a:pt x="96" y="58"/>
                            <a:pt x="96" y="58"/>
                          </a:cubicBezTo>
                          <a:cubicBezTo>
                            <a:pt x="96" y="58"/>
                            <a:pt x="96" y="58"/>
                            <a:pt x="96" y="57"/>
                          </a:cubicBezTo>
                          <a:close/>
                          <a:moveTo>
                            <a:pt x="91" y="48"/>
                          </a:moveTo>
                          <a:cubicBezTo>
                            <a:pt x="91" y="49"/>
                            <a:pt x="91" y="49"/>
                            <a:pt x="91" y="49"/>
                          </a:cubicBezTo>
                          <a:cubicBezTo>
                            <a:pt x="91" y="49"/>
                            <a:pt x="91" y="49"/>
                            <a:pt x="91" y="49"/>
                          </a:cubicBezTo>
                          <a:cubicBezTo>
                            <a:pt x="91" y="49"/>
                            <a:pt x="91" y="48"/>
                            <a:pt x="91" y="48"/>
                          </a:cubicBezTo>
                          <a:close/>
                          <a:moveTo>
                            <a:pt x="93" y="52"/>
                          </a:moveTo>
                          <a:cubicBezTo>
                            <a:pt x="93" y="52"/>
                            <a:pt x="93" y="52"/>
                            <a:pt x="93" y="52"/>
                          </a:cubicBezTo>
                          <a:cubicBezTo>
                            <a:pt x="93" y="52"/>
                            <a:pt x="93" y="52"/>
                            <a:pt x="93" y="52"/>
                          </a:cubicBezTo>
                          <a:close/>
                          <a:moveTo>
                            <a:pt x="92" y="49"/>
                          </a:moveTo>
                          <a:cubicBezTo>
                            <a:pt x="92" y="49"/>
                            <a:pt x="92" y="49"/>
                            <a:pt x="92" y="50"/>
                          </a:cubicBezTo>
                          <a:cubicBezTo>
                            <a:pt x="92" y="49"/>
                            <a:pt x="92" y="49"/>
                            <a:pt x="92" y="49"/>
                          </a:cubicBezTo>
                          <a:cubicBezTo>
                            <a:pt x="92" y="49"/>
                            <a:pt x="92" y="49"/>
                            <a:pt x="92" y="49"/>
                          </a:cubicBezTo>
                          <a:close/>
                          <a:moveTo>
                            <a:pt x="95" y="53"/>
                          </a:moveTo>
                          <a:cubicBezTo>
                            <a:pt x="95" y="53"/>
                            <a:pt x="95" y="53"/>
                            <a:pt x="95" y="53"/>
                          </a:cubicBezTo>
                          <a:cubicBezTo>
                            <a:pt x="95" y="53"/>
                            <a:pt x="95" y="53"/>
                            <a:pt x="95" y="53"/>
                          </a:cubicBezTo>
                          <a:cubicBezTo>
                            <a:pt x="95" y="53"/>
                            <a:pt x="95" y="53"/>
                            <a:pt x="95" y="53"/>
                          </a:cubicBezTo>
                          <a:close/>
                          <a:moveTo>
                            <a:pt x="92" y="50"/>
                          </a:moveTo>
                          <a:cubicBezTo>
                            <a:pt x="93" y="49"/>
                            <a:pt x="93" y="49"/>
                            <a:pt x="93" y="49"/>
                          </a:cubicBezTo>
                          <a:cubicBezTo>
                            <a:pt x="93" y="49"/>
                            <a:pt x="93" y="49"/>
                            <a:pt x="92" y="50"/>
                          </a:cubicBezTo>
                          <a:close/>
                          <a:moveTo>
                            <a:pt x="96" y="54"/>
                          </a:moveTo>
                          <a:cubicBezTo>
                            <a:pt x="96" y="55"/>
                            <a:pt x="96" y="55"/>
                            <a:pt x="95" y="55"/>
                          </a:cubicBezTo>
                          <a:cubicBezTo>
                            <a:pt x="95" y="55"/>
                            <a:pt x="96" y="54"/>
                            <a:pt x="96" y="54"/>
                          </a:cubicBezTo>
                          <a:close/>
                          <a:moveTo>
                            <a:pt x="97" y="57"/>
                          </a:moveTo>
                          <a:cubicBezTo>
                            <a:pt x="97" y="57"/>
                            <a:pt x="97" y="57"/>
                            <a:pt x="97" y="57"/>
                          </a:cubicBezTo>
                          <a:cubicBezTo>
                            <a:pt x="97" y="57"/>
                            <a:pt x="97" y="57"/>
                            <a:pt x="97" y="57"/>
                          </a:cubicBezTo>
                          <a:cubicBezTo>
                            <a:pt x="97" y="56"/>
                            <a:pt x="97" y="57"/>
                            <a:pt x="97" y="57"/>
                          </a:cubicBezTo>
                          <a:close/>
                          <a:moveTo>
                            <a:pt x="94" y="48"/>
                          </a:moveTo>
                          <a:cubicBezTo>
                            <a:pt x="93" y="49"/>
                            <a:pt x="93" y="49"/>
                            <a:pt x="93" y="49"/>
                          </a:cubicBezTo>
                          <a:cubicBezTo>
                            <a:pt x="93" y="49"/>
                            <a:pt x="93" y="48"/>
                            <a:pt x="93" y="48"/>
                          </a:cubicBezTo>
                          <a:cubicBezTo>
                            <a:pt x="93" y="48"/>
                            <a:pt x="93" y="48"/>
                            <a:pt x="93" y="48"/>
                          </a:cubicBezTo>
                          <a:cubicBezTo>
                            <a:pt x="93" y="48"/>
                            <a:pt x="93" y="48"/>
                            <a:pt x="93" y="48"/>
                          </a:cubicBezTo>
                          <a:cubicBezTo>
                            <a:pt x="93" y="48"/>
                            <a:pt x="93" y="48"/>
                            <a:pt x="94" y="48"/>
                          </a:cubicBezTo>
                          <a:close/>
                          <a:moveTo>
                            <a:pt x="99" y="56"/>
                          </a:moveTo>
                          <a:cubicBezTo>
                            <a:pt x="99" y="56"/>
                            <a:pt x="98" y="56"/>
                            <a:pt x="98" y="57"/>
                          </a:cubicBezTo>
                          <a:cubicBezTo>
                            <a:pt x="98" y="56"/>
                            <a:pt x="99" y="56"/>
                            <a:pt x="99" y="56"/>
                          </a:cubicBezTo>
                          <a:close/>
                          <a:moveTo>
                            <a:pt x="99" y="55"/>
                          </a:moveTo>
                          <a:cubicBezTo>
                            <a:pt x="99" y="55"/>
                            <a:pt x="100" y="55"/>
                            <a:pt x="100" y="55"/>
                          </a:cubicBezTo>
                          <a:cubicBezTo>
                            <a:pt x="100" y="55"/>
                            <a:pt x="99" y="55"/>
                            <a:pt x="99" y="56"/>
                          </a:cubicBezTo>
                          <a:cubicBezTo>
                            <a:pt x="99" y="56"/>
                            <a:pt x="99" y="55"/>
                            <a:pt x="99" y="56"/>
                          </a:cubicBezTo>
                          <a:cubicBezTo>
                            <a:pt x="99" y="56"/>
                            <a:pt x="99" y="55"/>
                            <a:pt x="99" y="55"/>
                          </a:cubicBezTo>
                          <a:close/>
                          <a:moveTo>
                            <a:pt x="99" y="55"/>
                          </a:moveTo>
                          <a:cubicBezTo>
                            <a:pt x="99" y="55"/>
                            <a:pt x="99" y="55"/>
                            <a:pt x="99" y="55"/>
                          </a:cubicBezTo>
                          <a:cubicBezTo>
                            <a:pt x="99" y="55"/>
                            <a:pt x="99" y="55"/>
                            <a:pt x="99" y="55"/>
                          </a:cubicBezTo>
                          <a:cubicBezTo>
                            <a:pt x="99" y="55"/>
                            <a:pt x="99" y="55"/>
                            <a:pt x="99" y="55"/>
                          </a:cubicBezTo>
                          <a:close/>
                          <a:moveTo>
                            <a:pt x="100" y="55"/>
                          </a:moveTo>
                          <a:cubicBezTo>
                            <a:pt x="100" y="55"/>
                            <a:pt x="100" y="55"/>
                            <a:pt x="100" y="55"/>
                          </a:cubicBezTo>
                          <a:cubicBezTo>
                            <a:pt x="100" y="55"/>
                            <a:pt x="100" y="55"/>
                            <a:pt x="100" y="55"/>
                          </a:cubicBezTo>
                          <a:cubicBezTo>
                            <a:pt x="101" y="55"/>
                            <a:pt x="100" y="55"/>
                            <a:pt x="100" y="55"/>
                          </a:cubicBezTo>
                          <a:close/>
                          <a:moveTo>
                            <a:pt x="100" y="52"/>
                          </a:moveTo>
                          <a:cubicBezTo>
                            <a:pt x="100" y="52"/>
                            <a:pt x="99" y="53"/>
                            <a:pt x="99" y="53"/>
                          </a:cubicBezTo>
                          <a:cubicBezTo>
                            <a:pt x="99" y="52"/>
                            <a:pt x="100" y="52"/>
                            <a:pt x="100" y="52"/>
                          </a:cubicBezTo>
                          <a:cubicBezTo>
                            <a:pt x="100" y="52"/>
                            <a:pt x="100" y="52"/>
                            <a:pt x="100" y="52"/>
                          </a:cubicBezTo>
                          <a:close/>
                          <a:moveTo>
                            <a:pt x="101" y="54"/>
                          </a:moveTo>
                          <a:cubicBezTo>
                            <a:pt x="101" y="54"/>
                            <a:pt x="101" y="54"/>
                            <a:pt x="101" y="55"/>
                          </a:cubicBezTo>
                          <a:cubicBezTo>
                            <a:pt x="101" y="55"/>
                            <a:pt x="101" y="55"/>
                            <a:pt x="101" y="55"/>
                          </a:cubicBezTo>
                          <a:cubicBezTo>
                            <a:pt x="101" y="54"/>
                            <a:pt x="101" y="54"/>
                            <a:pt x="101" y="54"/>
                          </a:cubicBezTo>
                          <a:close/>
                          <a:moveTo>
                            <a:pt x="99" y="50"/>
                          </a:moveTo>
                          <a:cubicBezTo>
                            <a:pt x="99" y="50"/>
                            <a:pt x="99" y="50"/>
                            <a:pt x="99" y="50"/>
                          </a:cubicBezTo>
                          <a:cubicBezTo>
                            <a:pt x="99" y="50"/>
                            <a:pt x="99" y="50"/>
                            <a:pt x="100" y="50"/>
                          </a:cubicBezTo>
                          <a:cubicBezTo>
                            <a:pt x="99" y="50"/>
                            <a:pt x="99" y="50"/>
                            <a:pt x="99" y="50"/>
                          </a:cubicBezTo>
                          <a:close/>
                          <a:moveTo>
                            <a:pt x="100" y="44"/>
                          </a:moveTo>
                          <a:cubicBezTo>
                            <a:pt x="100" y="43"/>
                            <a:pt x="101" y="43"/>
                            <a:pt x="101" y="43"/>
                          </a:cubicBezTo>
                          <a:cubicBezTo>
                            <a:pt x="100" y="44"/>
                            <a:pt x="98" y="45"/>
                            <a:pt x="97" y="46"/>
                          </a:cubicBezTo>
                          <a:cubicBezTo>
                            <a:pt x="97" y="45"/>
                            <a:pt x="97" y="45"/>
                            <a:pt x="97" y="45"/>
                          </a:cubicBezTo>
                          <a:cubicBezTo>
                            <a:pt x="98" y="45"/>
                            <a:pt x="99" y="44"/>
                            <a:pt x="100" y="44"/>
                          </a:cubicBezTo>
                          <a:cubicBezTo>
                            <a:pt x="100" y="43"/>
                            <a:pt x="100" y="44"/>
                            <a:pt x="100" y="44"/>
                          </a:cubicBezTo>
                          <a:close/>
                          <a:moveTo>
                            <a:pt x="103" y="52"/>
                          </a:moveTo>
                          <a:cubicBezTo>
                            <a:pt x="102" y="52"/>
                            <a:pt x="102" y="52"/>
                            <a:pt x="102" y="52"/>
                          </a:cubicBezTo>
                          <a:cubicBezTo>
                            <a:pt x="102" y="52"/>
                            <a:pt x="103" y="52"/>
                            <a:pt x="103" y="52"/>
                          </a:cubicBezTo>
                          <a:cubicBezTo>
                            <a:pt x="103" y="52"/>
                            <a:pt x="103" y="52"/>
                            <a:pt x="103" y="52"/>
                          </a:cubicBezTo>
                          <a:cubicBezTo>
                            <a:pt x="103" y="52"/>
                            <a:pt x="103" y="52"/>
                            <a:pt x="103" y="52"/>
                          </a:cubicBezTo>
                          <a:cubicBezTo>
                            <a:pt x="103" y="52"/>
                            <a:pt x="102" y="52"/>
                            <a:pt x="102" y="53"/>
                          </a:cubicBezTo>
                          <a:cubicBezTo>
                            <a:pt x="102" y="53"/>
                            <a:pt x="102" y="53"/>
                            <a:pt x="101" y="53"/>
                          </a:cubicBezTo>
                          <a:cubicBezTo>
                            <a:pt x="102" y="53"/>
                            <a:pt x="102" y="52"/>
                            <a:pt x="102" y="52"/>
                          </a:cubicBezTo>
                          <a:cubicBezTo>
                            <a:pt x="101" y="52"/>
                            <a:pt x="102" y="53"/>
                            <a:pt x="101" y="53"/>
                          </a:cubicBezTo>
                          <a:cubicBezTo>
                            <a:pt x="101" y="52"/>
                            <a:pt x="102" y="52"/>
                            <a:pt x="103" y="52"/>
                          </a:cubicBezTo>
                          <a:close/>
                          <a:moveTo>
                            <a:pt x="103" y="52"/>
                          </a:moveTo>
                          <a:cubicBezTo>
                            <a:pt x="103" y="52"/>
                            <a:pt x="103" y="52"/>
                            <a:pt x="103" y="52"/>
                          </a:cubicBezTo>
                          <a:cubicBezTo>
                            <a:pt x="104" y="51"/>
                            <a:pt x="104" y="51"/>
                            <a:pt x="105" y="51"/>
                          </a:cubicBezTo>
                          <a:cubicBezTo>
                            <a:pt x="105" y="51"/>
                            <a:pt x="104" y="51"/>
                            <a:pt x="105" y="51"/>
                          </a:cubicBezTo>
                          <a:cubicBezTo>
                            <a:pt x="105" y="51"/>
                            <a:pt x="104" y="52"/>
                            <a:pt x="104" y="51"/>
                          </a:cubicBezTo>
                          <a:cubicBezTo>
                            <a:pt x="104" y="52"/>
                            <a:pt x="104" y="52"/>
                            <a:pt x="103" y="52"/>
                          </a:cubicBezTo>
                          <a:cubicBezTo>
                            <a:pt x="103" y="52"/>
                            <a:pt x="103" y="52"/>
                            <a:pt x="103" y="52"/>
                          </a:cubicBezTo>
                          <a:cubicBezTo>
                            <a:pt x="103" y="52"/>
                            <a:pt x="103" y="52"/>
                            <a:pt x="103" y="52"/>
                          </a:cubicBezTo>
                          <a:close/>
                          <a:moveTo>
                            <a:pt x="102" y="49"/>
                          </a:moveTo>
                          <a:cubicBezTo>
                            <a:pt x="102" y="49"/>
                            <a:pt x="102" y="49"/>
                            <a:pt x="102" y="49"/>
                          </a:cubicBezTo>
                          <a:cubicBezTo>
                            <a:pt x="102" y="49"/>
                            <a:pt x="102" y="49"/>
                            <a:pt x="103" y="49"/>
                          </a:cubicBezTo>
                          <a:cubicBezTo>
                            <a:pt x="103" y="49"/>
                            <a:pt x="102" y="49"/>
                            <a:pt x="102" y="49"/>
                          </a:cubicBezTo>
                          <a:close/>
                          <a:moveTo>
                            <a:pt x="103" y="51"/>
                          </a:moveTo>
                          <a:cubicBezTo>
                            <a:pt x="103" y="51"/>
                            <a:pt x="103" y="51"/>
                            <a:pt x="103" y="51"/>
                          </a:cubicBezTo>
                          <a:cubicBezTo>
                            <a:pt x="104" y="51"/>
                            <a:pt x="104" y="51"/>
                            <a:pt x="103" y="52"/>
                          </a:cubicBezTo>
                          <a:cubicBezTo>
                            <a:pt x="103" y="51"/>
                            <a:pt x="103" y="51"/>
                            <a:pt x="103" y="51"/>
                          </a:cubicBezTo>
                          <a:close/>
                          <a:moveTo>
                            <a:pt x="104" y="52"/>
                          </a:moveTo>
                          <a:cubicBezTo>
                            <a:pt x="105" y="52"/>
                            <a:pt x="104" y="52"/>
                            <a:pt x="104" y="52"/>
                          </a:cubicBezTo>
                          <a:cubicBezTo>
                            <a:pt x="104" y="52"/>
                            <a:pt x="104" y="52"/>
                            <a:pt x="104" y="52"/>
                          </a:cubicBezTo>
                          <a:close/>
                          <a:moveTo>
                            <a:pt x="105" y="52"/>
                          </a:moveTo>
                          <a:cubicBezTo>
                            <a:pt x="105" y="52"/>
                            <a:pt x="104" y="52"/>
                            <a:pt x="104" y="52"/>
                          </a:cubicBezTo>
                          <a:cubicBezTo>
                            <a:pt x="104" y="52"/>
                            <a:pt x="105" y="52"/>
                            <a:pt x="105" y="52"/>
                          </a:cubicBezTo>
                          <a:close/>
                          <a:moveTo>
                            <a:pt x="104" y="48"/>
                          </a:moveTo>
                          <a:cubicBezTo>
                            <a:pt x="104" y="48"/>
                            <a:pt x="104" y="48"/>
                            <a:pt x="104" y="48"/>
                          </a:cubicBezTo>
                          <a:cubicBezTo>
                            <a:pt x="104" y="48"/>
                            <a:pt x="104" y="49"/>
                            <a:pt x="104" y="48"/>
                          </a:cubicBezTo>
                          <a:cubicBezTo>
                            <a:pt x="104" y="48"/>
                            <a:pt x="104" y="48"/>
                            <a:pt x="104" y="48"/>
                          </a:cubicBezTo>
                          <a:close/>
                          <a:moveTo>
                            <a:pt x="106" y="51"/>
                          </a:moveTo>
                          <a:cubicBezTo>
                            <a:pt x="106" y="52"/>
                            <a:pt x="106" y="52"/>
                            <a:pt x="106" y="52"/>
                          </a:cubicBezTo>
                          <a:cubicBezTo>
                            <a:pt x="106" y="52"/>
                            <a:pt x="106" y="51"/>
                            <a:pt x="106" y="51"/>
                          </a:cubicBezTo>
                          <a:close/>
                          <a:moveTo>
                            <a:pt x="105" y="50"/>
                          </a:moveTo>
                          <a:cubicBezTo>
                            <a:pt x="105" y="50"/>
                            <a:pt x="105" y="50"/>
                            <a:pt x="105" y="50"/>
                          </a:cubicBezTo>
                          <a:cubicBezTo>
                            <a:pt x="105" y="50"/>
                            <a:pt x="105" y="50"/>
                            <a:pt x="105" y="50"/>
                          </a:cubicBezTo>
                          <a:cubicBezTo>
                            <a:pt x="105" y="50"/>
                            <a:pt x="105" y="50"/>
                            <a:pt x="105" y="50"/>
                          </a:cubicBezTo>
                          <a:close/>
                          <a:moveTo>
                            <a:pt x="106" y="51"/>
                          </a:moveTo>
                          <a:cubicBezTo>
                            <a:pt x="107" y="51"/>
                            <a:pt x="107" y="51"/>
                            <a:pt x="108" y="51"/>
                          </a:cubicBezTo>
                          <a:cubicBezTo>
                            <a:pt x="108" y="51"/>
                            <a:pt x="107" y="51"/>
                            <a:pt x="107" y="51"/>
                          </a:cubicBezTo>
                          <a:cubicBezTo>
                            <a:pt x="106" y="52"/>
                            <a:pt x="106" y="52"/>
                            <a:pt x="106" y="52"/>
                          </a:cubicBezTo>
                          <a:cubicBezTo>
                            <a:pt x="106" y="52"/>
                            <a:pt x="107" y="51"/>
                            <a:pt x="107" y="51"/>
                          </a:cubicBezTo>
                          <a:cubicBezTo>
                            <a:pt x="107" y="51"/>
                            <a:pt x="106" y="51"/>
                            <a:pt x="106" y="51"/>
                          </a:cubicBezTo>
                          <a:close/>
                          <a:moveTo>
                            <a:pt x="107" y="51"/>
                          </a:moveTo>
                          <a:cubicBezTo>
                            <a:pt x="106" y="51"/>
                            <a:pt x="106" y="51"/>
                            <a:pt x="106" y="51"/>
                          </a:cubicBezTo>
                          <a:cubicBezTo>
                            <a:pt x="106" y="51"/>
                            <a:pt x="106" y="51"/>
                            <a:pt x="107" y="51"/>
                          </a:cubicBezTo>
                          <a:close/>
                          <a:moveTo>
                            <a:pt x="105" y="47"/>
                          </a:moveTo>
                          <a:cubicBezTo>
                            <a:pt x="105" y="47"/>
                            <a:pt x="106" y="46"/>
                            <a:pt x="106" y="46"/>
                          </a:cubicBezTo>
                          <a:cubicBezTo>
                            <a:pt x="106" y="47"/>
                            <a:pt x="105" y="47"/>
                            <a:pt x="105" y="47"/>
                          </a:cubicBezTo>
                          <a:cubicBezTo>
                            <a:pt x="105" y="47"/>
                            <a:pt x="105" y="47"/>
                            <a:pt x="105" y="47"/>
                          </a:cubicBezTo>
                          <a:close/>
                          <a:moveTo>
                            <a:pt x="106" y="48"/>
                          </a:moveTo>
                          <a:cubicBezTo>
                            <a:pt x="106" y="48"/>
                            <a:pt x="106" y="48"/>
                            <a:pt x="106" y="48"/>
                          </a:cubicBezTo>
                          <a:cubicBezTo>
                            <a:pt x="106" y="49"/>
                            <a:pt x="106" y="48"/>
                            <a:pt x="106" y="48"/>
                          </a:cubicBezTo>
                          <a:cubicBezTo>
                            <a:pt x="106" y="48"/>
                            <a:pt x="106" y="48"/>
                            <a:pt x="106" y="48"/>
                          </a:cubicBezTo>
                          <a:cubicBezTo>
                            <a:pt x="106" y="48"/>
                            <a:pt x="106" y="48"/>
                            <a:pt x="106" y="48"/>
                          </a:cubicBezTo>
                          <a:close/>
                          <a:moveTo>
                            <a:pt x="107" y="48"/>
                          </a:moveTo>
                          <a:cubicBezTo>
                            <a:pt x="107" y="48"/>
                            <a:pt x="106" y="49"/>
                            <a:pt x="106" y="49"/>
                          </a:cubicBezTo>
                          <a:cubicBezTo>
                            <a:pt x="106" y="49"/>
                            <a:pt x="106" y="49"/>
                            <a:pt x="106" y="49"/>
                          </a:cubicBezTo>
                          <a:cubicBezTo>
                            <a:pt x="106" y="49"/>
                            <a:pt x="107" y="48"/>
                            <a:pt x="107" y="48"/>
                          </a:cubicBezTo>
                          <a:close/>
                          <a:moveTo>
                            <a:pt x="107" y="49"/>
                          </a:moveTo>
                          <a:cubicBezTo>
                            <a:pt x="107" y="49"/>
                            <a:pt x="107" y="49"/>
                            <a:pt x="107" y="48"/>
                          </a:cubicBezTo>
                          <a:cubicBezTo>
                            <a:pt x="107" y="49"/>
                            <a:pt x="107" y="49"/>
                            <a:pt x="107" y="49"/>
                          </a:cubicBezTo>
                          <a:close/>
                          <a:moveTo>
                            <a:pt x="108" y="48"/>
                          </a:moveTo>
                          <a:cubicBezTo>
                            <a:pt x="108" y="48"/>
                            <a:pt x="108" y="48"/>
                            <a:pt x="108" y="48"/>
                          </a:cubicBezTo>
                          <a:cubicBezTo>
                            <a:pt x="108" y="48"/>
                            <a:pt x="108" y="48"/>
                            <a:pt x="108" y="48"/>
                          </a:cubicBezTo>
                          <a:cubicBezTo>
                            <a:pt x="108" y="48"/>
                            <a:pt x="108" y="48"/>
                            <a:pt x="108" y="48"/>
                          </a:cubicBezTo>
                          <a:close/>
                          <a:moveTo>
                            <a:pt x="107" y="47"/>
                          </a:moveTo>
                          <a:cubicBezTo>
                            <a:pt x="108" y="47"/>
                            <a:pt x="107" y="47"/>
                            <a:pt x="107" y="47"/>
                          </a:cubicBezTo>
                          <a:cubicBezTo>
                            <a:pt x="107" y="47"/>
                            <a:pt x="107" y="47"/>
                            <a:pt x="107" y="47"/>
                          </a:cubicBezTo>
                          <a:cubicBezTo>
                            <a:pt x="108" y="47"/>
                            <a:pt x="107" y="47"/>
                            <a:pt x="108" y="47"/>
                          </a:cubicBezTo>
                          <a:cubicBezTo>
                            <a:pt x="108" y="47"/>
                            <a:pt x="109" y="46"/>
                            <a:pt x="109" y="46"/>
                          </a:cubicBezTo>
                          <a:cubicBezTo>
                            <a:pt x="110" y="46"/>
                            <a:pt x="110" y="45"/>
                            <a:pt x="111" y="45"/>
                          </a:cubicBezTo>
                          <a:cubicBezTo>
                            <a:pt x="110" y="46"/>
                            <a:pt x="108" y="47"/>
                            <a:pt x="107" y="47"/>
                          </a:cubicBezTo>
                          <a:cubicBezTo>
                            <a:pt x="107" y="47"/>
                            <a:pt x="107" y="47"/>
                            <a:pt x="107" y="47"/>
                          </a:cubicBezTo>
                          <a:close/>
                          <a:moveTo>
                            <a:pt x="109" y="50"/>
                          </a:moveTo>
                          <a:cubicBezTo>
                            <a:pt x="109" y="50"/>
                            <a:pt x="109" y="50"/>
                            <a:pt x="109" y="50"/>
                          </a:cubicBezTo>
                          <a:cubicBezTo>
                            <a:pt x="109" y="50"/>
                            <a:pt x="109" y="50"/>
                            <a:pt x="110" y="50"/>
                          </a:cubicBezTo>
                          <a:cubicBezTo>
                            <a:pt x="109" y="50"/>
                            <a:pt x="109" y="50"/>
                            <a:pt x="109" y="50"/>
                          </a:cubicBezTo>
                          <a:cubicBezTo>
                            <a:pt x="109" y="50"/>
                            <a:pt x="109" y="50"/>
                            <a:pt x="109" y="50"/>
                          </a:cubicBezTo>
                          <a:close/>
                          <a:moveTo>
                            <a:pt x="108" y="47"/>
                          </a:moveTo>
                          <a:cubicBezTo>
                            <a:pt x="108" y="48"/>
                            <a:pt x="108" y="48"/>
                            <a:pt x="107" y="48"/>
                          </a:cubicBezTo>
                          <a:cubicBezTo>
                            <a:pt x="107" y="48"/>
                            <a:pt x="108" y="47"/>
                            <a:pt x="108" y="47"/>
                          </a:cubicBezTo>
                          <a:close/>
                          <a:moveTo>
                            <a:pt x="109" y="49"/>
                          </a:moveTo>
                          <a:cubicBezTo>
                            <a:pt x="109" y="49"/>
                            <a:pt x="109" y="49"/>
                            <a:pt x="109" y="49"/>
                          </a:cubicBezTo>
                          <a:cubicBezTo>
                            <a:pt x="109" y="49"/>
                            <a:pt x="109" y="49"/>
                            <a:pt x="109" y="49"/>
                          </a:cubicBezTo>
                          <a:cubicBezTo>
                            <a:pt x="109" y="49"/>
                            <a:pt x="109" y="49"/>
                            <a:pt x="109" y="49"/>
                          </a:cubicBezTo>
                          <a:cubicBezTo>
                            <a:pt x="109" y="49"/>
                            <a:pt x="109" y="49"/>
                            <a:pt x="109" y="49"/>
                          </a:cubicBezTo>
                          <a:close/>
                          <a:moveTo>
                            <a:pt x="109" y="50"/>
                          </a:moveTo>
                          <a:cubicBezTo>
                            <a:pt x="109" y="50"/>
                            <a:pt x="109" y="50"/>
                            <a:pt x="109" y="50"/>
                          </a:cubicBezTo>
                          <a:cubicBezTo>
                            <a:pt x="109" y="50"/>
                            <a:pt x="109" y="49"/>
                            <a:pt x="109" y="50"/>
                          </a:cubicBezTo>
                          <a:close/>
                          <a:moveTo>
                            <a:pt x="106" y="45"/>
                          </a:moveTo>
                          <a:cubicBezTo>
                            <a:pt x="106" y="44"/>
                            <a:pt x="107" y="44"/>
                            <a:pt x="107" y="44"/>
                          </a:cubicBezTo>
                          <a:cubicBezTo>
                            <a:pt x="107" y="44"/>
                            <a:pt x="107" y="44"/>
                            <a:pt x="107" y="44"/>
                          </a:cubicBezTo>
                          <a:cubicBezTo>
                            <a:pt x="106" y="44"/>
                            <a:pt x="106" y="45"/>
                            <a:pt x="106" y="45"/>
                          </a:cubicBezTo>
                          <a:close/>
                          <a:moveTo>
                            <a:pt x="107" y="46"/>
                          </a:moveTo>
                          <a:cubicBezTo>
                            <a:pt x="107" y="46"/>
                            <a:pt x="107" y="46"/>
                            <a:pt x="107" y="46"/>
                          </a:cubicBezTo>
                          <a:cubicBezTo>
                            <a:pt x="107" y="46"/>
                            <a:pt x="107" y="46"/>
                            <a:pt x="107" y="46"/>
                          </a:cubicBezTo>
                          <a:cubicBezTo>
                            <a:pt x="107" y="46"/>
                            <a:pt x="107" y="46"/>
                            <a:pt x="107" y="46"/>
                          </a:cubicBezTo>
                          <a:close/>
                          <a:moveTo>
                            <a:pt x="110" y="50"/>
                          </a:moveTo>
                          <a:cubicBezTo>
                            <a:pt x="110" y="50"/>
                            <a:pt x="110" y="50"/>
                            <a:pt x="110" y="50"/>
                          </a:cubicBezTo>
                          <a:cubicBezTo>
                            <a:pt x="109" y="50"/>
                            <a:pt x="110" y="49"/>
                            <a:pt x="110" y="50"/>
                          </a:cubicBezTo>
                          <a:close/>
                          <a:moveTo>
                            <a:pt x="109" y="48"/>
                          </a:moveTo>
                          <a:cubicBezTo>
                            <a:pt x="108" y="47"/>
                            <a:pt x="109" y="47"/>
                            <a:pt x="109" y="47"/>
                          </a:cubicBezTo>
                          <a:cubicBezTo>
                            <a:pt x="109" y="47"/>
                            <a:pt x="109" y="47"/>
                            <a:pt x="109" y="47"/>
                          </a:cubicBezTo>
                          <a:cubicBezTo>
                            <a:pt x="109" y="47"/>
                            <a:pt x="109" y="47"/>
                            <a:pt x="109" y="48"/>
                          </a:cubicBezTo>
                          <a:close/>
                          <a:moveTo>
                            <a:pt x="111" y="48"/>
                          </a:moveTo>
                          <a:cubicBezTo>
                            <a:pt x="111" y="48"/>
                            <a:pt x="110" y="48"/>
                            <a:pt x="110" y="48"/>
                          </a:cubicBezTo>
                          <a:cubicBezTo>
                            <a:pt x="110" y="48"/>
                            <a:pt x="110" y="48"/>
                            <a:pt x="111" y="48"/>
                          </a:cubicBezTo>
                          <a:close/>
                          <a:moveTo>
                            <a:pt x="108" y="45"/>
                          </a:moveTo>
                          <a:cubicBezTo>
                            <a:pt x="108" y="45"/>
                            <a:pt x="108" y="45"/>
                            <a:pt x="108" y="45"/>
                          </a:cubicBezTo>
                          <a:cubicBezTo>
                            <a:pt x="108" y="45"/>
                            <a:pt x="109" y="45"/>
                            <a:pt x="109" y="45"/>
                          </a:cubicBezTo>
                          <a:cubicBezTo>
                            <a:pt x="109" y="45"/>
                            <a:pt x="108" y="45"/>
                            <a:pt x="108" y="45"/>
                          </a:cubicBezTo>
                          <a:close/>
                          <a:moveTo>
                            <a:pt x="108" y="44"/>
                          </a:moveTo>
                          <a:cubicBezTo>
                            <a:pt x="108" y="44"/>
                            <a:pt x="108" y="44"/>
                            <a:pt x="108" y="44"/>
                          </a:cubicBezTo>
                          <a:cubicBezTo>
                            <a:pt x="108" y="44"/>
                            <a:pt x="108" y="44"/>
                            <a:pt x="108" y="44"/>
                          </a:cubicBezTo>
                          <a:close/>
                          <a:moveTo>
                            <a:pt x="112" y="46"/>
                          </a:moveTo>
                          <a:cubicBezTo>
                            <a:pt x="112" y="46"/>
                            <a:pt x="112" y="46"/>
                            <a:pt x="112" y="47"/>
                          </a:cubicBezTo>
                          <a:cubicBezTo>
                            <a:pt x="112" y="46"/>
                            <a:pt x="112" y="46"/>
                            <a:pt x="112" y="46"/>
                          </a:cubicBezTo>
                          <a:close/>
                          <a:moveTo>
                            <a:pt x="110" y="42"/>
                          </a:moveTo>
                          <a:cubicBezTo>
                            <a:pt x="110" y="42"/>
                            <a:pt x="109" y="42"/>
                            <a:pt x="109" y="42"/>
                          </a:cubicBezTo>
                          <a:cubicBezTo>
                            <a:pt x="110" y="42"/>
                            <a:pt x="110" y="42"/>
                            <a:pt x="110" y="42"/>
                          </a:cubicBezTo>
                          <a:close/>
                          <a:moveTo>
                            <a:pt x="110" y="42"/>
                          </a:moveTo>
                          <a:cubicBezTo>
                            <a:pt x="110" y="42"/>
                            <a:pt x="110" y="42"/>
                            <a:pt x="110" y="42"/>
                          </a:cubicBezTo>
                          <a:cubicBezTo>
                            <a:pt x="111" y="42"/>
                            <a:pt x="111" y="42"/>
                            <a:pt x="110" y="42"/>
                          </a:cubicBezTo>
                          <a:close/>
                          <a:moveTo>
                            <a:pt x="112" y="42"/>
                          </a:moveTo>
                          <a:cubicBezTo>
                            <a:pt x="112" y="42"/>
                            <a:pt x="112" y="42"/>
                            <a:pt x="112" y="42"/>
                          </a:cubicBezTo>
                          <a:cubicBezTo>
                            <a:pt x="112" y="42"/>
                            <a:pt x="112" y="42"/>
                            <a:pt x="112" y="42"/>
                          </a:cubicBezTo>
                          <a:close/>
                          <a:moveTo>
                            <a:pt x="114" y="45"/>
                          </a:moveTo>
                          <a:cubicBezTo>
                            <a:pt x="114" y="45"/>
                            <a:pt x="114" y="45"/>
                            <a:pt x="114" y="45"/>
                          </a:cubicBezTo>
                          <a:cubicBezTo>
                            <a:pt x="114" y="45"/>
                            <a:pt x="114" y="45"/>
                            <a:pt x="114" y="45"/>
                          </a:cubicBezTo>
                          <a:close/>
                          <a:moveTo>
                            <a:pt x="113" y="39"/>
                          </a:moveTo>
                          <a:cubicBezTo>
                            <a:pt x="113" y="39"/>
                            <a:pt x="112" y="40"/>
                            <a:pt x="112" y="40"/>
                          </a:cubicBezTo>
                          <a:cubicBezTo>
                            <a:pt x="112" y="40"/>
                            <a:pt x="112" y="40"/>
                            <a:pt x="113" y="40"/>
                          </a:cubicBezTo>
                          <a:cubicBezTo>
                            <a:pt x="113" y="39"/>
                            <a:pt x="112" y="40"/>
                            <a:pt x="112" y="40"/>
                          </a:cubicBezTo>
                          <a:cubicBezTo>
                            <a:pt x="111" y="40"/>
                            <a:pt x="111" y="40"/>
                            <a:pt x="111" y="40"/>
                          </a:cubicBezTo>
                          <a:cubicBezTo>
                            <a:pt x="111" y="40"/>
                            <a:pt x="112" y="40"/>
                            <a:pt x="112" y="40"/>
                          </a:cubicBezTo>
                          <a:cubicBezTo>
                            <a:pt x="112" y="40"/>
                            <a:pt x="112" y="40"/>
                            <a:pt x="112" y="40"/>
                          </a:cubicBezTo>
                          <a:cubicBezTo>
                            <a:pt x="112" y="40"/>
                            <a:pt x="112" y="39"/>
                            <a:pt x="112" y="39"/>
                          </a:cubicBezTo>
                          <a:cubicBezTo>
                            <a:pt x="112" y="40"/>
                            <a:pt x="113" y="39"/>
                            <a:pt x="113" y="39"/>
                          </a:cubicBezTo>
                          <a:cubicBezTo>
                            <a:pt x="113" y="39"/>
                            <a:pt x="114" y="39"/>
                            <a:pt x="114" y="39"/>
                          </a:cubicBezTo>
                          <a:cubicBezTo>
                            <a:pt x="114" y="39"/>
                            <a:pt x="114" y="39"/>
                            <a:pt x="114" y="39"/>
                          </a:cubicBezTo>
                          <a:cubicBezTo>
                            <a:pt x="114" y="39"/>
                            <a:pt x="114" y="39"/>
                            <a:pt x="114" y="39"/>
                          </a:cubicBezTo>
                          <a:cubicBezTo>
                            <a:pt x="114" y="39"/>
                            <a:pt x="114" y="39"/>
                            <a:pt x="114" y="39"/>
                          </a:cubicBezTo>
                          <a:cubicBezTo>
                            <a:pt x="114" y="39"/>
                            <a:pt x="114" y="39"/>
                            <a:pt x="113" y="39"/>
                          </a:cubicBezTo>
                          <a:cubicBezTo>
                            <a:pt x="113" y="39"/>
                            <a:pt x="113" y="39"/>
                            <a:pt x="113" y="39"/>
                          </a:cubicBezTo>
                          <a:close/>
                          <a:moveTo>
                            <a:pt x="112" y="42"/>
                          </a:moveTo>
                          <a:cubicBezTo>
                            <a:pt x="112" y="42"/>
                            <a:pt x="113" y="42"/>
                            <a:pt x="113" y="42"/>
                          </a:cubicBezTo>
                          <a:lnTo>
                            <a:pt x="112" y="42"/>
                          </a:lnTo>
                          <a:close/>
                          <a:moveTo>
                            <a:pt x="113" y="41"/>
                          </a:moveTo>
                          <a:cubicBezTo>
                            <a:pt x="113" y="41"/>
                            <a:pt x="113" y="41"/>
                            <a:pt x="113" y="41"/>
                          </a:cubicBezTo>
                          <a:cubicBezTo>
                            <a:pt x="113" y="41"/>
                            <a:pt x="112" y="41"/>
                            <a:pt x="112" y="41"/>
                          </a:cubicBezTo>
                          <a:cubicBezTo>
                            <a:pt x="112" y="41"/>
                            <a:pt x="113" y="41"/>
                            <a:pt x="112" y="41"/>
                          </a:cubicBezTo>
                          <a:cubicBezTo>
                            <a:pt x="113" y="41"/>
                            <a:pt x="113" y="41"/>
                            <a:pt x="113" y="41"/>
                          </a:cubicBezTo>
                          <a:close/>
                          <a:moveTo>
                            <a:pt x="112" y="40"/>
                          </a:moveTo>
                          <a:cubicBezTo>
                            <a:pt x="112" y="40"/>
                            <a:pt x="112" y="40"/>
                            <a:pt x="113" y="40"/>
                          </a:cubicBezTo>
                          <a:cubicBezTo>
                            <a:pt x="112" y="40"/>
                            <a:pt x="112" y="40"/>
                            <a:pt x="112" y="40"/>
                          </a:cubicBezTo>
                          <a:close/>
                          <a:moveTo>
                            <a:pt x="112" y="40"/>
                          </a:moveTo>
                          <a:cubicBezTo>
                            <a:pt x="112" y="40"/>
                            <a:pt x="112" y="40"/>
                            <a:pt x="112" y="40"/>
                          </a:cubicBezTo>
                          <a:cubicBezTo>
                            <a:pt x="112" y="40"/>
                            <a:pt x="112" y="40"/>
                            <a:pt x="112" y="40"/>
                          </a:cubicBezTo>
                          <a:close/>
                          <a:moveTo>
                            <a:pt x="111" y="39"/>
                          </a:moveTo>
                          <a:cubicBezTo>
                            <a:pt x="111" y="39"/>
                            <a:pt x="111" y="39"/>
                            <a:pt x="111" y="39"/>
                          </a:cubicBezTo>
                          <a:cubicBezTo>
                            <a:pt x="111" y="39"/>
                            <a:pt x="111" y="39"/>
                            <a:pt x="111" y="39"/>
                          </a:cubicBezTo>
                          <a:cubicBezTo>
                            <a:pt x="111" y="39"/>
                            <a:pt x="111" y="39"/>
                            <a:pt x="111" y="39"/>
                          </a:cubicBezTo>
                          <a:close/>
                          <a:moveTo>
                            <a:pt x="111" y="38"/>
                          </a:moveTo>
                          <a:cubicBezTo>
                            <a:pt x="111" y="38"/>
                            <a:pt x="111" y="38"/>
                            <a:pt x="111" y="38"/>
                          </a:cubicBezTo>
                          <a:cubicBezTo>
                            <a:pt x="111" y="38"/>
                            <a:pt x="111" y="38"/>
                            <a:pt x="111" y="38"/>
                          </a:cubicBezTo>
                          <a:cubicBezTo>
                            <a:pt x="111" y="38"/>
                            <a:pt x="111" y="38"/>
                            <a:pt x="111" y="38"/>
                          </a:cubicBezTo>
                          <a:cubicBezTo>
                            <a:pt x="111" y="38"/>
                            <a:pt x="111" y="38"/>
                            <a:pt x="111" y="38"/>
                          </a:cubicBezTo>
                          <a:close/>
                          <a:moveTo>
                            <a:pt x="115" y="43"/>
                          </a:moveTo>
                          <a:cubicBezTo>
                            <a:pt x="115" y="43"/>
                            <a:pt x="114" y="44"/>
                            <a:pt x="114" y="44"/>
                          </a:cubicBezTo>
                          <a:cubicBezTo>
                            <a:pt x="114" y="44"/>
                            <a:pt x="115" y="44"/>
                            <a:pt x="115" y="43"/>
                          </a:cubicBezTo>
                          <a:close/>
                          <a:moveTo>
                            <a:pt x="112" y="40"/>
                          </a:moveTo>
                          <a:cubicBezTo>
                            <a:pt x="113" y="40"/>
                            <a:pt x="113" y="40"/>
                            <a:pt x="113" y="40"/>
                          </a:cubicBezTo>
                          <a:cubicBezTo>
                            <a:pt x="113" y="40"/>
                            <a:pt x="113" y="40"/>
                            <a:pt x="112" y="40"/>
                          </a:cubicBezTo>
                          <a:close/>
                          <a:moveTo>
                            <a:pt x="113" y="41"/>
                          </a:moveTo>
                          <a:cubicBezTo>
                            <a:pt x="113" y="41"/>
                            <a:pt x="114" y="41"/>
                            <a:pt x="114" y="40"/>
                          </a:cubicBezTo>
                          <a:cubicBezTo>
                            <a:pt x="114" y="41"/>
                            <a:pt x="113" y="41"/>
                            <a:pt x="113" y="41"/>
                          </a:cubicBezTo>
                          <a:close/>
                          <a:moveTo>
                            <a:pt x="117" y="46"/>
                          </a:moveTo>
                          <a:cubicBezTo>
                            <a:pt x="117" y="46"/>
                            <a:pt x="117" y="46"/>
                            <a:pt x="117" y="46"/>
                          </a:cubicBezTo>
                          <a:cubicBezTo>
                            <a:pt x="117" y="46"/>
                            <a:pt x="117" y="46"/>
                            <a:pt x="117" y="46"/>
                          </a:cubicBezTo>
                          <a:close/>
                          <a:moveTo>
                            <a:pt x="116" y="43"/>
                          </a:moveTo>
                          <a:cubicBezTo>
                            <a:pt x="115" y="43"/>
                            <a:pt x="115" y="43"/>
                            <a:pt x="115" y="43"/>
                          </a:cubicBezTo>
                          <a:cubicBezTo>
                            <a:pt x="115" y="42"/>
                            <a:pt x="115" y="42"/>
                            <a:pt x="115" y="42"/>
                          </a:cubicBezTo>
                          <a:cubicBezTo>
                            <a:pt x="115" y="43"/>
                            <a:pt x="116" y="43"/>
                            <a:pt x="116" y="43"/>
                          </a:cubicBezTo>
                          <a:close/>
                          <a:moveTo>
                            <a:pt x="118" y="45"/>
                          </a:moveTo>
                          <a:cubicBezTo>
                            <a:pt x="118" y="46"/>
                            <a:pt x="118" y="46"/>
                            <a:pt x="118" y="46"/>
                          </a:cubicBezTo>
                          <a:cubicBezTo>
                            <a:pt x="117" y="46"/>
                            <a:pt x="118" y="46"/>
                            <a:pt x="118" y="45"/>
                          </a:cubicBezTo>
                          <a:close/>
                          <a:moveTo>
                            <a:pt x="116" y="40"/>
                          </a:moveTo>
                          <a:cubicBezTo>
                            <a:pt x="115" y="40"/>
                            <a:pt x="115" y="41"/>
                            <a:pt x="115" y="41"/>
                          </a:cubicBezTo>
                          <a:cubicBezTo>
                            <a:pt x="115" y="40"/>
                            <a:pt x="115" y="40"/>
                            <a:pt x="115" y="41"/>
                          </a:cubicBezTo>
                          <a:cubicBezTo>
                            <a:pt x="115" y="41"/>
                            <a:pt x="115" y="40"/>
                            <a:pt x="115" y="40"/>
                          </a:cubicBezTo>
                          <a:cubicBezTo>
                            <a:pt x="115" y="40"/>
                            <a:pt x="115" y="40"/>
                            <a:pt x="116" y="40"/>
                          </a:cubicBezTo>
                          <a:cubicBezTo>
                            <a:pt x="116" y="40"/>
                            <a:pt x="116" y="40"/>
                            <a:pt x="116" y="40"/>
                          </a:cubicBezTo>
                          <a:close/>
                          <a:moveTo>
                            <a:pt x="114" y="38"/>
                          </a:moveTo>
                          <a:cubicBezTo>
                            <a:pt x="114" y="37"/>
                            <a:pt x="114" y="37"/>
                            <a:pt x="114" y="37"/>
                          </a:cubicBezTo>
                          <a:cubicBezTo>
                            <a:pt x="114" y="37"/>
                            <a:pt x="114" y="37"/>
                            <a:pt x="114" y="37"/>
                          </a:cubicBezTo>
                          <a:cubicBezTo>
                            <a:pt x="114" y="37"/>
                            <a:pt x="114" y="38"/>
                            <a:pt x="114" y="38"/>
                          </a:cubicBezTo>
                          <a:cubicBezTo>
                            <a:pt x="114" y="37"/>
                            <a:pt x="114" y="38"/>
                            <a:pt x="114" y="38"/>
                          </a:cubicBezTo>
                          <a:close/>
                          <a:moveTo>
                            <a:pt x="116" y="41"/>
                          </a:moveTo>
                          <a:cubicBezTo>
                            <a:pt x="116" y="41"/>
                            <a:pt x="116" y="41"/>
                            <a:pt x="116" y="41"/>
                          </a:cubicBezTo>
                          <a:cubicBezTo>
                            <a:pt x="116" y="40"/>
                            <a:pt x="116" y="41"/>
                            <a:pt x="116" y="41"/>
                          </a:cubicBezTo>
                          <a:cubicBezTo>
                            <a:pt x="116" y="41"/>
                            <a:pt x="116" y="41"/>
                            <a:pt x="116" y="41"/>
                          </a:cubicBezTo>
                          <a:cubicBezTo>
                            <a:pt x="116" y="41"/>
                            <a:pt x="116" y="41"/>
                            <a:pt x="116" y="41"/>
                          </a:cubicBezTo>
                          <a:close/>
                          <a:moveTo>
                            <a:pt x="115" y="37"/>
                          </a:moveTo>
                          <a:cubicBezTo>
                            <a:pt x="115" y="37"/>
                            <a:pt x="115" y="37"/>
                            <a:pt x="115" y="37"/>
                          </a:cubicBezTo>
                          <a:cubicBezTo>
                            <a:pt x="115" y="37"/>
                            <a:pt x="115" y="37"/>
                            <a:pt x="115" y="37"/>
                          </a:cubicBezTo>
                          <a:cubicBezTo>
                            <a:pt x="115" y="37"/>
                            <a:pt x="115" y="37"/>
                            <a:pt x="115" y="37"/>
                          </a:cubicBezTo>
                          <a:cubicBezTo>
                            <a:pt x="115" y="37"/>
                            <a:pt x="115" y="38"/>
                            <a:pt x="115" y="38"/>
                          </a:cubicBezTo>
                          <a:cubicBezTo>
                            <a:pt x="114" y="38"/>
                            <a:pt x="114" y="38"/>
                            <a:pt x="114" y="38"/>
                          </a:cubicBezTo>
                          <a:cubicBezTo>
                            <a:pt x="114" y="38"/>
                            <a:pt x="114" y="37"/>
                            <a:pt x="115" y="37"/>
                          </a:cubicBezTo>
                          <a:cubicBezTo>
                            <a:pt x="115" y="38"/>
                            <a:pt x="115" y="37"/>
                            <a:pt x="115" y="37"/>
                          </a:cubicBezTo>
                          <a:close/>
                          <a:moveTo>
                            <a:pt x="114" y="37"/>
                          </a:moveTo>
                          <a:cubicBezTo>
                            <a:pt x="114" y="37"/>
                            <a:pt x="114" y="37"/>
                            <a:pt x="114" y="37"/>
                          </a:cubicBezTo>
                          <a:cubicBezTo>
                            <a:pt x="114" y="37"/>
                            <a:pt x="114" y="37"/>
                            <a:pt x="114" y="37"/>
                          </a:cubicBezTo>
                          <a:cubicBezTo>
                            <a:pt x="114" y="37"/>
                            <a:pt x="114" y="37"/>
                            <a:pt x="114" y="37"/>
                          </a:cubicBezTo>
                          <a:close/>
                          <a:moveTo>
                            <a:pt x="115" y="38"/>
                          </a:moveTo>
                          <a:cubicBezTo>
                            <a:pt x="115" y="38"/>
                            <a:pt x="115" y="38"/>
                            <a:pt x="115" y="38"/>
                          </a:cubicBezTo>
                          <a:cubicBezTo>
                            <a:pt x="114" y="38"/>
                            <a:pt x="115" y="38"/>
                            <a:pt x="115" y="38"/>
                          </a:cubicBezTo>
                          <a:cubicBezTo>
                            <a:pt x="115" y="38"/>
                            <a:pt x="115" y="38"/>
                            <a:pt x="115" y="38"/>
                          </a:cubicBezTo>
                          <a:cubicBezTo>
                            <a:pt x="115" y="38"/>
                            <a:pt x="115" y="38"/>
                            <a:pt x="115" y="38"/>
                          </a:cubicBezTo>
                          <a:close/>
                          <a:moveTo>
                            <a:pt x="118" y="41"/>
                          </a:moveTo>
                          <a:cubicBezTo>
                            <a:pt x="118" y="41"/>
                            <a:pt x="118" y="41"/>
                            <a:pt x="118" y="41"/>
                          </a:cubicBezTo>
                          <a:cubicBezTo>
                            <a:pt x="117" y="42"/>
                            <a:pt x="117" y="42"/>
                            <a:pt x="117" y="42"/>
                          </a:cubicBezTo>
                          <a:cubicBezTo>
                            <a:pt x="117" y="42"/>
                            <a:pt x="117" y="42"/>
                            <a:pt x="117" y="42"/>
                          </a:cubicBezTo>
                          <a:cubicBezTo>
                            <a:pt x="117" y="42"/>
                            <a:pt x="117" y="41"/>
                            <a:pt x="118" y="41"/>
                          </a:cubicBezTo>
                          <a:close/>
                          <a:moveTo>
                            <a:pt x="115" y="39"/>
                          </a:moveTo>
                          <a:cubicBezTo>
                            <a:pt x="115" y="38"/>
                            <a:pt x="116" y="38"/>
                            <a:pt x="116" y="38"/>
                          </a:cubicBezTo>
                          <a:cubicBezTo>
                            <a:pt x="116" y="38"/>
                            <a:pt x="115" y="39"/>
                            <a:pt x="115" y="39"/>
                          </a:cubicBezTo>
                          <a:close/>
                          <a:moveTo>
                            <a:pt x="115" y="38"/>
                          </a:moveTo>
                          <a:cubicBezTo>
                            <a:pt x="116" y="38"/>
                            <a:pt x="116" y="38"/>
                            <a:pt x="116" y="38"/>
                          </a:cubicBezTo>
                          <a:cubicBezTo>
                            <a:pt x="116" y="38"/>
                            <a:pt x="115" y="38"/>
                            <a:pt x="115" y="38"/>
                          </a:cubicBezTo>
                          <a:close/>
                          <a:moveTo>
                            <a:pt x="117" y="40"/>
                          </a:moveTo>
                          <a:cubicBezTo>
                            <a:pt x="118" y="40"/>
                            <a:pt x="118" y="40"/>
                            <a:pt x="118" y="40"/>
                          </a:cubicBezTo>
                          <a:cubicBezTo>
                            <a:pt x="118" y="40"/>
                            <a:pt x="118" y="39"/>
                            <a:pt x="118" y="39"/>
                          </a:cubicBezTo>
                          <a:cubicBezTo>
                            <a:pt x="118" y="39"/>
                            <a:pt x="118" y="39"/>
                            <a:pt x="118" y="40"/>
                          </a:cubicBezTo>
                          <a:cubicBezTo>
                            <a:pt x="118" y="40"/>
                            <a:pt x="118" y="40"/>
                            <a:pt x="118" y="39"/>
                          </a:cubicBezTo>
                          <a:cubicBezTo>
                            <a:pt x="118" y="40"/>
                            <a:pt x="118" y="40"/>
                            <a:pt x="118" y="40"/>
                          </a:cubicBezTo>
                          <a:cubicBezTo>
                            <a:pt x="118" y="40"/>
                            <a:pt x="119" y="39"/>
                            <a:pt x="119" y="39"/>
                          </a:cubicBezTo>
                          <a:cubicBezTo>
                            <a:pt x="119" y="39"/>
                            <a:pt x="119" y="39"/>
                            <a:pt x="119" y="40"/>
                          </a:cubicBezTo>
                          <a:cubicBezTo>
                            <a:pt x="118" y="39"/>
                            <a:pt x="118" y="40"/>
                            <a:pt x="118" y="40"/>
                          </a:cubicBezTo>
                          <a:cubicBezTo>
                            <a:pt x="118" y="40"/>
                            <a:pt x="118" y="40"/>
                            <a:pt x="118" y="40"/>
                          </a:cubicBezTo>
                          <a:cubicBezTo>
                            <a:pt x="118" y="40"/>
                            <a:pt x="118" y="40"/>
                            <a:pt x="118" y="40"/>
                          </a:cubicBezTo>
                          <a:cubicBezTo>
                            <a:pt x="118" y="40"/>
                            <a:pt x="118" y="40"/>
                            <a:pt x="118" y="40"/>
                          </a:cubicBezTo>
                          <a:cubicBezTo>
                            <a:pt x="117" y="40"/>
                            <a:pt x="118" y="40"/>
                            <a:pt x="118" y="40"/>
                          </a:cubicBezTo>
                          <a:cubicBezTo>
                            <a:pt x="118" y="40"/>
                            <a:pt x="118" y="40"/>
                            <a:pt x="117" y="40"/>
                          </a:cubicBezTo>
                          <a:cubicBezTo>
                            <a:pt x="117" y="40"/>
                            <a:pt x="117" y="40"/>
                            <a:pt x="117" y="40"/>
                          </a:cubicBezTo>
                          <a:cubicBezTo>
                            <a:pt x="117" y="40"/>
                            <a:pt x="117" y="40"/>
                            <a:pt x="117" y="40"/>
                          </a:cubicBezTo>
                          <a:close/>
                          <a:moveTo>
                            <a:pt x="118" y="37"/>
                          </a:moveTo>
                          <a:cubicBezTo>
                            <a:pt x="117" y="37"/>
                            <a:pt x="116" y="37"/>
                            <a:pt x="116" y="38"/>
                          </a:cubicBezTo>
                          <a:cubicBezTo>
                            <a:pt x="116" y="37"/>
                            <a:pt x="117" y="37"/>
                            <a:pt x="118" y="37"/>
                          </a:cubicBezTo>
                          <a:close/>
                          <a:moveTo>
                            <a:pt x="117" y="39"/>
                          </a:moveTo>
                          <a:cubicBezTo>
                            <a:pt x="117" y="39"/>
                            <a:pt x="117" y="39"/>
                            <a:pt x="117" y="39"/>
                          </a:cubicBezTo>
                          <a:cubicBezTo>
                            <a:pt x="117" y="39"/>
                            <a:pt x="117" y="39"/>
                            <a:pt x="117" y="39"/>
                          </a:cubicBezTo>
                          <a:close/>
                          <a:moveTo>
                            <a:pt x="116" y="35"/>
                          </a:moveTo>
                          <a:cubicBezTo>
                            <a:pt x="116" y="36"/>
                            <a:pt x="116" y="36"/>
                            <a:pt x="115" y="36"/>
                          </a:cubicBezTo>
                          <a:cubicBezTo>
                            <a:pt x="116" y="36"/>
                            <a:pt x="116" y="36"/>
                            <a:pt x="116" y="35"/>
                          </a:cubicBezTo>
                          <a:close/>
                          <a:moveTo>
                            <a:pt x="119" y="39"/>
                          </a:moveTo>
                          <a:cubicBezTo>
                            <a:pt x="119" y="39"/>
                            <a:pt x="118" y="39"/>
                            <a:pt x="118" y="39"/>
                          </a:cubicBezTo>
                          <a:cubicBezTo>
                            <a:pt x="118" y="39"/>
                            <a:pt x="119" y="39"/>
                            <a:pt x="119" y="39"/>
                          </a:cubicBezTo>
                          <a:close/>
                          <a:moveTo>
                            <a:pt x="118" y="38"/>
                          </a:moveTo>
                          <a:cubicBezTo>
                            <a:pt x="118" y="38"/>
                            <a:pt x="118" y="38"/>
                            <a:pt x="118" y="38"/>
                          </a:cubicBezTo>
                          <a:cubicBezTo>
                            <a:pt x="118" y="38"/>
                            <a:pt x="118" y="38"/>
                            <a:pt x="118" y="38"/>
                          </a:cubicBezTo>
                          <a:cubicBezTo>
                            <a:pt x="118" y="38"/>
                            <a:pt x="118" y="38"/>
                            <a:pt x="118" y="38"/>
                          </a:cubicBezTo>
                          <a:cubicBezTo>
                            <a:pt x="118" y="38"/>
                            <a:pt x="118" y="38"/>
                            <a:pt x="118" y="38"/>
                          </a:cubicBezTo>
                          <a:close/>
                          <a:moveTo>
                            <a:pt x="117" y="37"/>
                          </a:moveTo>
                          <a:cubicBezTo>
                            <a:pt x="118" y="37"/>
                            <a:pt x="118" y="37"/>
                            <a:pt x="118" y="37"/>
                          </a:cubicBezTo>
                          <a:cubicBezTo>
                            <a:pt x="118" y="37"/>
                            <a:pt x="118" y="37"/>
                            <a:pt x="118" y="37"/>
                          </a:cubicBezTo>
                          <a:cubicBezTo>
                            <a:pt x="118" y="37"/>
                            <a:pt x="118" y="37"/>
                            <a:pt x="118" y="37"/>
                          </a:cubicBezTo>
                          <a:cubicBezTo>
                            <a:pt x="118" y="37"/>
                            <a:pt x="117" y="37"/>
                            <a:pt x="117" y="37"/>
                          </a:cubicBezTo>
                          <a:close/>
                          <a:moveTo>
                            <a:pt x="117" y="35"/>
                          </a:moveTo>
                          <a:cubicBezTo>
                            <a:pt x="116" y="35"/>
                            <a:pt x="116" y="35"/>
                            <a:pt x="116" y="35"/>
                          </a:cubicBezTo>
                          <a:cubicBezTo>
                            <a:pt x="116" y="35"/>
                            <a:pt x="117" y="35"/>
                            <a:pt x="117" y="35"/>
                          </a:cubicBezTo>
                          <a:cubicBezTo>
                            <a:pt x="117" y="35"/>
                            <a:pt x="117" y="35"/>
                            <a:pt x="117" y="35"/>
                          </a:cubicBezTo>
                          <a:close/>
                          <a:moveTo>
                            <a:pt x="117" y="35"/>
                          </a:moveTo>
                          <a:cubicBezTo>
                            <a:pt x="117" y="35"/>
                            <a:pt x="117" y="35"/>
                            <a:pt x="117" y="35"/>
                          </a:cubicBezTo>
                          <a:cubicBezTo>
                            <a:pt x="117" y="35"/>
                            <a:pt x="117" y="35"/>
                            <a:pt x="117" y="35"/>
                          </a:cubicBezTo>
                          <a:close/>
                          <a:moveTo>
                            <a:pt x="117" y="35"/>
                          </a:moveTo>
                          <a:cubicBezTo>
                            <a:pt x="117" y="35"/>
                            <a:pt x="117" y="34"/>
                            <a:pt x="117" y="34"/>
                          </a:cubicBezTo>
                          <a:cubicBezTo>
                            <a:pt x="117" y="35"/>
                            <a:pt x="117" y="35"/>
                            <a:pt x="117" y="35"/>
                          </a:cubicBezTo>
                          <a:cubicBezTo>
                            <a:pt x="117" y="35"/>
                            <a:pt x="117" y="35"/>
                            <a:pt x="117" y="35"/>
                          </a:cubicBezTo>
                          <a:close/>
                          <a:moveTo>
                            <a:pt x="121" y="40"/>
                          </a:moveTo>
                          <a:cubicBezTo>
                            <a:pt x="121" y="40"/>
                            <a:pt x="120" y="40"/>
                            <a:pt x="120" y="40"/>
                          </a:cubicBezTo>
                          <a:cubicBezTo>
                            <a:pt x="120" y="40"/>
                            <a:pt x="121" y="40"/>
                            <a:pt x="121" y="40"/>
                          </a:cubicBezTo>
                          <a:close/>
                          <a:moveTo>
                            <a:pt x="121" y="39"/>
                          </a:moveTo>
                          <a:cubicBezTo>
                            <a:pt x="121" y="39"/>
                            <a:pt x="121" y="39"/>
                            <a:pt x="121" y="39"/>
                          </a:cubicBezTo>
                          <a:cubicBezTo>
                            <a:pt x="120" y="40"/>
                            <a:pt x="120" y="39"/>
                            <a:pt x="120" y="40"/>
                          </a:cubicBezTo>
                          <a:cubicBezTo>
                            <a:pt x="120" y="40"/>
                            <a:pt x="120" y="39"/>
                            <a:pt x="120" y="39"/>
                          </a:cubicBezTo>
                          <a:cubicBezTo>
                            <a:pt x="120" y="39"/>
                            <a:pt x="120" y="39"/>
                            <a:pt x="120" y="40"/>
                          </a:cubicBezTo>
                          <a:cubicBezTo>
                            <a:pt x="120" y="39"/>
                            <a:pt x="120" y="39"/>
                            <a:pt x="121" y="39"/>
                          </a:cubicBezTo>
                          <a:close/>
                          <a:moveTo>
                            <a:pt x="121" y="39"/>
                          </a:moveTo>
                          <a:cubicBezTo>
                            <a:pt x="121" y="39"/>
                            <a:pt x="120" y="40"/>
                            <a:pt x="121" y="39"/>
                          </a:cubicBezTo>
                          <a:cubicBezTo>
                            <a:pt x="121" y="39"/>
                            <a:pt x="121" y="39"/>
                            <a:pt x="121" y="39"/>
                          </a:cubicBezTo>
                          <a:cubicBezTo>
                            <a:pt x="121" y="39"/>
                            <a:pt x="121" y="39"/>
                            <a:pt x="121" y="39"/>
                          </a:cubicBezTo>
                          <a:close/>
                          <a:moveTo>
                            <a:pt x="121" y="39"/>
                          </a:moveTo>
                          <a:cubicBezTo>
                            <a:pt x="121" y="39"/>
                            <a:pt x="121" y="39"/>
                            <a:pt x="120" y="39"/>
                          </a:cubicBezTo>
                          <a:cubicBezTo>
                            <a:pt x="121" y="39"/>
                            <a:pt x="121" y="39"/>
                            <a:pt x="121" y="39"/>
                          </a:cubicBezTo>
                          <a:cubicBezTo>
                            <a:pt x="120" y="39"/>
                            <a:pt x="120" y="39"/>
                            <a:pt x="120" y="39"/>
                          </a:cubicBezTo>
                          <a:cubicBezTo>
                            <a:pt x="120" y="39"/>
                            <a:pt x="120" y="39"/>
                            <a:pt x="121" y="39"/>
                          </a:cubicBezTo>
                          <a:close/>
                          <a:moveTo>
                            <a:pt x="122" y="41"/>
                          </a:moveTo>
                          <a:cubicBezTo>
                            <a:pt x="122" y="41"/>
                            <a:pt x="122" y="42"/>
                            <a:pt x="122" y="42"/>
                          </a:cubicBezTo>
                          <a:cubicBezTo>
                            <a:pt x="122" y="42"/>
                            <a:pt x="122" y="41"/>
                            <a:pt x="122" y="41"/>
                          </a:cubicBezTo>
                          <a:close/>
                          <a:moveTo>
                            <a:pt x="119" y="36"/>
                          </a:moveTo>
                          <a:cubicBezTo>
                            <a:pt x="119" y="36"/>
                            <a:pt x="119" y="35"/>
                            <a:pt x="119" y="36"/>
                          </a:cubicBezTo>
                          <a:cubicBezTo>
                            <a:pt x="119" y="35"/>
                            <a:pt x="119" y="35"/>
                            <a:pt x="119" y="35"/>
                          </a:cubicBezTo>
                          <a:cubicBezTo>
                            <a:pt x="119" y="35"/>
                            <a:pt x="119" y="35"/>
                            <a:pt x="119" y="36"/>
                          </a:cubicBezTo>
                          <a:cubicBezTo>
                            <a:pt x="119" y="36"/>
                            <a:pt x="119" y="36"/>
                            <a:pt x="119" y="36"/>
                          </a:cubicBezTo>
                          <a:close/>
                          <a:moveTo>
                            <a:pt x="118" y="34"/>
                          </a:moveTo>
                          <a:cubicBezTo>
                            <a:pt x="118" y="34"/>
                            <a:pt x="118" y="34"/>
                            <a:pt x="119" y="34"/>
                          </a:cubicBezTo>
                          <a:cubicBezTo>
                            <a:pt x="119" y="34"/>
                            <a:pt x="118" y="34"/>
                            <a:pt x="118" y="34"/>
                          </a:cubicBezTo>
                          <a:close/>
                          <a:moveTo>
                            <a:pt x="118" y="34"/>
                          </a:moveTo>
                          <a:cubicBezTo>
                            <a:pt x="118" y="34"/>
                            <a:pt x="119" y="34"/>
                            <a:pt x="119" y="34"/>
                          </a:cubicBezTo>
                          <a:cubicBezTo>
                            <a:pt x="119" y="34"/>
                            <a:pt x="118" y="34"/>
                            <a:pt x="118" y="34"/>
                          </a:cubicBezTo>
                          <a:close/>
                          <a:moveTo>
                            <a:pt x="119" y="35"/>
                          </a:moveTo>
                          <a:cubicBezTo>
                            <a:pt x="119" y="35"/>
                            <a:pt x="120" y="35"/>
                            <a:pt x="120" y="35"/>
                          </a:cubicBezTo>
                          <a:cubicBezTo>
                            <a:pt x="120" y="35"/>
                            <a:pt x="119" y="35"/>
                            <a:pt x="119" y="35"/>
                          </a:cubicBezTo>
                          <a:close/>
                          <a:moveTo>
                            <a:pt x="119" y="34"/>
                          </a:moveTo>
                          <a:cubicBezTo>
                            <a:pt x="119" y="34"/>
                            <a:pt x="119" y="34"/>
                            <a:pt x="119" y="35"/>
                          </a:cubicBezTo>
                          <a:cubicBezTo>
                            <a:pt x="119" y="34"/>
                            <a:pt x="119" y="34"/>
                            <a:pt x="119" y="34"/>
                          </a:cubicBezTo>
                          <a:cubicBezTo>
                            <a:pt x="119" y="35"/>
                            <a:pt x="119" y="35"/>
                            <a:pt x="119" y="35"/>
                          </a:cubicBezTo>
                          <a:cubicBezTo>
                            <a:pt x="119" y="35"/>
                            <a:pt x="118" y="35"/>
                            <a:pt x="119" y="34"/>
                          </a:cubicBezTo>
                          <a:close/>
                          <a:moveTo>
                            <a:pt x="123" y="38"/>
                          </a:moveTo>
                          <a:cubicBezTo>
                            <a:pt x="123" y="38"/>
                            <a:pt x="123" y="38"/>
                            <a:pt x="123" y="38"/>
                          </a:cubicBezTo>
                          <a:cubicBezTo>
                            <a:pt x="123" y="38"/>
                            <a:pt x="123" y="38"/>
                            <a:pt x="122" y="38"/>
                          </a:cubicBezTo>
                          <a:cubicBezTo>
                            <a:pt x="122" y="38"/>
                            <a:pt x="123" y="38"/>
                            <a:pt x="122" y="38"/>
                          </a:cubicBezTo>
                          <a:cubicBezTo>
                            <a:pt x="122" y="38"/>
                            <a:pt x="123" y="38"/>
                            <a:pt x="123" y="38"/>
                          </a:cubicBezTo>
                          <a:close/>
                          <a:moveTo>
                            <a:pt x="123" y="38"/>
                          </a:moveTo>
                          <a:cubicBezTo>
                            <a:pt x="123" y="38"/>
                            <a:pt x="123" y="38"/>
                            <a:pt x="124" y="37"/>
                          </a:cubicBezTo>
                          <a:cubicBezTo>
                            <a:pt x="124" y="38"/>
                            <a:pt x="124" y="38"/>
                            <a:pt x="124" y="38"/>
                          </a:cubicBezTo>
                          <a:cubicBezTo>
                            <a:pt x="123" y="38"/>
                            <a:pt x="123" y="38"/>
                            <a:pt x="123" y="38"/>
                          </a:cubicBezTo>
                          <a:cubicBezTo>
                            <a:pt x="123" y="38"/>
                            <a:pt x="123" y="38"/>
                            <a:pt x="123" y="38"/>
                          </a:cubicBezTo>
                          <a:close/>
                          <a:moveTo>
                            <a:pt x="123" y="35"/>
                          </a:moveTo>
                          <a:cubicBezTo>
                            <a:pt x="123" y="35"/>
                            <a:pt x="123" y="35"/>
                            <a:pt x="123" y="35"/>
                          </a:cubicBezTo>
                          <a:cubicBezTo>
                            <a:pt x="123" y="35"/>
                            <a:pt x="123" y="35"/>
                            <a:pt x="123" y="35"/>
                          </a:cubicBezTo>
                          <a:close/>
                          <a:moveTo>
                            <a:pt x="126" y="40"/>
                          </a:moveTo>
                          <a:cubicBezTo>
                            <a:pt x="126" y="40"/>
                            <a:pt x="126" y="40"/>
                            <a:pt x="126" y="40"/>
                          </a:cubicBezTo>
                          <a:cubicBezTo>
                            <a:pt x="125" y="40"/>
                            <a:pt x="126" y="40"/>
                            <a:pt x="126" y="40"/>
                          </a:cubicBezTo>
                          <a:close/>
                          <a:moveTo>
                            <a:pt x="125" y="37"/>
                          </a:moveTo>
                          <a:cubicBezTo>
                            <a:pt x="124" y="37"/>
                            <a:pt x="124" y="37"/>
                            <a:pt x="124" y="37"/>
                          </a:cubicBezTo>
                          <a:cubicBezTo>
                            <a:pt x="125" y="37"/>
                            <a:pt x="125" y="37"/>
                            <a:pt x="125" y="37"/>
                          </a:cubicBezTo>
                          <a:close/>
                          <a:moveTo>
                            <a:pt x="126" y="36"/>
                          </a:moveTo>
                          <a:cubicBezTo>
                            <a:pt x="126" y="36"/>
                            <a:pt x="125" y="37"/>
                            <a:pt x="125" y="37"/>
                          </a:cubicBezTo>
                          <a:cubicBezTo>
                            <a:pt x="125" y="37"/>
                            <a:pt x="126" y="37"/>
                            <a:pt x="125" y="36"/>
                          </a:cubicBezTo>
                          <a:cubicBezTo>
                            <a:pt x="126" y="36"/>
                            <a:pt x="126" y="36"/>
                            <a:pt x="126" y="36"/>
                          </a:cubicBezTo>
                          <a:close/>
                          <a:moveTo>
                            <a:pt x="128" y="39"/>
                          </a:moveTo>
                          <a:cubicBezTo>
                            <a:pt x="128" y="39"/>
                            <a:pt x="128" y="39"/>
                            <a:pt x="128" y="39"/>
                          </a:cubicBezTo>
                          <a:cubicBezTo>
                            <a:pt x="128" y="39"/>
                            <a:pt x="128" y="39"/>
                            <a:pt x="128" y="39"/>
                          </a:cubicBezTo>
                          <a:cubicBezTo>
                            <a:pt x="127" y="39"/>
                            <a:pt x="128" y="39"/>
                            <a:pt x="128" y="39"/>
                          </a:cubicBezTo>
                          <a:close/>
                          <a:moveTo>
                            <a:pt x="126" y="36"/>
                          </a:moveTo>
                          <a:cubicBezTo>
                            <a:pt x="126" y="36"/>
                            <a:pt x="126" y="35"/>
                            <a:pt x="126" y="35"/>
                          </a:cubicBezTo>
                          <a:cubicBezTo>
                            <a:pt x="126" y="36"/>
                            <a:pt x="126" y="36"/>
                            <a:pt x="126" y="36"/>
                          </a:cubicBezTo>
                          <a:close/>
                          <a:moveTo>
                            <a:pt x="126" y="37"/>
                          </a:moveTo>
                          <a:cubicBezTo>
                            <a:pt x="126" y="36"/>
                            <a:pt x="126" y="36"/>
                            <a:pt x="127" y="36"/>
                          </a:cubicBezTo>
                          <a:cubicBezTo>
                            <a:pt x="127" y="36"/>
                            <a:pt x="126" y="36"/>
                            <a:pt x="126" y="37"/>
                          </a:cubicBezTo>
                          <a:close/>
                          <a:moveTo>
                            <a:pt x="126" y="36"/>
                          </a:moveTo>
                          <a:cubicBezTo>
                            <a:pt x="126" y="36"/>
                            <a:pt x="127" y="36"/>
                            <a:pt x="126" y="36"/>
                          </a:cubicBezTo>
                          <a:close/>
                          <a:moveTo>
                            <a:pt x="129" y="39"/>
                          </a:moveTo>
                          <a:cubicBezTo>
                            <a:pt x="129" y="39"/>
                            <a:pt x="129" y="39"/>
                            <a:pt x="129" y="39"/>
                          </a:cubicBezTo>
                          <a:cubicBezTo>
                            <a:pt x="129" y="39"/>
                            <a:pt x="130" y="39"/>
                            <a:pt x="129" y="39"/>
                          </a:cubicBezTo>
                          <a:close/>
                          <a:moveTo>
                            <a:pt x="127" y="33"/>
                          </a:moveTo>
                          <a:cubicBezTo>
                            <a:pt x="127" y="34"/>
                            <a:pt x="126" y="34"/>
                            <a:pt x="126" y="34"/>
                          </a:cubicBezTo>
                          <a:cubicBezTo>
                            <a:pt x="126" y="34"/>
                            <a:pt x="126" y="33"/>
                            <a:pt x="127" y="33"/>
                          </a:cubicBezTo>
                          <a:close/>
                          <a:moveTo>
                            <a:pt x="128" y="32"/>
                          </a:moveTo>
                          <a:cubicBezTo>
                            <a:pt x="128" y="32"/>
                            <a:pt x="128" y="32"/>
                            <a:pt x="128" y="32"/>
                          </a:cubicBezTo>
                          <a:cubicBezTo>
                            <a:pt x="127" y="32"/>
                            <a:pt x="128" y="31"/>
                            <a:pt x="128" y="32"/>
                          </a:cubicBezTo>
                          <a:close/>
                          <a:moveTo>
                            <a:pt x="131" y="35"/>
                          </a:moveTo>
                          <a:cubicBezTo>
                            <a:pt x="130" y="36"/>
                            <a:pt x="130" y="36"/>
                            <a:pt x="130" y="36"/>
                          </a:cubicBezTo>
                          <a:cubicBezTo>
                            <a:pt x="130" y="35"/>
                            <a:pt x="131" y="35"/>
                            <a:pt x="131" y="35"/>
                          </a:cubicBezTo>
                          <a:close/>
                          <a:moveTo>
                            <a:pt x="131" y="34"/>
                          </a:moveTo>
                          <a:cubicBezTo>
                            <a:pt x="131" y="34"/>
                            <a:pt x="130" y="34"/>
                            <a:pt x="130" y="34"/>
                          </a:cubicBezTo>
                          <a:cubicBezTo>
                            <a:pt x="130" y="34"/>
                            <a:pt x="130" y="34"/>
                            <a:pt x="131" y="34"/>
                          </a:cubicBezTo>
                          <a:close/>
                          <a:moveTo>
                            <a:pt x="128" y="30"/>
                          </a:moveTo>
                          <a:cubicBezTo>
                            <a:pt x="128" y="30"/>
                            <a:pt x="128" y="30"/>
                            <a:pt x="128" y="30"/>
                          </a:cubicBezTo>
                          <a:cubicBezTo>
                            <a:pt x="128" y="30"/>
                            <a:pt x="128" y="30"/>
                            <a:pt x="128" y="30"/>
                          </a:cubicBezTo>
                          <a:cubicBezTo>
                            <a:pt x="128" y="30"/>
                            <a:pt x="128" y="30"/>
                            <a:pt x="128" y="30"/>
                          </a:cubicBezTo>
                          <a:close/>
                          <a:moveTo>
                            <a:pt x="129" y="31"/>
                          </a:moveTo>
                          <a:cubicBezTo>
                            <a:pt x="129" y="31"/>
                            <a:pt x="129" y="31"/>
                            <a:pt x="129" y="31"/>
                          </a:cubicBezTo>
                          <a:cubicBezTo>
                            <a:pt x="130" y="31"/>
                            <a:pt x="129" y="31"/>
                            <a:pt x="129" y="31"/>
                          </a:cubicBezTo>
                          <a:close/>
                          <a:moveTo>
                            <a:pt x="129" y="29"/>
                          </a:moveTo>
                          <a:cubicBezTo>
                            <a:pt x="128" y="29"/>
                            <a:pt x="128" y="29"/>
                            <a:pt x="128" y="29"/>
                          </a:cubicBezTo>
                          <a:cubicBezTo>
                            <a:pt x="129" y="29"/>
                            <a:pt x="129" y="29"/>
                            <a:pt x="129" y="29"/>
                          </a:cubicBezTo>
                          <a:cubicBezTo>
                            <a:pt x="129" y="29"/>
                            <a:pt x="128" y="29"/>
                            <a:pt x="129" y="29"/>
                          </a:cubicBezTo>
                          <a:close/>
                          <a:moveTo>
                            <a:pt x="133" y="34"/>
                          </a:moveTo>
                          <a:cubicBezTo>
                            <a:pt x="132" y="35"/>
                            <a:pt x="132" y="35"/>
                            <a:pt x="132" y="35"/>
                          </a:cubicBezTo>
                          <a:cubicBezTo>
                            <a:pt x="132" y="34"/>
                            <a:pt x="133" y="34"/>
                            <a:pt x="133" y="34"/>
                          </a:cubicBezTo>
                          <a:close/>
                          <a:moveTo>
                            <a:pt x="129" y="28"/>
                          </a:moveTo>
                          <a:cubicBezTo>
                            <a:pt x="129" y="27"/>
                            <a:pt x="129" y="28"/>
                            <a:pt x="129" y="28"/>
                          </a:cubicBezTo>
                          <a:cubicBezTo>
                            <a:pt x="129" y="28"/>
                            <a:pt x="129" y="27"/>
                            <a:pt x="129" y="28"/>
                          </a:cubicBezTo>
                          <a:close/>
                          <a:moveTo>
                            <a:pt x="130" y="30"/>
                          </a:moveTo>
                          <a:cubicBezTo>
                            <a:pt x="130" y="30"/>
                            <a:pt x="130" y="30"/>
                            <a:pt x="131" y="30"/>
                          </a:cubicBezTo>
                          <a:cubicBezTo>
                            <a:pt x="131" y="30"/>
                            <a:pt x="130" y="30"/>
                            <a:pt x="130" y="30"/>
                          </a:cubicBezTo>
                          <a:close/>
                          <a:moveTo>
                            <a:pt x="137" y="31"/>
                          </a:moveTo>
                          <a:cubicBezTo>
                            <a:pt x="137" y="31"/>
                            <a:pt x="137" y="31"/>
                            <a:pt x="137" y="31"/>
                          </a:cubicBezTo>
                          <a:cubicBezTo>
                            <a:pt x="138" y="31"/>
                            <a:pt x="137" y="31"/>
                            <a:pt x="137" y="31"/>
                          </a:cubicBezTo>
                          <a:close/>
                          <a:moveTo>
                            <a:pt x="141" y="24"/>
                          </a:moveTo>
                          <a:cubicBezTo>
                            <a:pt x="141" y="24"/>
                            <a:pt x="141" y="24"/>
                            <a:pt x="141" y="23"/>
                          </a:cubicBezTo>
                          <a:cubicBezTo>
                            <a:pt x="141" y="24"/>
                            <a:pt x="141" y="24"/>
                            <a:pt x="141" y="24"/>
                          </a:cubicBezTo>
                          <a:close/>
                          <a:moveTo>
                            <a:pt x="143" y="27"/>
                          </a:moveTo>
                          <a:cubicBezTo>
                            <a:pt x="143" y="26"/>
                            <a:pt x="144" y="26"/>
                            <a:pt x="144" y="26"/>
                          </a:cubicBezTo>
                          <a:cubicBezTo>
                            <a:pt x="144" y="26"/>
                            <a:pt x="144" y="26"/>
                            <a:pt x="143" y="27"/>
                          </a:cubicBezTo>
                          <a:close/>
                          <a:moveTo>
                            <a:pt x="142" y="22"/>
                          </a:moveTo>
                          <a:cubicBezTo>
                            <a:pt x="142" y="22"/>
                            <a:pt x="143" y="22"/>
                            <a:pt x="143" y="22"/>
                          </a:cubicBezTo>
                          <a:cubicBezTo>
                            <a:pt x="143" y="22"/>
                            <a:pt x="143" y="22"/>
                            <a:pt x="143" y="22"/>
                          </a:cubicBezTo>
                          <a:cubicBezTo>
                            <a:pt x="143" y="23"/>
                            <a:pt x="143" y="22"/>
                            <a:pt x="142" y="23"/>
                          </a:cubicBezTo>
                          <a:cubicBezTo>
                            <a:pt x="142" y="22"/>
                            <a:pt x="142" y="22"/>
                            <a:pt x="142" y="22"/>
                          </a:cubicBezTo>
                          <a:close/>
                          <a:moveTo>
                            <a:pt x="147" y="20"/>
                          </a:moveTo>
                          <a:cubicBezTo>
                            <a:pt x="147" y="20"/>
                            <a:pt x="147" y="20"/>
                            <a:pt x="148" y="20"/>
                          </a:cubicBezTo>
                          <a:cubicBezTo>
                            <a:pt x="147" y="20"/>
                            <a:pt x="147" y="20"/>
                            <a:pt x="147" y="20"/>
                          </a:cubicBezTo>
                          <a:close/>
                          <a:moveTo>
                            <a:pt x="148" y="18"/>
                          </a:moveTo>
                          <a:cubicBezTo>
                            <a:pt x="148" y="18"/>
                            <a:pt x="148" y="18"/>
                            <a:pt x="149" y="17"/>
                          </a:cubicBezTo>
                          <a:cubicBezTo>
                            <a:pt x="149" y="18"/>
                            <a:pt x="148" y="18"/>
                            <a:pt x="148" y="18"/>
                          </a:cubicBezTo>
                          <a:close/>
                          <a:moveTo>
                            <a:pt x="150" y="17"/>
                          </a:moveTo>
                          <a:cubicBezTo>
                            <a:pt x="150" y="17"/>
                            <a:pt x="150" y="17"/>
                            <a:pt x="150" y="17"/>
                          </a:cubicBezTo>
                          <a:cubicBezTo>
                            <a:pt x="150" y="16"/>
                            <a:pt x="151" y="17"/>
                            <a:pt x="150" y="17"/>
                          </a:cubicBezTo>
                          <a:close/>
                          <a:moveTo>
                            <a:pt x="151" y="17"/>
                          </a:moveTo>
                          <a:cubicBezTo>
                            <a:pt x="151" y="17"/>
                            <a:pt x="151" y="16"/>
                            <a:pt x="151" y="16"/>
                          </a:cubicBezTo>
                          <a:cubicBezTo>
                            <a:pt x="151" y="16"/>
                            <a:pt x="151" y="16"/>
                            <a:pt x="151" y="16"/>
                          </a:cubicBezTo>
                          <a:cubicBezTo>
                            <a:pt x="151" y="16"/>
                            <a:pt x="151" y="17"/>
                            <a:pt x="151" y="17"/>
                          </a:cubicBezTo>
                          <a:close/>
                          <a:moveTo>
                            <a:pt x="152" y="17"/>
                          </a:moveTo>
                          <a:cubicBezTo>
                            <a:pt x="152" y="17"/>
                            <a:pt x="152" y="17"/>
                            <a:pt x="152" y="17"/>
                          </a:cubicBezTo>
                          <a:cubicBezTo>
                            <a:pt x="152" y="17"/>
                            <a:pt x="152" y="17"/>
                            <a:pt x="151" y="17"/>
                          </a:cubicBezTo>
                          <a:cubicBezTo>
                            <a:pt x="151" y="17"/>
                            <a:pt x="152" y="17"/>
                            <a:pt x="152" y="17"/>
                          </a:cubicBezTo>
                          <a:close/>
                          <a:moveTo>
                            <a:pt x="154" y="18"/>
                          </a:moveTo>
                          <a:cubicBezTo>
                            <a:pt x="154" y="18"/>
                            <a:pt x="154" y="18"/>
                            <a:pt x="154" y="18"/>
                          </a:cubicBezTo>
                          <a:cubicBezTo>
                            <a:pt x="153" y="18"/>
                            <a:pt x="154" y="18"/>
                            <a:pt x="154" y="18"/>
                          </a:cubicBezTo>
                          <a:close/>
                          <a:moveTo>
                            <a:pt x="155" y="14"/>
                          </a:moveTo>
                          <a:cubicBezTo>
                            <a:pt x="156" y="14"/>
                            <a:pt x="156" y="14"/>
                            <a:pt x="155" y="14"/>
                          </a:cubicBezTo>
                          <a:cubicBezTo>
                            <a:pt x="154" y="15"/>
                            <a:pt x="154" y="15"/>
                            <a:pt x="153" y="15"/>
                          </a:cubicBezTo>
                          <a:cubicBezTo>
                            <a:pt x="154" y="15"/>
                            <a:pt x="154" y="14"/>
                            <a:pt x="155" y="14"/>
                          </a:cubicBezTo>
                          <a:close/>
                          <a:moveTo>
                            <a:pt x="156" y="17"/>
                          </a:moveTo>
                          <a:cubicBezTo>
                            <a:pt x="156" y="17"/>
                            <a:pt x="156" y="17"/>
                            <a:pt x="155" y="17"/>
                          </a:cubicBezTo>
                          <a:cubicBezTo>
                            <a:pt x="155" y="17"/>
                            <a:pt x="156" y="17"/>
                            <a:pt x="156" y="17"/>
                          </a:cubicBezTo>
                          <a:close/>
                          <a:moveTo>
                            <a:pt x="156" y="14"/>
                          </a:moveTo>
                          <a:cubicBezTo>
                            <a:pt x="156" y="13"/>
                            <a:pt x="157" y="13"/>
                            <a:pt x="158" y="13"/>
                          </a:cubicBezTo>
                          <a:cubicBezTo>
                            <a:pt x="157" y="13"/>
                            <a:pt x="156" y="13"/>
                            <a:pt x="156" y="14"/>
                          </a:cubicBezTo>
                          <a:close/>
                          <a:moveTo>
                            <a:pt x="159" y="11"/>
                          </a:moveTo>
                          <a:cubicBezTo>
                            <a:pt x="159" y="11"/>
                            <a:pt x="159" y="11"/>
                            <a:pt x="159" y="11"/>
                          </a:cubicBezTo>
                          <a:cubicBezTo>
                            <a:pt x="159" y="11"/>
                            <a:pt x="159" y="11"/>
                            <a:pt x="159" y="11"/>
                          </a:cubicBezTo>
                          <a:cubicBezTo>
                            <a:pt x="159" y="11"/>
                            <a:pt x="159" y="11"/>
                            <a:pt x="159" y="11"/>
                          </a:cubicBezTo>
                          <a:close/>
                          <a:moveTo>
                            <a:pt x="159" y="11"/>
                          </a:moveTo>
                          <a:cubicBezTo>
                            <a:pt x="159" y="11"/>
                            <a:pt x="160" y="11"/>
                            <a:pt x="160" y="11"/>
                          </a:cubicBezTo>
                          <a:cubicBezTo>
                            <a:pt x="160" y="11"/>
                            <a:pt x="160" y="11"/>
                            <a:pt x="159" y="11"/>
                          </a:cubicBezTo>
                          <a:close/>
                          <a:moveTo>
                            <a:pt x="161" y="12"/>
                          </a:moveTo>
                          <a:cubicBezTo>
                            <a:pt x="161" y="12"/>
                            <a:pt x="161" y="12"/>
                            <a:pt x="161" y="12"/>
                          </a:cubicBezTo>
                          <a:cubicBezTo>
                            <a:pt x="160" y="12"/>
                            <a:pt x="161" y="12"/>
                            <a:pt x="160" y="12"/>
                          </a:cubicBezTo>
                          <a:cubicBezTo>
                            <a:pt x="160" y="12"/>
                            <a:pt x="160" y="12"/>
                            <a:pt x="160" y="12"/>
                          </a:cubicBezTo>
                          <a:cubicBezTo>
                            <a:pt x="160" y="12"/>
                            <a:pt x="160" y="12"/>
                            <a:pt x="160" y="12"/>
                          </a:cubicBezTo>
                          <a:cubicBezTo>
                            <a:pt x="160" y="12"/>
                            <a:pt x="161" y="12"/>
                            <a:pt x="160" y="12"/>
                          </a:cubicBezTo>
                          <a:lnTo>
                            <a:pt x="161" y="12"/>
                          </a:lnTo>
                          <a:close/>
                          <a:moveTo>
                            <a:pt x="163" y="16"/>
                          </a:moveTo>
                          <a:cubicBezTo>
                            <a:pt x="163" y="16"/>
                            <a:pt x="163" y="16"/>
                            <a:pt x="162" y="16"/>
                          </a:cubicBezTo>
                          <a:cubicBezTo>
                            <a:pt x="162" y="16"/>
                            <a:pt x="163" y="16"/>
                            <a:pt x="163" y="16"/>
                          </a:cubicBezTo>
                          <a:close/>
                          <a:moveTo>
                            <a:pt x="162" y="12"/>
                          </a:moveTo>
                          <a:cubicBezTo>
                            <a:pt x="162" y="12"/>
                            <a:pt x="161" y="12"/>
                            <a:pt x="161" y="12"/>
                          </a:cubicBezTo>
                          <a:cubicBezTo>
                            <a:pt x="161" y="12"/>
                            <a:pt x="162" y="12"/>
                            <a:pt x="162" y="12"/>
                          </a:cubicBezTo>
                          <a:close/>
                          <a:moveTo>
                            <a:pt x="161" y="11"/>
                          </a:moveTo>
                          <a:cubicBezTo>
                            <a:pt x="161" y="11"/>
                            <a:pt x="161" y="11"/>
                            <a:pt x="161" y="11"/>
                          </a:cubicBezTo>
                          <a:cubicBezTo>
                            <a:pt x="161" y="11"/>
                            <a:pt x="161" y="11"/>
                            <a:pt x="161" y="11"/>
                          </a:cubicBezTo>
                          <a:close/>
                          <a:moveTo>
                            <a:pt x="161" y="11"/>
                          </a:moveTo>
                          <a:cubicBezTo>
                            <a:pt x="161" y="11"/>
                            <a:pt x="161" y="11"/>
                            <a:pt x="161" y="11"/>
                          </a:cubicBezTo>
                          <a:cubicBezTo>
                            <a:pt x="161" y="11"/>
                            <a:pt x="162" y="11"/>
                            <a:pt x="162" y="11"/>
                          </a:cubicBezTo>
                          <a:cubicBezTo>
                            <a:pt x="162" y="11"/>
                            <a:pt x="161" y="11"/>
                            <a:pt x="161" y="11"/>
                          </a:cubicBezTo>
                          <a:close/>
                          <a:moveTo>
                            <a:pt x="163" y="11"/>
                          </a:moveTo>
                          <a:cubicBezTo>
                            <a:pt x="163" y="11"/>
                            <a:pt x="163" y="12"/>
                            <a:pt x="162" y="12"/>
                          </a:cubicBezTo>
                          <a:cubicBezTo>
                            <a:pt x="163" y="11"/>
                            <a:pt x="163" y="11"/>
                            <a:pt x="163" y="11"/>
                          </a:cubicBezTo>
                          <a:close/>
                          <a:moveTo>
                            <a:pt x="162" y="11"/>
                          </a:moveTo>
                          <a:cubicBezTo>
                            <a:pt x="162" y="11"/>
                            <a:pt x="163" y="11"/>
                            <a:pt x="163" y="11"/>
                          </a:cubicBezTo>
                          <a:cubicBezTo>
                            <a:pt x="163" y="11"/>
                            <a:pt x="163" y="11"/>
                            <a:pt x="162" y="11"/>
                          </a:cubicBezTo>
                          <a:close/>
                          <a:moveTo>
                            <a:pt x="163" y="10"/>
                          </a:moveTo>
                          <a:cubicBezTo>
                            <a:pt x="163" y="10"/>
                            <a:pt x="162" y="11"/>
                            <a:pt x="162" y="11"/>
                          </a:cubicBezTo>
                          <a:cubicBezTo>
                            <a:pt x="162" y="10"/>
                            <a:pt x="162" y="11"/>
                            <a:pt x="162" y="10"/>
                          </a:cubicBezTo>
                          <a:cubicBezTo>
                            <a:pt x="162" y="10"/>
                            <a:pt x="163" y="10"/>
                            <a:pt x="162" y="10"/>
                          </a:cubicBezTo>
                          <a:cubicBezTo>
                            <a:pt x="163" y="10"/>
                            <a:pt x="162" y="11"/>
                            <a:pt x="163" y="10"/>
                          </a:cubicBezTo>
                          <a:close/>
                          <a:moveTo>
                            <a:pt x="163" y="9"/>
                          </a:moveTo>
                          <a:cubicBezTo>
                            <a:pt x="163" y="9"/>
                            <a:pt x="163" y="9"/>
                            <a:pt x="163" y="9"/>
                          </a:cubicBezTo>
                          <a:cubicBezTo>
                            <a:pt x="163" y="9"/>
                            <a:pt x="163" y="9"/>
                            <a:pt x="163" y="9"/>
                          </a:cubicBezTo>
                          <a:close/>
                          <a:moveTo>
                            <a:pt x="167" y="14"/>
                          </a:moveTo>
                          <a:cubicBezTo>
                            <a:pt x="167" y="14"/>
                            <a:pt x="166" y="14"/>
                            <a:pt x="166" y="14"/>
                          </a:cubicBezTo>
                          <a:cubicBezTo>
                            <a:pt x="166" y="14"/>
                            <a:pt x="166" y="14"/>
                            <a:pt x="167" y="14"/>
                          </a:cubicBezTo>
                          <a:close/>
                          <a:moveTo>
                            <a:pt x="168" y="13"/>
                          </a:moveTo>
                          <a:cubicBezTo>
                            <a:pt x="168" y="13"/>
                            <a:pt x="168" y="13"/>
                            <a:pt x="168" y="13"/>
                          </a:cubicBezTo>
                          <a:cubicBezTo>
                            <a:pt x="168" y="13"/>
                            <a:pt x="168" y="13"/>
                            <a:pt x="168" y="13"/>
                          </a:cubicBezTo>
                          <a:close/>
                          <a:moveTo>
                            <a:pt x="166" y="8"/>
                          </a:moveTo>
                          <a:cubicBezTo>
                            <a:pt x="167" y="8"/>
                            <a:pt x="168" y="7"/>
                            <a:pt x="169" y="7"/>
                          </a:cubicBezTo>
                          <a:cubicBezTo>
                            <a:pt x="170" y="6"/>
                            <a:pt x="171" y="5"/>
                            <a:pt x="172" y="5"/>
                          </a:cubicBezTo>
                          <a:cubicBezTo>
                            <a:pt x="170" y="6"/>
                            <a:pt x="168" y="7"/>
                            <a:pt x="166" y="8"/>
                          </a:cubicBezTo>
                          <a:close/>
                          <a:moveTo>
                            <a:pt x="166" y="7"/>
                          </a:moveTo>
                          <a:cubicBezTo>
                            <a:pt x="167" y="6"/>
                            <a:pt x="167" y="6"/>
                            <a:pt x="167" y="6"/>
                          </a:cubicBezTo>
                          <a:cubicBezTo>
                            <a:pt x="167" y="7"/>
                            <a:pt x="166" y="7"/>
                            <a:pt x="166" y="7"/>
                          </a:cubicBezTo>
                          <a:close/>
                          <a:moveTo>
                            <a:pt x="168" y="9"/>
                          </a:moveTo>
                          <a:cubicBezTo>
                            <a:pt x="168" y="9"/>
                            <a:pt x="169" y="8"/>
                            <a:pt x="168" y="9"/>
                          </a:cubicBezTo>
                          <a:cubicBezTo>
                            <a:pt x="169" y="8"/>
                            <a:pt x="168" y="8"/>
                            <a:pt x="169" y="8"/>
                          </a:cubicBezTo>
                          <a:cubicBezTo>
                            <a:pt x="169" y="8"/>
                            <a:pt x="169" y="9"/>
                            <a:pt x="168" y="9"/>
                          </a:cubicBezTo>
                          <a:close/>
                          <a:moveTo>
                            <a:pt x="167" y="6"/>
                          </a:moveTo>
                          <a:cubicBezTo>
                            <a:pt x="167" y="6"/>
                            <a:pt x="167" y="6"/>
                            <a:pt x="167" y="6"/>
                          </a:cubicBezTo>
                          <a:cubicBezTo>
                            <a:pt x="167" y="6"/>
                            <a:pt x="167" y="6"/>
                            <a:pt x="167" y="6"/>
                          </a:cubicBezTo>
                          <a:close/>
                          <a:moveTo>
                            <a:pt x="168" y="6"/>
                          </a:moveTo>
                          <a:cubicBezTo>
                            <a:pt x="168" y="6"/>
                            <a:pt x="168" y="7"/>
                            <a:pt x="167" y="7"/>
                          </a:cubicBezTo>
                          <a:cubicBezTo>
                            <a:pt x="168" y="6"/>
                            <a:pt x="168" y="6"/>
                            <a:pt x="168" y="6"/>
                          </a:cubicBezTo>
                          <a:close/>
                          <a:moveTo>
                            <a:pt x="168" y="6"/>
                          </a:moveTo>
                          <a:cubicBezTo>
                            <a:pt x="168" y="6"/>
                            <a:pt x="168" y="6"/>
                            <a:pt x="169" y="5"/>
                          </a:cubicBezTo>
                          <a:cubicBezTo>
                            <a:pt x="169" y="5"/>
                            <a:pt x="169" y="5"/>
                            <a:pt x="168" y="6"/>
                          </a:cubicBezTo>
                          <a:cubicBezTo>
                            <a:pt x="169" y="6"/>
                            <a:pt x="168" y="6"/>
                            <a:pt x="168" y="6"/>
                          </a:cubicBezTo>
                          <a:close/>
                          <a:moveTo>
                            <a:pt x="170" y="8"/>
                          </a:moveTo>
                          <a:cubicBezTo>
                            <a:pt x="170" y="8"/>
                            <a:pt x="169" y="8"/>
                            <a:pt x="169" y="8"/>
                          </a:cubicBezTo>
                          <a:cubicBezTo>
                            <a:pt x="169" y="8"/>
                            <a:pt x="170" y="8"/>
                            <a:pt x="170" y="8"/>
                          </a:cubicBezTo>
                          <a:close/>
                          <a:moveTo>
                            <a:pt x="173" y="11"/>
                          </a:moveTo>
                          <a:cubicBezTo>
                            <a:pt x="173" y="11"/>
                            <a:pt x="173" y="11"/>
                            <a:pt x="174" y="11"/>
                          </a:cubicBezTo>
                          <a:cubicBezTo>
                            <a:pt x="174" y="11"/>
                            <a:pt x="173" y="11"/>
                            <a:pt x="173" y="11"/>
                          </a:cubicBezTo>
                          <a:close/>
                          <a:moveTo>
                            <a:pt x="172" y="7"/>
                          </a:moveTo>
                          <a:cubicBezTo>
                            <a:pt x="172" y="7"/>
                            <a:pt x="172" y="7"/>
                            <a:pt x="172" y="7"/>
                          </a:cubicBezTo>
                          <a:cubicBezTo>
                            <a:pt x="172" y="7"/>
                            <a:pt x="172" y="7"/>
                            <a:pt x="172" y="7"/>
                          </a:cubicBezTo>
                          <a:cubicBezTo>
                            <a:pt x="172" y="7"/>
                            <a:pt x="172" y="7"/>
                            <a:pt x="172" y="7"/>
                          </a:cubicBezTo>
                          <a:close/>
                          <a:moveTo>
                            <a:pt x="172" y="7"/>
                          </a:moveTo>
                          <a:cubicBezTo>
                            <a:pt x="172" y="7"/>
                            <a:pt x="172" y="7"/>
                            <a:pt x="172" y="7"/>
                          </a:cubicBezTo>
                          <a:cubicBezTo>
                            <a:pt x="172" y="6"/>
                            <a:pt x="172" y="6"/>
                            <a:pt x="172" y="6"/>
                          </a:cubicBezTo>
                          <a:cubicBezTo>
                            <a:pt x="172" y="6"/>
                            <a:pt x="173" y="6"/>
                            <a:pt x="173" y="6"/>
                          </a:cubicBezTo>
                          <a:cubicBezTo>
                            <a:pt x="173" y="6"/>
                            <a:pt x="172" y="6"/>
                            <a:pt x="172" y="7"/>
                          </a:cubicBezTo>
                          <a:close/>
                          <a:moveTo>
                            <a:pt x="173" y="6"/>
                          </a:moveTo>
                          <a:cubicBezTo>
                            <a:pt x="173" y="6"/>
                            <a:pt x="173" y="6"/>
                            <a:pt x="173" y="6"/>
                          </a:cubicBezTo>
                          <a:cubicBezTo>
                            <a:pt x="173" y="6"/>
                            <a:pt x="173" y="6"/>
                            <a:pt x="174" y="6"/>
                          </a:cubicBezTo>
                          <a:cubicBezTo>
                            <a:pt x="173" y="6"/>
                            <a:pt x="173" y="6"/>
                            <a:pt x="173" y="6"/>
                          </a:cubicBezTo>
                          <a:close/>
                          <a:moveTo>
                            <a:pt x="172" y="3"/>
                          </a:moveTo>
                          <a:cubicBezTo>
                            <a:pt x="172" y="3"/>
                            <a:pt x="172" y="4"/>
                            <a:pt x="172" y="4"/>
                          </a:cubicBezTo>
                          <a:cubicBezTo>
                            <a:pt x="172" y="4"/>
                            <a:pt x="172" y="3"/>
                            <a:pt x="172" y="3"/>
                          </a:cubicBezTo>
                          <a:close/>
                          <a:moveTo>
                            <a:pt x="177" y="9"/>
                          </a:moveTo>
                          <a:cubicBezTo>
                            <a:pt x="177" y="10"/>
                            <a:pt x="176" y="10"/>
                            <a:pt x="176" y="10"/>
                          </a:cubicBezTo>
                          <a:cubicBezTo>
                            <a:pt x="176" y="10"/>
                            <a:pt x="176" y="10"/>
                            <a:pt x="177" y="9"/>
                          </a:cubicBezTo>
                          <a:close/>
                          <a:moveTo>
                            <a:pt x="173" y="5"/>
                          </a:moveTo>
                          <a:cubicBezTo>
                            <a:pt x="174" y="5"/>
                            <a:pt x="174" y="5"/>
                            <a:pt x="174" y="5"/>
                          </a:cubicBezTo>
                          <a:cubicBezTo>
                            <a:pt x="174" y="5"/>
                            <a:pt x="174" y="5"/>
                            <a:pt x="174" y="5"/>
                          </a:cubicBezTo>
                          <a:cubicBezTo>
                            <a:pt x="174" y="5"/>
                            <a:pt x="174" y="5"/>
                            <a:pt x="174" y="5"/>
                          </a:cubicBezTo>
                          <a:cubicBezTo>
                            <a:pt x="174" y="5"/>
                            <a:pt x="174" y="5"/>
                            <a:pt x="174" y="6"/>
                          </a:cubicBezTo>
                          <a:cubicBezTo>
                            <a:pt x="173" y="5"/>
                            <a:pt x="174" y="5"/>
                            <a:pt x="173" y="5"/>
                          </a:cubicBezTo>
                          <a:close/>
                          <a:moveTo>
                            <a:pt x="173" y="3"/>
                          </a:moveTo>
                          <a:cubicBezTo>
                            <a:pt x="173" y="3"/>
                            <a:pt x="173" y="3"/>
                            <a:pt x="174" y="2"/>
                          </a:cubicBezTo>
                          <a:cubicBezTo>
                            <a:pt x="173" y="3"/>
                            <a:pt x="173" y="3"/>
                            <a:pt x="173" y="3"/>
                          </a:cubicBezTo>
                          <a:close/>
                          <a:moveTo>
                            <a:pt x="173" y="4"/>
                          </a:moveTo>
                          <a:cubicBezTo>
                            <a:pt x="173" y="4"/>
                            <a:pt x="174" y="4"/>
                            <a:pt x="174" y="4"/>
                          </a:cubicBezTo>
                          <a:cubicBezTo>
                            <a:pt x="174" y="4"/>
                            <a:pt x="174" y="4"/>
                            <a:pt x="173" y="4"/>
                          </a:cubicBezTo>
                          <a:close/>
                          <a:moveTo>
                            <a:pt x="176" y="9"/>
                          </a:moveTo>
                          <a:cubicBezTo>
                            <a:pt x="177" y="9"/>
                            <a:pt x="177" y="9"/>
                            <a:pt x="178" y="9"/>
                          </a:cubicBezTo>
                          <a:cubicBezTo>
                            <a:pt x="177" y="9"/>
                            <a:pt x="177" y="9"/>
                            <a:pt x="176" y="9"/>
                          </a:cubicBezTo>
                          <a:close/>
                          <a:moveTo>
                            <a:pt x="176" y="6"/>
                          </a:moveTo>
                          <a:cubicBezTo>
                            <a:pt x="176" y="7"/>
                            <a:pt x="176" y="7"/>
                            <a:pt x="175" y="7"/>
                          </a:cubicBezTo>
                          <a:cubicBezTo>
                            <a:pt x="175" y="7"/>
                            <a:pt x="176" y="7"/>
                            <a:pt x="176" y="6"/>
                          </a:cubicBezTo>
                          <a:close/>
                          <a:moveTo>
                            <a:pt x="175" y="5"/>
                          </a:moveTo>
                          <a:cubicBezTo>
                            <a:pt x="175" y="5"/>
                            <a:pt x="175" y="5"/>
                            <a:pt x="176" y="4"/>
                          </a:cubicBezTo>
                          <a:cubicBezTo>
                            <a:pt x="176" y="5"/>
                            <a:pt x="175" y="5"/>
                            <a:pt x="175" y="5"/>
                          </a:cubicBezTo>
                          <a:close/>
                          <a:moveTo>
                            <a:pt x="175" y="2"/>
                          </a:moveTo>
                          <a:cubicBezTo>
                            <a:pt x="175" y="2"/>
                            <a:pt x="174" y="2"/>
                            <a:pt x="174" y="2"/>
                          </a:cubicBezTo>
                          <a:cubicBezTo>
                            <a:pt x="174" y="2"/>
                            <a:pt x="174" y="2"/>
                            <a:pt x="175" y="2"/>
                          </a:cubicBezTo>
                          <a:close/>
                          <a:moveTo>
                            <a:pt x="177" y="6"/>
                          </a:moveTo>
                          <a:cubicBezTo>
                            <a:pt x="177" y="6"/>
                            <a:pt x="177" y="6"/>
                            <a:pt x="176" y="6"/>
                          </a:cubicBezTo>
                          <a:cubicBezTo>
                            <a:pt x="177" y="6"/>
                            <a:pt x="177" y="6"/>
                            <a:pt x="177" y="6"/>
                          </a:cubicBezTo>
                          <a:close/>
                          <a:moveTo>
                            <a:pt x="178" y="9"/>
                          </a:moveTo>
                          <a:cubicBezTo>
                            <a:pt x="178" y="9"/>
                            <a:pt x="178" y="9"/>
                            <a:pt x="178" y="9"/>
                          </a:cubicBezTo>
                          <a:cubicBezTo>
                            <a:pt x="178" y="9"/>
                            <a:pt x="178" y="9"/>
                            <a:pt x="178" y="9"/>
                          </a:cubicBezTo>
                          <a:close/>
                          <a:moveTo>
                            <a:pt x="176" y="1"/>
                          </a:moveTo>
                          <a:cubicBezTo>
                            <a:pt x="176" y="1"/>
                            <a:pt x="176" y="1"/>
                            <a:pt x="176" y="2"/>
                          </a:cubicBezTo>
                          <a:cubicBezTo>
                            <a:pt x="176" y="2"/>
                            <a:pt x="176" y="2"/>
                            <a:pt x="176" y="2"/>
                          </a:cubicBezTo>
                          <a:cubicBezTo>
                            <a:pt x="176" y="2"/>
                            <a:pt x="176" y="2"/>
                            <a:pt x="176" y="2"/>
                          </a:cubicBezTo>
                          <a:cubicBezTo>
                            <a:pt x="175" y="2"/>
                            <a:pt x="175" y="2"/>
                            <a:pt x="175" y="2"/>
                          </a:cubicBezTo>
                          <a:cubicBezTo>
                            <a:pt x="175" y="2"/>
                            <a:pt x="176" y="1"/>
                            <a:pt x="176" y="1"/>
                          </a:cubicBezTo>
                          <a:close/>
                          <a:moveTo>
                            <a:pt x="180" y="8"/>
                          </a:moveTo>
                          <a:cubicBezTo>
                            <a:pt x="180" y="8"/>
                            <a:pt x="180" y="8"/>
                            <a:pt x="180" y="9"/>
                          </a:cubicBezTo>
                          <a:cubicBezTo>
                            <a:pt x="180" y="9"/>
                            <a:pt x="179" y="9"/>
                            <a:pt x="179" y="9"/>
                          </a:cubicBezTo>
                          <a:cubicBezTo>
                            <a:pt x="179" y="9"/>
                            <a:pt x="180" y="8"/>
                            <a:pt x="180" y="8"/>
                          </a:cubicBezTo>
                          <a:cubicBezTo>
                            <a:pt x="180" y="8"/>
                            <a:pt x="180" y="8"/>
                            <a:pt x="180" y="8"/>
                          </a:cubicBezTo>
                          <a:close/>
                          <a:moveTo>
                            <a:pt x="177" y="4"/>
                          </a:moveTo>
                          <a:cubicBezTo>
                            <a:pt x="177" y="4"/>
                            <a:pt x="177" y="4"/>
                            <a:pt x="177" y="4"/>
                          </a:cubicBezTo>
                          <a:cubicBezTo>
                            <a:pt x="177" y="4"/>
                            <a:pt x="177" y="4"/>
                            <a:pt x="177" y="4"/>
                          </a:cubicBezTo>
                          <a:close/>
                          <a:moveTo>
                            <a:pt x="177" y="4"/>
                          </a:moveTo>
                          <a:cubicBezTo>
                            <a:pt x="177" y="4"/>
                            <a:pt x="177" y="4"/>
                            <a:pt x="177" y="4"/>
                          </a:cubicBezTo>
                          <a:cubicBezTo>
                            <a:pt x="177" y="4"/>
                            <a:pt x="177" y="4"/>
                            <a:pt x="177" y="4"/>
                          </a:cubicBezTo>
                          <a:close/>
                          <a:moveTo>
                            <a:pt x="180" y="8"/>
                          </a:moveTo>
                          <a:cubicBezTo>
                            <a:pt x="180" y="8"/>
                            <a:pt x="180" y="8"/>
                            <a:pt x="180" y="8"/>
                          </a:cubicBezTo>
                          <a:cubicBezTo>
                            <a:pt x="180" y="8"/>
                            <a:pt x="180" y="8"/>
                            <a:pt x="180" y="8"/>
                          </a:cubicBezTo>
                          <a:close/>
                          <a:moveTo>
                            <a:pt x="181" y="8"/>
                          </a:moveTo>
                          <a:cubicBezTo>
                            <a:pt x="181" y="8"/>
                            <a:pt x="181" y="8"/>
                            <a:pt x="181" y="8"/>
                          </a:cubicBezTo>
                          <a:cubicBezTo>
                            <a:pt x="181" y="8"/>
                            <a:pt x="180" y="8"/>
                            <a:pt x="180" y="8"/>
                          </a:cubicBezTo>
                          <a:cubicBezTo>
                            <a:pt x="180" y="8"/>
                            <a:pt x="181" y="8"/>
                            <a:pt x="181" y="8"/>
                          </a:cubicBezTo>
                          <a:close/>
                          <a:moveTo>
                            <a:pt x="180" y="4"/>
                          </a:moveTo>
                          <a:cubicBezTo>
                            <a:pt x="180" y="4"/>
                            <a:pt x="180" y="4"/>
                            <a:pt x="180" y="5"/>
                          </a:cubicBezTo>
                          <a:cubicBezTo>
                            <a:pt x="180" y="5"/>
                            <a:pt x="180" y="4"/>
                            <a:pt x="180" y="4"/>
                          </a:cubicBezTo>
                          <a:cubicBezTo>
                            <a:pt x="180" y="4"/>
                            <a:pt x="180" y="4"/>
                            <a:pt x="180" y="4"/>
                          </a:cubicBezTo>
                          <a:close/>
                          <a:moveTo>
                            <a:pt x="182" y="7"/>
                          </a:moveTo>
                          <a:cubicBezTo>
                            <a:pt x="182" y="7"/>
                            <a:pt x="182" y="7"/>
                            <a:pt x="182" y="7"/>
                          </a:cubicBezTo>
                          <a:cubicBezTo>
                            <a:pt x="182" y="7"/>
                            <a:pt x="182" y="7"/>
                            <a:pt x="182" y="7"/>
                          </a:cubicBezTo>
                          <a:close/>
                          <a:moveTo>
                            <a:pt x="179" y="1"/>
                          </a:moveTo>
                          <a:cubicBezTo>
                            <a:pt x="178" y="1"/>
                            <a:pt x="178" y="1"/>
                            <a:pt x="178" y="1"/>
                          </a:cubicBezTo>
                          <a:cubicBezTo>
                            <a:pt x="178" y="1"/>
                            <a:pt x="179" y="1"/>
                            <a:pt x="178" y="1"/>
                          </a:cubicBezTo>
                          <a:cubicBezTo>
                            <a:pt x="178" y="0"/>
                            <a:pt x="179" y="0"/>
                            <a:pt x="179" y="1"/>
                          </a:cubicBezTo>
                          <a:close/>
                          <a:moveTo>
                            <a:pt x="181" y="0"/>
                          </a:moveTo>
                          <a:cubicBezTo>
                            <a:pt x="181" y="1"/>
                            <a:pt x="180" y="1"/>
                            <a:pt x="180" y="1"/>
                          </a:cubicBezTo>
                          <a:cubicBezTo>
                            <a:pt x="180" y="1"/>
                            <a:pt x="181" y="0"/>
                            <a:pt x="181" y="0"/>
                          </a:cubicBezTo>
                          <a:close/>
                          <a:moveTo>
                            <a:pt x="52" y="75"/>
                          </a:moveTo>
                          <a:cubicBezTo>
                            <a:pt x="52" y="75"/>
                            <a:pt x="52" y="75"/>
                            <a:pt x="52" y="75"/>
                          </a:cubicBezTo>
                          <a:cubicBezTo>
                            <a:pt x="52" y="75"/>
                            <a:pt x="52" y="75"/>
                            <a:pt x="52" y="75"/>
                          </a:cubicBezTo>
                          <a:close/>
                          <a:moveTo>
                            <a:pt x="16" y="88"/>
                          </a:moveTo>
                          <a:cubicBezTo>
                            <a:pt x="17" y="88"/>
                            <a:pt x="17" y="87"/>
                            <a:pt x="18" y="87"/>
                          </a:cubicBezTo>
                          <a:cubicBezTo>
                            <a:pt x="18" y="87"/>
                            <a:pt x="18" y="87"/>
                            <a:pt x="18" y="87"/>
                          </a:cubicBezTo>
                          <a:cubicBezTo>
                            <a:pt x="18" y="87"/>
                            <a:pt x="19" y="87"/>
                            <a:pt x="19" y="87"/>
                          </a:cubicBezTo>
                          <a:cubicBezTo>
                            <a:pt x="20" y="86"/>
                            <a:pt x="21" y="86"/>
                            <a:pt x="22" y="85"/>
                          </a:cubicBezTo>
                          <a:cubicBezTo>
                            <a:pt x="21" y="85"/>
                            <a:pt x="21" y="85"/>
                            <a:pt x="21" y="85"/>
                          </a:cubicBezTo>
                          <a:cubicBezTo>
                            <a:pt x="22" y="85"/>
                            <a:pt x="23" y="84"/>
                            <a:pt x="24" y="84"/>
                          </a:cubicBezTo>
                          <a:cubicBezTo>
                            <a:pt x="24" y="84"/>
                            <a:pt x="24" y="84"/>
                            <a:pt x="24" y="84"/>
                          </a:cubicBezTo>
                          <a:cubicBezTo>
                            <a:pt x="24" y="84"/>
                            <a:pt x="24" y="84"/>
                            <a:pt x="24" y="84"/>
                          </a:cubicBezTo>
                          <a:cubicBezTo>
                            <a:pt x="24" y="84"/>
                            <a:pt x="24" y="84"/>
                            <a:pt x="24" y="85"/>
                          </a:cubicBezTo>
                          <a:cubicBezTo>
                            <a:pt x="24" y="84"/>
                            <a:pt x="25" y="84"/>
                            <a:pt x="25" y="83"/>
                          </a:cubicBezTo>
                          <a:cubicBezTo>
                            <a:pt x="26" y="83"/>
                            <a:pt x="26" y="83"/>
                            <a:pt x="26" y="83"/>
                          </a:cubicBezTo>
                          <a:cubicBezTo>
                            <a:pt x="26" y="83"/>
                            <a:pt x="26" y="83"/>
                            <a:pt x="26" y="83"/>
                          </a:cubicBezTo>
                          <a:cubicBezTo>
                            <a:pt x="26" y="84"/>
                            <a:pt x="26" y="83"/>
                            <a:pt x="26" y="84"/>
                          </a:cubicBezTo>
                          <a:cubicBezTo>
                            <a:pt x="26" y="84"/>
                            <a:pt x="26" y="83"/>
                            <a:pt x="27" y="83"/>
                          </a:cubicBezTo>
                          <a:cubicBezTo>
                            <a:pt x="27" y="83"/>
                            <a:pt x="27" y="83"/>
                            <a:pt x="27" y="83"/>
                          </a:cubicBezTo>
                          <a:cubicBezTo>
                            <a:pt x="28" y="83"/>
                            <a:pt x="27" y="83"/>
                            <a:pt x="27" y="83"/>
                          </a:cubicBezTo>
                          <a:cubicBezTo>
                            <a:pt x="28" y="83"/>
                            <a:pt x="28" y="83"/>
                            <a:pt x="28" y="83"/>
                          </a:cubicBezTo>
                          <a:cubicBezTo>
                            <a:pt x="28" y="82"/>
                            <a:pt x="28" y="83"/>
                            <a:pt x="28" y="83"/>
                          </a:cubicBezTo>
                          <a:cubicBezTo>
                            <a:pt x="28" y="83"/>
                            <a:pt x="28" y="83"/>
                            <a:pt x="28" y="83"/>
                          </a:cubicBezTo>
                          <a:cubicBezTo>
                            <a:pt x="28" y="83"/>
                            <a:pt x="28" y="83"/>
                            <a:pt x="28" y="83"/>
                          </a:cubicBezTo>
                          <a:cubicBezTo>
                            <a:pt x="29" y="83"/>
                            <a:pt x="30" y="82"/>
                            <a:pt x="30" y="82"/>
                          </a:cubicBezTo>
                          <a:cubicBezTo>
                            <a:pt x="30" y="82"/>
                            <a:pt x="30" y="82"/>
                            <a:pt x="30" y="82"/>
                          </a:cubicBezTo>
                          <a:cubicBezTo>
                            <a:pt x="31" y="82"/>
                            <a:pt x="31" y="82"/>
                            <a:pt x="31" y="82"/>
                          </a:cubicBezTo>
                          <a:cubicBezTo>
                            <a:pt x="32" y="82"/>
                            <a:pt x="32" y="81"/>
                            <a:pt x="33" y="81"/>
                          </a:cubicBezTo>
                          <a:cubicBezTo>
                            <a:pt x="33" y="81"/>
                            <a:pt x="33" y="81"/>
                            <a:pt x="33" y="81"/>
                          </a:cubicBezTo>
                          <a:cubicBezTo>
                            <a:pt x="33" y="81"/>
                            <a:pt x="33" y="81"/>
                            <a:pt x="33" y="80"/>
                          </a:cubicBezTo>
                          <a:cubicBezTo>
                            <a:pt x="33" y="81"/>
                            <a:pt x="33" y="80"/>
                            <a:pt x="33" y="81"/>
                          </a:cubicBezTo>
                          <a:cubicBezTo>
                            <a:pt x="34" y="80"/>
                            <a:pt x="34" y="80"/>
                            <a:pt x="35" y="80"/>
                          </a:cubicBezTo>
                          <a:cubicBezTo>
                            <a:pt x="35" y="80"/>
                            <a:pt x="35" y="80"/>
                            <a:pt x="35" y="80"/>
                          </a:cubicBezTo>
                          <a:cubicBezTo>
                            <a:pt x="35" y="80"/>
                            <a:pt x="35" y="80"/>
                            <a:pt x="35" y="80"/>
                          </a:cubicBezTo>
                          <a:cubicBezTo>
                            <a:pt x="35" y="80"/>
                            <a:pt x="35" y="80"/>
                            <a:pt x="35" y="80"/>
                          </a:cubicBezTo>
                          <a:cubicBezTo>
                            <a:pt x="35" y="80"/>
                            <a:pt x="35" y="80"/>
                            <a:pt x="35" y="80"/>
                          </a:cubicBezTo>
                          <a:cubicBezTo>
                            <a:pt x="35" y="80"/>
                            <a:pt x="35" y="80"/>
                            <a:pt x="35" y="80"/>
                          </a:cubicBezTo>
                          <a:cubicBezTo>
                            <a:pt x="35" y="80"/>
                            <a:pt x="36" y="80"/>
                            <a:pt x="36" y="80"/>
                          </a:cubicBezTo>
                          <a:cubicBezTo>
                            <a:pt x="36" y="79"/>
                            <a:pt x="36" y="80"/>
                            <a:pt x="36" y="80"/>
                          </a:cubicBezTo>
                          <a:cubicBezTo>
                            <a:pt x="36" y="80"/>
                            <a:pt x="36" y="80"/>
                            <a:pt x="36" y="80"/>
                          </a:cubicBezTo>
                          <a:cubicBezTo>
                            <a:pt x="36" y="80"/>
                            <a:pt x="36" y="80"/>
                            <a:pt x="36" y="80"/>
                          </a:cubicBezTo>
                          <a:cubicBezTo>
                            <a:pt x="37" y="79"/>
                            <a:pt x="38" y="78"/>
                            <a:pt x="39" y="78"/>
                          </a:cubicBezTo>
                          <a:cubicBezTo>
                            <a:pt x="38" y="79"/>
                            <a:pt x="38" y="79"/>
                            <a:pt x="38" y="79"/>
                          </a:cubicBezTo>
                          <a:cubicBezTo>
                            <a:pt x="38" y="79"/>
                            <a:pt x="38" y="79"/>
                            <a:pt x="38" y="79"/>
                          </a:cubicBezTo>
                          <a:cubicBezTo>
                            <a:pt x="39" y="78"/>
                            <a:pt x="38" y="79"/>
                            <a:pt x="38" y="79"/>
                          </a:cubicBezTo>
                          <a:cubicBezTo>
                            <a:pt x="39" y="78"/>
                            <a:pt x="39" y="79"/>
                            <a:pt x="39" y="78"/>
                          </a:cubicBezTo>
                          <a:cubicBezTo>
                            <a:pt x="39" y="78"/>
                            <a:pt x="40" y="78"/>
                            <a:pt x="40" y="78"/>
                          </a:cubicBezTo>
                          <a:cubicBezTo>
                            <a:pt x="40" y="78"/>
                            <a:pt x="40" y="78"/>
                            <a:pt x="40" y="78"/>
                          </a:cubicBezTo>
                          <a:cubicBezTo>
                            <a:pt x="40" y="78"/>
                            <a:pt x="40" y="78"/>
                            <a:pt x="40" y="78"/>
                          </a:cubicBezTo>
                          <a:cubicBezTo>
                            <a:pt x="40" y="78"/>
                            <a:pt x="40" y="78"/>
                            <a:pt x="40" y="78"/>
                          </a:cubicBezTo>
                          <a:cubicBezTo>
                            <a:pt x="40" y="78"/>
                            <a:pt x="40" y="77"/>
                            <a:pt x="40" y="77"/>
                          </a:cubicBezTo>
                          <a:cubicBezTo>
                            <a:pt x="40" y="77"/>
                            <a:pt x="40" y="77"/>
                            <a:pt x="40" y="77"/>
                          </a:cubicBezTo>
                          <a:cubicBezTo>
                            <a:pt x="41" y="77"/>
                            <a:pt x="41" y="77"/>
                            <a:pt x="41" y="77"/>
                          </a:cubicBezTo>
                          <a:cubicBezTo>
                            <a:pt x="41" y="78"/>
                            <a:pt x="40" y="78"/>
                            <a:pt x="40" y="78"/>
                          </a:cubicBezTo>
                          <a:cubicBezTo>
                            <a:pt x="41" y="78"/>
                            <a:pt x="41" y="78"/>
                            <a:pt x="41" y="78"/>
                          </a:cubicBezTo>
                          <a:cubicBezTo>
                            <a:pt x="41" y="77"/>
                            <a:pt x="41" y="77"/>
                            <a:pt x="42" y="77"/>
                          </a:cubicBezTo>
                          <a:cubicBezTo>
                            <a:pt x="42" y="77"/>
                            <a:pt x="42" y="77"/>
                            <a:pt x="42" y="77"/>
                          </a:cubicBezTo>
                          <a:cubicBezTo>
                            <a:pt x="42" y="77"/>
                            <a:pt x="42" y="77"/>
                            <a:pt x="43" y="77"/>
                          </a:cubicBezTo>
                          <a:cubicBezTo>
                            <a:pt x="42" y="77"/>
                            <a:pt x="43" y="76"/>
                            <a:pt x="43" y="76"/>
                          </a:cubicBezTo>
                          <a:cubicBezTo>
                            <a:pt x="43" y="76"/>
                            <a:pt x="44" y="76"/>
                            <a:pt x="44" y="76"/>
                          </a:cubicBezTo>
                          <a:cubicBezTo>
                            <a:pt x="44" y="76"/>
                            <a:pt x="44" y="76"/>
                            <a:pt x="44" y="76"/>
                          </a:cubicBezTo>
                          <a:cubicBezTo>
                            <a:pt x="44" y="76"/>
                            <a:pt x="44" y="76"/>
                            <a:pt x="44" y="76"/>
                          </a:cubicBezTo>
                          <a:cubicBezTo>
                            <a:pt x="43" y="76"/>
                            <a:pt x="42" y="77"/>
                            <a:pt x="41" y="78"/>
                          </a:cubicBezTo>
                          <a:cubicBezTo>
                            <a:pt x="41" y="78"/>
                            <a:pt x="41" y="78"/>
                            <a:pt x="41" y="78"/>
                          </a:cubicBezTo>
                          <a:cubicBezTo>
                            <a:pt x="41" y="78"/>
                            <a:pt x="41" y="78"/>
                            <a:pt x="41" y="78"/>
                          </a:cubicBezTo>
                          <a:cubicBezTo>
                            <a:pt x="41" y="78"/>
                            <a:pt x="41" y="78"/>
                            <a:pt x="41" y="78"/>
                          </a:cubicBezTo>
                          <a:cubicBezTo>
                            <a:pt x="41" y="78"/>
                            <a:pt x="41" y="78"/>
                            <a:pt x="42" y="78"/>
                          </a:cubicBezTo>
                          <a:cubicBezTo>
                            <a:pt x="42" y="78"/>
                            <a:pt x="42" y="78"/>
                            <a:pt x="42" y="78"/>
                          </a:cubicBezTo>
                          <a:cubicBezTo>
                            <a:pt x="42" y="78"/>
                            <a:pt x="42" y="77"/>
                            <a:pt x="42" y="77"/>
                          </a:cubicBezTo>
                          <a:cubicBezTo>
                            <a:pt x="42" y="77"/>
                            <a:pt x="42" y="77"/>
                            <a:pt x="42" y="77"/>
                          </a:cubicBezTo>
                          <a:cubicBezTo>
                            <a:pt x="42" y="77"/>
                            <a:pt x="42" y="77"/>
                            <a:pt x="43" y="77"/>
                          </a:cubicBezTo>
                          <a:cubicBezTo>
                            <a:pt x="43" y="77"/>
                            <a:pt x="43" y="77"/>
                            <a:pt x="43" y="77"/>
                          </a:cubicBezTo>
                          <a:cubicBezTo>
                            <a:pt x="43" y="77"/>
                            <a:pt x="43" y="77"/>
                            <a:pt x="44" y="77"/>
                          </a:cubicBezTo>
                          <a:cubicBezTo>
                            <a:pt x="44" y="77"/>
                            <a:pt x="44" y="77"/>
                            <a:pt x="44" y="77"/>
                          </a:cubicBezTo>
                          <a:cubicBezTo>
                            <a:pt x="44" y="77"/>
                            <a:pt x="44" y="77"/>
                            <a:pt x="44" y="76"/>
                          </a:cubicBezTo>
                          <a:cubicBezTo>
                            <a:pt x="45" y="76"/>
                            <a:pt x="45" y="76"/>
                            <a:pt x="45" y="76"/>
                          </a:cubicBezTo>
                          <a:cubicBezTo>
                            <a:pt x="45" y="76"/>
                            <a:pt x="45" y="76"/>
                            <a:pt x="45" y="76"/>
                          </a:cubicBezTo>
                          <a:cubicBezTo>
                            <a:pt x="45" y="76"/>
                            <a:pt x="45" y="76"/>
                            <a:pt x="45" y="76"/>
                          </a:cubicBezTo>
                          <a:cubicBezTo>
                            <a:pt x="45" y="76"/>
                            <a:pt x="45" y="76"/>
                            <a:pt x="45" y="76"/>
                          </a:cubicBezTo>
                          <a:cubicBezTo>
                            <a:pt x="44" y="76"/>
                            <a:pt x="45" y="76"/>
                            <a:pt x="45" y="76"/>
                          </a:cubicBezTo>
                          <a:cubicBezTo>
                            <a:pt x="45" y="76"/>
                            <a:pt x="46" y="76"/>
                            <a:pt x="45" y="76"/>
                          </a:cubicBezTo>
                          <a:cubicBezTo>
                            <a:pt x="46" y="76"/>
                            <a:pt x="46" y="76"/>
                            <a:pt x="46" y="75"/>
                          </a:cubicBezTo>
                          <a:cubicBezTo>
                            <a:pt x="46" y="76"/>
                            <a:pt x="46" y="76"/>
                            <a:pt x="46" y="76"/>
                          </a:cubicBezTo>
                          <a:cubicBezTo>
                            <a:pt x="46" y="76"/>
                            <a:pt x="46" y="76"/>
                            <a:pt x="46" y="76"/>
                          </a:cubicBezTo>
                          <a:cubicBezTo>
                            <a:pt x="46" y="76"/>
                            <a:pt x="46" y="75"/>
                            <a:pt x="46" y="75"/>
                          </a:cubicBezTo>
                          <a:cubicBezTo>
                            <a:pt x="46" y="75"/>
                            <a:pt x="46" y="75"/>
                            <a:pt x="46" y="75"/>
                          </a:cubicBezTo>
                          <a:cubicBezTo>
                            <a:pt x="46" y="75"/>
                            <a:pt x="45" y="76"/>
                            <a:pt x="45" y="76"/>
                          </a:cubicBezTo>
                          <a:cubicBezTo>
                            <a:pt x="46" y="75"/>
                            <a:pt x="46" y="75"/>
                            <a:pt x="47" y="74"/>
                          </a:cubicBezTo>
                          <a:cubicBezTo>
                            <a:pt x="47" y="74"/>
                            <a:pt x="47" y="74"/>
                            <a:pt x="47" y="74"/>
                          </a:cubicBezTo>
                          <a:cubicBezTo>
                            <a:pt x="47" y="74"/>
                            <a:pt x="47" y="74"/>
                            <a:pt x="48" y="74"/>
                          </a:cubicBezTo>
                          <a:cubicBezTo>
                            <a:pt x="48" y="74"/>
                            <a:pt x="48" y="74"/>
                            <a:pt x="48" y="74"/>
                          </a:cubicBezTo>
                          <a:cubicBezTo>
                            <a:pt x="48" y="74"/>
                            <a:pt x="48" y="74"/>
                            <a:pt x="48" y="74"/>
                          </a:cubicBezTo>
                          <a:cubicBezTo>
                            <a:pt x="48" y="74"/>
                            <a:pt x="48" y="74"/>
                            <a:pt x="48" y="74"/>
                          </a:cubicBezTo>
                          <a:cubicBezTo>
                            <a:pt x="48" y="74"/>
                            <a:pt x="48" y="74"/>
                            <a:pt x="48" y="74"/>
                          </a:cubicBezTo>
                          <a:cubicBezTo>
                            <a:pt x="48" y="74"/>
                            <a:pt x="48" y="74"/>
                            <a:pt x="49" y="74"/>
                          </a:cubicBezTo>
                          <a:cubicBezTo>
                            <a:pt x="49" y="74"/>
                            <a:pt x="49" y="73"/>
                            <a:pt x="49" y="73"/>
                          </a:cubicBezTo>
                          <a:cubicBezTo>
                            <a:pt x="49" y="73"/>
                            <a:pt x="49" y="73"/>
                            <a:pt x="49" y="73"/>
                          </a:cubicBezTo>
                          <a:cubicBezTo>
                            <a:pt x="49" y="73"/>
                            <a:pt x="49" y="73"/>
                            <a:pt x="49" y="73"/>
                          </a:cubicBezTo>
                          <a:cubicBezTo>
                            <a:pt x="49" y="73"/>
                            <a:pt x="49" y="73"/>
                            <a:pt x="49" y="73"/>
                          </a:cubicBezTo>
                          <a:cubicBezTo>
                            <a:pt x="49" y="73"/>
                            <a:pt x="49" y="73"/>
                            <a:pt x="50" y="73"/>
                          </a:cubicBezTo>
                          <a:cubicBezTo>
                            <a:pt x="50" y="73"/>
                            <a:pt x="50" y="73"/>
                            <a:pt x="50" y="73"/>
                          </a:cubicBezTo>
                          <a:cubicBezTo>
                            <a:pt x="50" y="73"/>
                            <a:pt x="50" y="73"/>
                            <a:pt x="50" y="73"/>
                          </a:cubicBezTo>
                          <a:cubicBezTo>
                            <a:pt x="50" y="73"/>
                            <a:pt x="50" y="73"/>
                            <a:pt x="50" y="73"/>
                          </a:cubicBezTo>
                          <a:cubicBezTo>
                            <a:pt x="50" y="73"/>
                            <a:pt x="50" y="73"/>
                            <a:pt x="50" y="73"/>
                          </a:cubicBezTo>
                          <a:cubicBezTo>
                            <a:pt x="50" y="73"/>
                            <a:pt x="50" y="74"/>
                            <a:pt x="49" y="73"/>
                          </a:cubicBezTo>
                          <a:cubicBezTo>
                            <a:pt x="49" y="74"/>
                            <a:pt x="49" y="74"/>
                            <a:pt x="49" y="74"/>
                          </a:cubicBezTo>
                          <a:cubicBezTo>
                            <a:pt x="50" y="74"/>
                            <a:pt x="50" y="73"/>
                            <a:pt x="50" y="73"/>
                          </a:cubicBezTo>
                          <a:cubicBezTo>
                            <a:pt x="50" y="73"/>
                            <a:pt x="50" y="73"/>
                            <a:pt x="50" y="73"/>
                          </a:cubicBezTo>
                          <a:cubicBezTo>
                            <a:pt x="50" y="73"/>
                            <a:pt x="51" y="73"/>
                            <a:pt x="51" y="73"/>
                          </a:cubicBezTo>
                          <a:cubicBezTo>
                            <a:pt x="51" y="73"/>
                            <a:pt x="52" y="73"/>
                            <a:pt x="52" y="72"/>
                          </a:cubicBezTo>
                          <a:cubicBezTo>
                            <a:pt x="52" y="72"/>
                            <a:pt x="52" y="72"/>
                            <a:pt x="52" y="72"/>
                          </a:cubicBezTo>
                          <a:cubicBezTo>
                            <a:pt x="52" y="72"/>
                            <a:pt x="52" y="72"/>
                            <a:pt x="52" y="72"/>
                          </a:cubicBezTo>
                          <a:cubicBezTo>
                            <a:pt x="52" y="72"/>
                            <a:pt x="52" y="72"/>
                            <a:pt x="52" y="72"/>
                          </a:cubicBezTo>
                          <a:cubicBezTo>
                            <a:pt x="52" y="72"/>
                            <a:pt x="53" y="72"/>
                            <a:pt x="54" y="71"/>
                          </a:cubicBezTo>
                          <a:cubicBezTo>
                            <a:pt x="54" y="71"/>
                            <a:pt x="54" y="71"/>
                            <a:pt x="54" y="71"/>
                          </a:cubicBezTo>
                          <a:cubicBezTo>
                            <a:pt x="54" y="71"/>
                            <a:pt x="54" y="71"/>
                            <a:pt x="54" y="71"/>
                          </a:cubicBezTo>
                          <a:cubicBezTo>
                            <a:pt x="54" y="71"/>
                            <a:pt x="55" y="71"/>
                            <a:pt x="55" y="71"/>
                          </a:cubicBezTo>
                          <a:cubicBezTo>
                            <a:pt x="56" y="70"/>
                            <a:pt x="56" y="70"/>
                            <a:pt x="57" y="70"/>
                          </a:cubicBezTo>
                          <a:cubicBezTo>
                            <a:pt x="57" y="70"/>
                            <a:pt x="57" y="70"/>
                            <a:pt x="57" y="70"/>
                          </a:cubicBezTo>
                          <a:cubicBezTo>
                            <a:pt x="57" y="69"/>
                            <a:pt x="57" y="69"/>
                            <a:pt x="57" y="69"/>
                          </a:cubicBezTo>
                          <a:cubicBezTo>
                            <a:pt x="57" y="69"/>
                            <a:pt x="57" y="69"/>
                            <a:pt x="57" y="69"/>
                          </a:cubicBezTo>
                          <a:cubicBezTo>
                            <a:pt x="58" y="69"/>
                            <a:pt x="59" y="68"/>
                            <a:pt x="60" y="68"/>
                          </a:cubicBezTo>
                          <a:cubicBezTo>
                            <a:pt x="60" y="68"/>
                            <a:pt x="60" y="68"/>
                            <a:pt x="60" y="68"/>
                          </a:cubicBezTo>
                          <a:cubicBezTo>
                            <a:pt x="61" y="68"/>
                            <a:pt x="60" y="68"/>
                            <a:pt x="61" y="67"/>
                          </a:cubicBezTo>
                          <a:cubicBezTo>
                            <a:pt x="61" y="68"/>
                            <a:pt x="60" y="68"/>
                            <a:pt x="60" y="69"/>
                          </a:cubicBezTo>
                          <a:cubicBezTo>
                            <a:pt x="59" y="69"/>
                            <a:pt x="59" y="69"/>
                            <a:pt x="59" y="69"/>
                          </a:cubicBezTo>
                          <a:cubicBezTo>
                            <a:pt x="59" y="69"/>
                            <a:pt x="59" y="69"/>
                            <a:pt x="59" y="69"/>
                          </a:cubicBezTo>
                          <a:cubicBezTo>
                            <a:pt x="57" y="70"/>
                            <a:pt x="56" y="70"/>
                            <a:pt x="54" y="71"/>
                          </a:cubicBezTo>
                          <a:cubicBezTo>
                            <a:pt x="54" y="71"/>
                            <a:pt x="54" y="71"/>
                            <a:pt x="54" y="71"/>
                          </a:cubicBezTo>
                          <a:cubicBezTo>
                            <a:pt x="54" y="71"/>
                            <a:pt x="54" y="71"/>
                            <a:pt x="54" y="72"/>
                          </a:cubicBezTo>
                          <a:cubicBezTo>
                            <a:pt x="54" y="72"/>
                            <a:pt x="54" y="71"/>
                            <a:pt x="54" y="71"/>
                          </a:cubicBezTo>
                          <a:cubicBezTo>
                            <a:pt x="54" y="72"/>
                            <a:pt x="53" y="72"/>
                            <a:pt x="53" y="72"/>
                          </a:cubicBezTo>
                          <a:cubicBezTo>
                            <a:pt x="53" y="72"/>
                            <a:pt x="53" y="72"/>
                            <a:pt x="53" y="72"/>
                          </a:cubicBezTo>
                          <a:cubicBezTo>
                            <a:pt x="53" y="72"/>
                            <a:pt x="53" y="72"/>
                            <a:pt x="53" y="72"/>
                          </a:cubicBezTo>
                          <a:cubicBezTo>
                            <a:pt x="53" y="72"/>
                            <a:pt x="53" y="72"/>
                            <a:pt x="53" y="72"/>
                          </a:cubicBezTo>
                          <a:cubicBezTo>
                            <a:pt x="52" y="72"/>
                            <a:pt x="52" y="72"/>
                            <a:pt x="52" y="72"/>
                          </a:cubicBezTo>
                          <a:cubicBezTo>
                            <a:pt x="52" y="72"/>
                            <a:pt x="52" y="72"/>
                            <a:pt x="52" y="73"/>
                          </a:cubicBezTo>
                          <a:cubicBezTo>
                            <a:pt x="52" y="73"/>
                            <a:pt x="52" y="72"/>
                            <a:pt x="52" y="72"/>
                          </a:cubicBezTo>
                          <a:cubicBezTo>
                            <a:pt x="52" y="73"/>
                            <a:pt x="52" y="73"/>
                            <a:pt x="52" y="73"/>
                          </a:cubicBezTo>
                          <a:cubicBezTo>
                            <a:pt x="52" y="73"/>
                            <a:pt x="52" y="73"/>
                            <a:pt x="52" y="73"/>
                          </a:cubicBezTo>
                          <a:cubicBezTo>
                            <a:pt x="51" y="73"/>
                            <a:pt x="51" y="73"/>
                            <a:pt x="51" y="73"/>
                          </a:cubicBezTo>
                          <a:cubicBezTo>
                            <a:pt x="51" y="73"/>
                            <a:pt x="51" y="73"/>
                            <a:pt x="51" y="73"/>
                          </a:cubicBezTo>
                          <a:cubicBezTo>
                            <a:pt x="51" y="73"/>
                            <a:pt x="51" y="73"/>
                            <a:pt x="51" y="73"/>
                          </a:cubicBezTo>
                          <a:cubicBezTo>
                            <a:pt x="51" y="74"/>
                            <a:pt x="51" y="73"/>
                            <a:pt x="51" y="73"/>
                          </a:cubicBezTo>
                          <a:cubicBezTo>
                            <a:pt x="51" y="73"/>
                            <a:pt x="51" y="73"/>
                            <a:pt x="51" y="73"/>
                          </a:cubicBezTo>
                          <a:cubicBezTo>
                            <a:pt x="51" y="74"/>
                            <a:pt x="51" y="74"/>
                            <a:pt x="51" y="74"/>
                          </a:cubicBezTo>
                          <a:cubicBezTo>
                            <a:pt x="51" y="74"/>
                            <a:pt x="51" y="74"/>
                            <a:pt x="51" y="74"/>
                          </a:cubicBezTo>
                          <a:cubicBezTo>
                            <a:pt x="51" y="73"/>
                            <a:pt x="52" y="73"/>
                            <a:pt x="52" y="73"/>
                          </a:cubicBezTo>
                          <a:cubicBezTo>
                            <a:pt x="52" y="73"/>
                            <a:pt x="52" y="73"/>
                            <a:pt x="52" y="73"/>
                          </a:cubicBezTo>
                          <a:cubicBezTo>
                            <a:pt x="52" y="73"/>
                            <a:pt x="52" y="73"/>
                            <a:pt x="52" y="73"/>
                          </a:cubicBezTo>
                          <a:cubicBezTo>
                            <a:pt x="52" y="73"/>
                            <a:pt x="52" y="73"/>
                            <a:pt x="52" y="73"/>
                          </a:cubicBezTo>
                          <a:cubicBezTo>
                            <a:pt x="52" y="73"/>
                            <a:pt x="52" y="73"/>
                            <a:pt x="53" y="73"/>
                          </a:cubicBezTo>
                          <a:cubicBezTo>
                            <a:pt x="53" y="73"/>
                            <a:pt x="53" y="73"/>
                            <a:pt x="53" y="73"/>
                          </a:cubicBezTo>
                          <a:cubicBezTo>
                            <a:pt x="53" y="73"/>
                            <a:pt x="53" y="72"/>
                            <a:pt x="53" y="72"/>
                          </a:cubicBezTo>
                          <a:cubicBezTo>
                            <a:pt x="53" y="72"/>
                            <a:pt x="53" y="73"/>
                            <a:pt x="53" y="73"/>
                          </a:cubicBezTo>
                          <a:cubicBezTo>
                            <a:pt x="53" y="72"/>
                            <a:pt x="53" y="72"/>
                            <a:pt x="53" y="72"/>
                          </a:cubicBezTo>
                          <a:cubicBezTo>
                            <a:pt x="53" y="72"/>
                            <a:pt x="54" y="72"/>
                            <a:pt x="54" y="72"/>
                          </a:cubicBezTo>
                          <a:cubicBezTo>
                            <a:pt x="54" y="72"/>
                            <a:pt x="54" y="72"/>
                            <a:pt x="53" y="72"/>
                          </a:cubicBezTo>
                          <a:cubicBezTo>
                            <a:pt x="53" y="72"/>
                            <a:pt x="53" y="72"/>
                            <a:pt x="53" y="72"/>
                          </a:cubicBezTo>
                          <a:cubicBezTo>
                            <a:pt x="53" y="72"/>
                            <a:pt x="54" y="72"/>
                            <a:pt x="54" y="72"/>
                          </a:cubicBezTo>
                          <a:cubicBezTo>
                            <a:pt x="54" y="72"/>
                            <a:pt x="54" y="72"/>
                            <a:pt x="54" y="72"/>
                          </a:cubicBezTo>
                          <a:cubicBezTo>
                            <a:pt x="54" y="72"/>
                            <a:pt x="54" y="72"/>
                            <a:pt x="54" y="72"/>
                          </a:cubicBezTo>
                          <a:cubicBezTo>
                            <a:pt x="54" y="72"/>
                            <a:pt x="55" y="72"/>
                            <a:pt x="56" y="72"/>
                          </a:cubicBezTo>
                          <a:cubicBezTo>
                            <a:pt x="56" y="72"/>
                            <a:pt x="56" y="72"/>
                            <a:pt x="55" y="72"/>
                          </a:cubicBezTo>
                          <a:cubicBezTo>
                            <a:pt x="55" y="72"/>
                            <a:pt x="55" y="72"/>
                            <a:pt x="55" y="72"/>
                          </a:cubicBezTo>
                          <a:cubicBezTo>
                            <a:pt x="55" y="72"/>
                            <a:pt x="55" y="72"/>
                            <a:pt x="55" y="72"/>
                          </a:cubicBezTo>
                          <a:cubicBezTo>
                            <a:pt x="54" y="73"/>
                            <a:pt x="54" y="73"/>
                            <a:pt x="53" y="73"/>
                          </a:cubicBezTo>
                          <a:cubicBezTo>
                            <a:pt x="53" y="73"/>
                            <a:pt x="53" y="73"/>
                            <a:pt x="53" y="73"/>
                          </a:cubicBezTo>
                          <a:cubicBezTo>
                            <a:pt x="53" y="73"/>
                            <a:pt x="53" y="73"/>
                            <a:pt x="53" y="73"/>
                          </a:cubicBezTo>
                          <a:cubicBezTo>
                            <a:pt x="53" y="74"/>
                            <a:pt x="52" y="74"/>
                            <a:pt x="51" y="74"/>
                          </a:cubicBezTo>
                          <a:cubicBezTo>
                            <a:pt x="51" y="74"/>
                            <a:pt x="51" y="74"/>
                            <a:pt x="52" y="74"/>
                          </a:cubicBezTo>
                          <a:cubicBezTo>
                            <a:pt x="51" y="74"/>
                            <a:pt x="51" y="74"/>
                            <a:pt x="51" y="74"/>
                          </a:cubicBezTo>
                          <a:cubicBezTo>
                            <a:pt x="51" y="74"/>
                            <a:pt x="51" y="74"/>
                            <a:pt x="51" y="74"/>
                          </a:cubicBezTo>
                          <a:cubicBezTo>
                            <a:pt x="50" y="75"/>
                            <a:pt x="50" y="75"/>
                            <a:pt x="49" y="75"/>
                          </a:cubicBezTo>
                          <a:cubicBezTo>
                            <a:pt x="49" y="75"/>
                            <a:pt x="50" y="74"/>
                            <a:pt x="51" y="74"/>
                          </a:cubicBezTo>
                          <a:cubicBezTo>
                            <a:pt x="51" y="74"/>
                            <a:pt x="52" y="74"/>
                            <a:pt x="52" y="73"/>
                          </a:cubicBezTo>
                          <a:cubicBezTo>
                            <a:pt x="51" y="74"/>
                            <a:pt x="51" y="74"/>
                            <a:pt x="50" y="74"/>
                          </a:cubicBezTo>
                          <a:cubicBezTo>
                            <a:pt x="50" y="74"/>
                            <a:pt x="50" y="74"/>
                            <a:pt x="50" y="74"/>
                          </a:cubicBezTo>
                          <a:cubicBezTo>
                            <a:pt x="50" y="74"/>
                            <a:pt x="50" y="74"/>
                            <a:pt x="50" y="74"/>
                          </a:cubicBezTo>
                          <a:cubicBezTo>
                            <a:pt x="50" y="74"/>
                            <a:pt x="50" y="74"/>
                            <a:pt x="50" y="74"/>
                          </a:cubicBezTo>
                          <a:cubicBezTo>
                            <a:pt x="50" y="74"/>
                            <a:pt x="50" y="74"/>
                            <a:pt x="50" y="74"/>
                          </a:cubicBezTo>
                          <a:cubicBezTo>
                            <a:pt x="50" y="74"/>
                            <a:pt x="49" y="74"/>
                            <a:pt x="49" y="75"/>
                          </a:cubicBezTo>
                          <a:cubicBezTo>
                            <a:pt x="49" y="74"/>
                            <a:pt x="49" y="74"/>
                            <a:pt x="49" y="74"/>
                          </a:cubicBezTo>
                          <a:cubicBezTo>
                            <a:pt x="49" y="74"/>
                            <a:pt x="49" y="74"/>
                            <a:pt x="49" y="74"/>
                          </a:cubicBezTo>
                          <a:cubicBezTo>
                            <a:pt x="49" y="74"/>
                            <a:pt x="49" y="74"/>
                            <a:pt x="49" y="74"/>
                          </a:cubicBezTo>
                          <a:cubicBezTo>
                            <a:pt x="49" y="75"/>
                            <a:pt x="49" y="75"/>
                            <a:pt x="49" y="75"/>
                          </a:cubicBezTo>
                          <a:cubicBezTo>
                            <a:pt x="49" y="75"/>
                            <a:pt x="48" y="75"/>
                            <a:pt x="48" y="75"/>
                          </a:cubicBezTo>
                          <a:cubicBezTo>
                            <a:pt x="48" y="75"/>
                            <a:pt x="48" y="75"/>
                            <a:pt x="48" y="75"/>
                          </a:cubicBezTo>
                          <a:cubicBezTo>
                            <a:pt x="48" y="75"/>
                            <a:pt x="48" y="75"/>
                            <a:pt x="48" y="75"/>
                          </a:cubicBezTo>
                          <a:cubicBezTo>
                            <a:pt x="48" y="76"/>
                            <a:pt x="48" y="76"/>
                            <a:pt x="48" y="75"/>
                          </a:cubicBezTo>
                          <a:cubicBezTo>
                            <a:pt x="46" y="76"/>
                            <a:pt x="46" y="77"/>
                            <a:pt x="45" y="77"/>
                          </a:cubicBezTo>
                          <a:cubicBezTo>
                            <a:pt x="45" y="77"/>
                            <a:pt x="45" y="77"/>
                            <a:pt x="45" y="77"/>
                          </a:cubicBezTo>
                          <a:cubicBezTo>
                            <a:pt x="45" y="76"/>
                            <a:pt x="44" y="77"/>
                            <a:pt x="44" y="77"/>
                          </a:cubicBezTo>
                          <a:cubicBezTo>
                            <a:pt x="44" y="77"/>
                            <a:pt x="44" y="77"/>
                            <a:pt x="44" y="77"/>
                          </a:cubicBezTo>
                          <a:cubicBezTo>
                            <a:pt x="44" y="77"/>
                            <a:pt x="44" y="77"/>
                            <a:pt x="44" y="78"/>
                          </a:cubicBezTo>
                          <a:cubicBezTo>
                            <a:pt x="43" y="77"/>
                            <a:pt x="44" y="77"/>
                            <a:pt x="44" y="77"/>
                          </a:cubicBezTo>
                          <a:cubicBezTo>
                            <a:pt x="44" y="77"/>
                            <a:pt x="43" y="78"/>
                            <a:pt x="43" y="77"/>
                          </a:cubicBezTo>
                          <a:cubicBezTo>
                            <a:pt x="43" y="78"/>
                            <a:pt x="42" y="78"/>
                            <a:pt x="42" y="78"/>
                          </a:cubicBezTo>
                          <a:cubicBezTo>
                            <a:pt x="42" y="78"/>
                            <a:pt x="42" y="78"/>
                            <a:pt x="42" y="78"/>
                          </a:cubicBezTo>
                          <a:cubicBezTo>
                            <a:pt x="42" y="78"/>
                            <a:pt x="42" y="78"/>
                            <a:pt x="41" y="78"/>
                          </a:cubicBezTo>
                          <a:cubicBezTo>
                            <a:pt x="41" y="79"/>
                            <a:pt x="42" y="78"/>
                            <a:pt x="42" y="79"/>
                          </a:cubicBezTo>
                          <a:cubicBezTo>
                            <a:pt x="42" y="79"/>
                            <a:pt x="42" y="78"/>
                            <a:pt x="42" y="78"/>
                          </a:cubicBezTo>
                          <a:cubicBezTo>
                            <a:pt x="42" y="78"/>
                            <a:pt x="41" y="79"/>
                            <a:pt x="42" y="79"/>
                          </a:cubicBezTo>
                          <a:cubicBezTo>
                            <a:pt x="42" y="79"/>
                            <a:pt x="41" y="79"/>
                            <a:pt x="41" y="79"/>
                          </a:cubicBezTo>
                          <a:cubicBezTo>
                            <a:pt x="41" y="79"/>
                            <a:pt x="40" y="79"/>
                            <a:pt x="41" y="79"/>
                          </a:cubicBezTo>
                          <a:cubicBezTo>
                            <a:pt x="41" y="79"/>
                            <a:pt x="41" y="79"/>
                            <a:pt x="41" y="79"/>
                          </a:cubicBezTo>
                          <a:cubicBezTo>
                            <a:pt x="41" y="79"/>
                            <a:pt x="41" y="79"/>
                            <a:pt x="40" y="79"/>
                          </a:cubicBezTo>
                          <a:cubicBezTo>
                            <a:pt x="40" y="79"/>
                            <a:pt x="40" y="79"/>
                            <a:pt x="40" y="79"/>
                          </a:cubicBezTo>
                          <a:cubicBezTo>
                            <a:pt x="40" y="79"/>
                            <a:pt x="39" y="79"/>
                            <a:pt x="39" y="80"/>
                          </a:cubicBezTo>
                          <a:cubicBezTo>
                            <a:pt x="39" y="79"/>
                            <a:pt x="38" y="80"/>
                            <a:pt x="38" y="80"/>
                          </a:cubicBezTo>
                          <a:cubicBezTo>
                            <a:pt x="38" y="81"/>
                            <a:pt x="37" y="81"/>
                            <a:pt x="36" y="81"/>
                          </a:cubicBezTo>
                          <a:cubicBezTo>
                            <a:pt x="36" y="81"/>
                            <a:pt x="36" y="81"/>
                            <a:pt x="36" y="82"/>
                          </a:cubicBezTo>
                          <a:cubicBezTo>
                            <a:pt x="36" y="82"/>
                            <a:pt x="36" y="81"/>
                            <a:pt x="36" y="82"/>
                          </a:cubicBezTo>
                          <a:cubicBezTo>
                            <a:pt x="36" y="82"/>
                            <a:pt x="36" y="82"/>
                            <a:pt x="36" y="82"/>
                          </a:cubicBezTo>
                          <a:cubicBezTo>
                            <a:pt x="36" y="82"/>
                            <a:pt x="36" y="81"/>
                            <a:pt x="37" y="81"/>
                          </a:cubicBezTo>
                          <a:cubicBezTo>
                            <a:pt x="37" y="81"/>
                            <a:pt x="37" y="81"/>
                            <a:pt x="37" y="81"/>
                          </a:cubicBezTo>
                          <a:cubicBezTo>
                            <a:pt x="37" y="81"/>
                            <a:pt x="37" y="81"/>
                            <a:pt x="37" y="81"/>
                          </a:cubicBezTo>
                          <a:cubicBezTo>
                            <a:pt x="37" y="81"/>
                            <a:pt x="37" y="81"/>
                            <a:pt x="37" y="81"/>
                          </a:cubicBezTo>
                          <a:cubicBezTo>
                            <a:pt x="37" y="81"/>
                            <a:pt x="37" y="81"/>
                            <a:pt x="37" y="81"/>
                          </a:cubicBezTo>
                          <a:cubicBezTo>
                            <a:pt x="37" y="81"/>
                            <a:pt x="38" y="81"/>
                            <a:pt x="37" y="81"/>
                          </a:cubicBezTo>
                          <a:cubicBezTo>
                            <a:pt x="38" y="81"/>
                            <a:pt x="39" y="80"/>
                            <a:pt x="39" y="80"/>
                          </a:cubicBezTo>
                          <a:cubicBezTo>
                            <a:pt x="39" y="80"/>
                            <a:pt x="40" y="80"/>
                            <a:pt x="40" y="79"/>
                          </a:cubicBezTo>
                          <a:cubicBezTo>
                            <a:pt x="40" y="79"/>
                            <a:pt x="40" y="79"/>
                            <a:pt x="41" y="79"/>
                          </a:cubicBezTo>
                          <a:cubicBezTo>
                            <a:pt x="41" y="79"/>
                            <a:pt x="41" y="79"/>
                            <a:pt x="40" y="80"/>
                          </a:cubicBezTo>
                          <a:cubicBezTo>
                            <a:pt x="40" y="80"/>
                            <a:pt x="41" y="79"/>
                            <a:pt x="41" y="80"/>
                          </a:cubicBezTo>
                          <a:cubicBezTo>
                            <a:pt x="41" y="79"/>
                            <a:pt x="41" y="79"/>
                            <a:pt x="41" y="79"/>
                          </a:cubicBezTo>
                          <a:cubicBezTo>
                            <a:pt x="41" y="79"/>
                            <a:pt x="41" y="79"/>
                            <a:pt x="41" y="79"/>
                          </a:cubicBezTo>
                          <a:cubicBezTo>
                            <a:pt x="41" y="79"/>
                            <a:pt x="41" y="79"/>
                            <a:pt x="42" y="79"/>
                          </a:cubicBezTo>
                          <a:cubicBezTo>
                            <a:pt x="42" y="79"/>
                            <a:pt x="42" y="79"/>
                            <a:pt x="42" y="79"/>
                          </a:cubicBezTo>
                          <a:cubicBezTo>
                            <a:pt x="42" y="79"/>
                            <a:pt x="42" y="79"/>
                            <a:pt x="42" y="79"/>
                          </a:cubicBezTo>
                          <a:cubicBezTo>
                            <a:pt x="42" y="79"/>
                            <a:pt x="43" y="79"/>
                            <a:pt x="43" y="79"/>
                          </a:cubicBezTo>
                          <a:cubicBezTo>
                            <a:pt x="43" y="78"/>
                            <a:pt x="43" y="79"/>
                            <a:pt x="43" y="78"/>
                          </a:cubicBezTo>
                          <a:cubicBezTo>
                            <a:pt x="43" y="78"/>
                            <a:pt x="43" y="78"/>
                            <a:pt x="43" y="78"/>
                          </a:cubicBezTo>
                          <a:cubicBezTo>
                            <a:pt x="43" y="78"/>
                            <a:pt x="44" y="78"/>
                            <a:pt x="44" y="78"/>
                          </a:cubicBezTo>
                          <a:cubicBezTo>
                            <a:pt x="44" y="78"/>
                            <a:pt x="44" y="78"/>
                            <a:pt x="44" y="78"/>
                          </a:cubicBezTo>
                          <a:cubicBezTo>
                            <a:pt x="44" y="78"/>
                            <a:pt x="44" y="78"/>
                            <a:pt x="45" y="78"/>
                          </a:cubicBezTo>
                          <a:cubicBezTo>
                            <a:pt x="45" y="78"/>
                            <a:pt x="45" y="78"/>
                            <a:pt x="45" y="78"/>
                          </a:cubicBezTo>
                          <a:cubicBezTo>
                            <a:pt x="45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5" y="78"/>
                          </a:cubicBezTo>
                          <a:cubicBezTo>
                            <a:pt x="45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7" y="77"/>
                          </a:cubicBezTo>
                          <a:cubicBezTo>
                            <a:pt x="46" y="78"/>
                            <a:pt x="46" y="78"/>
                            <a:pt x="47" y="78"/>
                          </a:cubicBezTo>
                          <a:cubicBezTo>
                            <a:pt x="46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5" y="78"/>
                            <a:pt x="45" y="78"/>
                          </a:cubicBezTo>
                          <a:cubicBezTo>
                            <a:pt x="45" y="78"/>
                            <a:pt x="45" y="78"/>
                            <a:pt x="45" y="78"/>
                          </a:cubicBezTo>
                          <a:cubicBezTo>
                            <a:pt x="44" y="79"/>
                            <a:pt x="44" y="79"/>
                            <a:pt x="44" y="79"/>
                          </a:cubicBezTo>
                          <a:cubicBezTo>
                            <a:pt x="44" y="79"/>
                            <a:pt x="44" y="79"/>
                            <a:pt x="44" y="79"/>
                          </a:cubicBezTo>
                          <a:cubicBezTo>
                            <a:pt x="44" y="79"/>
                            <a:pt x="45" y="79"/>
                            <a:pt x="45" y="78"/>
                          </a:cubicBezTo>
                          <a:cubicBezTo>
                            <a:pt x="46" y="78"/>
                            <a:pt x="45" y="78"/>
                            <a:pt x="45" y="78"/>
                          </a:cubicBezTo>
                          <a:cubicBezTo>
                            <a:pt x="45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6" y="78"/>
                          </a:cubicBezTo>
                          <a:cubicBezTo>
                            <a:pt x="46" y="78"/>
                            <a:pt x="46" y="78"/>
                            <a:pt x="47" y="78"/>
                          </a:cubicBezTo>
                          <a:cubicBezTo>
                            <a:pt x="47" y="78"/>
                            <a:pt x="47" y="78"/>
                            <a:pt x="47" y="78"/>
                          </a:cubicBezTo>
                          <a:cubicBezTo>
                            <a:pt x="47" y="78"/>
                            <a:pt x="47" y="77"/>
                            <a:pt x="48" y="77"/>
                          </a:cubicBezTo>
                          <a:cubicBezTo>
                            <a:pt x="48" y="78"/>
                            <a:pt x="49" y="78"/>
                            <a:pt x="49" y="77"/>
                          </a:cubicBezTo>
                          <a:cubicBezTo>
                            <a:pt x="49" y="77"/>
                            <a:pt x="49" y="77"/>
                            <a:pt x="49" y="77"/>
                          </a:cubicBezTo>
                          <a:cubicBezTo>
                            <a:pt x="49" y="77"/>
                            <a:pt x="49" y="77"/>
                            <a:pt x="49" y="78"/>
                          </a:cubicBezTo>
                          <a:cubicBezTo>
                            <a:pt x="49" y="77"/>
                            <a:pt x="48" y="78"/>
                            <a:pt x="48" y="77"/>
                          </a:cubicBezTo>
                          <a:cubicBezTo>
                            <a:pt x="49" y="77"/>
                            <a:pt x="49" y="77"/>
                            <a:pt x="49" y="77"/>
                          </a:cubicBezTo>
                          <a:cubicBezTo>
                            <a:pt x="49" y="77"/>
                            <a:pt x="49" y="77"/>
                            <a:pt x="49" y="77"/>
                          </a:cubicBezTo>
                          <a:cubicBezTo>
                            <a:pt x="49" y="77"/>
                            <a:pt x="49" y="77"/>
                            <a:pt x="49" y="77"/>
                          </a:cubicBezTo>
                          <a:cubicBezTo>
                            <a:pt x="49" y="77"/>
                            <a:pt x="50" y="77"/>
                            <a:pt x="50" y="76"/>
                          </a:cubicBezTo>
                          <a:cubicBezTo>
                            <a:pt x="50" y="76"/>
                            <a:pt x="50" y="77"/>
                            <a:pt x="50" y="77"/>
                          </a:cubicBezTo>
                          <a:cubicBezTo>
                            <a:pt x="50" y="77"/>
                            <a:pt x="50" y="77"/>
                            <a:pt x="50" y="77"/>
                          </a:cubicBezTo>
                          <a:cubicBezTo>
                            <a:pt x="50" y="77"/>
                            <a:pt x="50" y="77"/>
                            <a:pt x="49" y="77"/>
                          </a:cubicBezTo>
                          <a:cubicBezTo>
                            <a:pt x="50" y="78"/>
                            <a:pt x="50" y="77"/>
                            <a:pt x="50" y="77"/>
                          </a:cubicBezTo>
                          <a:cubicBezTo>
                            <a:pt x="51" y="77"/>
                            <a:pt x="50" y="77"/>
                            <a:pt x="51" y="77"/>
                          </a:cubicBezTo>
                          <a:cubicBezTo>
                            <a:pt x="51" y="76"/>
                            <a:pt x="50" y="77"/>
                            <a:pt x="50" y="77"/>
                          </a:cubicBezTo>
                          <a:cubicBezTo>
                            <a:pt x="50" y="77"/>
                            <a:pt x="51" y="76"/>
                            <a:pt x="51" y="76"/>
                          </a:cubicBezTo>
                          <a:cubicBezTo>
                            <a:pt x="51" y="76"/>
                            <a:pt x="51" y="76"/>
                            <a:pt x="51" y="76"/>
                          </a:cubicBezTo>
                          <a:cubicBezTo>
                            <a:pt x="51" y="76"/>
                            <a:pt x="51" y="76"/>
                            <a:pt x="51" y="76"/>
                          </a:cubicBezTo>
                          <a:cubicBezTo>
                            <a:pt x="51" y="76"/>
                            <a:pt x="51" y="76"/>
                            <a:pt x="51" y="76"/>
                          </a:cubicBezTo>
                          <a:cubicBezTo>
                            <a:pt x="51" y="76"/>
                            <a:pt x="51" y="76"/>
                            <a:pt x="51" y="76"/>
                          </a:cubicBezTo>
                          <a:cubicBezTo>
                            <a:pt x="52" y="76"/>
                            <a:pt x="52" y="76"/>
                            <a:pt x="52" y="76"/>
                          </a:cubicBezTo>
                          <a:cubicBezTo>
                            <a:pt x="52" y="76"/>
                            <a:pt x="52" y="76"/>
                            <a:pt x="52" y="76"/>
                          </a:cubicBezTo>
                          <a:cubicBezTo>
                            <a:pt x="52" y="76"/>
                            <a:pt x="51" y="76"/>
                            <a:pt x="51" y="76"/>
                          </a:cubicBezTo>
                          <a:cubicBezTo>
                            <a:pt x="51" y="76"/>
                            <a:pt x="51" y="76"/>
                            <a:pt x="51" y="76"/>
                          </a:cubicBezTo>
                          <a:cubicBezTo>
                            <a:pt x="51" y="76"/>
                            <a:pt x="50" y="76"/>
                            <a:pt x="50" y="76"/>
                          </a:cubicBezTo>
                          <a:cubicBezTo>
                            <a:pt x="50" y="76"/>
                            <a:pt x="50" y="76"/>
                            <a:pt x="50" y="76"/>
                          </a:cubicBezTo>
                          <a:cubicBezTo>
                            <a:pt x="50" y="76"/>
                            <a:pt x="50" y="76"/>
                            <a:pt x="50" y="76"/>
                          </a:cubicBezTo>
                          <a:cubicBezTo>
                            <a:pt x="50" y="76"/>
                            <a:pt x="50" y="75"/>
                            <a:pt x="51" y="75"/>
                          </a:cubicBezTo>
                          <a:cubicBezTo>
                            <a:pt x="51" y="75"/>
                            <a:pt x="50" y="75"/>
                            <a:pt x="50" y="75"/>
                          </a:cubicBezTo>
                          <a:cubicBezTo>
                            <a:pt x="50" y="76"/>
                            <a:pt x="50" y="75"/>
                            <a:pt x="51" y="75"/>
                          </a:cubicBezTo>
                          <a:cubicBezTo>
                            <a:pt x="51" y="75"/>
                            <a:pt x="51" y="75"/>
                            <a:pt x="51" y="75"/>
                          </a:cubicBezTo>
                          <a:cubicBezTo>
                            <a:pt x="51" y="75"/>
                            <a:pt x="51" y="75"/>
                            <a:pt x="51" y="76"/>
                          </a:cubicBezTo>
                          <a:cubicBezTo>
                            <a:pt x="51" y="76"/>
                            <a:pt x="51" y="75"/>
                            <a:pt x="51" y="76"/>
                          </a:cubicBezTo>
                          <a:cubicBezTo>
                            <a:pt x="51" y="75"/>
                            <a:pt x="52" y="75"/>
                            <a:pt x="52" y="75"/>
                          </a:cubicBezTo>
                          <a:cubicBezTo>
                            <a:pt x="52" y="75"/>
                            <a:pt x="51" y="75"/>
                            <a:pt x="51" y="75"/>
                          </a:cubicBezTo>
                          <a:cubicBezTo>
                            <a:pt x="52" y="75"/>
                            <a:pt x="52" y="75"/>
                            <a:pt x="52" y="75"/>
                          </a:cubicBezTo>
                          <a:cubicBezTo>
                            <a:pt x="52" y="75"/>
                            <a:pt x="52" y="75"/>
                            <a:pt x="52" y="75"/>
                          </a:cubicBezTo>
                          <a:cubicBezTo>
                            <a:pt x="53" y="75"/>
                            <a:pt x="53" y="74"/>
                            <a:pt x="53" y="74"/>
                          </a:cubicBezTo>
                          <a:cubicBezTo>
                            <a:pt x="54" y="74"/>
                            <a:pt x="54" y="74"/>
                            <a:pt x="54" y="74"/>
                          </a:cubicBezTo>
                          <a:cubicBezTo>
                            <a:pt x="54" y="73"/>
                            <a:pt x="55" y="73"/>
                            <a:pt x="55" y="73"/>
                          </a:cubicBezTo>
                          <a:cubicBezTo>
                            <a:pt x="55" y="73"/>
                            <a:pt x="55" y="73"/>
                            <a:pt x="55" y="73"/>
                          </a:cubicBezTo>
                          <a:cubicBezTo>
                            <a:pt x="56" y="73"/>
                            <a:pt x="56" y="73"/>
                            <a:pt x="56" y="73"/>
                          </a:cubicBezTo>
                          <a:cubicBezTo>
                            <a:pt x="56" y="73"/>
                            <a:pt x="56" y="73"/>
                            <a:pt x="55" y="73"/>
                          </a:cubicBezTo>
                          <a:cubicBezTo>
                            <a:pt x="56" y="73"/>
                            <a:pt x="56" y="73"/>
                            <a:pt x="56" y="72"/>
                          </a:cubicBezTo>
                          <a:cubicBezTo>
                            <a:pt x="56" y="72"/>
                            <a:pt x="56" y="73"/>
                            <a:pt x="56" y="73"/>
                          </a:cubicBezTo>
                          <a:cubicBezTo>
                            <a:pt x="56" y="73"/>
                            <a:pt x="56" y="73"/>
                            <a:pt x="57" y="72"/>
                          </a:cubicBezTo>
                          <a:cubicBezTo>
                            <a:pt x="57" y="72"/>
                            <a:pt x="57" y="72"/>
                            <a:pt x="57" y="73"/>
                          </a:cubicBezTo>
                          <a:cubicBezTo>
                            <a:pt x="57" y="72"/>
                            <a:pt x="57" y="72"/>
                            <a:pt x="57" y="72"/>
                          </a:cubicBezTo>
                          <a:cubicBezTo>
                            <a:pt x="57" y="72"/>
                            <a:pt x="58" y="72"/>
                            <a:pt x="57" y="72"/>
                          </a:cubicBezTo>
                          <a:cubicBezTo>
                            <a:pt x="58" y="72"/>
                            <a:pt x="58" y="72"/>
                            <a:pt x="58" y="72"/>
                          </a:cubicBezTo>
                          <a:cubicBezTo>
                            <a:pt x="58" y="72"/>
                            <a:pt x="58" y="72"/>
                            <a:pt x="58" y="72"/>
                          </a:cubicBezTo>
                          <a:cubicBezTo>
                            <a:pt x="58" y="72"/>
                            <a:pt x="58" y="72"/>
                            <a:pt x="58" y="72"/>
                          </a:cubicBezTo>
                          <a:cubicBezTo>
                            <a:pt x="58" y="72"/>
                            <a:pt x="58" y="72"/>
                            <a:pt x="58" y="72"/>
                          </a:cubicBezTo>
                          <a:cubicBezTo>
                            <a:pt x="57" y="72"/>
                            <a:pt x="57" y="72"/>
                            <a:pt x="57" y="73"/>
                          </a:cubicBezTo>
                          <a:cubicBezTo>
                            <a:pt x="57" y="73"/>
                            <a:pt x="57" y="73"/>
                            <a:pt x="57" y="73"/>
                          </a:cubicBezTo>
                          <a:cubicBezTo>
                            <a:pt x="56" y="73"/>
                            <a:pt x="57" y="73"/>
                            <a:pt x="57" y="73"/>
                          </a:cubicBezTo>
                          <a:cubicBezTo>
                            <a:pt x="56" y="73"/>
                            <a:pt x="57" y="73"/>
                            <a:pt x="56" y="73"/>
                          </a:cubicBezTo>
                          <a:cubicBezTo>
                            <a:pt x="56" y="73"/>
                            <a:pt x="56" y="74"/>
                            <a:pt x="56" y="73"/>
                          </a:cubicBezTo>
                          <a:cubicBezTo>
                            <a:pt x="55" y="74"/>
                            <a:pt x="55" y="74"/>
                            <a:pt x="55" y="74"/>
                          </a:cubicBezTo>
                          <a:cubicBezTo>
                            <a:pt x="55" y="74"/>
                            <a:pt x="55" y="74"/>
                            <a:pt x="55" y="74"/>
                          </a:cubicBezTo>
                          <a:cubicBezTo>
                            <a:pt x="55" y="74"/>
                            <a:pt x="55" y="74"/>
                            <a:pt x="55" y="73"/>
                          </a:cubicBezTo>
                          <a:cubicBezTo>
                            <a:pt x="55" y="73"/>
                            <a:pt x="55" y="74"/>
                            <a:pt x="55" y="74"/>
                          </a:cubicBezTo>
                          <a:cubicBezTo>
                            <a:pt x="55" y="74"/>
                            <a:pt x="55" y="74"/>
                            <a:pt x="55" y="74"/>
                          </a:cubicBezTo>
                          <a:cubicBezTo>
                            <a:pt x="55" y="74"/>
                            <a:pt x="55" y="74"/>
                            <a:pt x="55" y="74"/>
                          </a:cubicBezTo>
                          <a:cubicBezTo>
                            <a:pt x="55" y="75"/>
                            <a:pt x="54" y="74"/>
                            <a:pt x="54" y="74"/>
                          </a:cubicBezTo>
                          <a:cubicBezTo>
                            <a:pt x="54" y="74"/>
                            <a:pt x="53" y="75"/>
                            <a:pt x="53" y="75"/>
                          </a:cubicBezTo>
                          <a:cubicBezTo>
                            <a:pt x="54" y="75"/>
                            <a:pt x="54" y="74"/>
                            <a:pt x="54" y="74"/>
                          </a:cubicBezTo>
                          <a:cubicBezTo>
                            <a:pt x="54" y="74"/>
                            <a:pt x="54" y="74"/>
                            <a:pt x="54" y="74"/>
                          </a:cubicBezTo>
                          <a:cubicBezTo>
                            <a:pt x="54" y="75"/>
                            <a:pt x="54" y="75"/>
                            <a:pt x="53" y="75"/>
                          </a:cubicBezTo>
                          <a:cubicBezTo>
                            <a:pt x="53" y="75"/>
                            <a:pt x="53" y="75"/>
                            <a:pt x="53" y="75"/>
                          </a:cubicBezTo>
                          <a:cubicBezTo>
                            <a:pt x="53" y="75"/>
                            <a:pt x="53" y="75"/>
                            <a:pt x="52" y="75"/>
                          </a:cubicBezTo>
                          <a:cubicBezTo>
                            <a:pt x="52" y="75"/>
                            <a:pt x="52" y="75"/>
                            <a:pt x="52" y="75"/>
                          </a:cubicBezTo>
                          <a:cubicBezTo>
                            <a:pt x="52" y="76"/>
                            <a:pt x="52" y="75"/>
                            <a:pt x="52" y="76"/>
                          </a:cubicBezTo>
                          <a:cubicBezTo>
                            <a:pt x="52" y="75"/>
                            <a:pt x="52" y="75"/>
                            <a:pt x="52" y="75"/>
                          </a:cubicBezTo>
                          <a:cubicBezTo>
                            <a:pt x="52" y="75"/>
                            <a:pt x="53" y="76"/>
                            <a:pt x="53" y="75"/>
                          </a:cubicBezTo>
                          <a:cubicBezTo>
                            <a:pt x="53" y="75"/>
                            <a:pt x="52" y="76"/>
                            <a:pt x="52" y="76"/>
                          </a:cubicBezTo>
                          <a:cubicBezTo>
                            <a:pt x="52" y="76"/>
                            <a:pt x="53" y="76"/>
                            <a:pt x="53" y="76"/>
                          </a:cubicBezTo>
                          <a:cubicBezTo>
                            <a:pt x="53" y="76"/>
                            <a:pt x="53" y="76"/>
                            <a:pt x="53" y="75"/>
                          </a:cubicBezTo>
                          <a:cubicBezTo>
                            <a:pt x="53" y="75"/>
                            <a:pt x="53" y="75"/>
                            <a:pt x="53" y="76"/>
                          </a:cubicBezTo>
                          <a:cubicBezTo>
                            <a:pt x="53" y="76"/>
                            <a:pt x="54" y="75"/>
                            <a:pt x="53" y="75"/>
                          </a:cubicBezTo>
                          <a:cubicBezTo>
                            <a:pt x="54" y="75"/>
                            <a:pt x="54" y="75"/>
                            <a:pt x="54" y="75"/>
                          </a:cubicBezTo>
                          <a:cubicBezTo>
                            <a:pt x="53" y="76"/>
                            <a:pt x="53" y="76"/>
                            <a:pt x="53" y="76"/>
                          </a:cubicBezTo>
                          <a:cubicBezTo>
                            <a:pt x="53" y="76"/>
                            <a:pt x="53" y="76"/>
                            <a:pt x="53" y="76"/>
                          </a:cubicBezTo>
                          <a:cubicBezTo>
                            <a:pt x="52" y="77"/>
                            <a:pt x="52" y="77"/>
                            <a:pt x="52" y="77"/>
                          </a:cubicBezTo>
                          <a:cubicBezTo>
                            <a:pt x="52" y="77"/>
                            <a:pt x="52" y="77"/>
                            <a:pt x="52" y="77"/>
                          </a:cubicBezTo>
                          <a:cubicBezTo>
                            <a:pt x="51" y="77"/>
                            <a:pt x="51" y="77"/>
                            <a:pt x="51" y="77"/>
                          </a:cubicBezTo>
                          <a:cubicBezTo>
                            <a:pt x="51" y="78"/>
                            <a:pt x="50" y="78"/>
                            <a:pt x="50" y="78"/>
                          </a:cubicBezTo>
                          <a:cubicBezTo>
                            <a:pt x="50" y="78"/>
                            <a:pt x="50" y="78"/>
                            <a:pt x="50" y="78"/>
                          </a:cubicBezTo>
                          <a:cubicBezTo>
                            <a:pt x="50" y="78"/>
                            <a:pt x="50" y="78"/>
                            <a:pt x="50" y="78"/>
                          </a:cubicBezTo>
                          <a:cubicBezTo>
                            <a:pt x="50" y="78"/>
                            <a:pt x="49" y="78"/>
                            <a:pt x="50" y="78"/>
                          </a:cubicBezTo>
                          <a:cubicBezTo>
                            <a:pt x="50" y="78"/>
                            <a:pt x="49" y="78"/>
                            <a:pt x="49" y="78"/>
                          </a:cubicBezTo>
                          <a:cubicBezTo>
                            <a:pt x="49" y="78"/>
                            <a:pt x="49" y="78"/>
                            <a:pt x="50" y="78"/>
                          </a:cubicBezTo>
                          <a:cubicBezTo>
                            <a:pt x="50" y="78"/>
                            <a:pt x="49" y="78"/>
                            <a:pt x="49" y="78"/>
                          </a:cubicBezTo>
                          <a:cubicBezTo>
                            <a:pt x="49" y="78"/>
                            <a:pt x="49" y="78"/>
                            <a:pt x="49" y="78"/>
                          </a:cubicBezTo>
                          <a:cubicBezTo>
                            <a:pt x="49" y="78"/>
                            <a:pt x="49" y="78"/>
                            <a:pt x="49" y="78"/>
                          </a:cubicBezTo>
                          <a:cubicBezTo>
                            <a:pt x="49" y="78"/>
                            <a:pt x="49" y="78"/>
                            <a:pt x="49" y="78"/>
                          </a:cubicBezTo>
                          <a:cubicBezTo>
                            <a:pt x="48" y="78"/>
                            <a:pt x="48" y="78"/>
                            <a:pt x="48" y="78"/>
                          </a:cubicBezTo>
                          <a:cubicBezTo>
                            <a:pt x="48" y="78"/>
                            <a:pt x="48" y="78"/>
                            <a:pt x="48" y="78"/>
                          </a:cubicBezTo>
                          <a:cubicBezTo>
                            <a:pt x="48" y="78"/>
                            <a:pt x="48" y="79"/>
                            <a:pt x="49" y="78"/>
                          </a:cubicBezTo>
                          <a:cubicBezTo>
                            <a:pt x="49" y="78"/>
                            <a:pt x="48" y="78"/>
                            <a:pt x="48" y="79"/>
                          </a:cubicBezTo>
                          <a:cubicBezTo>
                            <a:pt x="48" y="78"/>
                            <a:pt x="48" y="78"/>
                            <a:pt x="48" y="79"/>
                          </a:cubicBezTo>
                          <a:cubicBezTo>
                            <a:pt x="48" y="79"/>
                            <a:pt x="48" y="79"/>
                            <a:pt x="47" y="79"/>
                          </a:cubicBezTo>
                          <a:cubicBezTo>
                            <a:pt x="47" y="79"/>
                            <a:pt x="47" y="79"/>
                            <a:pt x="48" y="79"/>
                          </a:cubicBezTo>
                          <a:cubicBezTo>
                            <a:pt x="48" y="79"/>
                            <a:pt x="48" y="79"/>
                            <a:pt x="48" y="79"/>
                          </a:cubicBezTo>
                          <a:cubicBezTo>
                            <a:pt x="48" y="79"/>
                            <a:pt x="47" y="80"/>
                            <a:pt x="46" y="80"/>
                          </a:cubicBezTo>
                          <a:cubicBezTo>
                            <a:pt x="46" y="80"/>
                            <a:pt x="46" y="80"/>
                            <a:pt x="46" y="80"/>
                          </a:cubicBezTo>
                          <a:cubicBezTo>
                            <a:pt x="46" y="80"/>
                            <a:pt x="46" y="80"/>
                            <a:pt x="46" y="80"/>
                          </a:cubicBezTo>
                          <a:cubicBezTo>
                            <a:pt x="46" y="80"/>
                            <a:pt x="45" y="80"/>
                            <a:pt x="45" y="81"/>
                          </a:cubicBezTo>
                          <a:cubicBezTo>
                            <a:pt x="45" y="80"/>
                            <a:pt x="45" y="80"/>
                            <a:pt x="45" y="80"/>
                          </a:cubicBezTo>
                          <a:cubicBezTo>
                            <a:pt x="45" y="81"/>
                            <a:pt x="45" y="81"/>
                            <a:pt x="44" y="81"/>
                          </a:cubicBezTo>
                          <a:cubicBezTo>
                            <a:pt x="45" y="81"/>
                            <a:pt x="44" y="81"/>
                            <a:pt x="44" y="81"/>
                          </a:cubicBezTo>
                          <a:cubicBezTo>
                            <a:pt x="44" y="81"/>
                            <a:pt x="44" y="81"/>
                            <a:pt x="44" y="81"/>
                          </a:cubicBezTo>
                          <a:cubicBezTo>
                            <a:pt x="44" y="81"/>
                            <a:pt x="45" y="81"/>
                            <a:pt x="44" y="80"/>
                          </a:cubicBezTo>
                          <a:cubicBezTo>
                            <a:pt x="44" y="80"/>
                            <a:pt x="44" y="81"/>
                            <a:pt x="43" y="81"/>
                          </a:cubicBezTo>
                          <a:cubicBezTo>
                            <a:pt x="43" y="81"/>
                            <a:pt x="43" y="81"/>
                            <a:pt x="43" y="81"/>
                          </a:cubicBezTo>
                          <a:cubicBezTo>
                            <a:pt x="43" y="81"/>
                            <a:pt x="44" y="81"/>
                            <a:pt x="44" y="81"/>
                          </a:cubicBezTo>
                          <a:cubicBezTo>
                            <a:pt x="44" y="81"/>
                            <a:pt x="44" y="81"/>
                            <a:pt x="43" y="81"/>
                          </a:cubicBezTo>
                          <a:cubicBezTo>
                            <a:pt x="43" y="81"/>
                            <a:pt x="43" y="81"/>
                            <a:pt x="42" y="82"/>
                          </a:cubicBezTo>
                          <a:cubicBezTo>
                            <a:pt x="42" y="82"/>
                            <a:pt x="42" y="82"/>
                            <a:pt x="42" y="82"/>
                          </a:cubicBezTo>
                          <a:cubicBezTo>
                            <a:pt x="42" y="82"/>
                            <a:pt x="42" y="82"/>
                            <a:pt x="43" y="82"/>
                          </a:cubicBezTo>
                          <a:cubicBezTo>
                            <a:pt x="43" y="82"/>
                            <a:pt x="43" y="81"/>
                            <a:pt x="43" y="81"/>
                          </a:cubicBezTo>
                          <a:cubicBezTo>
                            <a:pt x="43" y="82"/>
                            <a:pt x="43" y="82"/>
                            <a:pt x="43" y="82"/>
                          </a:cubicBezTo>
                          <a:cubicBezTo>
                            <a:pt x="43" y="81"/>
                            <a:pt x="43" y="81"/>
                            <a:pt x="43" y="81"/>
                          </a:cubicBezTo>
                          <a:cubicBezTo>
                            <a:pt x="43" y="81"/>
                            <a:pt x="43" y="82"/>
                            <a:pt x="42" y="82"/>
                          </a:cubicBezTo>
                          <a:cubicBezTo>
                            <a:pt x="43" y="82"/>
                            <a:pt x="43" y="82"/>
                            <a:pt x="42" y="82"/>
                          </a:cubicBezTo>
                          <a:cubicBezTo>
                            <a:pt x="42" y="82"/>
                            <a:pt x="42" y="82"/>
                            <a:pt x="42" y="82"/>
                          </a:cubicBezTo>
                          <a:cubicBezTo>
                            <a:pt x="42" y="82"/>
                            <a:pt x="42" y="82"/>
                            <a:pt x="42" y="82"/>
                          </a:cubicBezTo>
                          <a:cubicBezTo>
                            <a:pt x="42" y="82"/>
                            <a:pt x="42" y="82"/>
                            <a:pt x="42" y="82"/>
                          </a:cubicBezTo>
                          <a:cubicBezTo>
                            <a:pt x="42" y="82"/>
                            <a:pt x="43" y="82"/>
                            <a:pt x="43" y="82"/>
                          </a:cubicBezTo>
                          <a:cubicBezTo>
                            <a:pt x="42" y="82"/>
                            <a:pt x="42" y="82"/>
                            <a:pt x="42" y="83"/>
                          </a:cubicBezTo>
                          <a:cubicBezTo>
                            <a:pt x="42" y="83"/>
                            <a:pt x="42" y="83"/>
                            <a:pt x="42" y="83"/>
                          </a:cubicBezTo>
                          <a:cubicBezTo>
                            <a:pt x="42" y="83"/>
                            <a:pt x="42" y="83"/>
                            <a:pt x="42" y="83"/>
                          </a:cubicBezTo>
                          <a:cubicBezTo>
                            <a:pt x="41" y="83"/>
                            <a:pt x="42" y="83"/>
                            <a:pt x="42" y="83"/>
                          </a:cubicBezTo>
                          <a:cubicBezTo>
                            <a:pt x="42" y="83"/>
                            <a:pt x="42" y="83"/>
                            <a:pt x="42" y="83"/>
                          </a:cubicBezTo>
                          <a:cubicBezTo>
                            <a:pt x="42" y="83"/>
                            <a:pt x="42" y="83"/>
                            <a:pt x="42" y="83"/>
                          </a:cubicBezTo>
                          <a:cubicBezTo>
                            <a:pt x="42" y="83"/>
                            <a:pt x="42" y="83"/>
                            <a:pt x="42" y="83"/>
                          </a:cubicBezTo>
                          <a:cubicBezTo>
                            <a:pt x="42" y="83"/>
                            <a:pt x="42" y="84"/>
                            <a:pt x="42" y="84"/>
                          </a:cubicBezTo>
                          <a:cubicBezTo>
                            <a:pt x="42" y="84"/>
                            <a:pt x="41" y="83"/>
                            <a:pt x="42" y="83"/>
                          </a:cubicBezTo>
                          <a:cubicBezTo>
                            <a:pt x="42" y="83"/>
                            <a:pt x="41" y="83"/>
                            <a:pt x="41" y="83"/>
                          </a:cubicBezTo>
                          <a:cubicBezTo>
                            <a:pt x="41" y="83"/>
                            <a:pt x="41" y="84"/>
                            <a:pt x="41" y="84"/>
                          </a:cubicBezTo>
                          <a:cubicBezTo>
                            <a:pt x="41" y="84"/>
                            <a:pt x="42" y="84"/>
                            <a:pt x="43" y="83"/>
                          </a:cubicBezTo>
                          <a:cubicBezTo>
                            <a:pt x="43" y="84"/>
                            <a:pt x="42" y="84"/>
                            <a:pt x="42" y="84"/>
                          </a:cubicBezTo>
                          <a:cubicBezTo>
                            <a:pt x="42" y="84"/>
                            <a:pt x="42" y="84"/>
                            <a:pt x="42" y="84"/>
                          </a:cubicBezTo>
                          <a:cubicBezTo>
                            <a:pt x="42" y="84"/>
                            <a:pt x="42" y="84"/>
                            <a:pt x="41" y="84"/>
                          </a:cubicBezTo>
                          <a:cubicBezTo>
                            <a:pt x="41" y="84"/>
                            <a:pt x="41" y="84"/>
                            <a:pt x="42" y="84"/>
                          </a:cubicBezTo>
                          <a:cubicBezTo>
                            <a:pt x="42" y="84"/>
                            <a:pt x="41" y="84"/>
                            <a:pt x="41" y="85"/>
                          </a:cubicBezTo>
                          <a:cubicBezTo>
                            <a:pt x="41" y="85"/>
                            <a:pt x="41" y="84"/>
                            <a:pt x="41" y="84"/>
                          </a:cubicBezTo>
                          <a:cubicBezTo>
                            <a:pt x="41" y="84"/>
                            <a:pt x="41" y="84"/>
                            <a:pt x="41" y="84"/>
                          </a:cubicBezTo>
                          <a:cubicBezTo>
                            <a:pt x="41" y="84"/>
                            <a:pt x="41" y="84"/>
                            <a:pt x="41" y="84"/>
                          </a:cubicBezTo>
                          <a:cubicBezTo>
                            <a:pt x="41" y="84"/>
                            <a:pt x="41" y="84"/>
                            <a:pt x="41" y="84"/>
                          </a:cubicBezTo>
                          <a:cubicBezTo>
                            <a:pt x="41" y="83"/>
                            <a:pt x="41" y="83"/>
                            <a:pt x="41" y="83"/>
                          </a:cubicBezTo>
                          <a:cubicBezTo>
                            <a:pt x="41" y="83"/>
                            <a:pt x="41" y="83"/>
                            <a:pt x="41" y="84"/>
                          </a:cubicBezTo>
                          <a:cubicBezTo>
                            <a:pt x="41" y="84"/>
                            <a:pt x="41" y="83"/>
                            <a:pt x="41" y="83"/>
                          </a:cubicBezTo>
                          <a:cubicBezTo>
                            <a:pt x="40" y="84"/>
                            <a:pt x="40" y="84"/>
                            <a:pt x="40" y="84"/>
                          </a:cubicBezTo>
                          <a:cubicBezTo>
                            <a:pt x="40" y="84"/>
                            <a:pt x="41" y="84"/>
                            <a:pt x="41" y="84"/>
                          </a:cubicBezTo>
                          <a:cubicBezTo>
                            <a:pt x="40" y="84"/>
                            <a:pt x="41" y="84"/>
                            <a:pt x="40" y="84"/>
                          </a:cubicBezTo>
                          <a:cubicBezTo>
                            <a:pt x="40" y="84"/>
                            <a:pt x="40" y="84"/>
                            <a:pt x="40" y="84"/>
                          </a:cubicBezTo>
                          <a:cubicBezTo>
                            <a:pt x="40" y="84"/>
                            <a:pt x="40" y="84"/>
                            <a:pt x="40" y="84"/>
                          </a:cubicBezTo>
                          <a:cubicBezTo>
                            <a:pt x="40" y="84"/>
                            <a:pt x="40" y="84"/>
                            <a:pt x="39" y="85"/>
                          </a:cubicBezTo>
                          <a:cubicBezTo>
                            <a:pt x="39" y="85"/>
                            <a:pt x="40" y="85"/>
                            <a:pt x="39" y="85"/>
                          </a:cubicBezTo>
                          <a:cubicBezTo>
                            <a:pt x="39" y="85"/>
                            <a:pt x="39" y="85"/>
                            <a:pt x="39" y="85"/>
                          </a:cubicBezTo>
                          <a:cubicBezTo>
                            <a:pt x="39" y="85"/>
                            <a:pt x="39" y="84"/>
                            <a:pt x="39" y="84"/>
                          </a:cubicBezTo>
                          <a:cubicBezTo>
                            <a:pt x="40" y="84"/>
                            <a:pt x="40" y="84"/>
                            <a:pt x="40" y="84"/>
                          </a:cubicBezTo>
                          <a:cubicBezTo>
                            <a:pt x="39" y="84"/>
                            <a:pt x="39" y="85"/>
                            <a:pt x="39" y="85"/>
                          </a:cubicBezTo>
                          <a:cubicBezTo>
                            <a:pt x="39" y="85"/>
                            <a:pt x="39" y="85"/>
                            <a:pt x="39" y="85"/>
                          </a:cubicBezTo>
                          <a:cubicBezTo>
                            <a:pt x="39" y="85"/>
                            <a:pt x="39" y="85"/>
                            <a:pt x="39" y="85"/>
                          </a:cubicBezTo>
                          <a:cubicBezTo>
                            <a:pt x="39" y="85"/>
                            <a:pt x="39" y="85"/>
                            <a:pt x="40" y="85"/>
                          </a:cubicBezTo>
                          <a:cubicBezTo>
                            <a:pt x="40" y="85"/>
                            <a:pt x="39" y="85"/>
                            <a:pt x="40" y="85"/>
                          </a:cubicBezTo>
                          <a:cubicBezTo>
                            <a:pt x="40" y="85"/>
                            <a:pt x="40" y="84"/>
                            <a:pt x="40" y="84"/>
                          </a:cubicBezTo>
                          <a:cubicBezTo>
                            <a:pt x="40" y="85"/>
                            <a:pt x="40" y="85"/>
                            <a:pt x="40" y="85"/>
                          </a:cubicBezTo>
                          <a:cubicBezTo>
                            <a:pt x="40" y="85"/>
                            <a:pt x="40" y="85"/>
                            <a:pt x="40" y="85"/>
                          </a:cubicBezTo>
                          <a:cubicBezTo>
                            <a:pt x="40" y="85"/>
                            <a:pt x="40" y="85"/>
                            <a:pt x="41" y="85"/>
                          </a:cubicBezTo>
                          <a:cubicBezTo>
                            <a:pt x="40" y="85"/>
                            <a:pt x="40" y="85"/>
                            <a:pt x="40" y="85"/>
                          </a:cubicBezTo>
                          <a:cubicBezTo>
                            <a:pt x="40" y="85"/>
                            <a:pt x="40" y="85"/>
                            <a:pt x="40" y="85"/>
                          </a:cubicBezTo>
                          <a:cubicBezTo>
                            <a:pt x="40" y="85"/>
                            <a:pt x="40" y="85"/>
                            <a:pt x="40" y="85"/>
                          </a:cubicBezTo>
                          <a:cubicBezTo>
                            <a:pt x="40" y="85"/>
                            <a:pt x="41" y="85"/>
                            <a:pt x="41" y="85"/>
                          </a:cubicBezTo>
                          <a:cubicBezTo>
                            <a:pt x="41" y="85"/>
                            <a:pt x="41" y="85"/>
                            <a:pt x="41" y="85"/>
                          </a:cubicBezTo>
                          <a:cubicBezTo>
                            <a:pt x="41" y="85"/>
                            <a:pt x="41" y="85"/>
                            <a:pt x="41" y="85"/>
                          </a:cubicBezTo>
                          <a:cubicBezTo>
                            <a:pt x="41" y="85"/>
                            <a:pt x="41" y="85"/>
                            <a:pt x="41" y="85"/>
                          </a:cubicBezTo>
                          <a:cubicBezTo>
                            <a:pt x="41" y="85"/>
                            <a:pt x="41" y="85"/>
                            <a:pt x="41" y="85"/>
                          </a:cubicBezTo>
                          <a:cubicBezTo>
                            <a:pt x="41" y="86"/>
                            <a:pt x="41" y="85"/>
                            <a:pt x="41" y="85"/>
                          </a:cubicBezTo>
                          <a:cubicBezTo>
                            <a:pt x="41" y="85"/>
                            <a:pt x="41" y="85"/>
                            <a:pt x="41" y="85"/>
                          </a:cubicBezTo>
                          <a:cubicBezTo>
                            <a:pt x="41" y="85"/>
                            <a:pt x="41" y="85"/>
                            <a:pt x="41" y="85"/>
                          </a:cubicBezTo>
                          <a:cubicBezTo>
                            <a:pt x="42" y="85"/>
                            <a:pt x="41" y="85"/>
                            <a:pt x="41" y="85"/>
                          </a:cubicBezTo>
                          <a:cubicBezTo>
                            <a:pt x="42" y="85"/>
                            <a:pt x="42" y="85"/>
                            <a:pt x="42" y="84"/>
                          </a:cubicBezTo>
                          <a:cubicBezTo>
                            <a:pt x="42" y="84"/>
                            <a:pt x="42" y="85"/>
                            <a:pt x="41" y="85"/>
                          </a:cubicBezTo>
                          <a:cubicBezTo>
                            <a:pt x="41" y="85"/>
                            <a:pt x="41" y="84"/>
                            <a:pt x="42" y="84"/>
                          </a:cubicBezTo>
                          <a:cubicBezTo>
                            <a:pt x="42" y="84"/>
                            <a:pt x="42" y="84"/>
                            <a:pt x="42" y="84"/>
                          </a:cubicBezTo>
                          <a:cubicBezTo>
                            <a:pt x="43" y="84"/>
                            <a:pt x="42" y="84"/>
                            <a:pt x="42" y="84"/>
                          </a:cubicBezTo>
                          <a:cubicBezTo>
                            <a:pt x="43" y="84"/>
                            <a:pt x="43" y="83"/>
                            <a:pt x="43" y="84"/>
                          </a:cubicBezTo>
                          <a:cubicBezTo>
                            <a:pt x="43" y="83"/>
                            <a:pt x="43" y="83"/>
                            <a:pt x="43" y="83"/>
                          </a:cubicBezTo>
                          <a:cubicBezTo>
                            <a:pt x="43" y="83"/>
                            <a:pt x="43" y="83"/>
                            <a:pt x="43" y="83"/>
                          </a:cubicBezTo>
                          <a:cubicBezTo>
                            <a:pt x="43" y="83"/>
                            <a:pt x="43" y="83"/>
                            <a:pt x="43" y="83"/>
                          </a:cubicBezTo>
                          <a:cubicBezTo>
                            <a:pt x="43" y="83"/>
                            <a:pt x="43" y="83"/>
                            <a:pt x="44" y="83"/>
                          </a:cubicBezTo>
                          <a:cubicBezTo>
                            <a:pt x="44" y="83"/>
                            <a:pt x="44" y="83"/>
                            <a:pt x="44" y="83"/>
                          </a:cubicBezTo>
                          <a:cubicBezTo>
                            <a:pt x="44" y="83"/>
                            <a:pt x="44" y="83"/>
                            <a:pt x="44" y="83"/>
                          </a:cubicBezTo>
                          <a:cubicBezTo>
                            <a:pt x="44" y="83"/>
                            <a:pt x="45" y="83"/>
                            <a:pt x="45" y="83"/>
                          </a:cubicBezTo>
                          <a:cubicBezTo>
                            <a:pt x="45" y="83"/>
                            <a:pt x="44" y="83"/>
                            <a:pt x="44" y="83"/>
                          </a:cubicBezTo>
                          <a:cubicBezTo>
                            <a:pt x="44" y="83"/>
                            <a:pt x="44" y="83"/>
                            <a:pt x="44" y="83"/>
                          </a:cubicBezTo>
                          <a:cubicBezTo>
                            <a:pt x="45" y="83"/>
                            <a:pt x="45" y="83"/>
                            <a:pt x="45" y="83"/>
                          </a:cubicBezTo>
                          <a:cubicBezTo>
                            <a:pt x="45" y="82"/>
                            <a:pt x="45" y="82"/>
                            <a:pt x="46" y="82"/>
                          </a:cubicBezTo>
                          <a:cubicBezTo>
                            <a:pt x="46" y="82"/>
                            <a:pt x="46" y="82"/>
                            <a:pt x="46" y="82"/>
                          </a:cubicBezTo>
                          <a:cubicBezTo>
                            <a:pt x="46" y="82"/>
                            <a:pt x="46" y="82"/>
                            <a:pt x="47" y="81"/>
                          </a:cubicBezTo>
                          <a:cubicBezTo>
                            <a:pt x="47" y="81"/>
                            <a:pt x="47" y="81"/>
                            <a:pt x="47" y="82"/>
                          </a:cubicBezTo>
                          <a:cubicBezTo>
                            <a:pt x="47" y="81"/>
                            <a:pt x="47" y="81"/>
                            <a:pt x="47" y="81"/>
                          </a:cubicBezTo>
                          <a:cubicBezTo>
                            <a:pt x="47" y="81"/>
                            <a:pt x="47" y="81"/>
                            <a:pt x="47" y="81"/>
                          </a:cubicBezTo>
                          <a:cubicBezTo>
                            <a:pt x="47" y="81"/>
                            <a:pt x="47" y="81"/>
                            <a:pt x="47" y="81"/>
                          </a:cubicBezTo>
                          <a:cubicBezTo>
                            <a:pt x="47" y="81"/>
                            <a:pt x="47" y="81"/>
                            <a:pt x="47" y="81"/>
                          </a:cubicBezTo>
                          <a:cubicBezTo>
                            <a:pt x="47" y="81"/>
                            <a:pt x="47" y="81"/>
                            <a:pt x="47" y="81"/>
                          </a:cubicBezTo>
                          <a:cubicBezTo>
                            <a:pt x="48" y="81"/>
                            <a:pt x="47" y="81"/>
                            <a:pt x="48" y="81"/>
                          </a:cubicBezTo>
                          <a:cubicBezTo>
                            <a:pt x="48" y="81"/>
                            <a:pt x="47" y="81"/>
                            <a:pt x="47" y="81"/>
                          </a:cubicBezTo>
                          <a:cubicBezTo>
                            <a:pt x="48" y="81"/>
                            <a:pt x="48" y="81"/>
                            <a:pt x="48" y="80"/>
                          </a:cubicBezTo>
                          <a:cubicBezTo>
                            <a:pt x="48" y="81"/>
                            <a:pt x="48" y="81"/>
                            <a:pt x="48" y="81"/>
                          </a:cubicBezTo>
                          <a:cubicBezTo>
                            <a:pt x="48" y="81"/>
                            <a:pt x="49" y="81"/>
                            <a:pt x="49" y="81"/>
                          </a:cubicBezTo>
                          <a:cubicBezTo>
                            <a:pt x="49" y="80"/>
                            <a:pt x="49" y="81"/>
                            <a:pt x="49" y="81"/>
                          </a:cubicBezTo>
                          <a:cubicBezTo>
                            <a:pt x="49" y="81"/>
                            <a:pt x="49" y="81"/>
                            <a:pt x="49" y="81"/>
                          </a:cubicBezTo>
                          <a:cubicBezTo>
                            <a:pt x="50" y="81"/>
                            <a:pt x="50" y="80"/>
                            <a:pt x="50" y="80"/>
                          </a:cubicBezTo>
                          <a:cubicBezTo>
                            <a:pt x="50" y="80"/>
                            <a:pt x="51" y="80"/>
                            <a:pt x="50" y="80"/>
                          </a:cubicBezTo>
                          <a:cubicBezTo>
                            <a:pt x="51" y="80"/>
                            <a:pt x="51" y="80"/>
                            <a:pt x="51" y="80"/>
                          </a:cubicBezTo>
                          <a:cubicBezTo>
                            <a:pt x="51" y="80"/>
                            <a:pt x="51" y="79"/>
                            <a:pt x="52" y="80"/>
                          </a:cubicBezTo>
                          <a:cubicBezTo>
                            <a:pt x="52" y="80"/>
                            <a:pt x="51" y="80"/>
                            <a:pt x="52" y="80"/>
                          </a:cubicBezTo>
                          <a:cubicBezTo>
                            <a:pt x="50" y="80"/>
                            <a:pt x="48" y="82"/>
                            <a:pt x="47" y="82"/>
                          </a:cubicBezTo>
                          <a:cubicBezTo>
                            <a:pt x="47" y="82"/>
                            <a:pt x="47" y="82"/>
                            <a:pt x="47" y="82"/>
                          </a:cubicBezTo>
                          <a:cubicBezTo>
                            <a:pt x="47" y="82"/>
                            <a:pt x="47" y="82"/>
                            <a:pt x="47" y="82"/>
                          </a:cubicBezTo>
                          <a:cubicBezTo>
                            <a:pt x="47" y="82"/>
                            <a:pt x="47" y="82"/>
                            <a:pt x="47" y="82"/>
                          </a:cubicBezTo>
                          <a:cubicBezTo>
                            <a:pt x="46" y="82"/>
                            <a:pt x="46" y="83"/>
                            <a:pt x="46" y="83"/>
                          </a:cubicBezTo>
                          <a:cubicBezTo>
                            <a:pt x="46" y="83"/>
                            <a:pt x="46" y="83"/>
                            <a:pt x="46" y="82"/>
                          </a:cubicBezTo>
                          <a:cubicBezTo>
                            <a:pt x="46" y="82"/>
                            <a:pt x="46" y="83"/>
                            <a:pt x="46" y="83"/>
                          </a:cubicBezTo>
                          <a:cubicBezTo>
                            <a:pt x="46" y="83"/>
                            <a:pt x="46" y="83"/>
                            <a:pt x="46" y="83"/>
                          </a:cubicBezTo>
                          <a:cubicBezTo>
                            <a:pt x="46" y="83"/>
                            <a:pt x="46" y="83"/>
                            <a:pt x="46" y="83"/>
                          </a:cubicBezTo>
                          <a:cubicBezTo>
                            <a:pt x="45" y="83"/>
                            <a:pt x="45" y="84"/>
                            <a:pt x="45" y="83"/>
                          </a:cubicBezTo>
                          <a:cubicBezTo>
                            <a:pt x="45" y="83"/>
                            <a:pt x="45" y="83"/>
                            <a:pt x="45" y="83"/>
                          </a:cubicBezTo>
                          <a:cubicBezTo>
                            <a:pt x="45" y="83"/>
                            <a:pt x="45" y="83"/>
                            <a:pt x="45" y="84"/>
                          </a:cubicBezTo>
                          <a:cubicBezTo>
                            <a:pt x="45" y="84"/>
                            <a:pt x="45" y="84"/>
                            <a:pt x="45" y="84"/>
                          </a:cubicBezTo>
                          <a:cubicBezTo>
                            <a:pt x="45" y="84"/>
                            <a:pt x="44" y="84"/>
                            <a:pt x="44" y="84"/>
                          </a:cubicBezTo>
                          <a:cubicBezTo>
                            <a:pt x="44" y="84"/>
                            <a:pt x="44" y="84"/>
                            <a:pt x="44" y="84"/>
                          </a:cubicBezTo>
                          <a:cubicBezTo>
                            <a:pt x="44" y="84"/>
                            <a:pt x="44" y="84"/>
                            <a:pt x="43" y="85"/>
                          </a:cubicBezTo>
                          <a:cubicBezTo>
                            <a:pt x="43" y="84"/>
                            <a:pt x="44" y="84"/>
                            <a:pt x="43" y="84"/>
                          </a:cubicBezTo>
                          <a:cubicBezTo>
                            <a:pt x="43" y="85"/>
                            <a:pt x="43" y="85"/>
                            <a:pt x="42" y="85"/>
                          </a:cubicBezTo>
                          <a:cubicBezTo>
                            <a:pt x="43" y="85"/>
                            <a:pt x="43" y="85"/>
                            <a:pt x="43" y="85"/>
                          </a:cubicBezTo>
                          <a:cubicBezTo>
                            <a:pt x="43" y="85"/>
                            <a:pt x="43" y="85"/>
                            <a:pt x="43" y="85"/>
                          </a:cubicBezTo>
                          <a:cubicBezTo>
                            <a:pt x="43" y="85"/>
                            <a:pt x="43" y="86"/>
                            <a:pt x="43" y="86"/>
                          </a:cubicBezTo>
                          <a:cubicBezTo>
                            <a:pt x="43" y="86"/>
                            <a:pt x="43" y="86"/>
                            <a:pt x="43" y="86"/>
                          </a:cubicBezTo>
                          <a:cubicBezTo>
                            <a:pt x="42" y="86"/>
                            <a:pt x="43" y="86"/>
                            <a:pt x="43" y="86"/>
                          </a:cubicBezTo>
                          <a:cubicBezTo>
                            <a:pt x="44" y="86"/>
                            <a:pt x="44" y="85"/>
                            <a:pt x="44" y="85"/>
                          </a:cubicBezTo>
                          <a:cubicBezTo>
                            <a:pt x="44" y="85"/>
                            <a:pt x="44" y="85"/>
                            <a:pt x="44" y="85"/>
                          </a:cubicBezTo>
                          <a:cubicBezTo>
                            <a:pt x="44" y="85"/>
                            <a:pt x="44" y="85"/>
                            <a:pt x="45" y="85"/>
                          </a:cubicBezTo>
                          <a:cubicBezTo>
                            <a:pt x="44" y="86"/>
                            <a:pt x="44" y="86"/>
                            <a:pt x="43" y="86"/>
                          </a:cubicBezTo>
                          <a:cubicBezTo>
                            <a:pt x="44" y="86"/>
                            <a:pt x="43" y="86"/>
                            <a:pt x="43" y="87"/>
                          </a:cubicBezTo>
                          <a:cubicBezTo>
                            <a:pt x="43" y="87"/>
                            <a:pt x="43" y="86"/>
                            <a:pt x="43" y="86"/>
                          </a:cubicBezTo>
                          <a:cubicBezTo>
                            <a:pt x="43" y="86"/>
                            <a:pt x="43" y="86"/>
                            <a:pt x="42" y="86"/>
                          </a:cubicBezTo>
                          <a:cubicBezTo>
                            <a:pt x="42" y="87"/>
                            <a:pt x="42" y="87"/>
                            <a:pt x="42" y="87"/>
                          </a:cubicBezTo>
                          <a:cubicBezTo>
                            <a:pt x="42" y="87"/>
                            <a:pt x="42" y="87"/>
                            <a:pt x="42" y="87"/>
                          </a:cubicBezTo>
                          <a:cubicBezTo>
                            <a:pt x="42" y="87"/>
                            <a:pt x="42" y="87"/>
                            <a:pt x="42" y="87"/>
                          </a:cubicBezTo>
                          <a:cubicBezTo>
                            <a:pt x="42" y="87"/>
                            <a:pt x="42" y="87"/>
                            <a:pt x="41" y="87"/>
                          </a:cubicBezTo>
                          <a:cubicBezTo>
                            <a:pt x="41" y="87"/>
                            <a:pt x="42" y="87"/>
                            <a:pt x="42" y="87"/>
                          </a:cubicBezTo>
                          <a:cubicBezTo>
                            <a:pt x="41" y="88"/>
                            <a:pt x="41" y="87"/>
                            <a:pt x="41" y="88"/>
                          </a:cubicBezTo>
                          <a:cubicBezTo>
                            <a:pt x="41" y="88"/>
                            <a:pt x="41" y="88"/>
                            <a:pt x="41" y="88"/>
                          </a:cubicBezTo>
                          <a:cubicBezTo>
                            <a:pt x="41" y="88"/>
                            <a:pt x="41" y="88"/>
                            <a:pt x="41" y="88"/>
                          </a:cubicBezTo>
                          <a:cubicBezTo>
                            <a:pt x="41" y="88"/>
                            <a:pt x="41" y="88"/>
                            <a:pt x="41" y="88"/>
                          </a:cubicBezTo>
                          <a:cubicBezTo>
                            <a:pt x="41" y="88"/>
                            <a:pt x="41" y="88"/>
                            <a:pt x="42" y="87"/>
                          </a:cubicBezTo>
                          <a:cubicBezTo>
                            <a:pt x="42" y="87"/>
                            <a:pt x="42" y="87"/>
                            <a:pt x="42" y="87"/>
                          </a:cubicBezTo>
                          <a:cubicBezTo>
                            <a:pt x="42" y="87"/>
                            <a:pt x="42" y="87"/>
                            <a:pt x="42" y="87"/>
                          </a:cubicBezTo>
                          <a:cubicBezTo>
                            <a:pt x="42" y="87"/>
                            <a:pt x="42" y="87"/>
                            <a:pt x="42" y="87"/>
                          </a:cubicBezTo>
                          <a:cubicBezTo>
                            <a:pt x="42" y="87"/>
                            <a:pt x="42" y="87"/>
                            <a:pt x="42" y="87"/>
                          </a:cubicBezTo>
                          <a:cubicBezTo>
                            <a:pt x="43" y="87"/>
                            <a:pt x="43" y="87"/>
                            <a:pt x="43" y="87"/>
                          </a:cubicBezTo>
                          <a:cubicBezTo>
                            <a:pt x="43" y="87"/>
                            <a:pt x="43" y="87"/>
                            <a:pt x="43" y="87"/>
                          </a:cubicBezTo>
                          <a:cubicBezTo>
                            <a:pt x="43" y="87"/>
                            <a:pt x="43" y="87"/>
                            <a:pt x="42" y="87"/>
                          </a:cubicBezTo>
                          <a:cubicBezTo>
                            <a:pt x="42" y="87"/>
                            <a:pt x="43" y="87"/>
                            <a:pt x="43" y="87"/>
                          </a:cubicBezTo>
                          <a:cubicBezTo>
                            <a:pt x="43" y="87"/>
                            <a:pt x="43" y="87"/>
                            <a:pt x="44" y="86"/>
                          </a:cubicBezTo>
                          <a:cubicBezTo>
                            <a:pt x="44" y="87"/>
                            <a:pt x="43" y="87"/>
                            <a:pt x="43" y="87"/>
                          </a:cubicBezTo>
                          <a:cubicBezTo>
                            <a:pt x="43" y="87"/>
                            <a:pt x="43" y="87"/>
                            <a:pt x="43" y="87"/>
                          </a:cubicBezTo>
                          <a:cubicBezTo>
                            <a:pt x="43" y="87"/>
                            <a:pt x="43" y="87"/>
                            <a:pt x="43" y="87"/>
                          </a:cubicBezTo>
                          <a:cubicBezTo>
                            <a:pt x="43" y="88"/>
                            <a:pt x="42" y="87"/>
                            <a:pt x="42" y="88"/>
                          </a:cubicBezTo>
                          <a:cubicBezTo>
                            <a:pt x="42" y="88"/>
                            <a:pt x="42" y="88"/>
                            <a:pt x="42" y="88"/>
                          </a:cubicBezTo>
                          <a:cubicBezTo>
                            <a:pt x="42" y="88"/>
                            <a:pt x="42" y="88"/>
                            <a:pt x="41" y="88"/>
                          </a:cubicBezTo>
                          <a:cubicBezTo>
                            <a:pt x="42" y="88"/>
                            <a:pt x="42" y="88"/>
                            <a:pt x="41" y="88"/>
                          </a:cubicBezTo>
                          <a:cubicBezTo>
                            <a:pt x="41" y="88"/>
                            <a:pt x="42" y="88"/>
                            <a:pt x="42" y="88"/>
                          </a:cubicBezTo>
                          <a:cubicBezTo>
                            <a:pt x="42" y="88"/>
                            <a:pt x="41" y="89"/>
                            <a:pt x="42" y="88"/>
                          </a:cubicBezTo>
                          <a:cubicBezTo>
                            <a:pt x="42" y="89"/>
                            <a:pt x="42" y="89"/>
                            <a:pt x="41" y="89"/>
                          </a:cubicBezTo>
                          <a:cubicBezTo>
                            <a:pt x="41" y="89"/>
                            <a:pt x="41" y="88"/>
                            <a:pt x="41" y="88"/>
                          </a:cubicBezTo>
                          <a:cubicBezTo>
                            <a:pt x="41" y="88"/>
                            <a:pt x="41" y="89"/>
                            <a:pt x="41" y="89"/>
                          </a:cubicBezTo>
                          <a:cubicBezTo>
                            <a:pt x="41" y="89"/>
                            <a:pt x="41" y="89"/>
                            <a:pt x="41" y="89"/>
                          </a:cubicBezTo>
                          <a:cubicBezTo>
                            <a:pt x="41" y="89"/>
                            <a:pt x="41" y="89"/>
                            <a:pt x="41" y="89"/>
                          </a:cubicBezTo>
                          <a:cubicBezTo>
                            <a:pt x="41" y="89"/>
                            <a:pt x="41" y="89"/>
                            <a:pt x="40" y="89"/>
                          </a:cubicBezTo>
                          <a:cubicBezTo>
                            <a:pt x="40" y="89"/>
                            <a:pt x="41" y="89"/>
                            <a:pt x="41" y="89"/>
                          </a:cubicBezTo>
                          <a:cubicBezTo>
                            <a:pt x="41" y="89"/>
                            <a:pt x="40" y="89"/>
                            <a:pt x="40" y="89"/>
                          </a:cubicBezTo>
                          <a:cubicBezTo>
                            <a:pt x="40" y="89"/>
                            <a:pt x="40" y="89"/>
                            <a:pt x="40" y="89"/>
                          </a:cubicBezTo>
                          <a:cubicBezTo>
                            <a:pt x="40" y="90"/>
                            <a:pt x="40" y="89"/>
                            <a:pt x="40" y="90"/>
                          </a:cubicBezTo>
                          <a:cubicBezTo>
                            <a:pt x="40" y="90"/>
                            <a:pt x="40" y="90"/>
                            <a:pt x="40" y="90"/>
                          </a:cubicBezTo>
                          <a:cubicBezTo>
                            <a:pt x="40" y="90"/>
                            <a:pt x="39" y="90"/>
                            <a:pt x="39" y="90"/>
                          </a:cubicBezTo>
                          <a:cubicBezTo>
                            <a:pt x="39" y="90"/>
                            <a:pt x="39" y="90"/>
                            <a:pt x="38" y="91"/>
                          </a:cubicBezTo>
                          <a:cubicBezTo>
                            <a:pt x="38" y="90"/>
                            <a:pt x="39" y="90"/>
                            <a:pt x="39" y="90"/>
                          </a:cubicBezTo>
                          <a:cubicBezTo>
                            <a:pt x="39" y="90"/>
                            <a:pt x="39" y="90"/>
                            <a:pt x="39" y="90"/>
                          </a:cubicBezTo>
                          <a:cubicBezTo>
                            <a:pt x="39" y="90"/>
                            <a:pt x="39" y="90"/>
                            <a:pt x="39" y="90"/>
                          </a:cubicBezTo>
                          <a:cubicBezTo>
                            <a:pt x="39" y="90"/>
                            <a:pt x="39" y="90"/>
                            <a:pt x="38" y="90"/>
                          </a:cubicBezTo>
                          <a:cubicBezTo>
                            <a:pt x="39" y="90"/>
                            <a:pt x="39" y="90"/>
                            <a:pt x="39" y="90"/>
                          </a:cubicBezTo>
                          <a:cubicBezTo>
                            <a:pt x="38" y="90"/>
                            <a:pt x="38" y="90"/>
                            <a:pt x="38" y="90"/>
                          </a:cubicBezTo>
                          <a:cubicBezTo>
                            <a:pt x="38" y="90"/>
                            <a:pt x="38" y="90"/>
                            <a:pt x="38" y="91"/>
                          </a:cubicBezTo>
                          <a:cubicBezTo>
                            <a:pt x="38" y="91"/>
                            <a:pt x="38" y="90"/>
                            <a:pt x="38" y="91"/>
                          </a:cubicBezTo>
                          <a:cubicBezTo>
                            <a:pt x="38" y="91"/>
                            <a:pt x="38" y="91"/>
                            <a:pt x="38" y="91"/>
                          </a:cubicBezTo>
                          <a:cubicBezTo>
                            <a:pt x="38" y="91"/>
                            <a:pt x="38" y="91"/>
                            <a:pt x="38" y="91"/>
                          </a:cubicBezTo>
                          <a:cubicBezTo>
                            <a:pt x="38" y="91"/>
                            <a:pt x="37" y="91"/>
                            <a:pt x="37" y="91"/>
                          </a:cubicBezTo>
                          <a:cubicBezTo>
                            <a:pt x="37" y="91"/>
                            <a:pt x="37" y="92"/>
                            <a:pt x="36" y="92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ubicBezTo>
                            <a:pt x="36" y="92"/>
                            <a:pt x="36" y="92"/>
                            <a:pt x="35" y="92"/>
                          </a:cubicBezTo>
                          <a:cubicBezTo>
                            <a:pt x="36" y="92"/>
                            <a:pt x="36" y="92"/>
                            <a:pt x="36" y="93"/>
                          </a:cubicBezTo>
                          <a:cubicBezTo>
                            <a:pt x="36" y="93"/>
                            <a:pt x="35" y="93"/>
                            <a:pt x="35" y="93"/>
                          </a:cubicBezTo>
                          <a:cubicBezTo>
                            <a:pt x="35" y="93"/>
                            <a:pt x="36" y="93"/>
                            <a:pt x="35" y="93"/>
                          </a:cubicBezTo>
                          <a:cubicBezTo>
                            <a:pt x="35" y="93"/>
                            <a:pt x="35" y="93"/>
                            <a:pt x="35" y="93"/>
                          </a:cubicBezTo>
                          <a:cubicBezTo>
                            <a:pt x="35" y="93"/>
                            <a:pt x="35" y="93"/>
                            <a:pt x="35" y="93"/>
                          </a:cubicBezTo>
                          <a:cubicBezTo>
                            <a:pt x="35" y="94"/>
                            <a:pt x="35" y="94"/>
                            <a:pt x="35" y="94"/>
                          </a:cubicBezTo>
                          <a:cubicBezTo>
                            <a:pt x="35" y="94"/>
                            <a:pt x="35" y="94"/>
                            <a:pt x="35" y="94"/>
                          </a:cubicBezTo>
                          <a:cubicBezTo>
                            <a:pt x="36" y="93"/>
                            <a:pt x="35" y="94"/>
                            <a:pt x="35" y="93"/>
                          </a:cubicBezTo>
                          <a:cubicBezTo>
                            <a:pt x="35" y="93"/>
                            <a:pt x="36" y="93"/>
                            <a:pt x="36" y="93"/>
                          </a:cubicBezTo>
                          <a:cubicBezTo>
                            <a:pt x="35" y="93"/>
                            <a:pt x="36" y="93"/>
                            <a:pt x="36" y="93"/>
                          </a:cubicBezTo>
                          <a:cubicBezTo>
                            <a:pt x="36" y="93"/>
                            <a:pt x="36" y="93"/>
                            <a:pt x="36" y="93"/>
                          </a:cubicBezTo>
                          <a:cubicBezTo>
                            <a:pt x="36" y="93"/>
                            <a:pt x="36" y="93"/>
                            <a:pt x="36" y="93"/>
                          </a:cubicBezTo>
                          <a:cubicBezTo>
                            <a:pt x="37" y="93"/>
                            <a:pt x="37" y="93"/>
                            <a:pt x="37" y="92"/>
                          </a:cubicBezTo>
                          <a:cubicBezTo>
                            <a:pt x="37" y="93"/>
                            <a:pt x="37" y="93"/>
                            <a:pt x="37" y="93"/>
                          </a:cubicBezTo>
                          <a:cubicBezTo>
                            <a:pt x="37" y="93"/>
                            <a:pt x="37" y="93"/>
                            <a:pt x="37" y="93"/>
                          </a:cubicBezTo>
                          <a:cubicBezTo>
                            <a:pt x="37" y="93"/>
                            <a:pt x="37" y="93"/>
                            <a:pt x="37" y="93"/>
                          </a:cubicBezTo>
                          <a:cubicBezTo>
                            <a:pt x="37" y="93"/>
                            <a:pt x="37" y="93"/>
                            <a:pt x="37" y="93"/>
                          </a:cubicBezTo>
                          <a:cubicBezTo>
                            <a:pt x="37" y="93"/>
                            <a:pt x="37" y="93"/>
                            <a:pt x="37" y="93"/>
                          </a:cubicBezTo>
                          <a:cubicBezTo>
                            <a:pt x="37" y="93"/>
                            <a:pt x="37" y="93"/>
                            <a:pt x="37" y="93"/>
                          </a:cubicBezTo>
                          <a:cubicBezTo>
                            <a:pt x="36" y="94"/>
                            <a:pt x="36" y="93"/>
                            <a:pt x="36" y="93"/>
                          </a:cubicBezTo>
                          <a:cubicBezTo>
                            <a:pt x="36" y="93"/>
                            <a:pt x="36" y="93"/>
                            <a:pt x="36" y="93"/>
                          </a:cubicBezTo>
                          <a:cubicBezTo>
                            <a:pt x="36" y="93"/>
                            <a:pt x="36" y="94"/>
                            <a:pt x="36" y="94"/>
                          </a:cubicBezTo>
                          <a:cubicBezTo>
                            <a:pt x="36" y="94"/>
                            <a:pt x="36" y="94"/>
                            <a:pt x="36" y="94"/>
                          </a:cubicBezTo>
                          <a:cubicBezTo>
                            <a:pt x="36" y="94"/>
                            <a:pt x="35" y="94"/>
                            <a:pt x="35" y="95"/>
                          </a:cubicBezTo>
                          <a:cubicBezTo>
                            <a:pt x="35" y="95"/>
                            <a:pt x="35" y="94"/>
                            <a:pt x="35" y="95"/>
                          </a:cubicBezTo>
                          <a:cubicBezTo>
                            <a:pt x="34" y="95"/>
                            <a:pt x="35" y="95"/>
                            <a:pt x="35" y="95"/>
                          </a:cubicBezTo>
                          <a:cubicBezTo>
                            <a:pt x="34" y="95"/>
                            <a:pt x="34" y="95"/>
                            <a:pt x="34" y="95"/>
                          </a:cubicBezTo>
                          <a:cubicBezTo>
                            <a:pt x="34" y="95"/>
                            <a:pt x="34" y="95"/>
                            <a:pt x="34" y="95"/>
                          </a:cubicBezTo>
                          <a:cubicBezTo>
                            <a:pt x="34" y="95"/>
                            <a:pt x="34" y="95"/>
                            <a:pt x="35" y="95"/>
                          </a:cubicBezTo>
                          <a:cubicBezTo>
                            <a:pt x="35" y="95"/>
                            <a:pt x="34" y="95"/>
                            <a:pt x="34" y="95"/>
                          </a:cubicBezTo>
                          <a:cubicBezTo>
                            <a:pt x="34" y="95"/>
                            <a:pt x="34" y="95"/>
                            <a:pt x="34" y="95"/>
                          </a:cubicBezTo>
                          <a:cubicBezTo>
                            <a:pt x="34" y="95"/>
                            <a:pt x="34" y="96"/>
                            <a:pt x="33" y="96"/>
                          </a:cubicBezTo>
                          <a:cubicBezTo>
                            <a:pt x="33" y="96"/>
                            <a:pt x="33" y="96"/>
                            <a:pt x="33" y="96"/>
                          </a:cubicBezTo>
                          <a:cubicBezTo>
                            <a:pt x="33" y="96"/>
                            <a:pt x="33" y="96"/>
                            <a:pt x="33" y="96"/>
                          </a:cubicBezTo>
                          <a:cubicBezTo>
                            <a:pt x="32" y="96"/>
                            <a:pt x="32" y="96"/>
                            <a:pt x="32" y="97"/>
                          </a:cubicBezTo>
                          <a:cubicBezTo>
                            <a:pt x="32" y="97"/>
                            <a:pt x="32" y="97"/>
                            <a:pt x="32" y="97"/>
                          </a:cubicBezTo>
                          <a:cubicBezTo>
                            <a:pt x="32" y="97"/>
                            <a:pt x="32" y="97"/>
                            <a:pt x="32" y="98"/>
                          </a:cubicBezTo>
                          <a:cubicBezTo>
                            <a:pt x="31" y="98"/>
                            <a:pt x="31" y="98"/>
                            <a:pt x="31" y="98"/>
                          </a:cubicBezTo>
                          <a:cubicBezTo>
                            <a:pt x="31" y="98"/>
                            <a:pt x="31" y="98"/>
                            <a:pt x="31" y="98"/>
                          </a:cubicBezTo>
                          <a:cubicBezTo>
                            <a:pt x="32" y="98"/>
                            <a:pt x="31" y="98"/>
                            <a:pt x="31" y="98"/>
                          </a:cubicBezTo>
                          <a:cubicBezTo>
                            <a:pt x="31" y="98"/>
                            <a:pt x="31" y="98"/>
                            <a:pt x="31" y="98"/>
                          </a:cubicBezTo>
                          <a:cubicBezTo>
                            <a:pt x="31" y="98"/>
                            <a:pt x="31" y="98"/>
                            <a:pt x="31" y="98"/>
                          </a:cubicBezTo>
                          <a:cubicBezTo>
                            <a:pt x="31" y="98"/>
                            <a:pt x="31" y="98"/>
                            <a:pt x="31" y="98"/>
                          </a:cubicBezTo>
                          <a:cubicBezTo>
                            <a:pt x="31" y="98"/>
                            <a:pt x="30" y="98"/>
                            <a:pt x="30" y="98"/>
                          </a:cubicBezTo>
                          <a:cubicBezTo>
                            <a:pt x="30" y="98"/>
                            <a:pt x="30" y="98"/>
                            <a:pt x="30" y="98"/>
                          </a:cubicBezTo>
                          <a:cubicBezTo>
                            <a:pt x="30" y="98"/>
                            <a:pt x="30" y="98"/>
                            <a:pt x="30" y="98"/>
                          </a:cubicBezTo>
                          <a:cubicBezTo>
                            <a:pt x="30" y="98"/>
                            <a:pt x="29" y="99"/>
                            <a:pt x="28" y="99"/>
                          </a:cubicBezTo>
                          <a:cubicBezTo>
                            <a:pt x="28" y="99"/>
                            <a:pt x="28" y="99"/>
                            <a:pt x="27" y="99"/>
                          </a:cubicBezTo>
                          <a:cubicBezTo>
                            <a:pt x="27" y="99"/>
                            <a:pt x="27" y="99"/>
                            <a:pt x="27" y="99"/>
                          </a:cubicBezTo>
                          <a:cubicBezTo>
                            <a:pt x="27" y="100"/>
                            <a:pt x="28" y="99"/>
                            <a:pt x="28" y="99"/>
                          </a:cubicBezTo>
                          <a:cubicBezTo>
                            <a:pt x="28" y="100"/>
                            <a:pt x="27" y="100"/>
                            <a:pt x="27" y="100"/>
                          </a:cubicBezTo>
                          <a:cubicBezTo>
                            <a:pt x="27" y="99"/>
                            <a:pt x="27" y="100"/>
                            <a:pt x="26" y="100"/>
                          </a:cubicBezTo>
                          <a:cubicBezTo>
                            <a:pt x="26" y="100"/>
                            <a:pt x="27" y="100"/>
                            <a:pt x="27" y="100"/>
                          </a:cubicBezTo>
                          <a:cubicBezTo>
                            <a:pt x="26" y="100"/>
                            <a:pt x="26" y="100"/>
                            <a:pt x="26" y="100"/>
                          </a:cubicBezTo>
                          <a:cubicBezTo>
                            <a:pt x="26" y="100"/>
                            <a:pt x="25" y="100"/>
                            <a:pt x="25" y="100"/>
                          </a:cubicBezTo>
                          <a:cubicBezTo>
                            <a:pt x="25" y="100"/>
                            <a:pt x="25" y="100"/>
                            <a:pt x="25" y="100"/>
                          </a:cubicBezTo>
                          <a:cubicBezTo>
                            <a:pt x="24" y="100"/>
                            <a:pt x="24" y="100"/>
                            <a:pt x="23" y="101"/>
                          </a:cubicBezTo>
                          <a:cubicBezTo>
                            <a:pt x="23" y="100"/>
                            <a:pt x="23" y="101"/>
                            <a:pt x="23" y="100"/>
                          </a:cubicBezTo>
                          <a:cubicBezTo>
                            <a:pt x="23" y="101"/>
                            <a:pt x="23" y="101"/>
                            <a:pt x="23" y="101"/>
                          </a:cubicBezTo>
                          <a:cubicBezTo>
                            <a:pt x="23" y="101"/>
                            <a:pt x="24" y="101"/>
                            <a:pt x="24" y="100"/>
                          </a:cubicBezTo>
                          <a:cubicBezTo>
                            <a:pt x="24" y="101"/>
                            <a:pt x="24" y="100"/>
                            <a:pt x="24" y="100"/>
                          </a:cubicBezTo>
                          <a:cubicBezTo>
                            <a:pt x="24" y="101"/>
                            <a:pt x="24" y="100"/>
                            <a:pt x="24" y="101"/>
                          </a:cubicBezTo>
                          <a:cubicBezTo>
                            <a:pt x="24" y="101"/>
                            <a:pt x="25" y="101"/>
                            <a:pt x="25" y="101"/>
                          </a:cubicBezTo>
                          <a:cubicBezTo>
                            <a:pt x="25" y="101"/>
                            <a:pt x="24" y="101"/>
                            <a:pt x="24" y="101"/>
                          </a:cubicBezTo>
                          <a:cubicBezTo>
                            <a:pt x="24" y="101"/>
                            <a:pt x="24" y="101"/>
                            <a:pt x="24" y="101"/>
                          </a:cubicBezTo>
                          <a:cubicBezTo>
                            <a:pt x="24" y="101"/>
                            <a:pt x="23" y="101"/>
                            <a:pt x="23" y="101"/>
                          </a:cubicBezTo>
                          <a:cubicBezTo>
                            <a:pt x="23" y="101"/>
                            <a:pt x="23" y="101"/>
                            <a:pt x="22" y="102"/>
                          </a:cubicBezTo>
                          <a:cubicBezTo>
                            <a:pt x="22" y="101"/>
                            <a:pt x="22" y="101"/>
                            <a:pt x="22" y="101"/>
                          </a:cubicBezTo>
                          <a:cubicBezTo>
                            <a:pt x="22" y="102"/>
                            <a:pt x="23" y="101"/>
                            <a:pt x="22" y="102"/>
                          </a:cubicBezTo>
                          <a:cubicBezTo>
                            <a:pt x="22" y="102"/>
                            <a:pt x="22" y="102"/>
                            <a:pt x="21" y="102"/>
                          </a:cubicBezTo>
                          <a:cubicBezTo>
                            <a:pt x="21" y="103"/>
                            <a:pt x="20" y="103"/>
                            <a:pt x="19" y="103"/>
                          </a:cubicBezTo>
                          <a:cubicBezTo>
                            <a:pt x="19" y="103"/>
                            <a:pt x="19" y="103"/>
                            <a:pt x="19" y="103"/>
                          </a:cubicBezTo>
                          <a:cubicBezTo>
                            <a:pt x="19" y="103"/>
                            <a:pt x="19" y="103"/>
                            <a:pt x="19" y="103"/>
                          </a:cubicBezTo>
                          <a:cubicBezTo>
                            <a:pt x="19" y="103"/>
                            <a:pt x="19" y="104"/>
                            <a:pt x="18" y="104"/>
                          </a:cubicBezTo>
                          <a:cubicBezTo>
                            <a:pt x="19" y="104"/>
                            <a:pt x="19" y="104"/>
                            <a:pt x="19" y="104"/>
                          </a:cubicBezTo>
                          <a:cubicBezTo>
                            <a:pt x="18" y="104"/>
                            <a:pt x="18" y="104"/>
                            <a:pt x="18" y="104"/>
                          </a:cubicBezTo>
                          <a:cubicBezTo>
                            <a:pt x="18" y="104"/>
                            <a:pt x="18" y="104"/>
                            <a:pt x="18" y="104"/>
                          </a:cubicBezTo>
                          <a:cubicBezTo>
                            <a:pt x="18" y="104"/>
                            <a:pt x="18" y="104"/>
                            <a:pt x="18" y="104"/>
                          </a:cubicBezTo>
                          <a:cubicBezTo>
                            <a:pt x="18" y="104"/>
                            <a:pt x="17" y="104"/>
                            <a:pt x="17" y="104"/>
                          </a:cubicBezTo>
                          <a:cubicBezTo>
                            <a:pt x="17" y="104"/>
                            <a:pt x="17" y="104"/>
                            <a:pt x="17" y="104"/>
                          </a:cubicBezTo>
                          <a:cubicBezTo>
                            <a:pt x="17" y="104"/>
                            <a:pt x="17" y="104"/>
                            <a:pt x="17" y="104"/>
                          </a:cubicBezTo>
                          <a:cubicBezTo>
                            <a:pt x="17" y="105"/>
                            <a:pt x="17" y="105"/>
                            <a:pt x="18" y="105"/>
                          </a:cubicBezTo>
                          <a:cubicBezTo>
                            <a:pt x="17" y="105"/>
                            <a:pt x="17" y="105"/>
                            <a:pt x="17" y="105"/>
                          </a:cubicBezTo>
                          <a:cubicBezTo>
                            <a:pt x="16" y="105"/>
                            <a:pt x="16" y="105"/>
                            <a:pt x="16" y="104"/>
                          </a:cubicBezTo>
                          <a:cubicBezTo>
                            <a:pt x="15" y="105"/>
                            <a:pt x="16" y="105"/>
                            <a:pt x="15" y="105"/>
                          </a:cubicBezTo>
                          <a:cubicBezTo>
                            <a:pt x="15" y="105"/>
                            <a:pt x="15" y="105"/>
                            <a:pt x="15" y="105"/>
                          </a:cubicBezTo>
                          <a:cubicBezTo>
                            <a:pt x="16" y="105"/>
                            <a:pt x="15" y="105"/>
                            <a:pt x="16" y="105"/>
                          </a:cubicBezTo>
                          <a:cubicBezTo>
                            <a:pt x="16" y="106"/>
                            <a:pt x="16" y="105"/>
                            <a:pt x="15" y="106"/>
                          </a:cubicBezTo>
                          <a:cubicBezTo>
                            <a:pt x="15" y="105"/>
                            <a:pt x="15" y="106"/>
                            <a:pt x="15" y="105"/>
                          </a:cubicBezTo>
                          <a:cubicBezTo>
                            <a:pt x="15" y="105"/>
                            <a:pt x="15" y="106"/>
                            <a:pt x="15" y="105"/>
                          </a:cubicBezTo>
                          <a:cubicBezTo>
                            <a:pt x="14" y="106"/>
                            <a:pt x="14" y="106"/>
                            <a:pt x="14" y="106"/>
                          </a:cubicBezTo>
                          <a:cubicBezTo>
                            <a:pt x="14" y="106"/>
                            <a:pt x="13" y="106"/>
                            <a:pt x="13" y="106"/>
                          </a:cubicBezTo>
                          <a:cubicBezTo>
                            <a:pt x="12" y="107"/>
                            <a:pt x="12" y="107"/>
                            <a:pt x="12" y="107"/>
                          </a:cubicBezTo>
                          <a:cubicBezTo>
                            <a:pt x="12" y="107"/>
                            <a:pt x="12" y="107"/>
                            <a:pt x="11" y="107"/>
                          </a:cubicBezTo>
                          <a:cubicBezTo>
                            <a:pt x="10" y="107"/>
                            <a:pt x="9" y="108"/>
                            <a:pt x="9" y="108"/>
                          </a:cubicBezTo>
                          <a:cubicBezTo>
                            <a:pt x="9" y="108"/>
                            <a:pt x="9" y="108"/>
                            <a:pt x="8" y="108"/>
                          </a:cubicBezTo>
                          <a:cubicBezTo>
                            <a:pt x="6" y="108"/>
                            <a:pt x="4" y="108"/>
                            <a:pt x="3" y="107"/>
                          </a:cubicBezTo>
                          <a:cubicBezTo>
                            <a:pt x="3" y="107"/>
                            <a:pt x="3" y="107"/>
                            <a:pt x="3" y="107"/>
                          </a:cubicBezTo>
                          <a:cubicBezTo>
                            <a:pt x="3" y="107"/>
                            <a:pt x="3" y="107"/>
                            <a:pt x="3" y="107"/>
                          </a:cubicBezTo>
                          <a:cubicBezTo>
                            <a:pt x="2" y="107"/>
                            <a:pt x="2" y="107"/>
                            <a:pt x="2" y="106"/>
                          </a:cubicBezTo>
                          <a:cubicBezTo>
                            <a:pt x="1" y="106"/>
                            <a:pt x="1" y="105"/>
                            <a:pt x="1" y="105"/>
                          </a:cubicBezTo>
                          <a:cubicBezTo>
                            <a:pt x="1" y="105"/>
                            <a:pt x="1" y="104"/>
                            <a:pt x="1" y="104"/>
                          </a:cubicBezTo>
                          <a:cubicBezTo>
                            <a:pt x="1" y="104"/>
                            <a:pt x="1" y="104"/>
                            <a:pt x="1" y="104"/>
                          </a:cubicBezTo>
                          <a:cubicBezTo>
                            <a:pt x="0" y="104"/>
                            <a:pt x="1" y="103"/>
                            <a:pt x="1" y="102"/>
                          </a:cubicBezTo>
                          <a:cubicBezTo>
                            <a:pt x="1" y="102"/>
                            <a:pt x="1" y="102"/>
                            <a:pt x="1" y="102"/>
                          </a:cubicBezTo>
                          <a:cubicBezTo>
                            <a:pt x="1" y="101"/>
                            <a:pt x="3" y="100"/>
                            <a:pt x="3" y="98"/>
                          </a:cubicBezTo>
                          <a:cubicBezTo>
                            <a:pt x="3" y="98"/>
                            <a:pt x="2" y="99"/>
                            <a:pt x="2" y="99"/>
                          </a:cubicBezTo>
                          <a:cubicBezTo>
                            <a:pt x="2" y="99"/>
                            <a:pt x="3" y="98"/>
                            <a:pt x="3" y="98"/>
                          </a:cubicBezTo>
                          <a:cubicBezTo>
                            <a:pt x="3" y="98"/>
                            <a:pt x="3" y="98"/>
                            <a:pt x="3" y="97"/>
                          </a:cubicBezTo>
                          <a:cubicBezTo>
                            <a:pt x="5" y="96"/>
                            <a:pt x="5" y="95"/>
                            <a:pt x="6" y="94"/>
                          </a:cubicBezTo>
                          <a:cubicBezTo>
                            <a:pt x="7" y="94"/>
                            <a:pt x="7" y="94"/>
                            <a:pt x="7" y="94"/>
                          </a:cubicBezTo>
                          <a:cubicBezTo>
                            <a:pt x="8" y="93"/>
                            <a:pt x="8" y="93"/>
                            <a:pt x="8" y="93"/>
                          </a:cubicBezTo>
                          <a:cubicBezTo>
                            <a:pt x="9" y="92"/>
                            <a:pt x="10" y="92"/>
                            <a:pt x="10" y="92"/>
                          </a:cubicBezTo>
                          <a:cubicBezTo>
                            <a:pt x="11" y="91"/>
                            <a:pt x="11" y="91"/>
                            <a:pt x="12" y="91"/>
                          </a:cubicBezTo>
                          <a:cubicBezTo>
                            <a:pt x="12" y="91"/>
                            <a:pt x="12" y="91"/>
                            <a:pt x="12" y="91"/>
                          </a:cubicBezTo>
                          <a:cubicBezTo>
                            <a:pt x="13" y="90"/>
                            <a:pt x="14" y="89"/>
                            <a:pt x="16" y="88"/>
                          </a:cubicBezTo>
                          <a:cubicBezTo>
                            <a:pt x="16" y="88"/>
                            <a:pt x="16" y="88"/>
                            <a:pt x="16" y="88"/>
                          </a:cubicBezTo>
                          <a:close/>
                          <a:moveTo>
                            <a:pt x="32" y="96"/>
                          </a:moveTo>
                          <a:cubicBezTo>
                            <a:pt x="33" y="96"/>
                            <a:pt x="33" y="96"/>
                            <a:pt x="33" y="96"/>
                          </a:cubicBezTo>
                          <a:cubicBezTo>
                            <a:pt x="33" y="96"/>
                            <a:pt x="32" y="96"/>
                            <a:pt x="32" y="96"/>
                          </a:cubicBezTo>
                          <a:close/>
                          <a:moveTo>
                            <a:pt x="32" y="96"/>
                          </a:moveTo>
                          <a:cubicBezTo>
                            <a:pt x="32" y="96"/>
                            <a:pt x="32" y="96"/>
                            <a:pt x="32" y="96"/>
                          </a:cubicBezTo>
                          <a:cubicBezTo>
                            <a:pt x="32" y="96"/>
                            <a:pt x="32" y="96"/>
                            <a:pt x="32" y="96"/>
                          </a:cubicBezTo>
                          <a:close/>
                          <a:moveTo>
                            <a:pt x="36" y="93"/>
                          </a:moveTo>
                          <a:cubicBezTo>
                            <a:pt x="36" y="93"/>
                            <a:pt x="36" y="93"/>
                            <a:pt x="36" y="93"/>
                          </a:cubicBezTo>
                          <a:cubicBezTo>
                            <a:pt x="36" y="93"/>
                            <a:pt x="36" y="93"/>
                            <a:pt x="36" y="93"/>
                          </a:cubicBezTo>
                          <a:cubicBezTo>
                            <a:pt x="36" y="93"/>
                            <a:pt x="36" y="93"/>
                            <a:pt x="36" y="93"/>
                          </a:cubicBezTo>
                          <a:close/>
                          <a:moveTo>
                            <a:pt x="33" y="95"/>
                          </a:moveTo>
                          <a:cubicBezTo>
                            <a:pt x="33" y="94"/>
                            <a:pt x="32" y="94"/>
                            <a:pt x="32" y="94"/>
                          </a:cubicBezTo>
                          <a:cubicBezTo>
                            <a:pt x="32" y="95"/>
                            <a:pt x="32" y="95"/>
                            <a:pt x="32" y="95"/>
                          </a:cubicBezTo>
                          <a:cubicBezTo>
                            <a:pt x="32" y="95"/>
                            <a:pt x="33" y="95"/>
                            <a:pt x="33" y="95"/>
                          </a:cubicBezTo>
                          <a:close/>
                          <a:moveTo>
                            <a:pt x="34" y="94"/>
                          </a:moveTo>
                          <a:cubicBezTo>
                            <a:pt x="33" y="94"/>
                            <a:pt x="34" y="94"/>
                            <a:pt x="34" y="94"/>
                          </a:cubicBezTo>
                          <a:cubicBezTo>
                            <a:pt x="34" y="94"/>
                            <a:pt x="33" y="94"/>
                            <a:pt x="33" y="94"/>
                          </a:cubicBezTo>
                          <a:cubicBezTo>
                            <a:pt x="34" y="94"/>
                            <a:pt x="34" y="94"/>
                            <a:pt x="34" y="94"/>
                          </a:cubicBezTo>
                          <a:cubicBezTo>
                            <a:pt x="34" y="94"/>
                            <a:pt x="34" y="94"/>
                            <a:pt x="34" y="94"/>
                          </a:cubicBezTo>
                          <a:cubicBezTo>
                            <a:pt x="34" y="94"/>
                            <a:pt x="34" y="94"/>
                            <a:pt x="34" y="94"/>
                          </a:cubicBezTo>
                          <a:close/>
                          <a:moveTo>
                            <a:pt x="34" y="94"/>
                          </a:moveTo>
                          <a:cubicBezTo>
                            <a:pt x="34" y="94"/>
                            <a:pt x="34" y="94"/>
                            <a:pt x="34" y="94"/>
                          </a:cubicBezTo>
                          <a:cubicBezTo>
                            <a:pt x="34" y="94"/>
                            <a:pt x="35" y="94"/>
                            <a:pt x="34" y="94"/>
                          </a:cubicBezTo>
                          <a:close/>
                          <a:moveTo>
                            <a:pt x="35" y="93"/>
                          </a:moveTo>
                          <a:cubicBezTo>
                            <a:pt x="35" y="93"/>
                            <a:pt x="35" y="93"/>
                            <a:pt x="35" y="93"/>
                          </a:cubicBezTo>
                          <a:cubicBezTo>
                            <a:pt x="35" y="93"/>
                            <a:pt x="35" y="93"/>
                            <a:pt x="35" y="93"/>
                          </a:cubicBezTo>
                          <a:cubicBezTo>
                            <a:pt x="35" y="93"/>
                            <a:pt x="35" y="93"/>
                            <a:pt x="35" y="93"/>
                          </a:cubicBezTo>
                          <a:cubicBezTo>
                            <a:pt x="35" y="93"/>
                            <a:pt x="35" y="93"/>
                            <a:pt x="35" y="93"/>
                          </a:cubicBezTo>
                          <a:close/>
                          <a:moveTo>
                            <a:pt x="33" y="94"/>
                          </a:moveTo>
                          <a:cubicBezTo>
                            <a:pt x="33" y="94"/>
                            <a:pt x="33" y="94"/>
                            <a:pt x="33" y="94"/>
                          </a:cubicBezTo>
                          <a:cubicBezTo>
                            <a:pt x="33" y="94"/>
                            <a:pt x="33" y="94"/>
                            <a:pt x="33" y="94"/>
                          </a:cubicBezTo>
                          <a:cubicBezTo>
                            <a:pt x="33" y="94"/>
                            <a:pt x="33" y="94"/>
                            <a:pt x="33" y="94"/>
                          </a:cubicBezTo>
                          <a:cubicBezTo>
                            <a:pt x="33" y="94"/>
                            <a:pt x="33" y="94"/>
                            <a:pt x="33" y="94"/>
                          </a:cubicBezTo>
                          <a:close/>
                          <a:moveTo>
                            <a:pt x="35" y="92"/>
                          </a:moveTo>
                          <a:cubicBezTo>
                            <a:pt x="35" y="93"/>
                            <a:pt x="35" y="93"/>
                            <a:pt x="35" y="93"/>
                          </a:cubicBezTo>
                          <a:cubicBezTo>
                            <a:pt x="35" y="93"/>
                            <a:pt x="35" y="93"/>
                            <a:pt x="35" y="93"/>
                          </a:cubicBezTo>
                          <a:cubicBezTo>
                            <a:pt x="35" y="93"/>
                            <a:pt x="35" y="93"/>
                            <a:pt x="35" y="92"/>
                          </a:cubicBezTo>
                          <a:close/>
                          <a:moveTo>
                            <a:pt x="33" y="94"/>
                          </a:moveTo>
                          <a:cubicBezTo>
                            <a:pt x="33" y="94"/>
                            <a:pt x="33" y="94"/>
                            <a:pt x="33" y="94"/>
                          </a:cubicBezTo>
                          <a:cubicBezTo>
                            <a:pt x="33" y="94"/>
                            <a:pt x="33" y="94"/>
                            <a:pt x="33" y="94"/>
                          </a:cubicBezTo>
                          <a:cubicBezTo>
                            <a:pt x="33" y="94"/>
                            <a:pt x="33" y="94"/>
                            <a:pt x="33" y="94"/>
                          </a:cubicBezTo>
                          <a:close/>
                          <a:moveTo>
                            <a:pt x="36" y="92"/>
                          </a:moveTo>
                          <a:cubicBezTo>
                            <a:pt x="36" y="92"/>
                            <a:pt x="36" y="92"/>
                            <a:pt x="36" y="92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ubicBezTo>
                            <a:pt x="36" y="92"/>
                            <a:pt x="36" y="92"/>
                            <a:pt x="36" y="92"/>
                          </a:cubicBezTo>
                          <a:close/>
                          <a:moveTo>
                            <a:pt x="37" y="91"/>
                          </a:moveTo>
                          <a:cubicBezTo>
                            <a:pt x="37" y="91"/>
                            <a:pt x="37" y="91"/>
                            <a:pt x="37" y="91"/>
                          </a:cubicBezTo>
                          <a:cubicBezTo>
                            <a:pt x="37" y="91"/>
                            <a:pt x="37" y="91"/>
                            <a:pt x="37" y="91"/>
                          </a:cubicBezTo>
                          <a:close/>
                          <a:moveTo>
                            <a:pt x="38" y="90"/>
                          </a:moveTo>
                          <a:cubicBezTo>
                            <a:pt x="38" y="90"/>
                            <a:pt x="37" y="90"/>
                            <a:pt x="37" y="90"/>
                          </a:cubicBezTo>
                          <a:cubicBezTo>
                            <a:pt x="37" y="90"/>
                            <a:pt x="37" y="91"/>
                            <a:pt x="38" y="90"/>
                          </a:cubicBezTo>
                          <a:cubicBezTo>
                            <a:pt x="37" y="90"/>
                            <a:pt x="38" y="90"/>
                            <a:pt x="38" y="90"/>
                          </a:cubicBezTo>
                          <a:cubicBezTo>
                            <a:pt x="38" y="90"/>
                            <a:pt x="38" y="90"/>
                            <a:pt x="38" y="90"/>
                          </a:cubicBezTo>
                          <a:close/>
                          <a:moveTo>
                            <a:pt x="39" y="89"/>
                          </a:moveTo>
                          <a:cubicBezTo>
                            <a:pt x="40" y="89"/>
                            <a:pt x="40" y="89"/>
                            <a:pt x="40" y="89"/>
                          </a:cubicBezTo>
                          <a:cubicBezTo>
                            <a:pt x="40" y="89"/>
                            <a:pt x="39" y="89"/>
                            <a:pt x="39" y="89"/>
                          </a:cubicBezTo>
                          <a:close/>
                          <a:moveTo>
                            <a:pt x="38" y="89"/>
                          </a:moveTo>
                          <a:cubicBezTo>
                            <a:pt x="37" y="90"/>
                            <a:pt x="37" y="90"/>
                            <a:pt x="37" y="89"/>
                          </a:cubicBezTo>
                          <a:cubicBezTo>
                            <a:pt x="37" y="90"/>
                            <a:pt x="37" y="90"/>
                            <a:pt x="37" y="90"/>
                          </a:cubicBezTo>
                          <a:cubicBezTo>
                            <a:pt x="37" y="90"/>
                            <a:pt x="38" y="90"/>
                            <a:pt x="38" y="89"/>
                          </a:cubicBezTo>
                          <a:close/>
                          <a:moveTo>
                            <a:pt x="38" y="90"/>
                          </a:moveTo>
                          <a:cubicBezTo>
                            <a:pt x="37" y="90"/>
                            <a:pt x="38" y="90"/>
                            <a:pt x="38" y="89"/>
                          </a:cubicBezTo>
                          <a:cubicBezTo>
                            <a:pt x="38" y="89"/>
                            <a:pt x="37" y="90"/>
                            <a:pt x="37" y="90"/>
                          </a:cubicBezTo>
                          <a:cubicBezTo>
                            <a:pt x="37" y="90"/>
                            <a:pt x="37" y="90"/>
                            <a:pt x="37" y="90"/>
                          </a:cubicBezTo>
                          <a:cubicBezTo>
                            <a:pt x="37" y="90"/>
                            <a:pt x="38" y="90"/>
                            <a:pt x="38" y="90"/>
                          </a:cubicBezTo>
                          <a:close/>
                          <a:moveTo>
                            <a:pt x="39" y="89"/>
                          </a:moveTo>
                          <a:cubicBezTo>
                            <a:pt x="39" y="89"/>
                            <a:pt x="38" y="89"/>
                            <a:pt x="38" y="89"/>
                          </a:cubicBezTo>
                          <a:cubicBezTo>
                            <a:pt x="38" y="89"/>
                            <a:pt x="38" y="89"/>
                            <a:pt x="39" y="89"/>
                          </a:cubicBezTo>
                          <a:close/>
                          <a:moveTo>
                            <a:pt x="39" y="89"/>
                          </a:moveTo>
                          <a:cubicBezTo>
                            <a:pt x="39" y="89"/>
                            <a:pt x="39" y="89"/>
                            <a:pt x="39" y="89"/>
                          </a:cubicBezTo>
                          <a:cubicBezTo>
                            <a:pt x="39" y="89"/>
                            <a:pt x="39" y="89"/>
                            <a:pt x="39" y="89"/>
                          </a:cubicBezTo>
                          <a:cubicBezTo>
                            <a:pt x="39" y="89"/>
                            <a:pt x="39" y="89"/>
                            <a:pt x="39" y="89"/>
                          </a:cubicBezTo>
                          <a:cubicBezTo>
                            <a:pt x="39" y="89"/>
                            <a:pt x="39" y="89"/>
                            <a:pt x="39" y="89"/>
                          </a:cubicBezTo>
                          <a:cubicBezTo>
                            <a:pt x="39" y="89"/>
                            <a:pt x="39" y="89"/>
                            <a:pt x="39" y="89"/>
                          </a:cubicBezTo>
                          <a:close/>
                          <a:moveTo>
                            <a:pt x="40" y="88"/>
                          </a:moveTo>
                          <a:cubicBezTo>
                            <a:pt x="40" y="88"/>
                            <a:pt x="40" y="88"/>
                            <a:pt x="39" y="88"/>
                          </a:cubicBezTo>
                          <a:cubicBezTo>
                            <a:pt x="40" y="88"/>
                            <a:pt x="40" y="88"/>
                            <a:pt x="40" y="88"/>
                          </a:cubicBezTo>
                          <a:cubicBezTo>
                            <a:pt x="40" y="88"/>
                            <a:pt x="40" y="88"/>
                            <a:pt x="40" y="88"/>
                          </a:cubicBezTo>
                          <a:close/>
                          <a:moveTo>
                            <a:pt x="42" y="85"/>
                          </a:moveTo>
                          <a:cubicBezTo>
                            <a:pt x="42" y="85"/>
                            <a:pt x="42" y="86"/>
                            <a:pt x="42" y="86"/>
                          </a:cubicBezTo>
                          <a:cubicBezTo>
                            <a:pt x="42" y="85"/>
                            <a:pt x="43" y="85"/>
                            <a:pt x="43" y="85"/>
                          </a:cubicBezTo>
                          <a:cubicBezTo>
                            <a:pt x="43" y="85"/>
                            <a:pt x="42" y="85"/>
                            <a:pt x="42" y="85"/>
                          </a:cubicBezTo>
                          <a:cubicBezTo>
                            <a:pt x="43" y="85"/>
                            <a:pt x="43" y="85"/>
                            <a:pt x="43" y="85"/>
                          </a:cubicBezTo>
                          <a:cubicBezTo>
                            <a:pt x="42" y="85"/>
                            <a:pt x="42" y="85"/>
                            <a:pt x="42" y="85"/>
                          </a:cubicBezTo>
                          <a:close/>
                          <a:moveTo>
                            <a:pt x="42" y="85"/>
                          </a:moveTo>
                          <a:cubicBezTo>
                            <a:pt x="41" y="86"/>
                            <a:pt x="42" y="86"/>
                            <a:pt x="41" y="86"/>
                          </a:cubicBezTo>
                          <a:cubicBezTo>
                            <a:pt x="42" y="86"/>
                            <a:pt x="42" y="86"/>
                            <a:pt x="42" y="86"/>
                          </a:cubicBezTo>
                          <a:cubicBezTo>
                            <a:pt x="42" y="86"/>
                            <a:pt x="42" y="86"/>
                            <a:pt x="42" y="86"/>
                          </a:cubicBezTo>
                          <a:cubicBezTo>
                            <a:pt x="42" y="86"/>
                            <a:pt x="42" y="86"/>
                            <a:pt x="42" y="86"/>
                          </a:cubicBezTo>
                          <a:cubicBezTo>
                            <a:pt x="42" y="86"/>
                            <a:pt x="42" y="85"/>
                            <a:pt x="42" y="85"/>
                          </a:cubicBezTo>
                          <a:close/>
                          <a:moveTo>
                            <a:pt x="44" y="83"/>
                          </a:moveTo>
                          <a:cubicBezTo>
                            <a:pt x="44" y="83"/>
                            <a:pt x="44" y="83"/>
                            <a:pt x="44" y="83"/>
                          </a:cubicBezTo>
                          <a:cubicBezTo>
                            <a:pt x="44" y="83"/>
                            <a:pt x="44" y="84"/>
                            <a:pt x="45" y="83"/>
                          </a:cubicBezTo>
                          <a:cubicBezTo>
                            <a:pt x="44" y="83"/>
                            <a:pt x="44" y="84"/>
                            <a:pt x="44" y="83"/>
                          </a:cubicBezTo>
                          <a:close/>
                          <a:moveTo>
                            <a:pt x="45" y="83"/>
                          </a:moveTo>
                          <a:cubicBezTo>
                            <a:pt x="45" y="83"/>
                            <a:pt x="44" y="83"/>
                            <a:pt x="44" y="83"/>
                          </a:cubicBezTo>
                          <a:cubicBezTo>
                            <a:pt x="45" y="83"/>
                            <a:pt x="45" y="83"/>
                            <a:pt x="45" y="83"/>
                          </a:cubicBezTo>
                          <a:close/>
                          <a:moveTo>
                            <a:pt x="47" y="82"/>
                          </a:moveTo>
                          <a:cubicBezTo>
                            <a:pt x="47" y="82"/>
                            <a:pt x="47" y="82"/>
                            <a:pt x="47" y="82"/>
                          </a:cubicBezTo>
                          <a:cubicBezTo>
                            <a:pt x="47" y="82"/>
                            <a:pt x="47" y="82"/>
                            <a:pt x="47" y="82"/>
                          </a:cubicBezTo>
                          <a:cubicBezTo>
                            <a:pt x="47" y="82"/>
                            <a:pt x="47" y="82"/>
                            <a:pt x="47" y="82"/>
                          </a:cubicBezTo>
                          <a:close/>
                          <a:moveTo>
                            <a:pt x="44" y="84"/>
                          </a:moveTo>
                          <a:cubicBezTo>
                            <a:pt x="43" y="84"/>
                            <a:pt x="43" y="83"/>
                            <a:pt x="43" y="84"/>
                          </a:cubicBezTo>
                          <a:cubicBezTo>
                            <a:pt x="43" y="84"/>
                            <a:pt x="44" y="84"/>
                            <a:pt x="44" y="84"/>
                          </a:cubicBezTo>
                          <a:close/>
                          <a:moveTo>
                            <a:pt x="44" y="84"/>
                          </a:moveTo>
                          <a:cubicBezTo>
                            <a:pt x="44" y="84"/>
                            <a:pt x="43" y="84"/>
                            <a:pt x="43" y="84"/>
                          </a:cubicBezTo>
                          <a:cubicBezTo>
                            <a:pt x="44" y="84"/>
                            <a:pt x="44" y="84"/>
                            <a:pt x="44" y="84"/>
                          </a:cubicBezTo>
                          <a:close/>
                          <a:moveTo>
                            <a:pt x="44" y="84"/>
                          </a:moveTo>
                          <a:cubicBezTo>
                            <a:pt x="44" y="84"/>
                            <a:pt x="44" y="84"/>
                            <a:pt x="44" y="84"/>
                          </a:cubicBezTo>
                          <a:cubicBezTo>
                            <a:pt x="44" y="84"/>
                            <a:pt x="44" y="84"/>
                            <a:pt x="44" y="84"/>
                          </a:cubicBezTo>
                          <a:cubicBezTo>
                            <a:pt x="44" y="84"/>
                            <a:pt x="44" y="84"/>
                            <a:pt x="44" y="84"/>
                          </a:cubicBezTo>
                          <a:close/>
                          <a:moveTo>
                            <a:pt x="39" y="87"/>
                          </a:moveTo>
                          <a:cubicBezTo>
                            <a:pt x="39" y="87"/>
                            <a:pt x="39" y="86"/>
                            <a:pt x="39" y="86"/>
                          </a:cubicBezTo>
                          <a:cubicBezTo>
                            <a:pt x="39" y="86"/>
                            <a:pt x="39" y="87"/>
                            <a:pt x="39" y="87"/>
                          </a:cubicBezTo>
                          <a:close/>
                          <a:moveTo>
                            <a:pt x="27" y="93"/>
                          </a:moveTo>
                          <a:cubicBezTo>
                            <a:pt x="27" y="93"/>
                            <a:pt x="28" y="92"/>
                            <a:pt x="28" y="92"/>
                          </a:cubicBezTo>
                          <a:cubicBezTo>
                            <a:pt x="27" y="92"/>
                            <a:pt x="27" y="93"/>
                            <a:pt x="27" y="93"/>
                          </a:cubicBezTo>
                          <a:close/>
                          <a:moveTo>
                            <a:pt x="37" y="86"/>
                          </a:moveTo>
                          <a:cubicBezTo>
                            <a:pt x="37" y="86"/>
                            <a:pt x="37" y="86"/>
                            <a:pt x="37" y="86"/>
                          </a:cubicBezTo>
                          <a:cubicBezTo>
                            <a:pt x="37" y="86"/>
                            <a:pt x="37" y="86"/>
                            <a:pt x="37" y="86"/>
                          </a:cubicBezTo>
                          <a:cubicBezTo>
                            <a:pt x="37" y="86"/>
                            <a:pt x="37" y="86"/>
                            <a:pt x="37" y="86"/>
                          </a:cubicBezTo>
                          <a:cubicBezTo>
                            <a:pt x="37" y="86"/>
                            <a:pt x="37" y="86"/>
                            <a:pt x="37" y="86"/>
                          </a:cubicBezTo>
                          <a:cubicBezTo>
                            <a:pt x="37" y="86"/>
                            <a:pt x="38" y="86"/>
                            <a:pt x="37" y="86"/>
                          </a:cubicBezTo>
                          <a:cubicBezTo>
                            <a:pt x="37" y="86"/>
                            <a:pt x="37" y="86"/>
                            <a:pt x="37" y="86"/>
                          </a:cubicBezTo>
                          <a:close/>
                          <a:moveTo>
                            <a:pt x="37" y="86"/>
                          </a:moveTo>
                          <a:cubicBezTo>
                            <a:pt x="36" y="87"/>
                            <a:pt x="37" y="86"/>
                            <a:pt x="37" y="86"/>
                          </a:cubicBezTo>
                          <a:cubicBezTo>
                            <a:pt x="36" y="86"/>
                            <a:pt x="36" y="86"/>
                            <a:pt x="36" y="86"/>
                          </a:cubicBezTo>
                          <a:cubicBezTo>
                            <a:pt x="37" y="86"/>
                            <a:pt x="36" y="86"/>
                            <a:pt x="36" y="87"/>
                          </a:cubicBezTo>
                          <a:cubicBezTo>
                            <a:pt x="36" y="87"/>
                            <a:pt x="37" y="86"/>
                            <a:pt x="37" y="87"/>
                          </a:cubicBezTo>
                          <a:cubicBezTo>
                            <a:pt x="36" y="87"/>
                            <a:pt x="36" y="87"/>
                            <a:pt x="36" y="87"/>
                          </a:cubicBezTo>
                          <a:cubicBezTo>
                            <a:pt x="36" y="87"/>
                            <a:pt x="37" y="87"/>
                            <a:pt x="37" y="86"/>
                          </a:cubicBezTo>
                          <a:close/>
                          <a:moveTo>
                            <a:pt x="37" y="87"/>
                          </a:moveTo>
                          <a:cubicBezTo>
                            <a:pt x="38" y="87"/>
                            <a:pt x="38" y="86"/>
                            <a:pt x="38" y="86"/>
                          </a:cubicBezTo>
                          <a:cubicBezTo>
                            <a:pt x="38" y="86"/>
                            <a:pt x="38" y="86"/>
                            <a:pt x="38" y="86"/>
                          </a:cubicBezTo>
                          <a:cubicBezTo>
                            <a:pt x="38" y="86"/>
                            <a:pt x="38" y="86"/>
                            <a:pt x="38" y="86"/>
                          </a:cubicBezTo>
                          <a:cubicBezTo>
                            <a:pt x="38" y="86"/>
                            <a:pt x="37" y="86"/>
                            <a:pt x="37" y="86"/>
                          </a:cubicBezTo>
                          <a:cubicBezTo>
                            <a:pt x="37" y="86"/>
                            <a:pt x="37" y="86"/>
                            <a:pt x="37" y="86"/>
                          </a:cubicBezTo>
                          <a:cubicBezTo>
                            <a:pt x="37" y="86"/>
                            <a:pt x="37" y="86"/>
                            <a:pt x="37" y="87"/>
                          </a:cubicBezTo>
                          <a:close/>
                          <a:moveTo>
                            <a:pt x="38" y="86"/>
                          </a:moveTo>
                          <a:cubicBezTo>
                            <a:pt x="39" y="86"/>
                            <a:pt x="39" y="86"/>
                            <a:pt x="39" y="86"/>
                          </a:cubicBezTo>
                          <a:cubicBezTo>
                            <a:pt x="39" y="86"/>
                            <a:pt x="39" y="86"/>
                            <a:pt x="38" y="86"/>
                          </a:cubicBezTo>
                          <a:cubicBezTo>
                            <a:pt x="38" y="86"/>
                            <a:pt x="38" y="86"/>
                            <a:pt x="38" y="86"/>
                          </a:cubicBezTo>
                          <a:close/>
                          <a:moveTo>
                            <a:pt x="35" y="88"/>
                          </a:moveTo>
                          <a:cubicBezTo>
                            <a:pt x="35" y="88"/>
                            <a:pt x="36" y="88"/>
                            <a:pt x="35" y="88"/>
                          </a:cubicBezTo>
                          <a:cubicBezTo>
                            <a:pt x="35" y="88"/>
                            <a:pt x="35" y="88"/>
                            <a:pt x="35" y="88"/>
                          </a:cubicBezTo>
                          <a:cubicBezTo>
                            <a:pt x="35" y="88"/>
                            <a:pt x="35" y="88"/>
                            <a:pt x="35" y="88"/>
                          </a:cubicBezTo>
                          <a:close/>
                          <a:moveTo>
                            <a:pt x="39" y="85"/>
                          </a:moveTo>
                          <a:cubicBezTo>
                            <a:pt x="39" y="85"/>
                            <a:pt x="39" y="85"/>
                            <a:pt x="39" y="86"/>
                          </a:cubicBezTo>
                          <a:cubicBezTo>
                            <a:pt x="39" y="85"/>
                            <a:pt x="39" y="86"/>
                            <a:pt x="39" y="86"/>
                          </a:cubicBezTo>
                          <a:cubicBezTo>
                            <a:pt x="39" y="86"/>
                            <a:pt x="39" y="86"/>
                            <a:pt x="39" y="86"/>
                          </a:cubicBezTo>
                          <a:cubicBezTo>
                            <a:pt x="39" y="86"/>
                            <a:pt x="39" y="86"/>
                            <a:pt x="39" y="85"/>
                          </a:cubicBezTo>
                          <a:cubicBezTo>
                            <a:pt x="39" y="86"/>
                            <a:pt x="40" y="85"/>
                            <a:pt x="40" y="85"/>
                          </a:cubicBezTo>
                          <a:cubicBezTo>
                            <a:pt x="40" y="85"/>
                            <a:pt x="40" y="85"/>
                            <a:pt x="40" y="85"/>
                          </a:cubicBezTo>
                          <a:cubicBezTo>
                            <a:pt x="39" y="85"/>
                            <a:pt x="39" y="85"/>
                            <a:pt x="39" y="85"/>
                          </a:cubicBezTo>
                          <a:cubicBezTo>
                            <a:pt x="39" y="85"/>
                            <a:pt x="40" y="85"/>
                            <a:pt x="40" y="85"/>
                          </a:cubicBezTo>
                          <a:cubicBezTo>
                            <a:pt x="39" y="85"/>
                            <a:pt x="39" y="85"/>
                            <a:pt x="39" y="85"/>
                          </a:cubicBezTo>
                          <a:cubicBezTo>
                            <a:pt x="39" y="85"/>
                            <a:pt x="39" y="85"/>
                            <a:pt x="39" y="85"/>
                          </a:cubicBezTo>
                          <a:cubicBezTo>
                            <a:pt x="39" y="85"/>
                            <a:pt x="39" y="85"/>
                            <a:pt x="39" y="85"/>
                          </a:cubicBezTo>
                          <a:cubicBezTo>
                            <a:pt x="39" y="85"/>
                            <a:pt x="39" y="85"/>
                            <a:pt x="39" y="85"/>
                          </a:cubicBezTo>
                          <a:close/>
                          <a:moveTo>
                            <a:pt x="38" y="86"/>
                          </a:moveTo>
                          <a:cubicBezTo>
                            <a:pt x="38" y="86"/>
                            <a:pt x="39" y="85"/>
                            <a:pt x="39" y="85"/>
                          </a:cubicBezTo>
                          <a:cubicBezTo>
                            <a:pt x="38" y="85"/>
                            <a:pt x="38" y="85"/>
                            <a:pt x="38" y="86"/>
                          </a:cubicBezTo>
                          <a:close/>
                          <a:moveTo>
                            <a:pt x="38" y="86"/>
                          </a:moveTo>
                          <a:cubicBezTo>
                            <a:pt x="38" y="86"/>
                            <a:pt x="38" y="86"/>
                            <a:pt x="38" y="86"/>
                          </a:cubicBezTo>
                          <a:cubicBezTo>
                            <a:pt x="38" y="86"/>
                            <a:pt x="38" y="86"/>
                            <a:pt x="38" y="86"/>
                          </a:cubicBezTo>
                          <a:cubicBezTo>
                            <a:pt x="38" y="86"/>
                            <a:pt x="38" y="86"/>
                            <a:pt x="38" y="86"/>
                          </a:cubicBezTo>
                          <a:close/>
                          <a:moveTo>
                            <a:pt x="38" y="85"/>
                          </a:moveTo>
                          <a:cubicBezTo>
                            <a:pt x="38" y="85"/>
                            <a:pt x="37" y="85"/>
                            <a:pt x="38" y="85"/>
                          </a:cubicBezTo>
                          <a:cubicBezTo>
                            <a:pt x="38" y="85"/>
                            <a:pt x="38" y="86"/>
                            <a:pt x="38" y="85"/>
                          </a:cubicBezTo>
                          <a:cubicBezTo>
                            <a:pt x="38" y="85"/>
                            <a:pt x="38" y="85"/>
                            <a:pt x="38" y="85"/>
                          </a:cubicBezTo>
                          <a:cubicBezTo>
                            <a:pt x="38" y="86"/>
                            <a:pt x="38" y="85"/>
                            <a:pt x="38" y="85"/>
                          </a:cubicBezTo>
                          <a:close/>
                          <a:moveTo>
                            <a:pt x="37" y="85"/>
                          </a:moveTo>
                          <a:cubicBezTo>
                            <a:pt x="37" y="85"/>
                            <a:pt x="37" y="85"/>
                            <a:pt x="37" y="85"/>
                          </a:cubicBezTo>
                          <a:cubicBezTo>
                            <a:pt x="37" y="85"/>
                            <a:pt x="37" y="85"/>
                            <a:pt x="37" y="85"/>
                          </a:cubicBezTo>
                          <a:cubicBezTo>
                            <a:pt x="37" y="85"/>
                            <a:pt x="37" y="85"/>
                            <a:pt x="37" y="85"/>
                          </a:cubicBezTo>
                          <a:close/>
                          <a:moveTo>
                            <a:pt x="35" y="86"/>
                          </a:moveTo>
                          <a:cubicBezTo>
                            <a:pt x="35" y="87"/>
                            <a:pt x="35" y="87"/>
                            <a:pt x="34" y="87"/>
                          </a:cubicBezTo>
                          <a:cubicBezTo>
                            <a:pt x="34" y="87"/>
                            <a:pt x="35" y="87"/>
                            <a:pt x="35" y="87"/>
                          </a:cubicBezTo>
                          <a:cubicBezTo>
                            <a:pt x="35" y="87"/>
                            <a:pt x="35" y="87"/>
                            <a:pt x="35" y="86"/>
                          </a:cubicBezTo>
                          <a:close/>
                          <a:moveTo>
                            <a:pt x="39" y="84"/>
                          </a:moveTo>
                          <a:cubicBezTo>
                            <a:pt x="39" y="84"/>
                            <a:pt x="39" y="84"/>
                            <a:pt x="39" y="84"/>
                          </a:cubicBezTo>
                          <a:cubicBezTo>
                            <a:pt x="39" y="84"/>
                            <a:pt x="39" y="84"/>
                            <a:pt x="39" y="84"/>
                          </a:cubicBezTo>
                          <a:cubicBezTo>
                            <a:pt x="39" y="84"/>
                            <a:pt x="39" y="84"/>
                            <a:pt x="39" y="85"/>
                          </a:cubicBezTo>
                          <a:cubicBezTo>
                            <a:pt x="39" y="84"/>
                            <a:pt x="39" y="84"/>
                            <a:pt x="39" y="84"/>
                          </a:cubicBezTo>
                          <a:close/>
                          <a:moveTo>
                            <a:pt x="41" y="83"/>
                          </a:moveTo>
                          <a:cubicBezTo>
                            <a:pt x="41" y="83"/>
                            <a:pt x="41" y="83"/>
                            <a:pt x="41" y="83"/>
                          </a:cubicBezTo>
                          <a:cubicBezTo>
                            <a:pt x="41" y="83"/>
                            <a:pt x="41" y="83"/>
                            <a:pt x="41" y="83"/>
                          </a:cubicBezTo>
                          <a:cubicBezTo>
                            <a:pt x="41" y="83"/>
                            <a:pt x="41" y="83"/>
                            <a:pt x="41" y="83"/>
                          </a:cubicBezTo>
                          <a:close/>
                          <a:moveTo>
                            <a:pt x="42" y="82"/>
                          </a:moveTo>
                          <a:cubicBezTo>
                            <a:pt x="42" y="82"/>
                            <a:pt x="41" y="82"/>
                            <a:pt x="42" y="83"/>
                          </a:cubicBezTo>
                          <a:cubicBezTo>
                            <a:pt x="42" y="83"/>
                            <a:pt x="42" y="82"/>
                            <a:pt x="42" y="83"/>
                          </a:cubicBezTo>
                          <a:cubicBezTo>
                            <a:pt x="42" y="82"/>
                            <a:pt x="42" y="82"/>
                            <a:pt x="42" y="82"/>
                          </a:cubicBezTo>
                          <a:close/>
                          <a:moveTo>
                            <a:pt x="40" y="83"/>
                          </a:moveTo>
                          <a:cubicBezTo>
                            <a:pt x="40" y="83"/>
                            <a:pt x="40" y="83"/>
                            <a:pt x="40" y="84"/>
                          </a:cubicBezTo>
                          <a:cubicBezTo>
                            <a:pt x="40" y="83"/>
                            <a:pt x="40" y="83"/>
                            <a:pt x="40" y="83"/>
                          </a:cubicBezTo>
                          <a:close/>
                          <a:moveTo>
                            <a:pt x="56" y="73"/>
                          </a:moveTo>
                          <a:cubicBezTo>
                            <a:pt x="56" y="73"/>
                            <a:pt x="56" y="73"/>
                            <a:pt x="56" y="73"/>
                          </a:cubicBezTo>
                          <a:cubicBezTo>
                            <a:pt x="56" y="73"/>
                            <a:pt x="56" y="73"/>
                            <a:pt x="56" y="73"/>
                          </a:cubicBezTo>
                          <a:cubicBezTo>
                            <a:pt x="56" y="73"/>
                            <a:pt x="56" y="73"/>
                            <a:pt x="56" y="73"/>
                          </a:cubicBezTo>
                          <a:close/>
                          <a:moveTo>
                            <a:pt x="53" y="74"/>
                          </a:moveTo>
                          <a:cubicBezTo>
                            <a:pt x="53" y="75"/>
                            <a:pt x="53" y="75"/>
                            <a:pt x="53" y="75"/>
                          </a:cubicBezTo>
                          <a:cubicBezTo>
                            <a:pt x="53" y="75"/>
                            <a:pt x="53" y="75"/>
                            <a:pt x="53" y="74"/>
                          </a:cubicBezTo>
                          <a:close/>
                          <a:moveTo>
                            <a:pt x="51" y="77"/>
                          </a:moveTo>
                          <a:cubicBezTo>
                            <a:pt x="51" y="77"/>
                            <a:pt x="51" y="77"/>
                            <a:pt x="51" y="77"/>
                          </a:cubicBezTo>
                          <a:cubicBezTo>
                            <a:pt x="51" y="77"/>
                            <a:pt x="51" y="77"/>
                            <a:pt x="51" y="77"/>
                          </a:cubicBezTo>
                          <a:cubicBezTo>
                            <a:pt x="51" y="77"/>
                            <a:pt x="51" y="77"/>
                            <a:pt x="51" y="77"/>
                          </a:cubicBezTo>
                          <a:close/>
                          <a:moveTo>
                            <a:pt x="40" y="83"/>
                          </a:moveTo>
                          <a:cubicBezTo>
                            <a:pt x="40" y="83"/>
                            <a:pt x="40" y="83"/>
                            <a:pt x="41" y="83"/>
                          </a:cubicBezTo>
                          <a:cubicBezTo>
                            <a:pt x="41" y="83"/>
                            <a:pt x="41" y="82"/>
                            <a:pt x="41" y="82"/>
                          </a:cubicBezTo>
                          <a:cubicBezTo>
                            <a:pt x="41" y="82"/>
                            <a:pt x="41" y="83"/>
                            <a:pt x="41" y="83"/>
                          </a:cubicBezTo>
                          <a:cubicBezTo>
                            <a:pt x="41" y="82"/>
                            <a:pt x="41" y="82"/>
                            <a:pt x="40" y="83"/>
                          </a:cubicBezTo>
                          <a:close/>
                          <a:moveTo>
                            <a:pt x="45" y="80"/>
                          </a:moveTo>
                          <a:cubicBezTo>
                            <a:pt x="45" y="80"/>
                            <a:pt x="45" y="80"/>
                            <a:pt x="45" y="80"/>
                          </a:cubicBezTo>
                          <a:cubicBezTo>
                            <a:pt x="45" y="80"/>
                            <a:pt x="44" y="80"/>
                            <a:pt x="45" y="80"/>
                          </a:cubicBezTo>
                          <a:close/>
                          <a:moveTo>
                            <a:pt x="47" y="79"/>
                          </a:moveTo>
                          <a:cubicBezTo>
                            <a:pt x="47" y="79"/>
                            <a:pt x="47" y="79"/>
                            <a:pt x="47" y="79"/>
                          </a:cubicBezTo>
                          <a:cubicBezTo>
                            <a:pt x="47" y="79"/>
                            <a:pt x="47" y="79"/>
                            <a:pt x="47" y="79"/>
                          </a:cubicBezTo>
                          <a:close/>
                          <a:moveTo>
                            <a:pt x="47" y="78"/>
                          </a:moveTo>
                          <a:cubicBezTo>
                            <a:pt x="47" y="78"/>
                            <a:pt x="47" y="79"/>
                            <a:pt x="47" y="79"/>
                          </a:cubicBezTo>
                          <a:cubicBezTo>
                            <a:pt x="47" y="79"/>
                            <a:pt x="48" y="78"/>
                            <a:pt x="48" y="78"/>
                          </a:cubicBezTo>
                          <a:cubicBezTo>
                            <a:pt x="48" y="78"/>
                            <a:pt x="47" y="78"/>
                            <a:pt x="48" y="78"/>
                          </a:cubicBezTo>
                          <a:cubicBezTo>
                            <a:pt x="47" y="78"/>
                            <a:pt x="47" y="78"/>
                            <a:pt x="47" y="78"/>
                          </a:cubicBezTo>
                          <a:close/>
                          <a:moveTo>
                            <a:pt x="46" y="79"/>
                          </a:moveTo>
                          <a:cubicBezTo>
                            <a:pt x="46" y="79"/>
                            <a:pt x="46" y="79"/>
                            <a:pt x="46" y="79"/>
                          </a:cubicBezTo>
                          <a:cubicBezTo>
                            <a:pt x="46" y="79"/>
                            <a:pt x="46" y="79"/>
                            <a:pt x="46" y="79"/>
                          </a:cubicBezTo>
                          <a:cubicBezTo>
                            <a:pt x="46" y="79"/>
                            <a:pt x="46" y="79"/>
                            <a:pt x="46" y="79"/>
                          </a:cubicBezTo>
                          <a:cubicBezTo>
                            <a:pt x="46" y="79"/>
                            <a:pt x="46" y="79"/>
                            <a:pt x="46" y="79"/>
                          </a:cubicBezTo>
                          <a:cubicBezTo>
                            <a:pt x="46" y="79"/>
                            <a:pt x="46" y="79"/>
                            <a:pt x="46" y="79"/>
                          </a:cubicBezTo>
                          <a:cubicBezTo>
                            <a:pt x="46" y="80"/>
                            <a:pt x="45" y="80"/>
                            <a:pt x="45" y="79"/>
                          </a:cubicBezTo>
                          <a:cubicBezTo>
                            <a:pt x="45" y="80"/>
                            <a:pt x="45" y="80"/>
                            <a:pt x="45" y="80"/>
                          </a:cubicBezTo>
                          <a:cubicBezTo>
                            <a:pt x="45" y="80"/>
                            <a:pt x="45" y="80"/>
                            <a:pt x="45" y="80"/>
                          </a:cubicBezTo>
                          <a:cubicBezTo>
                            <a:pt x="45" y="80"/>
                            <a:pt x="46" y="80"/>
                            <a:pt x="46" y="80"/>
                          </a:cubicBezTo>
                          <a:cubicBezTo>
                            <a:pt x="46" y="80"/>
                            <a:pt x="46" y="80"/>
                            <a:pt x="46" y="80"/>
                          </a:cubicBezTo>
                          <a:cubicBezTo>
                            <a:pt x="46" y="79"/>
                            <a:pt x="46" y="79"/>
                            <a:pt x="47" y="79"/>
                          </a:cubicBezTo>
                          <a:cubicBezTo>
                            <a:pt x="47" y="79"/>
                            <a:pt x="46" y="79"/>
                            <a:pt x="46" y="79"/>
                          </a:cubicBezTo>
                          <a:close/>
                          <a:moveTo>
                            <a:pt x="43" y="80"/>
                          </a:moveTo>
                          <a:cubicBezTo>
                            <a:pt x="43" y="80"/>
                            <a:pt x="43" y="80"/>
                            <a:pt x="43" y="80"/>
                          </a:cubicBezTo>
                          <a:cubicBezTo>
                            <a:pt x="43" y="80"/>
                            <a:pt x="42" y="80"/>
                            <a:pt x="43" y="80"/>
                          </a:cubicBezTo>
                          <a:close/>
                          <a:moveTo>
                            <a:pt x="42" y="80"/>
                          </a:moveTo>
                          <a:cubicBezTo>
                            <a:pt x="42" y="80"/>
                            <a:pt x="42" y="80"/>
                            <a:pt x="41" y="80"/>
                          </a:cubicBezTo>
                          <a:cubicBezTo>
                            <a:pt x="41" y="81"/>
                            <a:pt x="42" y="80"/>
                            <a:pt x="42" y="80"/>
                          </a:cubicBezTo>
                          <a:close/>
                          <a:moveTo>
                            <a:pt x="43" y="79"/>
                          </a:moveTo>
                          <a:cubicBezTo>
                            <a:pt x="43" y="79"/>
                            <a:pt x="43" y="80"/>
                            <a:pt x="43" y="80"/>
                          </a:cubicBezTo>
                          <a:cubicBezTo>
                            <a:pt x="43" y="80"/>
                            <a:pt x="43" y="80"/>
                            <a:pt x="43" y="79"/>
                          </a:cubicBezTo>
                          <a:cubicBezTo>
                            <a:pt x="43" y="79"/>
                            <a:pt x="43" y="79"/>
                            <a:pt x="43" y="79"/>
                          </a:cubicBezTo>
                          <a:cubicBezTo>
                            <a:pt x="43" y="79"/>
                            <a:pt x="43" y="79"/>
                            <a:pt x="44" y="79"/>
                          </a:cubicBezTo>
                          <a:cubicBezTo>
                            <a:pt x="43" y="79"/>
                            <a:pt x="43" y="79"/>
                            <a:pt x="43" y="79"/>
                          </a:cubicBezTo>
                          <a:close/>
                          <a:moveTo>
                            <a:pt x="33" y="84"/>
                          </a:moveTo>
                          <a:cubicBezTo>
                            <a:pt x="34" y="84"/>
                            <a:pt x="33" y="83"/>
                            <a:pt x="33" y="83"/>
                          </a:cubicBezTo>
                          <a:cubicBezTo>
                            <a:pt x="33" y="83"/>
                            <a:pt x="33" y="84"/>
                            <a:pt x="33" y="84"/>
                          </a:cubicBezTo>
                          <a:close/>
                          <a:moveTo>
                            <a:pt x="36" y="82"/>
                          </a:moveTo>
                          <a:cubicBezTo>
                            <a:pt x="36" y="82"/>
                            <a:pt x="36" y="82"/>
                            <a:pt x="36" y="82"/>
                          </a:cubicBezTo>
                          <a:cubicBezTo>
                            <a:pt x="36" y="82"/>
                            <a:pt x="36" y="82"/>
                            <a:pt x="36" y="82"/>
                          </a:cubicBezTo>
                          <a:cubicBezTo>
                            <a:pt x="36" y="82"/>
                            <a:pt x="37" y="82"/>
                            <a:pt x="37" y="82"/>
                          </a:cubicBezTo>
                          <a:cubicBezTo>
                            <a:pt x="36" y="82"/>
                            <a:pt x="36" y="82"/>
                            <a:pt x="36" y="82"/>
                          </a:cubicBezTo>
                          <a:close/>
                          <a:moveTo>
                            <a:pt x="37" y="81"/>
                          </a:moveTo>
                          <a:cubicBezTo>
                            <a:pt x="37" y="81"/>
                            <a:pt x="37" y="81"/>
                            <a:pt x="37" y="81"/>
                          </a:cubicBezTo>
                          <a:cubicBezTo>
                            <a:pt x="37" y="81"/>
                            <a:pt x="37" y="81"/>
                            <a:pt x="37" y="81"/>
                          </a:cubicBezTo>
                          <a:cubicBezTo>
                            <a:pt x="37" y="81"/>
                            <a:pt x="37" y="81"/>
                            <a:pt x="37" y="81"/>
                          </a:cubicBezTo>
                          <a:cubicBezTo>
                            <a:pt x="37" y="81"/>
                            <a:pt x="37" y="81"/>
                            <a:pt x="37" y="81"/>
                          </a:cubicBezTo>
                          <a:close/>
                          <a:moveTo>
                            <a:pt x="35" y="83"/>
                          </a:moveTo>
                          <a:cubicBezTo>
                            <a:pt x="35" y="83"/>
                            <a:pt x="35" y="83"/>
                            <a:pt x="35" y="83"/>
                          </a:cubicBezTo>
                          <a:cubicBezTo>
                            <a:pt x="34" y="83"/>
                            <a:pt x="35" y="83"/>
                            <a:pt x="35" y="83"/>
                          </a:cubicBezTo>
                          <a:cubicBezTo>
                            <a:pt x="34" y="83"/>
                            <a:pt x="34" y="83"/>
                            <a:pt x="34" y="83"/>
                          </a:cubicBezTo>
                          <a:cubicBezTo>
                            <a:pt x="34" y="83"/>
                            <a:pt x="35" y="83"/>
                            <a:pt x="35" y="83"/>
                          </a:cubicBezTo>
                          <a:close/>
                          <a:moveTo>
                            <a:pt x="35" y="83"/>
                          </a:moveTo>
                          <a:cubicBezTo>
                            <a:pt x="35" y="82"/>
                            <a:pt x="35" y="82"/>
                            <a:pt x="35" y="82"/>
                          </a:cubicBezTo>
                          <a:cubicBezTo>
                            <a:pt x="35" y="83"/>
                            <a:pt x="35" y="83"/>
                            <a:pt x="35" y="83"/>
                          </a:cubicBezTo>
                          <a:close/>
                          <a:moveTo>
                            <a:pt x="36" y="82"/>
                          </a:moveTo>
                          <a:cubicBezTo>
                            <a:pt x="36" y="82"/>
                            <a:pt x="36" y="82"/>
                            <a:pt x="36" y="82"/>
                          </a:cubicBezTo>
                          <a:cubicBezTo>
                            <a:pt x="36" y="82"/>
                            <a:pt x="36" y="82"/>
                            <a:pt x="36" y="82"/>
                          </a:cubicBezTo>
                          <a:cubicBezTo>
                            <a:pt x="36" y="82"/>
                            <a:pt x="36" y="82"/>
                            <a:pt x="36" y="82"/>
                          </a:cubicBezTo>
                          <a:cubicBezTo>
                            <a:pt x="36" y="82"/>
                            <a:pt x="36" y="82"/>
                            <a:pt x="36" y="82"/>
                          </a:cubicBezTo>
                          <a:close/>
                          <a:moveTo>
                            <a:pt x="36" y="82"/>
                          </a:moveTo>
                          <a:cubicBezTo>
                            <a:pt x="36" y="82"/>
                            <a:pt x="37" y="82"/>
                            <a:pt x="37" y="82"/>
                          </a:cubicBezTo>
                          <a:cubicBezTo>
                            <a:pt x="37" y="82"/>
                            <a:pt x="36" y="82"/>
                            <a:pt x="36" y="82"/>
                          </a:cubicBezTo>
                          <a:cubicBezTo>
                            <a:pt x="36" y="82"/>
                            <a:pt x="36" y="82"/>
                            <a:pt x="36" y="82"/>
                          </a:cubicBezTo>
                          <a:close/>
                          <a:moveTo>
                            <a:pt x="41" y="80"/>
                          </a:moveTo>
                          <a:cubicBezTo>
                            <a:pt x="40" y="80"/>
                            <a:pt x="40" y="80"/>
                            <a:pt x="40" y="80"/>
                          </a:cubicBezTo>
                          <a:cubicBezTo>
                            <a:pt x="40" y="80"/>
                            <a:pt x="41" y="80"/>
                            <a:pt x="41" y="80"/>
                          </a:cubicBezTo>
                          <a:close/>
                          <a:moveTo>
                            <a:pt x="43" y="79"/>
                          </a:moveTo>
                          <a:cubicBezTo>
                            <a:pt x="42" y="79"/>
                            <a:pt x="42" y="79"/>
                            <a:pt x="42" y="79"/>
                          </a:cubicBezTo>
                          <a:cubicBezTo>
                            <a:pt x="42" y="79"/>
                            <a:pt x="42" y="79"/>
                            <a:pt x="43" y="79"/>
                          </a:cubicBezTo>
                          <a:close/>
                          <a:moveTo>
                            <a:pt x="43" y="79"/>
                          </a:moveTo>
                          <a:cubicBezTo>
                            <a:pt x="43" y="79"/>
                            <a:pt x="42" y="79"/>
                            <a:pt x="42" y="79"/>
                          </a:cubicBezTo>
                          <a:cubicBezTo>
                            <a:pt x="42" y="79"/>
                            <a:pt x="42" y="79"/>
                            <a:pt x="42" y="79"/>
                          </a:cubicBezTo>
                          <a:cubicBezTo>
                            <a:pt x="43" y="79"/>
                            <a:pt x="43" y="79"/>
                            <a:pt x="43" y="79"/>
                          </a:cubicBezTo>
                          <a:cubicBezTo>
                            <a:pt x="43" y="79"/>
                            <a:pt x="43" y="79"/>
                            <a:pt x="43" y="79"/>
                          </a:cubicBezTo>
                          <a:close/>
                          <a:moveTo>
                            <a:pt x="43" y="78"/>
                          </a:moveTo>
                          <a:cubicBezTo>
                            <a:pt x="43" y="78"/>
                            <a:pt x="43" y="78"/>
                            <a:pt x="43" y="78"/>
                          </a:cubicBezTo>
                          <a:cubicBezTo>
                            <a:pt x="44" y="78"/>
                            <a:pt x="43" y="78"/>
                            <a:pt x="43" y="78"/>
                          </a:cubicBezTo>
                          <a:close/>
                          <a:moveTo>
                            <a:pt x="37" y="82"/>
                          </a:moveTo>
                          <a:cubicBezTo>
                            <a:pt x="37" y="82"/>
                            <a:pt x="37" y="82"/>
                            <a:pt x="37" y="82"/>
                          </a:cubicBezTo>
                          <a:cubicBezTo>
                            <a:pt x="37" y="82"/>
                            <a:pt x="37" y="82"/>
                            <a:pt x="37" y="82"/>
                          </a:cubicBezTo>
                          <a:cubicBezTo>
                            <a:pt x="37" y="82"/>
                            <a:pt x="37" y="82"/>
                            <a:pt x="37" y="82"/>
                          </a:cubicBezTo>
                          <a:cubicBezTo>
                            <a:pt x="37" y="82"/>
                            <a:pt x="37" y="82"/>
                            <a:pt x="37" y="82"/>
                          </a:cubicBezTo>
                          <a:cubicBezTo>
                            <a:pt x="37" y="82"/>
                            <a:pt x="37" y="82"/>
                            <a:pt x="37" y="82"/>
                          </a:cubicBezTo>
                          <a:close/>
                          <a:moveTo>
                            <a:pt x="38" y="81"/>
                          </a:moveTo>
                          <a:cubicBezTo>
                            <a:pt x="38" y="81"/>
                            <a:pt x="37" y="81"/>
                            <a:pt x="37" y="82"/>
                          </a:cubicBezTo>
                          <a:cubicBezTo>
                            <a:pt x="38" y="81"/>
                            <a:pt x="38" y="81"/>
                            <a:pt x="38" y="81"/>
                          </a:cubicBezTo>
                          <a:close/>
                          <a:moveTo>
                            <a:pt x="40" y="80"/>
                          </a:moveTo>
                          <a:cubicBezTo>
                            <a:pt x="40" y="80"/>
                            <a:pt x="40" y="80"/>
                            <a:pt x="40" y="80"/>
                          </a:cubicBezTo>
                          <a:cubicBezTo>
                            <a:pt x="40" y="80"/>
                            <a:pt x="41" y="80"/>
                            <a:pt x="41" y="80"/>
                          </a:cubicBezTo>
                          <a:cubicBezTo>
                            <a:pt x="40" y="80"/>
                            <a:pt x="40" y="80"/>
                            <a:pt x="40" y="80"/>
                          </a:cubicBezTo>
                          <a:close/>
                          <a:moveTo>
                            <a:pt x="39" y="80"/>
                          </a:moveTo>
                          <a:cubicBezTo>
                            <a:pt x="39" y="80"/>
                            <a:pt x="39" y="80"/>
                            <a:pt x="39" y="81"/>
                          </a:cubicBezTo>
                          <a:cubicBezTo>
                            <a:pt x="39" y="81"/>
                            <a:pt x="39" y="81"/>
                            <a:pt x="39" y="81"/>
                          </a:cubicBezTo>
                          <a:cubicBezTo>
                            <a:pt x="39" y="81"/>
                            <a:pt x="39" y="81"/>
                            <a:pt x="39" y="80"/>
                          </a:cubicBezTo>
                          <a:cubicBezTo>
                            <a:pt x="39" y="81"/>
                            <a:pt x="39" y="81"/>
                            <a:pt x="39" y="80"/>
                          </a:cubicBezTo>
                          <a:cubicBezTo>
                            <a:pt x="39" y="80"/>
                            <a:pt x="39" y="80"/>
                            <a:pt x="39" y="80"/>
                          </a:cubicBezTo>
                          <a:cubicBezTo>
                            <a:pt x="39" y="80"/>
                            <a:pt x="39" y="80"/>
                            <a:pt x="39" y="80"/>
                          </a:cubicBezTo>
                          <a:cubicBezTo>
                            <a:pt x="39" y="80"/>
                            <a:pt x="39" y="80"/>
                            <a:pt x="39" y="80"/>
                          </a:cubicBezTo>
                          <a:close/>
                          <a:moveTo>
                            <a:pt x="32" y="84"/>
                          </a:moveTo>
                          <a:cubicBezTo>
                            <a:pt x="32" y="84"/>
                            <a:pt x="32" y="84"/>
                            <a:pt x="32" y="84"/>
                          </a:cubicBezTo>
                          <a:cubicBezTo>
                            <a:pt x="33" y="84"/>
                            <a:pt x="33" y="84"/>
                            <a:pt x="33" y="84"/>
                          </a:cubicBezTo>
                          <a:lnTo>
                            <a:pt x="32" y="84"/>
                          </a:lnTo>
                          <a:close/>
                          <a:moveTo>
                            <a:pt x="34" y="83"/>
                          </a:moveTo>
                          <a:cubicBezTo>
                            <a:pt x="34" y="83"/>
                            <a:pt x="34" y="83"/>
                            <a:pt x="34" y="83"/>
                          </a:cubicBezTo>
                          <a:cubicBezTo>
                            <a:pt x="33" y="83"/>
                            <a:pt x="33" y="83"/>
                            <a:pt x="33" y="83"/>
                          </a:cubicBezTo>
                          <a:lnTo>
                            <a:pt x="34" y="83"/>
                          </a:lnTo>
                          <a:close/>
                          <a:moveTo>
                            <a:pt x="35" y="82"/>
                          </a:moveTo>
                          <a:cubicBezTo>
                            <a:pt x="35" y="82"/>
                            <a:pt x="35" y="82"/>
                            <a:pt x="35" y="82"/>
                          </a:cubicBezTo>
                          <a:cubicBezTo>
                            <a:pt x="35" y="82"/>
                            <a:pt x="35" y="82"/>
                            <a:pt x="35" y="82"/>
                          </a:cubicBezTo>
                          <a:cubicBezTo>
                            <a:pt x="35" y="82"/>
                            <a:pt x="35" y="82"/>
                            <a:pt x="36" y="82"/>
                          </a:cubicBezTo>
                          <a:cubicBezTo>
                            <a:pt x="35" y="82"/>
                            <a:pt x="35" y="82"/>
                            <a:pt x="35" y="82"/>
                          </a:cubicBezTo>
                          <a:cubicBezTo>
                            <a:pt x="35" y="82"/>
                            <a:pt x="35" y="82"/>
                            <a:pt x="35" y="82"/>
                          </a:cubicBezTo>
                          <a:close/>
                          <a:moveTo>
                            <a:pt x="53" y="73"/>
                          </a:moveTo>
                          <a:cubicBezTo>
                            <a:pt x="53" y="73"/>
                            <a:pt x="52" y="73"/>
                            <a:pt x="52" y="73"/>
                          </a:cubicBezTo>
                          <a:cubicBezTo>
                            <a:pt x="52" y="73"/>
                            <a:pt x="52" y="73"/>
                            <a:pt x="52" y="74"/>
                          </a:cubicBezTo>
                          <a:cubicBezTo>
                            <a:pt x="53" y="73"/>
                            <a:pt x="53" y="73"/>
                            <a:pt x="53" y="73"/>
                          </a:cubicBezTo>
                          <a:cubicBezTo>
                            <a:pt x="53" y="73"/>
                            <a:pt x="53" y="73"/>
                            <a:pt x="53" y="73"/>
                          </a:cubicBezTo>
                          <a:close/>
                          <a:moveTo>
                            <a:pt x="47" y="75"/>
                          </a:moveTo>
                          <a:cubicBezTo>
                            <a:pt x="47" y="75"/>
                            <a:pt x="48" y="75"/>
                            <a:pt x="48" y="75"/>
                          </a:cubicBezTo>
                          <a:cubicBezTo>
                            <a:pt x="47" y="75"/>
                            <a:pt x="47" y="75"/>
                            <a:pt x="47" y="75"/>
                          </a:cubicBezTo>
                          <a:close/>
                          <a:moveTo>
                            <a:pt x="49" y="74"/>
                          </a:moveTo>
                          <a:cubicBezTo>
                            <a:pt x="48" y="74"/>
                            <a:pt x="48" y="75"/>
                            <a:pt x="48" y="75"/>
                          </a:cubicBezTo>
                          <a:cubicBezTo>
                            <a:pt x="48" y="75"/>
                            <a:pt x="49" y="74"/>
                            <a:pt x="49" y="74"/>
                          </a:cubicBezTo>
                          <a:close/>
                          <a:moveTo>
                            <a:pt x="48" y="74"/>
                          </a:moveTo>
                          <a:cubicBezTo>
                            <a:pt x="48" y="74"/>
                            <a:pt x="48" y="74"/>
                            <a:pt x="48" y="74"/>
                          </a:cubicBezTo>
                          <a:cubicBezTo>
                            <a:pt x="48" y="74"/>
                            <a:pt x="48" y="74"/>
                            <a:pt x="48" y="74"/>
                          </a:cubicBezTo>
                          <a:cubicBezTo>
                            <a:pt x="48" y="74"/>
                            <a:pt x="47" y="75"/>
                            <a:pt x="47" y="74"/>
                          </a:cubicBezTo>
                          <a:cubicBezTo>
                            <a:pt x="47" y="75"/>
                            <a:pt x="47" y="75"/>
                            <a:pt x="46" y="75"/>
                          </a:cubicBezTo>
                          <a:cubicBezTo>
                            <a:pt x="47" y="75"/>
                            <a:pt x="46" y="75"/>
                            <a:pt x="47" y="75"/>
                          </a:cubicBezTo>
                          <a:cubicBezTo>
                            <a:pt x="47" y="75"/>
                            <a:pt x="48" y="74"/>
                            <a:pt x="47" y="75"/>
                          </a:cubicBezTo>
                          <a:cubicBezTo>
                            <a:pt x="48" y="75"/>
                            <a:pt x="47" y="75"/>
                            <a:pt x="48" y="74"/>
                          </a:cubicBezTo>
                          <a:close/>
                          <a:moveTo>
                            <a:pt x="47" y="75"/>
                          </a:moveTo>
                          <a:cubicBezTo>
                            <a:pt x="47" y="75"/>
                            <a:pt x="47" y="75"/>
                            <a:pt x="47" y="75"/>
                          </a:cubicBezTo>
                          <a:cubicBezTo>
                            <a:pt x="47" y="75"/>
                            <a:pt x="47" y="75"/>
                            <a:pt x="46" y="75"/>
                          </a:cubicBezTo>
                          <a:cubicBezTo>
                            <a:pt x="47" y="75"/>
                            <a:pt x="47" y="75"/>
                            <a:pt x="47" y="75"/>
                          </a:cubicBezTo>
                          <a:close/>
                          <a:moveTo>
                            <a:pt x="38" y="80"/>
                          </a:moveTo>
                          <a:cubicBezTo>
                            <a:pt x="38" y="80"/>
                            <a:pt x="38" y="80"/>
                            <a:pt x="38" y="80"/>
                          </a:cubicBezTo>
                          <a:cubicBezTo>
                            <a:pt x="38" y="80"/>
                            <a:pt x="38" y="80"/>
                            <a:pt x="38" y="80"/>
                          </a:cubicBezTo>
                          <a:cubicBezTo>
                            <a:pt x="38" y="80"/>
                            <a:pt x="38" y="80"/>
                            <a:pt x="38" y="80"/>
                          </a:cubicBezTo>
                          <a:cubicBezTo>
                            <a:pt x="38" y="80"/>
                            <a:pt x="37" y="80"/>
                            <a:pt x="37" y="80"/>
                          </a:cubicBezTo>
                          <a:cubicBezTo>
                            <a:pt x="38" y="80"/>
                            <a:pt x="37" y="80"/>
                            <a:pt x="37" y="80"/>
                          </a:cubicBezTo>
                          <a:cubicBezTo>
                            <a:pt x="37" y="80"/>
                            <a:pt x="38" y="80"/>
                            <a:pt x="38" y="80"/>
                          </a:cubicBezTo>
                          <a:close/>
                          <a:moveTo>
                            <a:pt x="38" y="80"/>
                          </a:moveTo>
                          <a:cubicBezTo>
                            <a:pt x="38" y="80"/>
                            <a:pt x="38" y="80"/>
                            <a:pt x="38" y="79"/>
                          </a:cubicBezTo>
                          <a:cubicBezTo>
                            <a:pt x="38" y="80"/>
                            <a:pt x="38" y="80"/>
                            <a:pt x="38" y="80"/>
                          </a:cubicBezTo>
                          <a:cubicBezTo>
                            <a:pt x="38" y="80"/>
                            <a:pt x="38" y="80"/>
                            <a:pt x="38" y="80"/>
                          </a:cubicBezTo>
                          <a:cubicBezTo>
                            <a:pt x="38" y="80"/>
                            <a:pt x="38" y="80"/>
                            <a:pt x="38" y="80"/>
                          </a:cubicBezTo>
                          <a:cubicBezTo>
                            <a:pt x="38" y="80"/>
                            <a:pt x="38" y="80"/>
                            <a:pt x="38" y="80"/>
                          </a:cubicBezTo>
                          <a:close/>
                          <a:moveTo>
                            <a:pt x="39" y="79"/>
                          </a:moveTo>
                          <a:cubicBezTo>
                            <a:pt x="39" y="79"/>
                            <a:pt x="39" y="79"/>
                            <a:pt x="40" y="79"/>
                          </a:cubicBezTo>
                          <a:cubicBezTo>
                            <a:pt x="39" y="79"/>
                            <a:pt x="39" y="79"/>
                            <a:pt x="39" y="79"/>
                          </a:cubicBezTo>
                          <a:cubicBezTo>
                            <a:pt x="39" y="79"/>
                            <a:pt x="39" y="79"/>
                            <a:pt x="39" y="79"/>
                          </a:cubicBezTo>
                          <a:cubicBezTo>
                            <a:pt x="39" y="79"/>
                            <a:pt x="39" y="79"/>
                            <a:pt x="39" y="80"/>
                          </a:cubicBezTo>
                          <a:cubicBezTo>
                            <a:pt x="39" y="79"/>
                            <a:pt x="39" y="79"/>
                            <a:pt x="39" y="79"/>
                          </a:cubicBezTo>
                          <a:close/>
                          <a:moveTo>
                            <a:pt x="40" y="79"/>
                          </a:moveTo>
                          <a:cubicBezTo>
                            <a:pt x="41" y="79"/>
                            <a:pt x="41" y="78"/>
                            <a:pt x="41" y="78"/>
                          </a:cubicBezTo>
                          <a:cubicBezTo>
                            <a:pt x="41" y="78"/>
                            <a:pt x="40" y="79"/>
                            <a:pt x="40" y="79"/>
                          </a:cubicBezTo>
                          <a:close/>
                          <a:moveTo>
                            <a:pt x="38" y="80"/>
                          </a:moveTo>
                          <a:cubicBezTo>
                            <a:pt x="38" y="80"/>
                            <a:pt x="38" y="79"/>
                            <a:pt x="38" y="79"/>
                          </a:cubicBezTo>
                          <a:cubicBezTo>
                            <a:pt x="39" y="79"/>
                            <a:pt x="38" y="79"/>
                            <a:pt x="39" y="79"/>
                          </a:cubicBezTo>
                          <a:cubicBezTo>
                            <a:pt x="38" y="80"/>
                            <a:pt x="39" y="79"/>
                            <a:pt x="40" y="79"/>
                          </a:cubicBezTo>
                          <a:cubicBezTo>
                            <a:pt x="39" y="79"/>
                            <a:pt x="38" y="79"/>
                            <a:pt x="38" y="80"/>
                          </a:cubicBezTo>
                          <a:close/>
                          <a:moveTo>
                            <a:pt x="39" y="79"/>
                          </a:moveTo>
                          <a:cubicBezTo>
                            <a:pt x="40" y="78"/>
                            <a:pt x="39" y="79"/>
                            <a:pt x="39" y="79"/>
                          </a:cubicBezTo>
                          <a:cubicBezTo>
                            <a:pt x="40" y="79"/>
                            <a:pt x="40" y="79"/>
                            <a:pt x="40" y="79"/>
                          </a:cubicBezTo>
                          <a:cubicBezTo>
                            <a:pt x="40" y="78"/>
                            <a:pt x="40" y="78"/>
                            <a:pt x="40" y="78"/>
                          </a:cubicBezTo>
                          <a:cubicBezTo>
                            <a:pt x="40" y="79"/>
                            <a:pt x="39" y="79"/>
                            <a:pt x="39" y="79"/>
                          </a:cubicBezTo>
                          <a:close/>
                          <a:moveTo>
                            <a:pt x="36" y="80"/>
                          </a:moveTo>
                          <a:cubicBezTo>
                            <a:pt x="36" y="80"/>
                            <a:pt x="37" y="80"/>
                            <a:pt x="37" y="80"/>
                          </a:cubicBezTo>
                          <a:cubicBezTo>
                            <a:pt x="36" y="80"/>
                            <a:pt x="36" y="80"/>
                            <a:pt x="36" y="81"/>
                          </a:cubicBezTo>
                          <a:cubicBezTo>
                            <a:pt x="36" y="81"/>
                            <a:pt x="36" y="81"/>
                            <a:pt x="36" y="81"/>
                          </a:cubicBezTo>
                          <a:cubicBezTo>
                            <a:pt x="36" y="81"/>
                            <a:pt x="36" y="81"/>
                            <a:pt x="36" y="81"/>
                          </a:cubicBezTo>
                          <a:cubicBezTo>
                            <a:pt x="36" y="81"/>
                            <a:pt x="36" y="81"/>
                            <a:pt x="36" y="81"/>
                          </a:cubicBezTo>
                          <a:cubicBezTo>
                            <a:pt x="36" y="81"/>
                            <a:pt x="36" y="81"/>
                            <a:pt x="36" y="81"/>
                          </a:cubicBezTo>
                          <a:cubicBezTo>
                            <a:pt x="36" y="81"/>
                            <a:pt x="36" y="81"/>
                            <a:pt x="36" y="81"/>
                          </a:cubicBezTo>
                          <a:cubicBezTo>
                            <a:pt x="36" y="81"/>
                            <a:pt x="36" y="81"/>
                            <a:pt x="36" y="81"/>
                          </a:cubicBezTo>
                          <a:cubicBezTo>
                            <a:pt x="36" y="81"/>
                            <a:pt x="36" y="81"/>
                            <a:pt x="37" y="81"/>
                          </a:cubicBezTo>
                          <a:cubicBezTo>
                            <a:pt x="36" y="81"/>
                            <a:pt x="36" y="81"/>
                            <a:pt x="36" y="81"/>
                          </a:cubicBezTo>
                          <a:cubicBezTo>
                            <a:pt x="37" y="80"/>
                            <a:pt x="37" y="80"/>
                            <a:pt x="37" y="80"/>
                          </a:cubicBezTo>
                          <a:cubicBezTo>
                            <a:pt x="37" y="80"/>
                            <a:pt x="37" y="80"/>
                            <a:pt x="37" y="80"/>
                          </a:cubicBezTo>
                          <a:cubicBezTo>
                            <a:pt x="37" y="80"/>
                            <a:pt x="37" y="80"/>
                            <a:pt x="36" y="80"/>
                          </a:cubicBezTo>
                          <a:close/>
                          <a:moveTo>
                            <a:pt x="39" y="79"/>
                          </a:moveTo>
                          <a:cubicBezTo>
                            <a:pt x="39" y="79"/>
                            <a:pt x="39" y="79"/>
                            <a:pt x="39" y="79"/>
                          </a:cubicBezTo>
                          <a:cubicBezTo>
                            <a:pt x="39" y="78"/>
                            <a:pt x="39" y="79"/>
                            <a:pt x="39" y="79"/>
                          </a:cubicBezTo>
                          <a:close/>
                          <a:moveTo>
                            <a:pt x="37" y="79"/>
                          </a:moveTo>
                          <a:cubicBezTo>
                            <a:pt x="37" y="79"/>
                            <a:pt x="37" y="79"/>
                            <a:pt x="37" y="79"/>
                          </a:cubicBezTo>
                          <a:cubicBezTo>
                            <a:pt x="37" y="79"/>
                            <a:pt x="38" y="79"/>
                            <a:pt x="38" y="79"/>
                          </a:cubicBezTo>
                          <a:cubicBezTo>
                            <a:pt x="38" y="79"/>
                            <a:pt x="37" y="79"/>
                            <a:pt x="37" y="79"/>
                          </a:cubicBezTo>
                          <a:close/>
                          <a:moveTo>
                            <a:pt x="33" y="81"/>
                          </a:moveTo>
                          <a:cubicBezTo>
                            <a:pt x="33" y="81"/>
                            <a:pt x="33" y="81"/>
                            <a:pt x="33" y="81"/>
                          </a:cubicBezTo>
                          <a:cubicBezTo>
                            <a:pt x="33" y="81"/>
                            <a:pt x="33" y="81"/>
                            <a:pt x="33" y="81"/>
                          </a:cubicBezTo>
                          <a:close/>
                          <a:moveTo>
                            <a:pt x="27" y="83"/>
                          </a:moveTo>
                          <a:cubicBezTo>
                            <a:pt x="27" y="83"/>
                            <a:pt x="26" y="83"/>
                            <a:pt x="26" y="84"/>
                          </a:cubicBezTo>
                          <a:cubicBezTo>
                            <a:pt x="26" y="83"/>
                            <a:pt x="26" y="84"/>
                            <a:pt x="26" y="84"/>
                          </a:cubicBezTo>
                          <a:cubicBezTo>
                            <a:pt x="27" y="84"/>
                            <a:pt x="27" y="83"/>
                            <a:pt x="27" y="83"/>
                          </a:cubicBezTo>
                          <a:close/>
                          <a:moveTo>
                            <a:pt x="24" y="85"/>
                          </a:moveTo>
                          <a:cubicBezTo>
                            <a:pt x="24" y="85"/>
                            <a:pt x="24" y="85"/>
                            <a:pt x="24" y="85"/>
                          </a:cubicBezTo>
                          <a:cubicBezTo>
                            <a:pt x="24" y="85"/>
                            <a:pt x="24" y="85"/>
                            <a:pt x="25" y="84"/>
                          </a:cubicBezTo>
                          <a:cubicBezTo>
                            <a:pt x="25" y="85"/>
                            <a:pt x="24" y="85"/>
                            <a:pt x="24" y="85"/>
                          </a:cubicBezTo>
                          <a:cubicBezTo>
                            <a:pt x="25" y="85"/>
                            <a:pt x="25" y="85"/>
                            <a:pt x="25" y="85"/>
                          </a:cubicBezTo>
                          <a:cubicBezTo>
                            <a:pt x="25" y="85"/>
                            <a:pt x="25" y="84"/>
                            <a:pt x="25" y="84"/>
                          </a:cubicBezTo>
                          <a:cubicBezTo>
                            <a:pt x="25" y="84"/>
                            <a:pt x="25" y="84"/>
                            <a:pt x="25" y="84"/>
                          </a:cubicBezTo>
                          <a:cubicBezTo>
                            <a:pt x="25" y="84"/>
                            <a:pt x="24" y="85"/>
                            <a:pt x="24" y="84"/>
                          </a:cubicBezTo>
                          <a:cubicBezTo>
                            <a:pt x="24" y="84"/>
                            <a:pt x="24" y="84"/>
                            <a:pt x="24" y="85"/>
                          </a:cubicBezTo>
                          <a:close/>
                          <a:moveTo>
                            <a:pt x="43" y="86"/>
                          </a:moveTo>
                          <a:cubicBezTo>
                            <a:pt x="43" y="86"/>
                            <a:pt x="43" y="86"/>
                            <a:pt x="44" y="86"/>
                          </a:cubicBezTo>
                          <a:cubicBezTo>
                            <a:pt x="43" y="86"/>
                            <a:pt x="44" y="86"/>
                            <a:pt x="44" y="86"/>
                          </a:cubicBezTo>
                          <a:cubicBezTo>
                            <a:pt x="44" y="86"/>
                            <a:pt x="44" y="86"/>
                            <a:pt x="44" y="86"/>
                          </a:cubicBezTo>
                          <a:cubicBezTo>
                            <a:pt x="44" y="86"/>
                            <a:pt x="43" y="86"/>
                            <a:pt x="43" y="86"/>
                          </a:cubicBezTo>
                          <a:close/>
                          <a:moveTo>
                            <a:pt x="42" y="78"/>
                          </a:moveTo>
                          <a:cubicBezTo>
                            <a:pt x="42" y="79"/>
                            <a:pt x="42" y="79"/>
                            <a:pt x="42" y="79"/>
                          </a:cubicBezTo>
                          <a:cubicBezTo>
                            <a:pt x="42" y="78"/>
                            <a:pt x="42" y="79"/>
                            <a:pt x="42" y="78"/>
                          </a:cubicBezTo>
                          <a:cubicBezTo>
                            <a:pt x="42" y="78"/>
                            <a:pt x="42" y="79"/>
                            <a:pt x="42" y="79"/>
                          </a:cubicBezTo>
                          <a:cubicBezTo>
                            <a:pt x="42" y="78"/>
                            <a:pt x="42" y="78"/>
                            <a:pt x="43" y="78"/>
                          </a:cubicBezTo>
                          <a:cubicBezTo>
                            <a:pt x="43" y="78"/>
                            <a:pt x="43" y="78"/>
                            <a:pt x="43" y="78"/>
                          </a:cubicBezTo>
                          <a:cubicBezTo>
                            <a:pt x="43" y="78"/>
                            <a:pt x="43" y="78"/>
                            <a:pt x="43" y="78"/>
                          </a:cubicBezTo>
                          <a:cubicBezTo>
                            <a:pt x="43" y="78"/>
                            <a:pt x="43" y="78"/>
                            <a:pt x="43" y="79"/>
                          </a:cubicBezTo>
                          <a:cubicBezTo>
                            <a:pt x="43" y="79"/>
                            <a:pt x="43" y="78"/>
                            <a:pt x="42" y="78"/>
                          </a:cubicBezTo>
                          <a:close/>
                          <a:moveTo>
                            <a:pt x="1" y="101"/>
                          </a:moveTo>
                          <a:cubicBezTo>
                            <a:pt x="1" y="101"/>
                            <a:pt x="1" y="102"/>
                            <a:pt x="1" y="102"/>
                          </a:cubicBezTo>
                          <a:cubicBezTo>
                            <a:pt x="0" y="102"/>
                            <a:pt x="0" y="102"/>
                            <a:pt x="0" y="102"/>
                          </a:cubicBezTo>
                          <a:cubicBezTo>
                            <a:pt x="0" y="102"/>
                            <a:pt x="0" y="102"/>
                            <a:pt x="0" y="102"/>
                          </a:cubicBezTo>
                          <a:cubicBezTo>
                            <a:pt x="0" y="102"/>
                            <a:pt x="1" y="101"/>
                            <a:pt x="1" y="101"/>
                          </a:cubicBezTo>
                          <a:cubicBezTo>
                            <a:pt x="0" y="101"/>
                            <a:pt x="1" y="101"/>
                            <a:pt x="1" y="101"/>
                          </a:cubicBezTo>
                          <a:close/>
                          <a:moveTo>
                            <a:pt x="43" y="90"/>
                          </a:moveTo>
                          <a:cubicBezTo>
                            <a:pt x="43" y="90"/>
                            <a:pt x="43" y="90"/>
                            <a:pt x="43" y="90"/>
                          </a:cubicBezTo>
                          <a:cubicBezTo>
                            <a:pt x="43" y="90"/>
                            <a:pt x="43" y="90"/>
                            <a:pt x="42" y="91"/>
                          </a:cubicBezTo>
                          <a:cubicBezTo>
                            <a:pt x="42" y="91"/>
                            <a:pt x="42" y="91"/>
                            <a:pt x="43" y="91"/>
                          </a:cubicBezTo>
                          <a:cubicBezTo>
                            <a:pt x="43" y="90"/>
                            <a:pt x="43" y="90"/>
                            <a:pt x="43" y="90"/>
                          </a:cubicBezTo>
                          <a:close/>
                          <a:moveTo>
                            <a:pt x="44" y="86"/>
                          </a:moveTo>
                          <a:cubicBezTo>
                            <a:pt x="45" y="86"/>
                            <a:pt x="45" y="86"/>
                            <a:pt x="45" y="86"/>
                          </a:cubicBezTo>
                          <a:cubicBezTo>
                            <a:pt x="45" y="86"/>
                            <a:pt x="45" y="86"/>
                            <a:pt x="45" y="86"/>
                          </a:cubicBezTo>
                          <a:cubicBezTo>
                            <a:pt x="45" y="86"/>
                            <a:pt x="45" y="86"/>
                            <a:pt x="45" y="86"/>
                          </a:cubicBezTo>
                          <a:cubicBezTo>
                            <a:pt x="45" y="86"/>
                            <a:pt x="44" y="86"/>
                            <a:pt x="44" y="86"/>
                          </a:cubicBezTo>
                          <a:cubicBezTo>
                            <a:pt x="44" y="86"/>
                            <a:pt x="45" y="86"/>
                            <a:pt x="44" y="86"/>
                          </a:cubicBezTo>
                          <a:close/>
                          <a:moveTo>
                            <a:pt x="44" y="85"/>
                          </a:moveTo>
                          <a:cubicBezTo>
                            <a:pt x="44" y="84"/>
                            <a:pt x="44" y="84"/>
                            <a:pt x="44" y="84"/>
                          </a:cubicBezTo>
                          <a:cubicBezTo>
                            <a:pt x="44" y="84"/>
                            <a:pt x="45" y="84"/>
                            <a:pt x="45" y="84"/>
                          </a:cubicBezTo>
                          <a:cubicBezTo>
                            <a:pt x="44" y="84"/>
                            <a:pt x="44" y="85"/>
                            <a:pt x="44" y="85"/>
                          </a:cubicBezTo>
                          <a:cubicBezTo>
                            <a:pt x="44" y="85"/>
                            <a:pt x="44" y="85"/>
                            <a:pt x="44" y="85"/>
                          </a:cubicBezTo>
                          <a:close/>
                          <a:moveTo>
                            <a:pt x="46" y="84"/>
                          </a:moveTo>
                          <a:cubicBezTo>
                            <a:pt x="46" y="84"/>
                            <a:pt x="46" y="84"/>
                            <a:pt x="46" y="84"/>
                          </a:cubicBezTo>
                          <a:cubicBezTo>
                            <a:pt x="47" y="84"/>
                            <a:pt x="47" y="84"/>
                            <a:pt x="48" y="83"/>
                          </a:cubicBezTo>
                          <a:cubicBezTo>
                            <a:pt x="48" y="84"/>
                            <a:pt x="47" y="84"/>
                            <a:pt x="47" y="84"/>
                          </a:cubicBezTo>
                          <a:cubicBezTo>
                            <a:pt x="47" y="84"/>
                            <a:pt x="47" y="84"/>
                            <a:pt x="47" y="84"/>
                          </a:cubicBezTo>
                          <a:cubicBezTo>
                            <a:pt x="46" y="84"/>
                            <a:pt x="46" y="84"/>
                            <a:pt x="46" y="84"/>
                          </a:cubicBezTo>
                          <a:cubicBezTo>
                            <a:pt x="46" y="84"/>
                            <a:pt x="46" y="84"/>
                            <a:pt x="46" y="84"/>
                          </a:cubicBezTo>
                          <a:cubicBezTo>
                            <a:pt x="46" y="84"/>
                            <a:pt x="46" y="84"/>
                            <a:pt x="46" y="85"/>
                          </a:cubicBezTo>
                          <a:cubicBezTo>
                            <a:pt x="46" y="84"/>
                            <a:pt x="46" y="84"/>
                            <a:pt x="46" y="84"/>
                          </a:cubicBezTo>
                          <a:close/>
                          <a:moveTo>
                            <a:pt x="46" y="84"/>
                          </a:moveTo>
                          <a:cubicBezTo>
                            <a:pt x="46" y="84"/>
                            <a:pt x="46" y="84"/>
                            <a:pt x="46" y="84"/>
                          </a:cubicBezTo>
                          <a:cubicBezTo>
                            <a:pt x="46" y="84"/>
                            <a:pt x="46" y="84"/>
                            <a:pt x="46" y="84"/>
                          </a:cubicBezTo>
                          <a:cubicBezTo>
                            <a:pt x="46" y="84"/>
                            <a:pt x="46" y="84"/>
                            <a:pt x="46" y="84"/>
                          </a:cubicBezTo>
                          <a:close/>
                          <a:moveTo>
                            <a:pt x="46" y="84"/>
                          </a:moveTo>
                          <a:cubicBezTo>
                            <a:pt x="46" y="83"/>
                            <a:pt x="46" y="83"/>
                            <a:pt x="46" y="83"/>
                          </a:cubicBezTo>
                          <a:cubicBezTo>
                            <a:pt x="46" y="83"/>
                            <a:pt x="46" y="83"/>
                            <a:pt x="46" y="83"/>
                          </a:cubicBezTo>
                          <a:cubicBezTo>
                            <a:pt x="46" y="83"/>
                            <a:pt x="46" y="83"/>
                            <a:pt x="46" y="83"/>
                          </a:cubicBezTo>
                          <a:cubicBezTo>
                            <a:pt x="46" y="84"/>
                            <a:pt x="46" y="83"/>
                            <a:pt x="47" y="83"/>
                          </a:cubicBezTo>
                          <a:cubicBezTo>
                            <a:pt x="47" y="83"/>
                            <a:pt x="46" y="84"/>
                            <a:pt x="46" y="84"/>
                          </a:cubicBezTo>
                          <a:close/>
                          <a:moveTo>
                            <a:pt x="47" y="85"/>
                          </a:moveTo>
                          <a:cubicBezTo>
                            <a:pt x="47" y="85"/>
                            <a:pt x="47" y="85"/>
                            <a:pt x="47" y="85"/>
                          </a:cubicBezTo>
                          <a:cubicBezTo>
                            <a:pt x="47" y="85"/>
                            <a:pt x="47" y="85"/>
                            <a:pt x="47" y="85"/>
                          </a:cubicBezTo>
                          <a:cubicBezTo>
                            <a:pt x="47" y="85"/>
                            <a:pt x="47" y="85"/>
                            <a:pt x="47" y="85"/>
                          </a:cubicBezTo>
                          <a:close/>
                          <a:moveTo>
                            <a:pt x="48" y="84"/>
                          </a:moveTo>
                          <a:cubicBezTo>
                            <a:pt x="48" y="84"/>
                            <a:pt x="48" y="84"/>
                            <a:pt x="48" y="83"/>
                          </a:cubicBezTo>
                          <a:cubicBezTo>
                            <a:pt x="48" y="83"/>
                            <a:pt x="49" y="83"/>
                            <a:pt x="49" y="83"/>
                          </a:cubicBezTo>
                          <a:cubicBezTo>
                            <a:pt x="49" y="83"/>
                            <a:pt x="48" y="84"/>
                            <a:pt x="48" y="84"/>
                          </a:cubicBezTo>
                          <a:cubicBezTo>
                            <a:pt x="48" y="84"/>
                            <a:pt x="48" y="84"/>
                            <a:pt x="48" y="84"/>
                          </a:cubicBezTo>
                          <a:close/>
                          <a:moveTo>
                            <a:pt x="47" y="83"/>
                          </a:moveTo>
                          <a:cubicBezTo>
                            <a:pt x="48" y="83"/>
                            <a:pt x="48" y="83"/>
                            <a:pt x="48" y="83"/>
                          </a:cubicBezTo>
                          <a:cubicBezTo>
                            <a:pt x="48" y="83"/>
                            <a:pt x="48" y="83"/>
                            <a:pt x="48" y="83"/>
                          </a:cubicBezTo>
                          <a:cubicBezTo>
                            <a:pt x="48" y="83"/>
                            <a:pt x="48" y="83"/>
                            <a:pt x="48" y="83"/>
                          </a:cubicBezTo>
                          <a:cubicBezTo>
                            <a:pt x="48" y="83"/>
                            <a:pt x="48" y="83"/>
                            <a:pt x="48" y="83"/>
                          </a:cubicBezTo>
                          <a:cubicBezTo>
                            <a:pt x="48" y="83"/>
                            <a:pt x="47" y="83"/>
                            <a:pt x="47" y="83"/>
                          </a:cubicBezTo>
                          <a:close/>
                          <a:moveTo>
                            <a:pt x="48" y="80"/>
                          </a:moveTo>
                          <a:cubicBezTo>
                            <a:pt x="48" y="80"/>
                            <a:pt x="47" y="80"/>
                            <a:pt x="47" y="81"/>
                          </a:cubicBezTo>
                          <a:cubicBezTo>
                            <a:pt x="47" y="81"/>
                            <a:pt x="47" y="81"/>
                            <a:pt x="46" y="81"/>
                          </a:cubicBezTo>
                          <a:cubicBezTo>
                            <a:pt x="46" y="81"/>
                            <a:pt x="47" y="81"/>
                            <a:pt x="47" y="81"/>
                          </a:cubicBezTo>
                          <a:cubicBezTo>
                            <a:pt x="47" y="81"/>
                            <a:pt x="47" y="80"/>
                            <a:pt x="47" y="81"/>
                          </a:cubicBezTo>
                          <a:cubicBezTo>
                            <a:pt x="47" y="80"/>
                            <a:pt x="48" y="80"/>
                            <a:pt x="49" y="80"/>
                          </a:cubicBezTo>
                          <a:cubicBezTo>
                            <a:pt x="49" y="80"/>
                            <a:pt x="48" y="80"/>
                            <a:pt x="48" y="80"/>
                          </a:cubicBezTo>
                          <a:close/>
                          <a:moveTo>
                            <a:pt x="46" y="81"/>
                          </a:moveTo>
                          <a:cubicBezTo>
                            <a:pt x="46" y="81"/>
                            <a:pt x="46" y="81"/>
                            <a:pt x="46" y="80"/>
                          </a:cubicBezTo>
                          <a:cubicBezTo>
                            <a:pt x="47" y="81"/>
                            <a:pt x="46" y="81"/>
                            <a:pt x="46" y="81"/>
                          </a:cubicBezTo>
                          <a:cubicBezTo>
                            <a:pt x="47" y="81"/>
                            <a:pt x="46" y="81"/>
                            <a:pt x="46" y="81"/>
                          </a:cubicBezTo>
                          <a:cubicBezTo>
                            <a:pt x="46" y="81"/>
                            <a:pt x="46" y="81"/>
                            <a:pt x="46" y="81"/>
                          </a:cubicBezTo>
                          <a:cubicBezTo>
                            <a:pt x="46" y="81"/>
                            <a:pt x="47" y="80"/>
                            <a:pt x="46" y="81"/>
                          </a:cubicBezTo>
                          <a:close/>
                          <a:moveTo>
                            <a:pt x="48" y="82"/>
                          </a:moveTo>
                          <a:cubicBezTo>
                            <a:pt x="48" y="82"/>
                            <a:pt x="48" y="82"/>
                            <a:pt x="49" y="82"/>
                          </a:cubicBezTo>
                          <a:cubicBezTo>
                            <a:pt x="48" y="82"/>
                            <a:pt x="48" y="82"/>
                            <a:pt x="48" y="82"/>
                          </a:cubicBezTo>
                          <a:cubicBezTo>
                            <a:pt x="48" y="82"/>
                            <a:pt x="48" y="82"/>
                            <a:pt x="48" y="82"/>
                          </a:cubicBezTo>
                          <a:close/>
                          <a:moveTo>
                            <a:pt x="47" y="80"/>
                          </a:moveTo>
                          <a:cubicBezTo>
                            <a:pt x="47" y="80"/>
                            <a:pt x="47" y="80"/>
                            <a:pt x="47" y="80"/>
                          </a:cubicBezTo>
                          <a:cubicBezTo>
                            <a:pt x="47" y="80"/>
                            <a:pt x="47" y="80"/>
                            <a:pt x="47" y="80"/>
                          </a:cubicBezTo>
                          <a:close/>
                          <a:moveTo>
                            <a:pt x="45" y="77"/>
                          </a:moveTo>
                          <a:cubicBezTo>
                            <a:pt x="45" y="77"/>
                            <a:pt x="46" y="77"/>
                            <a:pt x="46" y="77"/>
                          </a:cubicBezTo>
                          <a:cubicBezTo>
                            <a:pt x="46" y="77"/>
                            <a:pt x="46" y="77"/>
                            <a:pt x="46" y="77"/>
                          </a:cubicBezTo>
                          <a:cubicBezTo>
                            <a:pt x="47" y="76"/>
                            <a:pt x="47" y="76"/>
                            <a:pt x="48" y="75"/>
                          </a:cubicBezTo>
                          <a:cubicBezTo>
                            <a:pt x="49" y="76"/>
                            <a:pt x="48" y="76"/>
                            <a:pt x="49" y="76"/>
                          </a:cubicBezTo>
                          <a:cubicBezTo>
                            <a:pt x="49" y="76"/>
                            <a:pt x="49" y="75"/>
                            <a:pt x="49" y="76"/>
                          </a:cubicBezTo>
                          <a:cubicBezTo>
                            <a:pt x="49" y="76"/>
                            <a:pt x="49" y="76"/>
                            <a:pt x="49" y="76"/>
                          </a:cubicBezTo>
                          <a:cubicBezTo>
                            <a:pt x="49" y="76"/>
                            <a:pt x="49" y="76"/>
                            <a:pt x="49" y="76"/>
                          </a:cubicBezTo>
                          <a:cubicBezTo>
                            <a:pt x="49" y="75"/>
                            <a:pt x="49" y="75"/>
                            <a:pt x="49" y="75"/>
                          </a:cubicBezTo>
                          <a:cubicBezTo>
                            <a:pt x="49" y="75"/>
                            <a:pt x="49" y="75"/>
                            <a:pt x="49" y="75"/>
                          </a:cubicBezTo>
                          <a:cubicBezTo>
                            <a:pt x="49" y="76"/>
                            <a:pt x="49" y="76"/>
                            <a:pt x="49" y="76"/>
                          </a:cubicBezTo>
                          <a:cubicBezTo>
                            <a:pt x="49" y="76"/>
                            <a:pt x="49" y="76"/>
                            <a:pt x="48" y="76"/>
                          </a:cubicBezTo>
                          <a:cubicBezTo>
                            <a:pt x="48" y="76"/>
                            <a:pt x="48" y="76"/>
                            <a:pt x="48" y="76"/>
                          </a:cubicBezTo>
                          <a:cubicBezTo>
                            <a:pt x="48" y="76"/>
                            <a:pt x="48" y="76"/>
                            <a:pt x="48" y="76"/>
                          </a:cubicBezTo>
                          <a:cubicBezTo>
                            <a:pt x="48" y="77"/>
                            <a:pt x="47" y="77"/>
                            <a:pt x="47" y="77"/>
                          </a:cubicBezTo>
                          <a:cubicBezTo>
                            <a:pt x="47" y="77"/>
                            <a:pt x="47" y="77"/>
                            <a:pt x="47" y="77"/>
                          </a:cubicBezTo>
                          <a:cubicBezTo>
                            <a:pt x="47" y="77"/>
                            <a:pt x="47" y="77"/>
                            <a:pt x="47" y="77"/>
                          </a:cubicBezTo>
                          <a:cubicBezTo>
                            <a:pt x="47" y="77"/>
                            <a:pt x="46" y="77"/>
                            <a:pt x="46" y="77"/>
                          </a:cubicBezTo>
                          <a:cubicBezTo>
                            <a:pt x="46" y="77"/>
                            <a:pt x="47" y="77"/>
                            <a:pt x="47" y="77"/>
                          </a:cubicBezTo>
                          <a:cubicBezTo>
                            <a:pt x="47" y="77"/>
                            <a:pt x="47" y="77"/>
                            <a:pt x="47" y="77"/>
                          </a:cubicBezTo>
                          <a:cubicBezTo>
                            <a:pt x="47" y="77"/>
                            <a:pt x="46" y="77"/>
                            <a:pt x="46" y="77"/>
                          </a:cubicBezTo>
                          <a:cubicBezTo>
                            <a:pt x="46" y="77"/>
                            <a:pt x="46" y="77"/>
                            <a:pt x="46" y="77"/>
                          </a:cubicBezTo>
                          <a:cubicBezTo>
                            <a:pt x="45" y="77"/>
                            <a:pt x="45" y="77"/>
                            <a:pt x="45" y="77"/>
                          </a:cubicBezTo>
                          <a:cubicBezTo>
                            <a:pt x="45" y="77"/>
                            <a:pt x="45" y="77"/>
                            <a:pt x="45" y="77"/>
                          </a:cubicBezTo>
                          <a:close/>
                          <a:moveTo>
                            <a:pt x="48" y="80"/>
                          </a:moveTo>
                          <a:cubicBezTo>
                            <a:pt x="48" y="80"/>
                            <a:pt x="47" y="80"/>
                            <a:pt x="47" y="80"/>
                          </a:cubicBezTo>
                          <a:cubicBezTo>
                            <a:pt x="47" y="80"/>
                            <a:pt x="48" y="80"/>
                            <a:pt x="48" y="80"/>
                          </a:cubicBezTo>
                          <a:cubicBezTo>
                            <a:pt x="48" y="80"/>
                            <a:pt x="48" y="80"/>
                            <a:pt x="48" y="80"/>
                          </a:cubicBezTo>
                          <a:close/>
                          <a:moveTo>
                            <a:pt x="50" y="82"/>
                          </a:moveTo>
                          <a:cubicBezTo>
                            <a:pt x="51" y="81"/>
                            <a:pt x="52" y="80"/>
                            <a:pt x="53" y="80"/>
                          </a:cubicBezTo>
                          <a:cubicBezTo>
                            <a:pt x="53" y="80"/>
                            <a:pt x="52" y="80"/>
                            <a:pt x="52" y="81"/>
                          </a:cubicBezTo>
                          <a:cubicBezTo>
                            <a:pt x="52" y="81"/>
                            <a:pt x="52" y="81"/>
                            <a:pt x="52" y="81"/>
                          </a:cubicBezTo>
                          <a:cubicBezTo>
                            <a:pt x="51" y="81"/>
                            <a:pt x="50" y="82"/>
                            <a:pt x="49" y="82"/>
                          </a:cubicBezTo>
                          <a:cubicBezTo>
                            <a:pt x="49" y="82"/>
                            <a:pt x="49" y="82"/>
                            <a:pt x="49" y="82"/>
                          </a:cubicBezTo>
                          <a:cubicBezTo>
                            <a:pt x="49" y="82"/>
                            <a:pt x="49" y="82"/>
                            <a:pt x="49" y="82"/>
                          </a:cubicBezTo>
                          <a:cubicBezTo>
                            <a:pt x="49" y="82"/>
                            <a:pt x="49" y="82"/>
                            <a:pt x="49" y="82"/>
                          </a:cubicBezTo>
                          <a:cubicBezTo>
                            <a:pt x="50" y="82"/>
                            <a:pt x="50" y="82"/>
                            <a:pt x="50" y="82"/>
                          </a:cubicBezTo>
                          <a:cubicBezTo>
                            <a:pt x="50" y="82"/>
                            <a:pt x="50" y="81"/>
                            <a:pt x="50" y="82"/>
                          </a:cubicBezTo>
                          <a:close/>
                          <a:moveTo>
                            <a:pt x="50" y="82"/>
                          </a:moveTo>
                          <a:cubicBezTo>
                            <a:pt x="50" y="82"/>
                            <a:pt x="49" y="82"/>
                            <a:pt x="49" y="82"/>
                          </a:cubicBezTo>
                          <a:cubicBezTo>
                            <a:pt x="49" y="82"/>
                            <a:pt x="49" y="82"/>
                            <a:pt x="50" y="82"/>
                          </a:cubicBezTo>
                          <a:cubicBezTo>
                            <a:pt x="49" y="82"/>
                            <a:pt x="50" y="82"/>
                            <a:pt x="49" y="82"/>
                          </a:cubicBezTo>
                          <a:cubicBezTo>
                            <a:pt x="49" y="82"/>
                            <a:pt x="49" y="82"/>
                            <a:pt x="50" y="82"/>
                          </a:cubicBezTo>
                          <a:close/>
                          <a:moveTo>
                            <a:pt x="49" y="77"/>
                          </a:moveTo>
                          <a:cubicBezTo>
                            <a:pt x="49" y="77"/>
                            <a:pt x="49" y="77"/>
                            <a:pt x="49" y="77"/>
                          </a:cubicBezTo>
                          <a:cubicBezTo>
                            <a:pt x="49" y="76"/>
                            <a:pt x="49" y="77"/>
                            <a:pt x="49" y="76"/>
                          </a:cubicBezTo>
                          <a:cubicBezTo>
                            <a:pt x="48" y="77"/>
                            <a:pt x="48" y="77"/>
                            <a:pt x="47" y="77"/>
                          </a:cubicBezTo>
                          <a:cubicBezTo>
                            <a:pt x="47" y="77"/>
                            <a:pt x="47" y="77"/>
                            <a:pt x="47" y="77"/>
                          </a:cubicBezTo>
                          <a:cubicBezTo>
                            <a:pt x="47" y="77"/>
                            <a:pt x="47" y="77"/>
                            <a:pt x="48" y="77"/>
                          </a:cubicBezTo>
                          <a:cubicBezTo>
                            <a:pt x="48" y="77"/>
                            <a:pt x="48" y="77"/>
                            <a:pt x="48" y="76"/>
                          </a:cubicBezTo>
                          <a:cubicBezTo>
                            <a:pt x="48" y="77"/>
                            <a:pt x="48" y="76"/>
                            <a:pt x="48" y="77"/>
                          </a:cubicBezTo>
                          <a:cubicBezTo>
                            <a:pt x="48" y="76"/>
                            <a:pt x="49" y="76"/>
                            <a:pt x="50" y="76"/>
                          </a:cubicBezTo>
                          <a:cubicBezTo>
                            <a:pt x="50" y="76"/>
                            <a:pt x="49" y="76"/>
                            <a:pt x="50" y="76"/>
                          </a:cubicBezTo>
                          <a:cubicBezTo>
                            <a:pt x="50" y="76"/>
                            <a:pt x="49" y="76"/>
                            <a:pt x="49" y="77"/>
                          </a:cubicBezTo>
                          <a:close/>
                          <a:moveTo>
                            <a:pt x="52" y="84"/>
                          </a:moveTo>
                          <a:cubicBezTo>
                            <a:pt x="52" y="84"/>
                            <a:pt x="52" y="84"/>
                            <a:pt x="51" y="84"/>
                          </a:cubicBezTo>
                          <a:cubicBezTo>
                            <a:pt x="52" y="84"/>
                            <a:pt x="52" y="84"/>
                            <a:pt x="52" y="84"/>
                          </a:cubicBezTo>
                          <a:close/>
                          <a:moveTo>
                            <a:pt x="51" y="83"/>
                          </a:moveTo>
                          <a:cubicBezTo>
                            <a:pt x="51" y="83"/>
                            <a:pt x="51" y="83"/>
                            <a:pt x="51" y="83"/>
                          </a:cubicBezTo>
                          <a:cubicBezTo>
                            <a:pt x="52" y="83"/>
                            <a:pt x="51" y="83"/>
                            <a:pt x="51" y="83"/>
                          </a:cubicBezTo>
                          <a:cubicBezTo>
                            <a:pt x="51" y="83"/>
                            <a:pt x="51" y="83"/>
                            <a:pt x="51" y="83"/>
                          </a:cubicBezTo>
                          <a:close/>
                          <a:moveTo>
                            <a:pt x="52" y="79"/>
                          </a:moveTo>
                          <a:cubicBezTo>
                            <a:pt x="52" y="79"/>
                            <a:pt x="52" y="79"/>
                            <a:pt x="52" y="79"/>
                          </a:cubicBezTo>
                          <a:cubicBezTo>
                            <a:pt x="53" y="79"/>
                            <a:pt x="53" y="79"/>
                            <a:pt x="53" y="79"/>
                          </a:cubicBezTo>
                          <a:cubicBezTo>
                            <a:pt x="53" y="79"/>
                            <a:pt x="53" y="79"/>
                            <a:pt x="53" y="79"/>
                          </a:cubicBezTo>
                          <a:cubicBezTo>
                            <a:pt x="53" y="79"/>
                            <a:pt x="53" y="79"/>
                            <a:pt x="53" y="79"/>
                          </a:cubicBezTo>
                          <a:cubicBezTo>
                            <a:pt x="53" y="79"/>
                            <a:pt x="53" y="79"/>
                            <a:pt x="53" y="79"/>
                          </a:cubicBezTo>
                          <a:cubicBezTo>
                            <a:pt x="53" y="78"/>
                            <a:pt x="53" y="79"/>
                            <a:pt x="53" y="79"/>
                          </a:cubicBezTo>
                          <a:cubicBezTo>
                            <a:pt x="53" y="79"/>
                            <a:pt x="53" y="79"/>
                            <a:pt x="53" y="79"/>
                          </a:cubicBezTo>
                          <a:cubicBezTo>
                            <a:pt x="54" y="78"/>
                            <a:pt x="54" y="78"/>
                            <a:pt x="54" y="78"/>
                          </a:cubicBezTo>
                          <a:cubicBezTo>
                            <a:pt x="54" y="78"/>
                            <a:pt x="54" y="78"/>
                            <a:pt x="54" y="78"/>
                          </a:cubicBezTo>
                          <a:cubicBezTo>
                            <a:pt x="53" y="79"/>
                            <a:pt x="53" y="79"/>
                            <a:pt x="52" y="80"/>
                          </a:cubicBezTo>
                          <a:cubicBezTo>
                            <a:pt x="52" y="79"/>
                            <a:pt x="52" y="79"/>
                            <a:pt x="52" y="79"/>
                          </a:cubicBezTo>
                          <a:close/>
                          <a:moveTo>
                            <a:pt x="55" y="76"/>
                          </a:moveTo>
                          <a:cubicBezTo>
                            <a:pt x="55" y="76"/>
                            <a:pt x="56" y="76"/>
                            <a:pt x="56" y="76"/>
                          </a:cubicBezTo>
                          <a:cubicBezTo>
                            <a:pt x="56" y="76"/>
                            <a:pt x="56" y="76"/>
                            <a:pt x="56" y="76"/>
                          </a:cubicBezTo>
                          <a:cubicBezTo>
                            <a:pt x="56" y="76"/>
                            <a:pt x="56" y="76"/>
                            <a:pt x="56" y="76"/>
                          </a:cubicBezTo>
                          <a:cubicBezTo>
                            <a:pt x="57" y="76"/>
                            <a:pt x="57" y="76"/>
                            <a:pt x="57" y="76"/>
                          </a:cubicBezTo>
                          <a:cubicBezTo>
                            <a:pt x="56" y="76"/>
                            <a:pt x="55" y="77"/>
                            <a:pt x="55" y="76"/>
                          </a:cubicBezTo>
                          <a:close/>
                          <a:moveTo>
                            <a:pt x="57" y="77"/>
                          </a:moveTo>
                          <a:cubicBezTo>
                            <a:pt x="58" y="77"/>
                            <a:pt x="58" y="77"/>
                            <a:pt x="58" y="77"/>
                          </a:cubicBezTo>
                          <a:cubicBezTo>
                            <a:pt x="58" y="77"/>
                            <a:pt x="57" y="77"/>
                            <a:pt x="58" y="77"/>
                          </a:cubicBezTo>
                          <a:cubicBezTo>
                            <a:pt x="57" y="77"/>
                            <a:pt x="57" y="77"/>
                            <a:pt x="57" y="77"/>
                          </a:cubicBezTo>
                          <a:cubicBezTo>
                            <a:pt x="56" y="78"/>
                            <a:pt x="57" y="77"/>
                            <a:pt x="57" y="77"/>
                          </a:cubicBezTo>
                          <a:cubicBezTo>
                            <a:pt x="57" y="77"/>
                            <a:pt x="57" y="77"/>
                            <a:pt x="57" y="77"/>
                          </a:cubicBezTo>
                          <a:close/>
                          <a:moveTo>
                            <a:pt x="59" y="77"/>
                          </a:moveTo>
                          <a:cubicBezTo>
                            <a:pt x="60" y="77"/>
                            <a:pt x="61" y="76"/>
                            <a:pt x="61" y="76"/>
                          </a:cubicBezTo>
                          <a:cubicBezTo>
                            <a:pt x="61" y="76"/>
                            <a:pt x="61" y="76"/>
                            <a:pt x="61" y="76"/>
                          </a:cubicBezTo>
                          <a:cubicBezTo>
                            <a:pt x="61" y="76"/>
                            <a:pt x="61" y="76"/>
                            <a:pt x="61" y="77"/>
                          </a:cubicBezTo>
                          <a:cubicBezTo>
                            <a:pt x="60" y="77"/>
                            <a:pt x="59" y="78"/>
                            <a:pt x="58" y="78"/>
                          </a:cubicBezTo>
                          <a:cubicBezTo>
                            <a:pt x="58" y="78"/>
                            <a:pt x="59" y="78"/>
                            <a:pt x="59" y="77"/>
                          </a:cubicBezTo>
                          <a:close/>
                          <a:moveTo>
                            <a:pt x="59" y="76"/>
                          </a:moveTo>
                          <a:cubicBezTo>
                            <a:pt x="59" y="76"/>
                            <a:pt x="59" y="76"/>
                            <a:pt x="59" y="76"/>
                          </a:cubicBezTo>
                          <a:cubicBezTo>
                            <a:pt x="59" y="76"/>
                            <a:pt x="59" y="76"/>
                            <a:pt x="59" y="76"/>
                          </a:cubicBezTo>
                          <a:cubicBezTo>
                            <a:pt x="59" y="76"/>
                            <a:pt x="59" y="76"/>
                            <a:pt x="60" y="76"/>
                          </a:cubicBezTo>
                          <a:cubicBezTo>
                            <a:pt x="60" y="76"/>
                            <a:pt x="59" y="76"/>
                            <a:pt x="59" y="76"/>
                          </a:cubicBezTo>
                          <a:cubicBezTo>
                            <a:pt x="60" y="76"/>
                            <a:pt x="60" y="76"/>
                            <a:pt x="60" y="76"/>
                          </a:cubicBezTo>
                          <a:cubicBezTo>
                            <a:pt x="60" y="76"/>
                            <a:pt x="60" y="76"/>
                            <a:pt x="60" y="76"/>
                          </a:cubicBezTo>
                          <a:cubicBezTo>
                            <a:pt x="60" y="76"/>
                            <a:pt x="59" y="76"/>
                            <a:pt x="59" y="76"/>
                          </a:cubicBezTo>
                          <a:cubicBezTo>
                            <a:pt x="59" y="76"/>
                            <a:pt x="59" y="76"/>
                            <a:pt x="59" y="76"/>
                          </a:cubicBezTo>
                          <a:close/>
                          <a:moveTo>
                            <a:pt x="59" y="76"/>
                          </a:moveTo>
                          <a:cubicBezTo>
                            <a:pt x="59" y="76"/>
                            <a:pt x="59" y="76"/>
                            <a:pt x="60" y="76"/>
                          </a:cubicBezTo>
                          <a:cubicBezTo>
                            <a:pt x="60" y="76"/>
                            <a:pt x="60" y="76"/>
                            <a:pt x="59" y="76"/>
                          </a:cubicBezTo>
                          <a:close/>
                          <a:moveTo>
                            <a:pt x="59" y="75"/>
                          </a:moveTo>
                          <a:cubicBezTo>
                            <a:pt x="59" y="75"/>
                            <a:pt x="59" y="75"/>
                            <a:pt x="59" y="75"/>
                          </a:cubicBezTo>
                          <a:cubicBezTo>
                            <a:pt x="59" y="75"/>
                            <a:pt x="59" y="75"/>
                            <a:pt x="59" y="75"/>
                          </a:cubicBezTo>
                          <a:cubicBezTo>
                            <a:pt x="59" y="74"/>
                            <a:pt x="59" y="75"/>
                            <a:pt x="60" y="74"/>
                          </a:cubicBezTo>
                          <a:cubicBezTo>
                            <a:pt x="60" y="74"/>
                            <a:pt x="60" y="75"/>
                            <a:pt x="59" y="75"/>
                          </a:cubicBezTo>
                          <a:cubicBezTo>
                            <a:pt x="59" y="75"/>
                            <a:pt x="59" y="75"/>
                            <a:pt x="59" y="75"/>
                          </a:cubicBezTo>
                          <a:cubicBezTo>
                            <a:pt x="59" y="75"/>
                            <a:pt x="59" y="75"/>
                            <a:pt x="59" y="75"/>
                          </a:cubicBezTo>
                          <a:cubicBezTo>
                            <a:pt x="59" y="75"/>
                            <a:pt x="59" y="75"/>
                            <a:pt x="59" y="75"/>
                          </a:cubicBezTo>
                          <a:cubicBezTo>
                            <a:pt x="59" y="75"/>
                            <a:pt x="59" y="75"/>
                            <a:pt x="59" y="75"/>
                          </a:cubicBezTo>
                          <a:close/>
                          <a:moveTo>
                            <a:pt x="58" y="68"/>
                          </a:moveTo>
                          <a:cubicBezTo>
                            <a:pt x="58" y="68"/>
                            <a:pt x="57" y="69"/>
                            <a:pt x="57" y="68"/>
                          </a:cubicBezTo>
                          <a:cubicBezTo>
                            <a:pt x="57" y="68"/>
                            <a:pt x="58" y="68"/>
                            <a:pt x="58" y="68"/>
                          </a:cubicBezTo>
                          <a:cubicBezTo>
                            <a:pt x="58" y="68"/>
                            <a:pt x="58" y="68"/>
                            <a:pt x="58" y="68"/>
                          </a:cubicBezTo>
                          <a:cubicBezTo>
                            <a:pt x="58" y="68"/>
                            <a:pt x="58" y="68"/>
                            <a:pt x="58" y="68"/>
                          </a:cubicBezTo>
                          <a:cubicBezTo>
                            <a:pt x="58" y="68"/>
                            <a:pt x="58" y="68"/>
                            <a:pt x="58" y="68"/>
                          </a:cubicBezTo>
                          <a:close/>
                          <a:moveTo>
                            <a:pt x="60" y="69"/>
                          </a:moveTo>
                          <a:cubicBezTo>
                            <a:pt x="60" y="69"/>
                            <a:pt x="59" y="69"/>
                            <a:pt x="60" y="69"/>
                          </a:cubicBezTo>
                          <a:cubicBezTo>
                            <a:pt x="60" y="69"/>
                            <a:pt x="60" y="69"/>
                            <a:pt x="60" y="69"/>
                          </a:cubicBezTo>
                          <a:cubicBezTo>
                            <a:pt x="60" y="69"/>
                            <a:pt x="61" y="68"/>
                            <a:pt x="61" y="68"/>
                          </a:cubicBezTo>
                          <a:cubicBezTo>
                            <a:pt x="61" y="69"/>
                            <a:pt x="60" y="69"/>
                            <a:pt x="60" y="69"/>
                          </a:cubicBezTo>
                          <a:close/>
                          <a:moveTo>
                            <a:pt x="63" y="74"/>
                          </a:moveTo>
                          <a:cubicBezTo>
                            <a:pt x="63" y="74"/>
                            <a:pt x="63" y="74"/>
                            <a:pt x="63" y="74"/>
                          </a:cubicBezTo>
                          <a:cubicBezTo>
                            <a:pt x="63" y="74"/>
                            <a:pt x="63" y="74"/>
                            <a:pt x="62" y="74"/>
                          </a:cubicBezTo>
                          <a:cubicBezTo>
                            <a:pt x="63" y="74"/>
                            <a:pt x="63" y="74"/>
                            <a:pt x="63" y="74"/>
                          </a:cubicBezTo>
                          <a:cubicBezTo>
                            <a:pt x="63" y="74"/>
                            <a:pt x="63" y="74"/>
                            <a:pt x="63" y="74"/>
                          </a:cubicBezTo>
                          <a:cubicBezTo>
                            <a:pt x="63" y="74"/>
                            <a:pt x="63" y="74"/>
                            <a:pt x="63" y="74"/>
                          </a:cubicBezTo>
                          <a:close/>
                          <a:moveTo>
                            <a:pt x="65" y="66"/>
                          </a:moveTo>
                          <a:cubicBezTo>
                            <a:pt x="65" y="66"/>
                            <a:pt x="65" y="66"/>
                            <a:pt x="65" y="66"/>
                          </a:cubicBezTo>
                          <a:cubicBezTo>
                            <a:pt x="66" y="65"/>
                            <a:pt x="66" y="65"/>
                            <a:pt x="67" y="65"/>
                          </a:cubicBezTo>
                          <a:cubicBezTo>
                            <a:pt x="67" y="65"/>
                            <a:pt x="66" y="65"/>
                            <a:pt x="66" y="65"/>
                          </a:cubicBezTo>
                          <a:cubicBezTo>
                            <a:pt x="67" y="65"/>
                            <a:pt x="67" y="65"/>
                            <a:pt x="67" y="65"/>
                          </a:cubicBezTo>
                          <a:cubicBezTo>
                            <a:pt x="67" y="65"/>
                            <a:pt x="67" y="65"/>
                            <a:pt x="67" y="65"/>
                          </a:cubicBezTo>
                          <a:cubicBezTo>
                            <a:pt x="67" y="66"/>
                            <a:pt x="67" y="66"/>
                            <a:pt x="67" y="65"/>
                          </a:cubicBezTo>
                          <a:cubicBezTo>
                            <a:pt x="66" y="66"/>
                            <a:pt x="64" y="67"/>
                            <a:pt x="63" y="67"/>
                          </a:cubicBezTo>
                          <a:cubicBezTo>
                            <a:pt x="63" y="68"/>
                            <a:pt x="62" y="68"/>
                            <a:pt x="61" y="68"/>
                          </a:cubicBezTo>
                          <a:cubicBezTo>
                            <a:pt x="61" y="68"/>
                            <a:pt x="62" y="68"/>
                            <a:pt x="62" y="68"/>
                          </a:cubicBezTo>
                          <a:cubicBezTo>
                            <a:pt x="62" y="68"/>
                            <a:pt x="62" y="68"/>
                            <a:pt x="62" y="68"/>
                          </a:cubicBezTo>
                          <a:cubicBezTo>
                            <a:pt x="62" y="68"/>
                            <a:pt x="62" y="68"/>
                            <a:pt x="62" y="67"/>
                          </a:cubicBezTo>
                          <a:cubicBezTo>
                            <a:pt x="62" y="68"/>
                            <a:pt x="62" y="68"/>
                            <a:pt x="62" y="68"/>
                          </a:cubicBezTo>
                          <a:cubicBezTo>
                            <a:pt x="63" y="67"/>
                            <a:pt x="64" y="67"/>
                            <a:pt x="65" y="66"/>
                          </a:cubicBezTo>
                          <a:cubicBezTo>
                            <a:pt x="65" y="66"/>
                            <a:pt x="65" y="66"/>
                            <a:pt x="65" y="66"/>
                          </a:cubicBezTo>
                          <a:close/>
                          <a:moveTo>
                            <a:pt x="65" y="66"/>
                          </a:moveTo>
                          <a:cubicBezTo>
                            <a:pt x="65" y="66"/>
                            <a:pt x="65" y="66"/>
                            <a:pt x="65" y="66"/>
                          </a:cubicBezTo>
                          <a:cubicBezTo>
                            <a:pt x="66" y="66"/>
                            <a:pt x="66" y="66"/>
                            <a:pt x="66" y="66"/>
                          </a:cubicBezTo>
                          <a:cubicBezTo>
                            <a:pt x="65" y="66"/>
                            <a:pt x="65" y="66"/>
                            <a:pt x="65" y="66"/>
                          </a:cubicBezTo>
                          <a:close/>
                          <a:moveTo>
                            <a:pt x="63" y="67"/>
                          </a:moveTo>
                          <a:cubicBezTo>
                            <a:pt x="63" y="67"/>
                            <a:pt x="63" y="67"/>
                            <a:pt x="63" y="67"/>
                          </a:cubicBezTo>
                          <a:cubicBezTo>
                            <a:pt x="63" y="67"/>
                            <a:pt x="63" y="67"/>
                            <a:pt x="63" y="67"/>
                          </a:cubicBezTo>
                          <a:close/>
                          <a:moveTo>
                            <a:pt x="62" y="66"/>
                          </a:moveTo>
                          <a:cubicBezTo>
                            <a:pt x="62" y="66"/>
                            <a:pt x="62" y="66"/>
                            <a:pt x="62" y="66"/>
                          </a:cubicBezTo>
                          <a:cubicBezTo>
                            <a:pt x="62" y="66"/>
                            <a:pt x="62" y="66"/>
                            <a:pt x="62" y="66"/>
                          </a:cubicBezTo>
                          <a:cubicBezTo>
                            <a:pt x="62" y="66"/>
                            <a:pt x="62" y="66"/>
                            <a:pt x="62" y="66"/>
                          </a:cubicBezTo>
                          <a:cubicBezTo>
                            <a:pt x="62" y="66"/>
                            <a:pt x="62" y="66"/>
                            <a:pt x="62" y="66"/>
                          </a:cubicBezTo>
                          <a:cubicBezTo>
                            <a:pt x="62" y="66"/>
                            <a:pt x="62" y="66"/>
                            <a:pt x="62" y="66"/>
                          </a:cubicBezTo>
                          <a:cubicBezTo>
                            <a:pt x="62" y="66"/>
                            <a:pt x="62" y="66"/>
                            <a:pt x="62" y="66"/>
                          </a:cubicBezTo>
                          <a:close/>
                          <a:moveTo>
                            <a:pt x="61" y="65"/>
                          </a:moveTo>
                          <a:cubicBezTo>
                            <a:pt x="62" y="65"/>
                            <a:pt x="62" y="65"/>
                            <a:pt x="63" y="65"/>
                          </a:cubicBezTo>
                          <a:cubicBezTo>
                            <a:pt x="62" y="65"/>
                            <a:pt x="62" y="65"/>
                            <a:pt x="62" y="65"/>
                          </a:cubicBezTo>
                          <a:cubicBezTo>
                            <a:pt x="62" y="65"/>
                            <a:pt x="63" y="65"/>
                            <a:pt x="63" y="65"/>
                          </a:cubicBezTo>
                          <a:cubicBezTo>
                            <a:pt x="63" y="65"/>
                            <a:pt x="63" y="65"/>
                            <a:pt x="63" y="65"/>
                          </a:cubicBezTo>
                          <a:cubicBezTo>
                            <a:pt x="63" y="65"/>
                            <a:pt x="63" y="65"/>
                            <a:pt x="63" y="66"/>
                          </a:cubicBezTo>
                          <a:cubicBezTo>
                            <a:pt x="63" y="66"/>
                            <a:pt x="63" y="65"/>
                            <a:pt x="63" y="65"/>
                          </a:cubicBezTo>
                          <a:cubicBezTo>
                            <a:pt x="63" y="66"/>
                            <a:pt x="63" y="66"/>
                            <a:pt x="63" y="66"/>
                          </a:cubicBezTo>
                          <a:cubicBezTo>
                            <a:pt x="63" y="66"/>
                            <a:pt x="63" y="66"/>
                            <a:pt x="63" y="66"/>
                          </a:cubicBezTo>
                          <a:cubicBezTo>
                            <a:pt x="63" y="66"/>
                            <a:pt x="63" y="66"/>
                            <a:pt x="63" y="65"/>
                          </a:cubicBezTo>
                          <a:cubicBezTo>
                            <a:pt x="63" y="65"/>
                            <a:pt x="62" y="66"/>
                            <a:pt x="62" y="66"/>
                          </a:cubicBezTo>
                          <a:cubicBezTo>
                            <a:pt x="62" y="66"/>
                            <a:pt x="62" y="66"/>
                            <a:pt x="62" y="66"/>
                          </a:cubicBezTo>
                          <a:cubicBezTo>
                            <a:pt x="62" y="66"/>
                            <a:pt x="62" y="66"/>
                            <a:pt x="62" y="66"/>
                          </a:cubicBezTo>
                          <a:cubicBezTo>
                            <a:pt x="62" y="65"/>
                            <a:pt x="62" y="66"/>
                            <a:pt x="62" y="66"/>
                          </a:cubicBezTo>
                          <a:cubicBezTo>
                            <a:pt x="62" y="65"/>
                            <a:pt x="61" y="66"/>
                            <a:pt x="61" y="65"/>
                          </a:cubicBezTo>
                          <a:close/>
                          <a:moveTo>
                            <a:pt x="64" y="65"/>
                          </a:moveTo>
                          <a:cubicBezTo>
                            <a:pt x="64" y="65"/>
                            <a:pt x="64" y="65"/>
                            <a:pt x="64" y="65"/>
                          </a:cubicBezTo>
                          <a:cubicBezTo>
                            <a:pt x="64" y="65"/>
                            <a:pt x="64" y="65"/>
                            <a:pt x="63" y="65"/>
                          </a:cubicBezTo>
                          <a:cubicBezTo>
                            <a:pt x="63" y="65"/>
                            <a:pt x="63" y="65"/>
                            <a:pt x="63" y="65"/>
                          </a:cubicBezTo>
                          <a:cubicBezTo>
                            <a:pt x="63" y="65"/>
                            <a:pt x="63" y="65"/>
                            <a:pt x="63" y="65"/>
                          </a:cubicBezTo>
                          <a:cubicBezTo>
                            <a:pt x="63" y="65"/>
                            <a:pt x="64" y="65"/>
                            <a:pt x="64" y="65"/>
                          </a:cubicBezTo>
                          <a:cubicBezTo>
                            <a:pt x="64" y="65"/>
                            <a:pt x="64" y="65"/>
                            <a:pt x="64" y="65"/>
                          </a:cubicBezTo>
                          <a:cubicBezTo>
                            <a:pt x="64" y="65"/>
                            <a:pt x="64" y="65"/>
                            <a:pt x="64" y="65"/>
                          </a:cubicBezTo>
                          <a:cubicBezTo>
                            <a:pt x="64" y="65"/>
                            <a:pt x="64" y="65"/>
                            <a:pt x="64" y="65"/>
                          </a:cubicBezTo>
                          <a:close/>
                          <a:moveTo>
                            <a:pt x="66" y="68"/>
                          </a:moveTo>
                          <a:cubicBezTo>
                            <a:pt x="66" y="68"/>
                            <a:pt x="66" y="68"/>
                            <a:pt x="66" y="67"/>
                          </a:cubicBezTo>
                          <a:cubicBezTo>
                            <a:pt x="66" y="67"/>
                            <a:pt x="66" y="67"/>
                            <a:pt x="66" y="67"/>
                          </a:cubicBezTo>
                          <a:cubicBezTo>
                            <a:pt x="66" y="68"/>
                            <a:pt x="66" y="68"/>
                            <a:pt x="66" y="68"/>
                          </a:cubicBezTo>
                          <a:cubicBezTo>
                            <a:pt x="66" y="68"/>
                            <a:pt x="65" y="68"/>
                            <a:pt x="65" y="68"/>
                          </a:cubicBezTo>
                          <a:cubicBezTo>
                            <a:pt x="65" y="68"/>
                            <a:pt x="65" y="68"/>
                            <a:pt x="65" y="68"/>
                          </a:cubicBezTo>
                          <a:cubicBezTo>
                            <a:pt x="65" y="68"/>
                            <a:pt x="66" y="68"/>
                            <a:pt x="66" y="68"/>
                          </a:cubicBezTo>
                          <a:cubicBezTo>
                            <a:pt x="66" y="68"/>
                            <a:pt x="66" y="67"/>
                            <a:pt x="66" y="67"/>
                          </a:cubicBezTo>
                          <a:cubicBezTo>
                            <a:pt x="66" y="67"/>
                            <a:pt x="66" y="67"/>
                            <a:pt x="65" y="67"/>
                          </a:cubicBezTo>
                          <a:cubicBezTo>
                            <a:pt x="65" y="67"/>
                            <a:pt x="66" y="67"/>
                            <a:pt x="65" y="67"/>
                          </a:cubicBezTo>
                          <a:cubicBezTo>
                            <a:pt x="66" y="67"/>
                            <a:pt x="66" y="67"/>
                            <a:pt x="66" y="67"/>
                          </a:cubicBezTo>
                          <a:cubicBezTo>
                            <a:pt x="67" y="67"/>
                            <a:pt x="67" y="67"/>
                            <a:pt x="67" y="67"/>
                          </a:cubicBezTo>
                          <a:cubicBezTo>
                            <a:pt x="67" y="67"/>
                            <a:pt x="67" y="67"/>
                            <a:pt x="67" y="67"/>
                          </a:cubicBezTo>
                          <a:cubicBezTo>
                            <a:pt x="67" y="67"/>
                            <a:pt x="67" y="67"/>
                            <a:pt x="67" y="67"/>
                          </a:cubicBezTo>
                          <a:cubicBezTo>
                            <a:pt x="67" y="67"/>
                            <a:pt x="67" y="67"/>
                            <a:pt x="67" y="67"/>
                          </a:cubicBezTo>
                          <a:cubicBezTo>
                            <a:pt x="67" y="67"/>
                            <a:pt x="67" y="67"/>
                            <a:pt x="67" y="67"/>
                          </a:cubicBezTo>
                          <a:cubicBezTo>
                            <a:pt x="67" y="67"/>
                            <a:pt x="67" y="67"/>
                            <a:pt x="67" y="67"/>
                          </a:cubicBezTo>
                          <a:cubicBezTo>
                            <a:pt x="67" y="67"/>
                            <a:pt x="67" y="67"/>
                            <a:pt x="67" y="68"/>
                          </a:cubicBezTo>
                          <a:cubicBezTo>
                            <a:pt x="67" y="68"/>
                            <a:pt x="67" y="68"/>
                            <a:pt x="68" y="67"/>
                          </a:cubicBezTo>
                          <a:cubicBezTo>
                            <a:pt x="68" y="68"/>
                            <a:pt x="67" y="68"/>
                            <a:pt x="67" y="68"/>
                          </a:cubicBezTo>
                          <a:cubicBezTo>
                            <a:pt x="67" y="68"/>
                            <a:pt x="67" y="68"/>
                            <a:pt x="67" y="68"/>
                          </a:cubicBezTo>
                          <a:cubicBezTo>
                            <a:pt x="67" y="68"/>
                            <a:pt x="66" y="68"/>
                            <a:pt x="66" y="68"/>
                          </a:cubicBezTo>
                          <a:cubicBezTo>
                            <a:pt x="66" y="68"/>
                            <a:pt x="66" y="68"/>
                            <a:pt x="66" y="68"/>
                          </a:cubicBezTo>
                          <a:close/>
                          <a:moveTo>
                            <a:pt x="67" y="68"/>
                          </a:moveTo>
                          <a:cubicBezTo>
                            <a:pt x="67" y="67"/>
                            <a:pt x="67" y="67"/>
                            <a:pt x="66" y="67"/>
                          </a:cubicBezTo>
                          <a:cubicBezTo>
                            <a:pt x="67" y="67"/>
                            <a:pt x="66" y="67"/>
                            <a:pt x="67" y="68"/>
                          </a:cubicBezTo>
                          <a:close/>
                          <a:moveTo>
                            <a:pt x="65" y="68"/>
                          </a:moveTo>
                          <a:cubicBezTo>
                            <a:pt x="65" y="68"/>
                            <a:pt x="65" y="67"/>
                            <a:pt x="65" y="67"/>
                          </a:cubicBezTo>
                          <a:cubicBezTo>
                            <a:pt x="65" y="67"/>
                            <a:pt x="65" y="68"/>
                            <a:pt x="65" y="68"/>
                          </a:cubicBezTo>
                          <a:close/>
                          <a:moveTo>
                            <a:pt x="67" y="67"/>
                          </a:moveTo>
                          <a:cubicBezTo>
                            <a:pt x="67" y="67"/>
                            <a:pt x="67" y="67"/>
                            <a:pt x="68" y="66"/>
                          </a:cubicBezTo>
                          <a:cubicBezTo>
                            <a:pt x="67" y="67"/>
                            <a:pt x="68" y="67"/>
                            <a:pt x="67" y="67"/>
                          </a:cubicBezTo>
                          <a:close/>
                          <a:moveTo>
                            <a:pt x="68" y="66"/>
                          </a:moveTo>
                          <a:cubicBezTo>
                            <a:pt x="68" y="66"/>
                            <a:pt x="68" y="66"/>
                            <a:pt x="68" y="66"/>
                          </a:cubicBezTo>
                          <a:cubicBezTo>
                            <a:pt x="68" y="65"/>
                            <a:pt x="68" y="66"/>
                            <a:pt x="68" y="66"/>
                          </a:cubicBezTo>
                          <a:cubicBezTo>
                            <a:pt x="68" y="66"/>
                            <a:pt x="67" y="66"/>
                            <a:pt x="67" y="66"/>
                          </a:cubicBezTo>
                          <a:cubicBezTo>
                            <a:pt x="67" y="66"/>
                            <a:pt x="67" y="66"/>
                            <a:pt x="67" y="66"/>
                          </a:cubicBezTo>
                          <a:cubicBezTo>
                            <a:pt x="67" y="66"/>
                            <a:pt x="67" y="66"/>
                            <a:pt x="67" y="66"/>
                          </a:cubicBezTo>
                          <a:cubicBezTo>
                            <a:pt x="68" y="66"/>
                            <a:pt x="68" y="65"/>
                            <a:pt x="68" y="65"/>
                          </a:cubicBezTo>
                          <a:cubicBezTo>
                            <a:pt x="68" y="65"/>
                            <a:pt x="68" y="66"/>
                            <a:pt x="68" y="65"/>
                          </a:cubicBezTo>
                          <a:cubicBezTo>
                            <a:pt x="68" y="66"/>
                            <a:pt x="68" y="65"/>
                            <a:pt x="68" y="66"/>
                          </a:cubicBezTo>
                          <a:cubicBezTo>
                            <a:pt x="68" y="66"/>
                            <a:pt x="68" y="66"/>
                            <a:pt x="68" y="66"/>
                          </a:cubicBezTo>
                          <a:close/>
                          <a:moveTo>
                            <a:pt x="71" y="64"/>
                          </a:moveTo>
                          <a:cubicBezTo>
                            <a:pt x="71" y="63"/>
                            <a:pt x="70" y="64"/>
                            <a:pt x="69" y="64"/>
                          </a:cubicBezTo>
                          <a:cubicBezTo>
                            <a:pt x="69" y="64"/>
                            <a:pt x="69" y="64"/>
                            <a:pt x="69" y="64"/>
                          </a:cubicBezTo>
                          <a:cubicBezTo>
                            <a:pt x="69" y="65"/>
                            <a:pt x="69" y="64"/>
                            <a:pt x="69" y="65"/>
                          </a:cubicBezTo>
                          <a:cubicBezTo>
                            <a:pt x="68" y="65"/>
                            <a:pt x="69" y="64"/>
                            <a:pt x="68" y="64"/>
                          </a:cubicBezTo>
                          <a:cubicBezTo>
                            <a:pt x="68" y="64"/>
                            <a:pt x="68" y="64"/>
                            <a:pt x="69" y="64"/>
                          </a:cubicBezTo>
                          <a:cubicBezTo>
                            <a:pt x="69" y="64"/>
                            <a:pt x="68" y="64"/>
                            <a:pt x="68" y="64"/>
                          </a:cubicBezTo>
                          <a:cubicBezTo>
                            <a:pt x="68" y="64"/>
                            <a:pt x="68" y="64"/>
                            <a:pt x="68" y="64"/>
                          </a:cubicBezTo>
                          <a:cubicBezTo>
                            <a:pt x="68" y="64"/>
                            <a:pt x="68" y="64"/>
                            <a:pt x="68" y="64"/>
                          </a:cubicBezTo>
                          <a:cubicBezTo>
                            <a:pt x="69" y="64"/>
                            <a:pt x="68" y="64"/>
                            <a:pt x="68" y="64"/>
                          </a:cubicBezTo>
                          <a:cubicBezTo>
                            <a:pt x="68" y="64"/>
                            <a:pt x="67" y="65"/>
                            <a:pt x="66" y="65"/>
                          </a:cubicBezTo>
                          <a:cubicBezTo>
                            <a:pt x="67" y="64"/>
                            <a:pt x="67" y="64"/>
                            <a:pt x="67" y="64"/>
                          </a:cubicBezTo>
                          <a:cubicBezTo>
                            <a:pt x="67" y="64"/>
                            <a:pt x="68" y="64"/>
                            <a:pt x="68" y="64"/>
                          </a:cubicBezTo>
                          <a:cubicBezTo>
                            <a:pt x="68" y="64"/>
                            <a:pt x="68" y="63"/>
                            <a:pt x="69" y="63"/>
                          </a:cubicBezTo>
                          <a:cubicBezTo>
                            <a:pt x="69" y="63"/>
                            <a:pt x="69" y="63"/>
                            <a:pt x="69" y="63"/>
                          </a:cubicBezTo>
                          <a:cubicBezTo>
                            <a:pt x="69" y="63"/>
                            <a:pt x="70" y="63"/>
                            <a:pt x="70" y="62"/>
                          </a:cubicBezTo>
                          <a:cubicBezTo>
                            <a:pt x="70" y="62"/>
                            <a:pt x="71" y="62"/>
                            <a:pt x="71" y="62"/>
                          </a:cubicBezTo>
                          <a:cubicBezTo>
                            <a:pt x="71" y="62"/>
                            <a:pt x="70" y="62"/>
                            <a:pt x="70" y="62"/>
                          </a:cubicBezTo>
                          <a:cubicBezTo>
                            <a:pt x="71" y="62"/>
                            <a:pt x="71" y="62"/>
                            <a:pt x="71" y="62"/>
                          </a:cubicBezTo>
                          <a:cubicBezTo>
                            <a:pt x="71" y="62"/>
                            <a:pt x="70" y="62"/>
                            <a:pt x="70" y="62"/>
                          </a:cubicBezTo>
                          <a:cubicBezTo>
                            <a:pt x="70" y="62"/>
                            <a:pt x="70" y="62"/>
                            <a:pt x="70" y="62"/>
                          </a:cubicBezTo>
                          <a:cubicBezTo>
                            <a:pt x="70" y="62"/>
                            <a:pt x="70" y="62"/>
                            <a:pt x="70" y="62"/>
                          </a:cubicBezTo>
                          <a:cubicBezTo>
                            <a:pt x="70" y="62"/>
                            <a:pt x="70" y="62"/>
                            <a:pt x="70" y="62"/>
                          </a:cubicBezTo>
                          <a:cubicBezTo>
                            <a:pt x="70" y="62"/>
                            <a:pt x="70" y="62"/>
                            <a:pt x="70" y="62"/>
                          </a:cubicBezTo>
                          <a:cubicBezTo>
                            <a:pt x="70" y="62"/>
                            <a:pt x="69" y="62"/>
                            <a:pt x="69" y="62"/>
                          </a:cubicBezTo>
                          <a:cubicBezTo>
                            <a:pt x="69" y="62"/>
                            <a:pt x="69" y="62"/>
                            <a:pt x="69" y="62"/>
                          </a:cubicBezTo>
                          <a:cubicBezTo>
                            <a:pt x="69" y="62"/>
                            <a:pt x="70" y="62"/>
                            <a:pt x="70" y="62"/>
                          </a:cubicBezTo>
                          <a:cubicBezTo>
                            <a:pt x="70" y="62"/>
                            <a:pt x="70" y="61"/>
                            <a:pt x="70" y="61"/>
                          </a:cubicBezTo>
                          <a:cubicBezTo>
                            <a:pt x="70" y="61"/>
                            <a:pt x="70" y="61"/>
                            <a:pt x="70" y="61"/>
                          </a:cubicBezTo>
                          <a:cubicBezTo>
                            <a:pt x="70" y="62"/>
                            <a:pt x="71" y="61"/>
                            <a:pt x="70" y="61"/>
                          </a:cubicBezTo>
                          <a:cubicBezTo>
                            <a:pt x="70" y="62"/>
                            <a:pt x="71" y="61"/>
                            <a:pt x="71" y="61"/>
                          </a:cubicBezTo>
                          <a:cubicBezTo>
                            <a:pt x="71" y="61"/>
                            <a:pt x="71" y="61"/>
                            <a:pt x="71" y="62"/>
                          </a:cubicBezTo>
                          <a:cubicBezTo>
                            <a:pt x="71" y="61"/>
                            <a:pt x="71" y="61"/>
                            <a:pt x="71" y="62"/>
                          </a:cubicBezTo>
                          <a:cubicBezTo>
                            <a:pt x="71" y="61"/>
                            <a:pt x="71" y="61"/>
                            <a:pt x="72" y="61"/>
                          </a:cubicBezTo>
                          <a:cubicBezTo>
                            <a:pt x="72" y="61"/>
                            <a:pt x="72" y="61"/>
                            <a:pt x="72" y="61"/>
                          </a:cubicBezTo>
                          <a:cubicBezTo>
                            <a:pt x="72" y="61"/>
                            <a:pt x="72" y="61"/>
                            <a:pt x="72" y="61"/>
                          </a:cubicBezTo>
                          <a:cubicBezTo>
                            <a:pt x="72" y="61"/>
                            <a:pt x="72" y="61"/>
                            <a:pt x="72" y="61"/>
                          </a:cubicBezTo>
                          <a:cubicBezTo>
                            <a:pt x="72" y="61"/>
                            <a:pt x="72" y="61"/>
                            <a:pt x="72" y="61"/>
                          </a:cubicBezTo>
                          <a:cubicBezTo>
                            <a:pt x="71" y="61"/>
                            <a:pt x="71" y="61"/>
                            <a:pt x="71" y="61"/>
                          </a:cubicBezTo>
                          <a:cubicBezTo>
                            <a:pt x="71" y="61"/>
                            <a:pt x="71" y="61"/>
                            <a:pt x="71" y="61"/>
                          </a:cubicBezTo>
                          <a:cubicBezTo>
                            <a:pt x="71" y="61"/>
                            <a:pt x="71" y="61"/>
                            <a:pt x="71" y="61"/>
                          </a:cubicBezTo>
                          <a:cubicBezTo>
                            <a:pt x="71" y="61"/>
                            <a:pt x="71" y="61"/>
                            <a:pt x="71" y="61"/>
                          </a:cubicBezTo>
                          <a:cubicBezTo>
                            <a:pt x="71" y="61"/>
                            <a:pt x="72" y="60"/>
                            <a:pt x="72" y="60"/>
                          </a:cubicBezTo>
                          <a:cubicBezTo>
                            <a:pt x="72" y="60"/>
                            <a:pt x="72" y="60"/>
                            <a:pt x="72" y="60"/>
                          </a:cubicBezTo>
                          <a:cubicBezTo>
                            <a:pt x="72" y="60"/>
                            <a:pt x="72" y="60"/>
                            <a:pt x="72" y="60"/>
                          </a:cubicBezTo>
                          <a:cubicBezTo>
                            <a:pt x="72" y="60"/>
                            <a:pt x="72" y="60"/>
                            <a:pt x="72" y="60"/>
                          </a:cubicBezTo>
                          <a:cubicBezTo>
                            <a:pt x="72" y="60"/>
                            <a:pt x="72" y="60"/>
                            <a:pt x="72" y="60"/>
                          </a:cubicBezTo>
                          <a:cubicBezTo>
                            <a:pt x="72" y="60"/>
                            <a:pt x="72" y="60"/>
                            <a:pt x="72" y="60"/>
                          </a:cubicBezTo>
                          <a:cubicBezTo>
                            <a:pt x="72" y="60"/>
                            <a:pt x="72" y="60"/>
                            <a:pt x="72" y="60"/>
                          </a:cubicBezTo>
                          <a:cubicBezTo>
                            <a:pt x="71" y="60"/>
                            <a:pt x="71" y="60"/>
                            <a:pt x="71" y="60"/>
                          </a:cubicBezTo>
                          <a:cubicBezTo>
                            <a:pt x="71" y="60"/>
                            <a:pt x="71" y="60"/>
                            <a:pt x="71" y="60"/>
                          </a:cubicBezTo>
                          <a:cubicBezTo>
                            <a:pt x="71" y="60"/>
                            <a:pt x="72" y="60"/>
                            <a:pt x="72" y="60"/>
                          </a:cubicBezTo>
                          <a:cubicBezTo>
                            <a:pt x="72" y="60"/>
                            <a:pt x="72" y="59"/>
                            <a:pt x="73" y="59"/>
                          </a:cubicBezTo>
                          <a:cubicBezTo>
                            <a:pt x="73" y="59"/>
                            <a:pt x="73" y="59"/>
                            <a:pt x="73" y="59"/>
                          </a:cubicBezTo>
                          <a:cubicBezTo>
                            <a:pt x="72" y="60"/>
                            <a:pt x="72" y="60"/>
                            <a:pt x="72" y="60"/>
                          </a:cubicBezTo>
                          <a:cubicBezTo>
                            <a:pt x="72" y="60"/>
                            <a:pt x="72" y="60"/>
                            <a:pt x="72" y="60"/>
                          </a:cubicBezTo>
                          <a:cubicBezTo>
                            <a:pt x="73" y="60"/>
                            <a:pt x="73" y="60"/>
                            <a:pt x="73" y="59"/>
                          </a:cubicBezTo>
                          <a:cubicBezTo>
                            <a:pt x="73" y="59"/>
                            <a:pt x="73" y="59"/>
                            <a:pt x="73" y="59"/>
                          </a:cubicBezTo>
                          <a:cubicBezTo>
                            <a:pt x="73" y="59"/>
                            <a:pt x="73" y="59"/>
                            <a:pt x="73" y="59"/>
                          </a:cubicBezTo>
                          <a:cubicBezTo>
                            <a:pt x="73" y="59"/>
                            <a:pt x="73" y="59"/>
                            <a:pt x="74" y="59"/>
                          </a:cubicBezTo>
                          <a:cubicBezTo>
                            <a:pt x="74" y="59"/>
                            <a:pt x="74" y="59"/>
                            <a:pt x="74" y="59"/>
                          </a:cubicBezTo>
                          <a:cubicBezTo>
                            <a:pt x="73" y="59"/>
                            <a:pt x="73" y="59"/>
                            <a:pt x="73" y="59"/>
                          </a:cubicBezTo>
                          <a:cubicBezTo>
                            <a:pt x="74" y="59"/>
                            <a:pt x="74" y="59"/>
                            <a:pt x="74" y="59"/>
                          </a:cubicBezTo>
                          <a:cubicBezTo>
                            <a:pt x="74" y="59"/>
                            <a:pt x="74" y="59"/>
                            <a:pt x="74" y="59"/>
                          </a:cubicBezTo>
                          <a:cubicBezTo>
                            <a:pt x="74" y="59"/>
                            <a:pt x="75" y="59"/>
                            <a:pt x="74" y="59"/>
                          </a:cubicBezTo>
                          <a:cubicBezTo>
                            <a:pt x="75" y="59"/>
                            <a:pt x="75" y="59"/>
                            <a:pt x="75" y="59"/>
                          </a:cubicBezTo>
                          <a:cubicBezTo>
                            <a:pt x="75" y="59"/>
                            <a:pt x="75" y="58"/>
                            <a:pt x="75" y="59"/>
                          </a:cubicBezTo>
                          <a:cubicBezTo>
                            <a:pt x="75" y="59"/>
                            <a:pt x="75" y="59"/>
                            <a:pt x="75" y="59"/>
                          </a:cubicBezTo>
                          <a:cubicBezTo>
                            <a:pt x="74" y="59"/>
                            <a:pt x="75" y="59"/>
                            <a:pt x="75" y="59"/>
                          </a:cubicBezTo>
                          <a:cubicBezTo>
                            <a:pt x="75" y="59"/>
                            <a:pt x="74" y="59"/>
                            <a:pt x="74" y="59"/>
                          </a:cubicBezTo>
                          <a:cubicBezTo>
                            <a:pt x="74" y="60"/>
                            <a:pt x="74" y="59"/>
                            <a:pt x="74" y="60"/>
                          </a:cubicBezTo>
                          <a:cubicBezTo>
                            <a:pt x="75" y="59"/>
                            <a:pt x="75" y="59"/>
                            <a:pt x="75" y="59"/>
                          </a:cubicBezTo>
                          <a:cubicBezTo>
                            <a:pt x="75" y="59"/>
                            <a:pt x="75" y="59"/>
                            <a:pt x="75" y="59"/>
                          </a:cubicBezTo>
                          <a:cubicBezTo>
                            <a:pt x="75" y="59"/>
                            <a:pt x="75" y="59"/>
                            <a:pt x="74" y="59"/>
                          </a:cubicBezTo>
                          <a:cubicBezTo>
                            <a:pt x="75" y="59"/>
                            <a:pt x="75" y="59"/>
                            <a:pt x="75" y="59"/>
                          </a:cubicBezTo>
                          <a:cubicBezTo>
                            <a:pt x="75" y="59"/>
                            <a:pt x="75" y="59"/>
                            <a:pt x="75" y="59"/>
                          </a:cubicBezTo>
                          <a:cubicBezTo>
                            <a:pt x="75" y="59"/>
                            <a:pt x="75" y="59"/>
                            <a:pt x="75" y="59"/>
                          </a:cubicBezTo>
                          <a:cubicBezTo>
                            <a:pt x="75" y="59"/>
                            <a:pt x="75" y="59"/>
                            <a:pt x="75" y="59"/>
                          </a:cubicBezTo>
                          <a:cubicBezTo>
                            <a:pt x="74" y="60"/>
                            <a:pt x="75" y="60"/>
                            <a:pt x="74" y="60"/>
                          </a:cubicBezTo>
                          <a:cubicBezTo>
                            <a:pt x="75" y="60"/>
                            <a:pt x="75" y="60"/>
                            <a:pt x="75" y="60"/>
                          </a:cubicBezTo>
                          <a:cubicBezTo>
                            <a:pt x="75" y="60"/>
                            <a:pt x="75" y="60"/>
                            <a:pt x="75" y="60"/>
                          </a:cubicBezTo>
                          <a:cubicBezTo>
                            <a:pt x="75" y="60"/>
                            <a:pt x="75" y="60"/>
                            <a:pt x="75" y="60"/>
                          </a:cubicBezTo>
                          <a:cubicBezTo>
                            <a:pt x="75" y="60"/>
                            <a:pt x="75" y="60"/>
                            <a:pt x="75" y="59"/>
                          </a:cubicBezTo>
                          <a:cubicBezTo>
                            <a:pt x="75" y="59"/>
                            <a:pt x="76" y="59"/>
                            <a:pt x="75" y="60"/>
                          </a:cubicBezTo>
                          <a:cubicBezTo>
                            <a:pt x="75" y="60"/>
                            <a:pt x="75" y="59"/>
                            <a:pt x="76" y="59"/>
                          </a:cubicBezTo>
                          <a:cubicBezTo>
                            <a:pt x="76" y="59"/>
                            <a:pt x="76" y="59"/>
                            <a:pt x="76" y="59"/>
                          </a:cubicBezTo>
                          <a:cubicBezTo>
                            <a:pt x="76" y="60"/>
                            <a:pt x="76" y="59"/>
                            <a:pt x="75" y="60"/>
                          </a:cubicBezTo>
                          <a:cubicBezTo>
                            <a:pt x="75" y="60"/>
                            <a:pt x="75" y="60"/>
                            <a:pt x="76" y="60"/>
                          </a:cubicBezTo>
                          <a:cubicBezTo>
                            <a:pt x="76" y="60"/>
                            <a:pt x="76" y="60"/>
                            <a:pt x="76" y="60"/>
                          </a:cubicBezTo>
                          <a:cubicBezTo>
                            <a:pt x="76" y="59"/>
                            <a:pt x="76" y="60"/>
                            <a:pt x="76" y="60"/>
                          </a:cubicBezTo>
                          <a:cubicBezTo>
                            <a:pt x="76" y="60"/>
                            <a:pt x="76" y="59"/>
                            <a:pt x="76" y="59"/>
                          </a:cubicBezTo>
                          <a:cubicBezTo>
                            <a:pt x="76" y="59"/>
                            <a:pt x="75" y="59"/>
                            <a:pt x="75" y="59"/>
                          </a:cubicBezTo>
                          <a:cubicBezTo>
                            <a:pt x="76" y="59"/>
                            <a:pt x="76" y="59"/>
                            <a:pt x="76" y="59"/>
                          </a:cubicBezTo>
                          <a:cubicBezTo>
                            <a:pt x="76" y="59"/>
                            <a:pt x="76" y="59"/>
                            <a:pt x="76" y="59"/>
                          </a:cubicBezTo>
                          <a:cubicBezTo>
                            <a:pt x="76" y="59"/>
                            <a:pt x="77" y="59"/>
                            <a:pt x="77" y="58"/>
                          </a:cubicBezTo>
                          <a:cubicBezTo>
                            <a:pt x="77" y="58"/>
                            <a:pt x="77" y="59"/>
                            <a:pt x="77" y="59"/>
                          </a:cubicBezTo>
                          <a:cubicBezTo>
                            <a:pt x="77" y="59"/>
                            <a:pt x="77" y="59"/>
                            <a:pt x="77" y="58"/>
                          </a:cubicBezTo>
                          <a:cubicBezTo>
                            <a:pt x="78" y="59"/>
                            <a:pt x="77" y="59"/>
                            <a:pt x="77" y="59"/>
                          </a:cubicBezTo>
                          <a:cubicBezTo>
                            <a:pt x="78" y="59"/>
                            <a:pt x="78" y="59"/>
                            <a:pt x="78" y="58"/>
                          </a:cubicBezTo>
                          <a:cubicBezTo>
                            <a:pt x="78" y="59"/>
                            <a:pt x="78" y="59"/>
                            <a:pt x="78" y="59"/>
                          </a:cubicBezTo>
                          <a:cubicBezTo>
                            <a:pt x="78" y="59"/>
                            <a:pt x="78" y="59"/>
                            <a:pt x="78" y="59"/>
                          </a:cubicBezTo>
                          <a:cubicBezTo>
                            <a:pt x="78" y="59"/>
                            <a:pt x="78" y="59"/>
                            <a:pt x="78" y="59"/>
                          </a:cubicBezTo>
                          <a:cubicBezTo>
                            <a:pt x="78" y="59"/>
                            <a:pt x="77" y="59"/>
                            <a:pt x="77" y="59"/>
                          </a:cubicBezTo>
                          <a:cubicBezTo>
                            <a:pt x="77" y="59"/>
                            <a:pt x="77" y="59"/>
                            <a:pt x="77" y="59"/>
                          </a:cubicBezTo>
                          <a:cubicBezTo>
                            <a:pt x="77" y="59"/>
                            <a:pt x="77" y="60"/>
                            <a:pt x="76" y="60"/>
                          </a:cubicBezTo>
                          <a:cubicBezTo>
                            <a:pt x="76" y="60"/>
                            <a:pt x="76" y="59"/>
                            <a:pt x="77" y="59"/>
                          </a:cubicBezTo>
                          <a:cubicBezTo>
                            <a:pt x="77" y="59"/>
                            <a:pt x="77" y="60"/>
                            <a:pt x="77" y="59"/>
                          </a:cubicBezTo>
                          <a:cubicBezTo>
                            <a:pt x="77" y="60"/>
                            <a:pt x="76" y="60"/>
                            <a:pt x="76" y="60"/>
                          </a:cubicBezTo>
                          <a:cubicBezTo>
                            <a:pt x="76" y="60"/>
                            <a:pt x="75" y="60"/>
                            <a:pt x="75" y="60"/>
                          </a:cubicBezTo>
                          <a:cubicBezTo>
                            <a:pt x="75" y="60"/>
                            <a:pt x="75" y="61"/>
                            <a:pt x="75" y="61"/>
                          </a:cubicBezTo>
                          <a:cubicBezTo>
                            <a:pt x="75" y="61"/>
                            <a:pt x="75" y="61"/>
                            <a:pt x="75" y="61"/>
                          </a:cubicBezTo>
                          <a:cubicBezTo>
                            <a:pt x="74" y="61"/>
                            <a:pt x="74" y="61"/>
                            <a:pt x="74" y="61"/>
                          </a:cubicBezTo>
                          <a:cubicBezTo>
                            <a:pt x="74" y="61"/>
                            <a:pt x="74" y="61"/>
                            <a:pt x="74" y="61"/>
                          </a:cubicBezTo>
                          <a:cubicBezTo>
                            <a:pt x="74" y="61"/>
                            <a:pt x="74" y="61"/>
                            <a:pt x="74" y="61"/>
                          </a:cubicBezTo>
                          <a:cubicBezTo>
                            <a:pt x="74" y="61"/>
                            <a:pt x="74" y="61"/>
                            <a:pt x="73" y="61"/>
                          </a:cubicBezTo>
                          <a:cubicBezTo>
                            <a:pt x="74" y="61"/>
                            <a:pt x="73" y="61"/>
                            <a:pt x="72" y="61"/>
                          </a:cubicBezTo>
                          <a:cubicBezTo>
                            <a:pt x="73" y="61"/>
                            <a:pt x="73" y="61"/>
                            <a:pt x="73" y="61"/>
                          </a:cubicBezTo>
                          <a:cubicBezTo>
                            <a:pt x="73" y="61"/>
                            <a:pt x="73" y="61"/>
                            <a:pt x="73" y="61"/>
                          </a:cubicBezTo>
                          <a:cubicBezTo>
                            <a:pt x="73" y="61"/>
                            <a:pt x="73" y="61"/>
                            <a:pt x="74" y="61"/>
                          </a:cubicBezTo>
                          <a:cubicBezTo>
                            <a:pt x="74" y="61"/>
                            <a:pt x="74" y="61"/>
                            <a:pt x="73" y="62"/>
                          </a:cubicBezTo>
                          <a:cubicBezTo>
                            <a:pt x="73" y="62"/>
                            <a:pt x="73" y="62"/>
                            <a:pt x="73" y="61"/>
                          </a:cubicBezTo>
                          <a:cubicBezTo>
                            <a:pt x="73" y="61"/>
                            <a:pt x="73" y="62"/>
                            <a:pt x="73" y="61"/>
                          </a:cubicBezTo>
                          <a:cubicBezTo>
                            <a:pt x="73" y="62"/>
                            <a:pt x="73" y="62"/>
                            <a:pt x="73" y="62"/>
                          </a:cubicBezTo>
                          <a:cubicBezTo>
                            <a:pt x="73" y="61"/>
                            <a:pt x="72" y="62"/>
                            <a:pt x="73" y="62"/>
                          </a:cubicBezTo>
                          <a:cubicBezTo>
                            <a:pt x="72" y="62"/>
                            <a:pt x="72" y="62"/>
                            <a:pt x="72" y="62"/>
                          </a:cubicBezTo>
                          <a:cubicBezTo>
                            <a:pt x="72" y="62"/>
                            <a:pt x="72" y="62"/>
                            <a:pt x="72" y="62"/>
                          </a:cubicBezTo>
                          <a:cubicBezTo>
                            <a:pt x="72" y="62"/>
                            <a:pt x="72" y="62"/>
                            <a:pt x="72" y="62"/>
                          </a:cubicBezTo>
                          <a:cubicBezTo>
                            <a:pt x="72" y="62"/>
                            <a:pt x="72" y="62"/>
                            <a:pt x="72" y="62"/>
                          </a:cubicBezTo>
                          <a:cubicBezTo>
                            <a:pt x="72" y="62"/>
                            <a:pt x="72" y="62"/>
                            <a:pt x="73" y="62"/>
                          </a:cubicBezTo>
                          <a:cubicBezTo>
                            <a:pt x="72" y="62"/>
                            <a:pt x="72" y="62"/>
                            <a:pt x="72" y="62"/>
                          </a:cubicBezTo>
                          <a:cubicBezTo>
                            <a:pt x="72" y="62"/>
                            <a:pt x="73" y="62"/>
                            <a:pt x="73" y="62"/>
                          </a:cubicBezTo>
                          <a:cubicBezTo>
                            <a:pt x="73" y="62"/>
                            <a:pt x="73" y="62"/>
                            <a:pt x="73" y="62"/>
                          </a:cubicBezTo>
                          <a:cubicBezTo>
                            <a:pt x="73" y="62"/>
                            <a:pt x="73" y="62"/>
                            <a:pt x="73" y="62"/>
                          </a:cubicBezTo>
                          <a:cubicBezTo>
                            <a:pt x="73" y="62"/>
                            <a:pt x="73" y="62"/>
                            <a:pt x="73" y="62"/>
                          </a:cubicBezTo>
                          <a:cubicBezTo>
                            <a:pt x="73" y="62"/>
                            <a:pt x="73" y="62"/>
                            <a:pt x="74" y="62"/>
                          </a:cubicBezTo>
                          <a:cubicBezTo>
                            <a:pt x="74" y="62"/>
                            <a:pt x="74" y="62"/>
                            <a:pt x="74" y="62"/>
                          </a:cubicBezTo>
                          <a:cubicBezTo>
                            <a:pt x="75" y="62"/>
                            <a:pt x="75" y="61"/>
                            <a:pt x="76" y="61"/>
                          </a:cubicBezTo>
                          <a:cubicBezTo>
                            <a:pt x="76" y="61"/>
                            <a:pt x="77" y="61"/>
                            <a:pt x="77" y="60"/>
                          </a:cubicBezTo>
                          <a:cubicBezTo>
                            <a:pt x="77" y="60"/>
                            <a:pt x="77" y="60"/>
                            <a:pt x="77" y="60"/>
                          </a:cubicBezTo>
                          <a:cubicBezTo>
                            <a:pt x="78" y="60"/>
                            <a:pt x="78" y="60"/>
                            <a:pt x="78" y="60"/>
                          </a:cubicBezTo>
                          <a:cubicBezTo>
                            <a:pt x="78" y="60"/>
                            <a:pt x="77" y="60"/>
                            <a:pt x="77" y="60"/>
                          </a:cubicBezTo>
                          <a:cubicBezTo>
                            <a:pt x="78" y="60"/>
                            <a:pt x="78" y="60"/>
                            <a:pt x="78" y="60"/>
                          </a:cubicBezTo>
                          <a:cubicBezTo>
                            <a:pt x="78" y="60"/>
                            <a:pt x="78" y="60"/>
                            <a:pt x="78" y="60"/>
                          </a:cubicBezTo>
                          <a:cubicBezTo>
                            <a:pt x="78" y="60"/>
                            <a:pt x="78" y="60"/>
                            <a:pt x="77" y="60"/>
                          </a:cubicBezTo>
                          <a:cubicBezTo>
                            <a:pt x="77" y="60"/>
                            <a:pt x="77" y="60"/>
                            <a:pt x="77" y="60"/>
                          </a:cubicBezTo>
                          <a:cubicBezTo>
                            <a:pt x="77" y="60"/>
                            <a:pt x="76" y="61"/>
                            <a:pt x="76" y="61"/>
                          </a:cubicBezTo>
                          <a:cubicBezTo>
                            <a:pt x="76" y="61"/>
                            <a:pt x="76" y="61"/>
                            <a:pt x="76" y="61"/>
                          </a:cubicBezTo>
                          <a:cubicBezTo>
                            <a:pt x="75" y="62"/>
                            <a:pt x="73" y="62"/>
                            <a:pt x="72" y="63"/>
                          </a:cubicBezTo>
                          <a:cubicBezTo>
                            <a:pt x="72" y="64"/>
                            <a:pt x="72" y="63"/>
                            <a:pt x="72" y="64"/>
                          </a:cubicBezTo>
                          <a:cubicBezTo>
                            <a:pt x="72" y="64"/>
                            <a:pt x="71" y="64"/>
                            <a:pt x="72" y="64"/>
                          </a:cubicBezTo>
                          <a:cubicBezTo>
                            <a:pt x="72" y="64"/>
                            <a:pt x="72" y="64"/>
                            <a:pt x="72" y="64"/>
                          </a:cubicBezTo>
                          <a:cubicBezTo>
                            <a:pt x="73" y="63"/>
                            <a:pt x="73" y="63"/>
                            <a:pt x="73" y="64"/>
                          </a:cubicBezTo>
                          <a:cubicBezTo>
                            <a:pt x="73" y="64"/>
                            <a:pt x="72" y="64"/>
                            <a:pt x="72" y="64"/>
                          </a:cubicBezTo>
                          <a:cubicBezTo>
                            <a:pt x="72" y="64"/>
                            <a:pt x="72" y="64"/>
                            <a:pt x="72" y="64"/>
                          </a:cubicBezTo>
                          <a:cubicBezTo>
                            <a:pt x="73" y="64"/>
                            <a:pt x="73" y="64"/>
                            <a:pt x="74" y="63"/>
                          </a:cubicBezTo>
                          <a:cubicBezTo>
                            <a:pt x="74" y="64"/>
                            <a:pt x="75" y="63"/>
                            <a:pt x="74" y="63"/>
                          </a:cubicBezTo>
                          <a:cubicBezTo>
                            <a:pt x="74" y="63"/>
                            <a:pt x="75" y="63"/>
                            <a:pt x="74" y="63"/>
                          </a:cubicBezTo>
                          <a:cubicBezTo>
                            <a:pt x="75" y="63"/>
                            <a:pt x="74" y="64"/>
                            <a:pt x="74" y="63"/>
                          </a:cubicBezTo>
                          <a:cubicBezTo>
                            <a:pt x="74" y="64"/>
                            <a:pt x="73" y="64"/>
                            <a:pt x="74" y="64"/>
                          </a:cubicBezTo>
                          <a:cubicBezTo>
                            <a:pt x="73" y="64"/>
                            <a:pt x="73" y="64"/>
                            <a:pt x="73" y="64"/>
                          </a:cubicBezTo>
                          <a:cubicBezTo>
                            <a:pt x="73" y="64"/>
                            <a:pt x="73" y="64"/>
                            <a:pt x="73" y="64"/>
                          </a:cubicBezTo>
                          <a:cubicBezTo>
                            <a:pt x="73" y="64"/>
                            <a:pt x="73" y="64"/>
                            <a:pt x="72" y="65"/>
                          </a:cubicBezTo>
                          <a:cubicBezTo>
                            <a:pt x="72" y="65"/>
                            <a:pt x="72" y="65"/>
                            <a:pt x="72" y="65"/>
                          </a:cubicBezTo>
                          <a:cubicBezTo>
                            <a:pt x="73" y="65"/>
                            <a:pt x="73" y="64"/>
                            <a:pt x="73" y="64"/>
                          </a:cubicBezTo>
                          <a:cubicBezTo>
                            <a:pt x="73" y="65"/>
                            <a:pt x="72" y="65"/>
                            <a:pt x="72" y="65"/>
                          </a:cubicBezTo>
                          <a:cubicBezTo>
                            <a:pt x="72" y="65"/>
                            <a:pt x="72" y="65"/>
                            <a:pt x="72" y="65"/>
                          </a:cubicBezTo>
                          <a:cubicBezTo>
                            <a:pt x="72" y="65"/>
                            <a:pt x="72" y="65"/>
                            <a:pt x="72" y="65"/>
                          </a:cubicBezTo>
                          <a:cubicBezTo>
                            <a:pt x="72" y="65"/>
                            <a:pt x="72" y="65"/>
                            <a:pt x="73" y="65"/>
                          </a:cubicBezTo>
                          <a:cubicBezTo>
                            <a:pt x="73" y="65"/>
                            <a:pt x="73" y="65"/>
                            <a:pt x="73" y="65"/>
                          </a:cubicBezTo>
                          <a:cubicBezTo>
                            <a:pt x="74" y="65"/>
                            <a:pt x="74" y="65"/>
                            <a:pt x="74" y="65"/>
                          </a:cubicBezTo>
                          <a:cubicBezTo>
                            <a:pt x="74" y="65"/>
                            <a:pt x="74" y="65"/>
                            <a:pt x="74" y="65"/>
                          </a:cubicBezTo>
                          <a:cubicBezTo>
                            <a:pt x="74" y="65"/>
                            <a:pt x="73" y="65"/>
                            <a:pt x="73" y="65"/>
                          </a:cubicBezTo>
                          <a:cubicBezTo>
                            <a:pt x="73" y="65"/>
                            <a:pt x="73" y="65"/>
                            <a:pt x="73" y="65"/>
                          </a:cubicBezTo>
                          <a:cubicBezTo>
                            <a:pt x="73" y="66"/>
                            <a:pt x="74" y="65"/>
                            <a:pt x="74" y="65"/>
                          </a:cubicBezTo>
                          <a:cubicBezTo>
                            <a:pt x="74" y="66"/>
                            <a:pt x="74" y="66"/>
                            <a:pt x="74" y="66"/>
                          </a:cubicBezTo>
                          <a:cubicBezTo>
                            <a:pt x="74" y="66"/>
                            <a:pt x="73" y="66"/>
                            <a:pt x="73" y="66"/>
                          </a:cubicBezTo>
                          <a:cubicBezTo>
                            <a:pt x="73" y="67"/>
                            <a:pt x="73" y="66"/>
                            <a:pt x="73" y="67"/>
                          </a:cubicBezTo>
                          <a:cubicBezTo>
                            <a:pt x="72" y="67"/>
                            <a:pt x="72" y="67"/>
                            <a:pt x="72" y="67"/>
                          </a:cubicBezTo>
                          <a:cubicBezTo>
                            <a:pt x="72" y="67"/>
                            <a:pt x="73" y="67"/>
                            <a:pt x="72" y="67"/>
                          </a:cubicBezTo>
                          <a:cubicBezTo>
                            <a:pt x="72" y="67"/>
                            <a:pt x="72" y="67"/>
                            <a:pt x="72" y="67"/>
                          </a:cubicBezTo>
                          <a:cubicBezTo>
                            <a:pt x="71" y="68"/>
                            <a:pt x="72" y="67"/>
                            <a:pt x="71" y="67"/>
                          </a:cubicBezTo>
                          <a:cubicBezTo>
                            <a:pt x="71" y="67"/>
                            <a:pt x="71" y="67"/>
                            <a:pt x="71" y="67"/>
                          </a:cubicBezTo>
                          <a:cubicBezTo>
                            <a:pt x="72" y="67"/>
                            <a:pt x="71" y="67"/>
                            <a:pt x="72" y="67"/>
                          </a:cubicBezTo>
                          <a:cubicBezTo>
                            <a:pt x="71" y="67"/>
                            <a:pt x="72" y="66"/>
                            <a:pt x="71" y="67"/>
                          </a:cubicBezTo>
                          <a:cubicBezTo>
                            <a:pt x="71" y="67"/>
                            <a:pt x="71" y="67"/>
                            <a:pt x="72" y="66"/>
                          </a:cubicBezTo>
                          <a:cubicBezTo>
                            <a:pt x="71" y="66"/>
                            <a:pt x="71" y="67"/>
                            <a:pt x="71" y="67"/>
                          </a:cubicBezTo>
                          <a:cubicBezTo>
                            <a:pt x="71" y="66"/>
                            <a:pt x="71" y="67"/>
                            <a:pt x="70" y="67"/>
                          </a:cubicBezTo>
                          <a:cubicBezTo>
                            <a:pt x="70" y="66"/>
                            <a:pt x="70" y="66"/>
                            <a:pt x="71" y="66"/>
                          </a:cubicBezTo>
                          <a:cubicBezTo>
                            <a:pt x="70" y="66"/>
                            <a:pt x="70" y="67"/>
                            <a:pt x="69" y="67"/>
                          </a:cubicBezTo>
                          <a:cubicBezTo>
                            <a:pt x="69" y="66"/>
                            <a:pt x="70" y="66"/>
                            <a:pt x="70" y="66"/>
                          </a:cubicBezTo>
                          <a:cubicBezTo>
                            <a:pt x="70" y="66"/>
                            <a:pt x="69" y="67"/>
                            <a:pt x="69" y="67"/>
                          </a:cubicBezTo>
                          <a:cubicBezTo>
                            <a:pt x="69" y="66"/>
                            <a:pt x="69" y="66"/>
                            <a:pt x="69" y="66"/>
                          </a:cubicBezTo>
                          <a:cubicBezTo>
                            <a:pt x="70" y="66"/>
                            <a:pt x="70" y="66"/>
                            <a:pt x="70" y="66"/>
                          </a:cubicBezTo>
                          <a:cubicBezTo>
                            <a:pt x="70" y="66"/>
                            <a:pt x="70" y="66"/>
                            <a:pt x="70" y="66"/>
                          </a:cubicBezTo>
                          <a:cubicBezTo>
                            <a:pt x="70" y="66"/>
                            <a:pt x="70" y="66"/>
                            <a:pt x="70" y="66"/>
                          </a:cubicBezTo>
                          <a:cubicBezTo>
                            <a:pt x="70" y="66"/>
                            <a:pt x="70" y="65"/>
                            <a:pt x="70" y="65"/>
                          </a:cubicBezTo>
                          <a:cubicBezTo>
                            <a:pt x="70" y="65"/>
                            <a:pt x="70" y="65"/>
                            <a:pt x="70" y="65"/>
                          </a:cubicBezTo>
                          <a:cubicBezTo>
                            <a:pt x="71" y="65"/>
                            <a:pt x="71" y="65"/>
                            <a:pt x="71" y="65"/>
                          </a:cubicBezTo>
                          <a:cubicBezTo>
                            <a:pt x="71" y="65"/>
                            <a:pt x="71" y="65"/>
                            <a:pt x="71" y="65"/>
                          </a:cubicBezTo>
                          <a:cubicBezTo>
                            <a:pt x="71" y="65"/>
                            <a:pt x="70" y="65"/>
                            <a:pt x="70" y="65"/>
                          </a:cubicBezTo>
                          <a:cubicBezTo>
                            <a:pt x="70" y="65"/>
                            <a:pt x="71" y="65"/>
                            <a:pt x="70" y="65"/>
                          </a:cubicBezTo>
                          <a:cubicBezTo>
                            <a:pt x="71" y="65"/>
                            <a:pt x="69" y="65"/>
                            <a:pt x="70" y="65"/>
                          </a:cubicBezTo>
                          <a:cubicBezTo>
                            <a:pt x="69" y="65"/>
                            <a:pt x="69" y="65"/>
                            <a:pt x="69" y="66"/>
                          </a:cubicBezTo>
                          <a:cubicBezTo>
                            <a:pt x="69" y="65"/>
                            <a:pt x="69" y="66"/>
                            <a:pt x="69" y="65"/>
                          </a:cubicBezTo>
                          <a:cubicBezTo>
                            <a:pt x="69" y="66"/>
                            <a:pt x="69" y="66"/>
                            <a:pt x="69" y="66"/>
                          </a:cubicBezTo>
                          <a:cubicBezTo>
                            <a:pt x="69" y="66"/>
                            <a:pt x="69" y="66"/>
                            <a:pt x="69" y="66"/>
                          </a:cubicBezTo>
                          <a:cubicBezTo>
                            <a:pt x="68" y="66"/>
                            <a:pt x="69" y="65"/>
                            <a:pt x="68" y="66"/>
                          </a:cubicBezTo>
                          <a:cubicBezTo>
                            <a:pt x="68" y="65"/>
                            <a:pt x="69" y="65"/>
                            <a:pt x="69" y="65"/>
                          </a:cubicBezTo>
                          <a:cubicBezTo>
                            <a:pt x="70" y="65"/>
                            <a:pt x="70" y="65"/>
                            <a:pt x="70" y="65"/>
                          </a:cubicBezTo>
                          <a:cubicBezTo>
                            <a:pt x="70" y="65"/>
                            <a:pt x="70" y="65"/>
                            <a:pt x="70" y="65"/>
                          </a:cubicBezTo>
                          <a:cubicBezTo>
                            <a:pt x="70" y="65"/>
                            <a:pt x="70" y="65"/>
                            <a:pt x="70" y="64"/>
                          </a:cubicBezTo>
                          <a:cubicBezTo>
                            <a:pt x="70" y="64"/>
                            <a:pt x="70" y="64"/>
                            <a:pt x="70" y="64"/>
                          </a:cubicBezTo>
                          <a:cubicBezTo>
                            <a:pt x="70" y="64"/>
                            <a:pt x="71" y="64"/>
                            <a:pt x="71" y="64"/>
                          </a:cubicBezTo>
                          <a:cubicBezTo>
                            <a:pt x="70" y="64"/>
                            <a:pt x="70" y="64"/>
                            <a:pt x="71" y="64"/>
                          </a:cubicBezTo>
                          <a:close/>
                          <a:moveTo>
                            <a:pt x="72" y="67"/>
                          </a:moveTo>
                          <a:cubicBezTo>
                            <a:pt x="72" y="67"/>
                            <a:pt x="72" y="67"/>
                            <a:pt x="72" y="67"/>
                          </a:cubicBezTo>
                          <a:cubicBezTo>
                            <a:pt x="72" y="67"/>
                            <a:pt x="72" y="67"/>
                            <a:pt x="72" y="67"/>
                          </a:cubicBezTo>
                          <a:cubicBezTo>
                            <a:pt x="72" y="67"/>
                            <a:pt x="72" y="67"/>
                            <a:pt x="72" y="67"/>
                          </a:cubicBezTo>
                          <a:close/>
                          <a:moveTo>
                            <a:pt x="72" y="66"/>
                          </a:moveTo>
                          <a:cubicBezTo>
                            <a:pt x="72" y="66"/>
                            <a:pt x="72" y="67"/>
                            <a:pt x="72" y="67"/>
                          </a:cubicBezTo>
                          <a:cubicBezTo>
                            <a:pt x="72" y="67"/>
                            <a:pt x="72" y="66"/>
                            <a:pt x="73" y="66"/>
                          </a:cubicBezTo>
                          <a:cubicBezTo>
                            <a:pt x="73" y="66"/>
                            <a:pt x="73" y="66"/>
                            <a:pt x="73" y="66"/>
                          </a:cubicBezTo>
                          <a:cubicBezTo>
                            <a:pt x="73" y="66"/>
                            <a:pt x="73" y="66"/>
                            <a:pt x="73" y="66"/>
                          </a:cubicBezTo>
                          <a:cubicBezTo>
                            <a:pt x="73" y="66"/>
                            <a:pt x="72" y="66"/>
                            <a:pt x="72" y="66"/>
                          </a:cubicBezTo>
                          <a:cubicBezTo>
                            <a:pt x="72" y="66"/>
                            <a:pt x="72" y="66"/>
                            <a:pt x="72" y="66"/>
                          </a:cubicBezTo>
                          <a:cubicBezTo>
                            <a:pt x="72" y="66"/>
                            <a:pt x="72" y="66"/>
                            <a:pt x="72" y="66"/>
                          </a:cubicBezTo>
                          <a:close/>
                          <a:moveTo>
                            <a:pt x="72" y="65"/>
                          </a:moveTo>
                          <a:cubicBezTo>
                            <a:pt x="72" y="66"/>
                            <a:pt x="72" y="65"/>
                            <a:pt x="72" y="65"/>
                          </a:cubicBezTo>
                          <a:cubicBezTo>
                            <a:pt x="72" y="65"/>
                            <a:pt x="72" y="65"/>
                            <a:pt x="72" y="65"/>
                          </a:cubicBezTo>
                          <a:close/>
                          <a:moveTo>
                            <a:pt x="71" y="64"/>
                          </a:moveTo>
                          <a:cubicBezTo>
                            <a:pt x="71" y="65"/>
                            <a:pt x="71" y="65"/>
                            <a:pt x="71" y="65"/>
                          </a:cubicBezTo>
                          <a:cubicBezTo>
                            <a:pt x="71" y="65"/>
                            <a:pt x="71" y="65"/>
                            <a:pt x="71" y="65"/>
                          </a:cubicBezTo>
                          <a:cubicBezTo>
                            <a:pt x="71" y="65"/>
                            <a:pt x="71" y="65"/>
                            <a:pt x="71" y="64"/>
                          </a:cubicBezTo>
                          <a:close/>
                          <a:moveTo>
                            <a:pt x="76" y="60"/>
                          </a:moveTo>
                          <a:cubicBezTo>
                            <a:pt x="77" y="59"/>
                            <a:pt x="77" y="59"/>
                            <a:pt x="77" y="59"/>
                          </a:cubicBezTo>
                          <a:cubicBezTo>
                            <a:pt x="77" y="59"/>
                            <a:pt x="77" y="59"/>
                            <a:pt x="77" y="59"/>
                          </a:cubicBezTo>
                          <a:cubicBezTo>
                            <a:pt x="76" y="59"/>
                            <a:pt x="77" y="59"/>
                            <a:pt x="76" y="59"/>
                          </a:cubicBezTo>
                          <a:cubicBezTo>
                            <a:pt x="76" y="59"/>
                            <a:pt x="77" y="59"/>
                            <a:pt x="77" y="59"/>
                          </a:cubicBezTo>
                          <a:cubicBezTo>
                            <a:pt x="76" y="59"/>
                            <a:pt x="76" y="59"/>
                            <a:pt x="76" y="59"/>
                          </a:cubicBezTo>
                          <a:cubicBezTo>
                            <a:pt x="76" y="59"/>
                            <a:pt x="76" y="59"/>
                            <a:pt x="76" y="60"/>
                          </a:cubicBezTo>
                          <a:close/>
                          <a:moveTo>
                            <a:pt x="74" y="61"/>
                          </a:moveTo>
                          <a:cubicBezTo>
                            <a:pt x="74" y="61"/>
                            <a:pt x="74" y="61"/>
                            <a:pt x="74" y="61"/>
                          </a:cubicBezTo>
                          <a:cubicBezTo>
                            <a:pt x="74" y="61"/>
                            <a:pt x="74" y="61"/>
                            <a:pt x="74" y="61"/>
                          </a:cubicBezTo>
                          <a:cubicBezTo>
                            <a:pt x="74" y="61"/>
                            <a:pt x="74" y="61"/>
                            <a:pt x="74" y="61"/>
                          </a:cubicBezTo>
                          <a:close/>
                          <a:moveTo>
                            <a:pt x="75" y="60"/>
                          </a:moveTo>
                          <a:cubicBezTo>
                            <a:pt x="75" y="60"/>
                            <a:pt x="75" y="61"/>
                            <a:pt x="74" y="61"/>
                          </a:cubicBezTo>
                          <a:cubicBezTo>
                            <a:pt x="75" y="61"/>
                            <a:pt x="75" y="61"/>
                            <a:pt x="75" y="61"/>
                          </a:cubicBezTo>
                          <a:cubicBezTo>
                            <a:pt x="75" y="60"/>
                            <a:pt x="75" y="60"/>
                            <a:pt x="75" y="60"/>
                          </a:cubicBezTo>
                          <a:close/>
                          <a:moveTo>
                            <a:pt x="75" y="60"/>
                          </a:moveTo>
                          <a:cubicBezTo>
                            <a:pt x="74" y="60"/>
                            <a:pt x="74" y="61"/>
                            <a:pt x="74" y="61"/>
                          </a:cubicBezTo>
                          <a:cubicBezTo>
                            <a:pt x="74" y="61"/>
                            <a:pt x="74" y="61"/>
                            <a:pt x="74" y="61"/>
                          </a:cubicBezTo>
                          <a:cubicBezTo>
                            <a:pt x="74" y="61"/>
                            <a:pt x="74" y="61"/>
                            <a:pt x="74" y="61"/>
                          </a:cubicBezTo>
                          <a:cubicBezTo>
                            <a:pt x="75" y="60"/>
                            <a:pt x="75" y="60"/>
                            <a:pt x="75" y="60"/>
                          </a:cubicBezTo>
                          <a:close/>
                          <a:moveTo>
                            <a:pt x="70" y="62"/>
                          </a:moveTo>
                          <a:cubicBezTo>
                            <a:pt x="70" y="62"/>
                            <a:pt x="69" y="62"/>
                            <a:pt x="69" y="62"/>
                          </a:cubicBezTo>
                          <a:cubicBezTo>
                            <a:pt x="70" y="62"/>
                            <a:pt x="70" y="62"/>
                            <a:pt x="70" y="62"/>
                          </a:cubicBezTo>
                          <a:cubicBezTo>
                            <a:pt x="70" y="62"/>
                            <a:pt x="70" y="62"/>
                            <a:pt x="70" y="62"/>
                          </a:cubicBezTo>
                          <a:close/>
                          <a:moveTo>
                            <a:pt x="74" y="60"/>
                          </a:moveTo>
                          <a:cubicBezTo>
                            <a:pt x="73" y="60"/>
                            <a:pt x="73" y="60"/>
                            <a:pt x="73" y="60"/>
                          </a:cubicBezTo>
                          <a:cubicBezTo>
                            <a:pt x="73" y="60"/>
                            <a:pt x="73" y="60"/>
                            <a:pt x="73" y="61"/>
                          </a:cubicBezTo>
                          <a:cubicBezTo>
                            <a:pt x="73" y="61"/>
                            <a:pt x="74" y="60"/>
                            <a:pt x="74" y="60"/>
                          </a:cubicBezTo>
                          <a:cubicBezTo>
                            <a:pt x="74" y="60"/>
                            <a:pt x="74" y="60"/>
                            <a:pt x="74" y="60"/>
                          </a:cubicBezTo>
                          <a:cubicBezTo>
                            <a:pt x="74" y="60"/>
                            <a:pt x="74" y="60"/>
                            <a:pt x="74" y="60"/>
                          </a:cubicBezTo>
                          <a:cubicBezTo>
                            <a:pt x="74" y="60"/>
                            <a:pt x="74" y="60"/>
                            <a:pt x="74" y="60"/>
                          </a:cubicBezTo>
                          <a:close/>
                          <a:moveTo>
                            <a:pt x="73" y="61"/>
                          </a:moveTo>
                          <a:cubicBezTo>
                            <a:pt x="73" y="61"/>
                            <a:pt x="73" y="61"/>
                            <a:pt x="73" y="60"/>
                          </a:cubicBezTo>
                          <a:cubicBezTo>
                            <a:pt x="73" y="60"/>
                            <a:pt x="73" y="60"/>
                            <a:pt x="74" y="60"/>
                          </a:cubicBezTo>
                          <a:cubicBezTo>
                            <a:pt x="74" y="60"/>
                            <a:pt x="73" y="60"/>
                            <a:pt x="73" y="60"/>
                          </a:cubicBezTo>
                          <a:cubicBezTo>
                            <a:pt x="73" y="60"/>
                            <a:pt x="72" y="60"/>
                            <a:pt x="72" y="60"/>
                          </a:cubicBezTo>
                          <a:cubicBezTo>
                            <a:pt x="73" y="60"/>
                            <a:pt x="72" y="61"/>
                            <a:pt x="72" y="60"/>
                          </a:cubicBezTo>
                          <a:cubicBezTo>
                            <a:pt x="72" y="61"/>
                            <a:pt x="72" y="61"/>
                            <a:pt x="73" y="61"/>
                          </a:cubicBezTo>
                          <a:cubicBezTo>
                            <a:pt x="72" y="61"/>
                            <a:pt x="72" y="61"/>
                            <a:pt x="72" y="61"/>
                          </a:cubicBezTo>
                          <a:cubicBezTo>
                            <a:pt x="73" y="60"/>
                            <a:pt x="73" y="61"/>
                            <a:pt x="72" y="61"/>
                          </a:cubicBezTo>
                          <a:cubicBezTo>
                            <a:pt x="73" y="60"/>
                            <a:pt x="72" y="61"/>
                            <a:pt x="73" y="61"/>
                          </a:cubicBezTo>
                          <a:close/>
                          <a:moveTo>
                            <a:pt x="70" y="62"/>
                          </a:moveTo>
                          <a:cubicBezTo>
                            <a:pt x="70" y="62"/>
                            <a:pt x="70" y="63"/>
                            <a:pt x="70" y="63"/>
                          </a:cubicBezTo>
                          <a:cubicBezTo>
                            <a:pt x="70" y="63"/>
                            <a:pt x="70" y="62"/>
                            <a:pt x="70" y="62"/>
                          </a:cubicBezTo>
                          <a:close/>
                          <a:moveTo>
                            <a:pt x="73" y="62"/>
                          </a:moveTo>
                          <a:cubicBezTo>
                            <a:pt x="73" y="63"/>
                            <a:pt x="73" y="62"/>
                            <a:pt x="73" y="63"/>
                          </a:cubicBezTo>
                          <a:cubicBezTo>
                            <a:pt x="73" y="62"/>
                            <a:pt x="73" y="62"/>
                            <a:pt x="73" y="62"/>
                          </a:cubicBezTo>
                          <a:cubicBezTo>
                            <a:pt x="73" y="63"/>
                            <a:pt x="73" y="62"/>
                            <a:pt x="73" y="62"/>
                          </a:cubicBezTo>
                          <a:close/>
                          <a:moveTo>
                            <a:pt x="72" y="63"/>
                          </a:moveTo>
                          <a:cubicBezTo>
                            <a:pt x="72" y="63"/>
                            <a:pt x="72" y="63"/>
                            <a:pt x="72" y="63"/>
                          </a:cubicBezTo>
                          <a:cubicBezTo>
                            <a:pt x="72" y="63"/>
                            <a:pt x="72" y="63"/>
                            <a:pt x="72" y="63"/>
                          </a:cubicBezTo>
                          <a:cubicBezTo>
                            <a:pt x="72" y="63"/>
                            <a:pt x="72" y="63"/>
                            <a:pt x="72" y="63"/>
                          </a:cubicBezTo>
                          <a:cubicBezTo>
                            <a:pt x="72" y="63"/>
                            <a:pt x="72" y="63"/>
                            <a:pt x="72" y="63"/>
                          </a:cubicBezTo>
                          <a:cubicBezTo>
                            <a:pt x="72" y="63"/>
                            <a:pt x="73" y="63"/>
                            <a:pt x="72" y="63"/>
                          </a:cubicBezTo>
                          <a:cubicBezTo>
                            <a:pt x="72" y="63"/>
                            <a:pt x="72" y="63"/>
                            <a:pt x="72" y="63"/>
                          </a:cubicBezTo>
                          <a:cubicBezTo>
                            <a:pt x="72" y="63"/>
                            <a:pt x="72" y="63"/>
                            <a:pt x="72" y="63"/>
                          </a:cubicBezTo>
                          <a:cubicBezTo>
                            <a:pt x="72" y="63"/>
                            <a:pt x="72" y="63"/>
                            <a:pt x="72" y="63"/>
                          </a:cubicBezTo>
                          <a:close/>
                          <a:moveTo>
                            <a:pt x="70" y="64"/>
                          </a:moveTo>
                          <a:cubicBezTo>
                            <a:pt x="70" y="64"/>
                            <a:pt x="70" y="64"/>
                            <a:pt x="70" y="64"/>
                          </a:cubicBezTo>
                          <a:cubicBezTo>
                            <a:pt x="70" y="64"/>
                            <a:pt x="70" y="64"/>
                            <a:pt x="70" y="63"/>
                          </a:cubicBezTo>
                          <a:cubicBezTo>
                            <a:pt x="70" y="63"/>
                            <a:pt x="70" y="63"/>
                            <a:pt x="70" y="64"/>
                          </a:cubicBezTo>
                          <a:cubicBezTo>
                            <a:pt x="70" y="64"/>
                            <a:pt x="70" y="63"/>
                            <a:pt x="70" y="64"/>
                          </a:cubicBezTo>
                          <a:close/>
                          <a:moveTo>
                            <a:pt x="70" y="63"/>
                          </a:moveTo>
                          <a:cubicBezTo>
                            <a:pt x="71" y="63"/>
                            <a:pt x="70" y="63"/>
                            <a:pt x="70" y="63"/>
                          </a:cubicBezTo>
                          <a:cubicBezTo>
                            <a:pt x="71" y="63"/>
                            <a:pt x="71" y="63"/>
                            <a:pt x="71" y="63"/>
                          </a:cubicBezTo>
                          <a:cubicBezTo>
                            <a:pt x="71" y="63"/>
                            <a:pt x="71" y="63"/>
                            <a:pt x="71" y="63"/>
                          </a:cubicBezTo>
                          <a:cubicBezTo>
                            <a:pt x="71" y="63"/>
                            <a:pt x="71" y="63"/>
                            <a:pt x="71" y="63"/>
                          </a:cubicBezTo>
                          <a:cubicBezTo>
                            <a:pt x="71" y="63"/>
                            <a:pt x="71" y="63"/>
                            <a:pt x="71" y="63"/>
                          </a:cubicBezTo>
                          <a:cubicBezTo>
                            <a:pt x="71" y="63"/>
                            <a:pt x="71" y="63"/>
                            <a:pt x="70" y="63"/>
                          </a:cubicBezTo>
                          <a:close/>
                          <a:moveTo>
                            <a:pt x="70" y="63"/>
                          </a:moveTo>
                          <a:cubicBezTo>
                            <a:pt x="70" y="63"/>
                            <a:pt x="70" y="63"/>
                            <a:pt x="70" y="63"/>
                          </a:cubicBezTo>
                          <a:cubicBezTo>
                            <a:pt x="71" y="63"/>
                            <a:pt x="71" y="63"/>
                            <a:pt x="71" y="63"/>
                          </a:cubicBezTo>
                          <a:cubicBezTo>
                            <a:pt x="71" y="63"/>
                            <a:pt x="70" y="63"/>
                            <a:pt x="70" y="63"/>
                          </a:cubicBezTo>
                          <a:close/>
                          <a:moveTo>
                            <a:pt x="70" y="63"/>
                          </a:moveTo>
                          <a:cubicBezTo>
                            <a:pt x="70" y="63"/>
                            <a:pt x="70" y="63"/>
                            <a:pt x="70" y="63"/>
                          </a:cubicBezTo>
                          <a:cubicBezTo>
                            <a:pt x="70" y="63"/>
                            <a:pt x="70" y="63"/>
                            <a:pt x="70" y="63"/>
                          </a:cubicBezTo>
                          <a:cubicBezTo>
                            <a:pt x="70" y="63"/>
                            <a:pt x="70" y="63"/>
                            <a:pt x="70" y="63"/>
                          </a:cubicBezTo>
                          <a:cubicBezTo>
                            <a:pt x="70" y="63"/>
                            <a:pt x="70" y="63"/>
                            <a:pt x="70" y="63"/>
                          </a:cubicBezTo>
                          <a:cubicBezTo>
                            <a:pt x="70" y="63"/>
                            <a:pt x="69" y="63"/>
                            <a:pt x="69" y="64"/>
                          </a:cubicBezTo>
                          <a:cubicBezTo>
                            <a:pt x="69" y="64"/>
                            <a:pt x="69" y="63"/>
                            <a:pt x="69" y="63"/>
                          </a:cubicBezTo>
                          <a:cubicBezTo>
                            <a:pt x="69" y="64"/>
                            <a:pt x="69" y="64"/>
                            <a:pt x="69" y="64"/>
                          </a:cubicBezTo>
                          <a:cubicBezTo>
                            <a:pt x="69" y="64"/>
                            <a:pt x="69" y="64"/>
                            <a:pt x="69" y="64"/>
                          </a:cubicBezTo>
                          <a:cubicBezTo>
                            <a:pt x="69" y="64"/>
                            <a:pt x="69" y="64"/>
                            <a:pt x="69" y="64"/>
                          </a:cubicBezTo>
                          <a:cubicBezTo>
                            <a:pt x="70" y="64"/>
                            <a:pt x="69" y="64"/>
                            <a:pt x="70" y="63"/>
                          </a:cubicBezTo>
                          <a:close/>
                          <a:moveTo>
                            <a:pt x="70" y="64"/>
                          </a:moveTo>
                          <a:cubicBezTo>
                            <a:pt x="70" y="64"/>
                            <a:pt x="69" y="64"/>
                            <a:pt x="69" y="64"/>
                          </a:cubicBezTo>
                          <a:cubicBezTo>
                            <a:pt x="69" y="64"/>
                            <a:pt x="70" y="64"/>
                            <a:pt x="70" y="64"/>
                          </a:cubicBezTo>
                          <a:close/>
                          <a:moveTo>
                            <a:pt x="72" y="63"/>
                          </a:moveTo>
                          <a:cubicBezTo>
                            <a:pt x="71" y="63"/>
                            <a:pt x="71" y="63"/>
                            <a:pt x="71" y="63"/>
                          </a:cubicBezTo>
                          <a:cubicBezTo>
                            <a:pt x="72" y="63"/>
                            <a:pt x="72" y="63"/>
                            <a:pt x="72" y="63"/>
                          </a:cubicBezTo>
                          <a:cubicBezTo>
                            <a:pt x="72" y="63"/>
                            <a:pt x="71" y="63"/>
                            <a:pt x="71" y="63"/>
                          </a:cubicBezTo>
                          <a:cubicBezTo>
                            <a:pt x="71" y="63"/>
                            <a:pt x="72" y="63"/>
                            <a:pt x="72" y="63"/>
                          </a:cubicBezTo>
                          <a:close/>
                          <a:moveTo>
                            <a:pt x="76" y="61"/>
                          </a:moveTo>
                          <a:cubicBezTo>
                            <a:pt x="76" y="60"/>
                            <a:pt x="76" y="60"/>
                            <a:pt x="76" y="60"/>
                          </a:cubicBezTo>
                          <a:cubicBezTo>
                            <a:pt x="77" y="60"/>
                            <a:pt x="77" y="60"/>
                            <a:pt x="77" y="60"/>
                          </a:cubicBezTo>
                          <a:cubicBezTo>
                            <a:pt x="77" y="60"/>
                            <a:pt x="77" y="60"/>
                            <a:pt x="77" y="60"/>
                          </a:cubicBezTo>
                          <a:cubicBezTo>
                            <a:pt x="77" y="60"/>
                            <a:pt x="77" y="60"/>
                            <a:pt x="77" y="60"/>
                          </a:cubicBezTo>
                          <a:cubicBezTo>
                            <a:pt x="77" y="60"/>
                            <a:pt x="77" y="60"/>
                            <a:pt x="76" y="60"/>
                          </a:cubicBezTo>
                          <a:cubicBezTo>
                            <a:pt x="76" y="60"/>
                            <a:pt x="76" y="60"/>
                            <a:pt x="76" y="60"/>
                          </a:cubicBezTo>
                          <a:cubicBezTo>
                            <a:pt x="77" y="60"/>
                            <a:pt x="76" y="61"/>
                            <a:pt x="76" y="61"/>
                          </a:cubicBezTo>
                          <a:cubicBezTo>
                            <a:pt x="76" y="61"/>
                            <a:pt x="76" y="61"/>
                            <a:pt x="76" y="61"/>
                          </a:cubicBezTo>
                          <a:close/>
                          <a:moveTo>
                            <a:pt x="72" y="61"/>
                          </a:moveTo>
                          <a:cubicBezTo>
                            <a:pt x="71" y="61"/>
                            <a:pt x="71" y="61"/>
                            <a:pt x="71" y="61"/>
                          </a:cubicBezTo>
                          <a:cubicBezTo>
                            <a:pt x="71" y="61"/>
                            <a:pt x="71" y="61"/>
                            <a:pt x="72" y="61"/>
                          </a:cubicBezTo>
                          <a:close/>
                          <a:moveTo>
                            <a:pt x="68" y="67"/>
                          </a:moveTo>
                          <a:cubicBezTo>
                            <a:pt x="68" y="67"/>
                            <a:pt x="68" y="67"/>
                            <a:pt x="67" y="67"/>
                          </a:cubicBezTo>
                          <a:cubicBezTo>
                            <a:pt x="68" y="67"/>
                            <a:pt x="69" y="66"/>
                            <a:pt x="68" y="67"/>
                          </a:cubicBezTo>
                          <a:close/>
                          <a:moveTo>
                            <a:pt x="68" y="69"/>
                          </a:moveTo>
                          <a:cubicBezTo>
                            <a:pt x="68" y="68"/>
                            <a:pt x="69" y="68"/>
                            <a:pt x="69" y="68"/>
                          </a:cubicBezTo>
                          <a:cubicBezTo>
                            <a:pt x="69" y="68"/>
                            <a:pt x="69" y="68"/>
                            <a:pt x="70" y="68"/>
                          </a:cubicBezTo>
                          <a:cubicBezTo>
                            <a:pt x="69" y="68"/>
                            <a:pt x="69" y="68"/>
                            <a:pt x="69" y="68"/>
                          </a:cubicBezTo>
                          <a:cubicBezTo>
                            <a:pt x="70" y="68"/>
                            <a:pt x="70" y="68"/>
                            <a:pt x="70" y="68"/>
                          </a:cubicBezTo>
                          <a:cubicBezTo>
                            <a:pt x="69" y="68"/>
                            <a:pt x="69" y="68"/>
                            <a:pt x="69" y="69"/>
                          </a:cubicBezTo>
                          <a:cubicBezTo>
                            <a:pt x="69" y="69"/>
                            <a:pt x="69" y="68"/>
                            <a:pt x="68" y="69"/>
                          </a:cubicBezTo>
                          <a:close/>
                          <a:moveTo>
                            <a:pt x="69" y="67"/>
                          </a:moveTo>
                          <a:cubicBezTo>
                            <a:pt x="69" y="67"/>
                            <a:pt x="69" y="67"/>
                            <a:pt x="69" y="67"/>
                          </a:cubicBezTo>
                          <a:cubicBezTo>
                            <a:pt x="69" y="67"/>
                            <a:pt x="69" y="67"/>
                            <a:pt x="69" y="68"/>
                          </a:cubicBezTo>
                          <a:lnTo>
                            <a:pt x="69" y="67"/>
                          </a:lnTo>
                          <a:close/>
                          <a:moveTo>
                            <a:pt x="73" y="71"/>
                          </a:moveTo>
                          <a:cubicBezTo>
                            <a:pt x="72" y="72"/>
                            <a:pt x="73" y="72"/>
                            <a:pt x="72" y="72"/>
                          </a:cubicBezTo>
                          <a:cubicBezTo>
                            <a:pt x="72" y="72"/>
                            <a:pt x="72" y="72"/>
                            <a:pt x="72" y="72"/>
                          </a:cubicBezTo>
                          <a:cubicBezTo>
                            <a:pt x="72" y="71"/>
                            <a:pt x="72" y="71"/>
                            <a:pt x="73" y="71"/>
                          </a:cubicBezTo>
                          <a:cubicBezTo>
                            <a:pt x="73" y="71"/>
                            <a:pt x="73" y="71"/>
                            <a:pt x="73" y="71"/>
                          </a:cubicBezTo>
                          <a:cubicBezTo>
                            <a:pt x="73" y="71"/>
                            <a:pt x="73" y="71"/>
                            <a:pt x="73" y="71"/>
                          </a:cubicBezTo>
                          <a:cubicBezTo>
                            <a:pt x="73" y="71"/>
                            <a:pt x="72" y="71"/>
                            <a:pt x="73" y="71"/>
                          </a:cubicBezTo>
                          <a:close/>
                          <a:moveTo>
                            <a:pt x="71" y="69"/>
                          </a:moveTo>
                          <a:cubicBezTo>
                            <a:pt x="71" y="69"/>
                            <a:pt x="72" y="69"/>
                            <a:pt x="72" y="68"/>
                          </a:cubicBezTo>
                          <a:cubicBezTo>
                            <a:pt x="72" y="68"/>
                            <a:pt x="72" y="69"/>
                            <a:pt x="71" y="69"/>
                          </a:cubicBezTo>
                          <a:cubicBezTo>
                            <a:pt x="71" y="69"/>
                            <a:pt x="72" y="68"/>
                            <a:pt x="72" y="68"/>
                          </a:cubicBezTo>
                          <a:cubicBezTo>
                            <a:pt x="72" y="68"/>
                            <a:pt x="72" y="68"/>
                            <a:pt x="73" y="68"/>
                          </a:cubicBezTo>
                          <a:cubicBezTo>
                            <a:pt x="72" y="68"/>
                            <a:pt x="72" y="68"/>
                            <a:pt x="72" y="68"/>
                          </a:cubicBezTo>
                          <a:cubicBezTo>
                            <a:pt x="73" y="68"/>
                            <a:pt x="73" y="68"/>
                            <a:pt x="73" y="67"/>
                          </a:cubicBezTo>
                          <a:cubicBezTo>
                            <a:pt x="73" y="67"/>
                            <a:pt x="73" y="68"/>
                            <a:pt x="73" y="68"/>
                          </a:cubicBezTo>
                          <a:cubicBezTo>
                            <a:pt x="73" y="68"/>
                            <a:pt x="73" y="67"/>
                            <a:pt x="73" y="68"/>
                          </a:cubicBezTo>
                          <a:cubicBezTo>
                            <a:pt x="74" y="67"/>
                            <a:pt x="74" y="67"/>
                            <a:pt x="74" y="67"/>
                          </a:cubicBezTo>
                          <a:cubicBezTo>
                            <a:pt x="74" y="67"/>
                            <a:pt x="74" y="67"/>
                            <a:pt x="74" y="67"/>
                          </a:cubicBezTo>
                          <a:cubicBezTo>
                            <a:pt x="74" y="67"/>
                            <a:pt x="74" y="67"/>
                            <a:pt x="73" y="68"/>
                          </a:cubicBezTo>
                          <a:cubicBezTo>
                            <a:pt x="74" y="68"/>
                            <a:pt x="74" y="67"/>
                            <a:pt x="74" y="67"/>
                          </a:cubicBezTo>
                          <a:cubicBezTo>
                            <a:pt x="74" y="67"/>
                            <a:pt x="74" y="67"/>
                            <a:pt x="74" y="67"/>
                          </a:cubicBezTo>
                          <a:cubicBezTo>
                            <a:pt x="74" y="67"/>
                            <a:pt x="75" y="67"/>
                            <a:pt x="75" y="67"/>
                          </a:cubicBezTo>
                          <a:cubicBezTo>
                            <a:pt x="75" y="67"/>
                            <a:pt x="74" y="67"/>
                            <a:pt x="74" y="67"/>
                          </a:cubicBezTo>
                          <a:cubicBezTo>
                            <a:pt x="74" y="67"/>
                            <a:pt x="74" y="67"/>
                            <a:pt x="74" y="67"/>
                          </a:cubicBezTo>
                          <a:cubicBezTo>
                            <a:pt x="75" y="67"/>
                            <a:pt x="74" y="67"/>
                            <a:pt x="75" y="67"/>
                          </a:cubicBezTo>
                          <a:cubicBezTo>
                            <a:pt x="74" y="67"/>
                            <a:pt x="74" y="67"/>
                            <a:pt x="74" y="68"/>
                          </a:cubicBezTo>
                          <a:cubicBezTo>
                            <a:pt x="74" y="68"/>
                            <a:pt x="75" y="68"/>
                            <a:pt x="75" y="67"/>
                          </a:cubicBezTo>
                          <a:cubicBezTo>
                            <a:pt x="75" y="67"/>
                            <a:pt x="75" y="67"/>
                            <a:pt x="76" y="67"/>
                          </a:cubicBezTo>
                          <a:cubicBezTo>
                            <a:pt x="76" y="67"/>
                            <a:pt x="76" y="67"/>
                            <a:pt x="76" y="67"/>
                          </a:cubicBezTo>
                          <a:cubicBezTo>
                            <a:pt x="76" y="66"/>
                            <a:pt x="76" y="67"/>
                            <a:pt x="76" y="66"/>
                          </a:cubicBezTo>
                          <a:cubicBezTo>
                            <a:pt x="76" y="67"/>
                            <a:pt x="76" y="67"/>
                            <a:pt x="75" y="67"/>
                          </a:cubicBezTo>
                          <a:cubicBezTo>
                            <a:pt x="76" y="67"/>
                            <a:pt x="75" y="67"/>
                            <a:pt x="76" y="67"/>
                          </a:cubicBezTo>
                          <a:cubicBezTo>
                            <a:pt x="75" y="68"/>
                            <a:pt x="75" y="67"/>
                            <a:pt x="75" y="67"/>
                          </a:cubicBezTo>
                          <a:cubicBezTo>
                            <a:pt x="75" y="68"/>
                            <a:pt x="75" y="68"/>
                            <a:pt x="75" y="68"/>
                          </a:cubicBezTo>
                          <a:cubicBezTo>
                            <a:pt x="75" y="68"/>
                            <a:pt x="76" y="68"/>
                            <a:pt x="76" y="67"/>
                          </a:cubicBezTo>
                          <a:cubicBezTo>
                            <a:pt x="75" y="67"/>
                            <a:pt x="76" y="67"/>
                            <a:pt x="76" y="67"/>
                          </a:cubicBezTo>
                          <a:cubicBezTo>
                            <a:pt x="76" y="67"/>
                            <a:pt x="76" y="68"/>
                            <a:pt x="76" y="68"/>
                          </a:cubicBezTo>
                          <a:cubicBezTo>
                            <a:pt x="76" y="68"/>
                            <a:pt x="76" y="68"/>
                            <a:pt x="76" y="68"/>
                          </a:cubicBezTo>
                          <a:cubicBezTo>
                            <a:pt x="76" y="68"/>
                            <a:pt x="77" y="67"/>
                            <a:pt x="77" y="68"/>
                          </a:cubicBezTo>
                          <a:cubicBezTo>
                            <a:pt x="77" y="68"/>
                            <a:pt x="77" y="68"/>
                            <a:pt x="77" y="68"/>
                          </a:cubicBezTo>
                          <a:cubicBezTo>
                            <a:pt x="77" y="68"/>
                            <a:pt x="77" y="68"/>
                            <a:pt x="77" y="68"/>
                          </a:cubicBezTo>
                          <a:cubicBezTo>
                            <a:pt x="77" y="68"/>
                            <a:pt x="77" y="68"/>
                            <a:pt x="77" y="68"/>
                          </a:cubicBezTo>
                          <a:cubicBezTo>
                            <a:pt x="77" y="68"/>
                            <a:pt x="77" y="68"/>
                            <a:pt x="77" y="68"/>
                          </a:cubicBezTo>
                          <a:cubicBezTo>
                            <a:pt x="77" y="68"/>
                            <a:pt x="77" y="68"/>
                            <a:pt x="78" y="68"/>
                          </a:cubicBezTo>
                          <a:cubicBezTo>
                            <a:pt x="77" y="68"/>
                            <a:pt x="77" y="68"/>
                            <a:pt x="78" y="68"/>
                          </a:cubicBezTo>
                          <a:cubicBezTo>
                            <a:pt x="78" y="68"/>
                            <a:pt x="77" y="68"/>
                            <a:pt x="77" y="68"/>
                          </a:cubicBezTo>
                          <a:cubicBezTo>
                            <a:pt x="77" y="68"/>
                            <a:pt x="78" y="68"/>
                            <a:pt x="78" y="68"/>
                          </a:cubicBezTo>
                          <a:cubicBezTo>
                            <a:pt x="78" y="68"/>
                            <a:pt x="78" y="68"/>
                            <a:pt x="78" y="68"/>
                          </a:cubicBezTo>
                          <a:cubicBezTo>
                            <a:pt x="78" y="68"/>
                            <a:pt x="78" y="68"/>
                            <a:pt x="78" y="68"/>
                          </a:cubicBezTo>
                          <a:cubicBezTo>
                            <a:pt x="78" y="68"/>
                            <a:pt x="78" y="68"/>
                            <a:pt x="78" y="68"/>
                          </a:cubicBezTo>
                          <a:cubicBezTo>
                            <a:pt x="78" y="68"/>
                            <a:pt x="78" y="68"/>
                            <a:pt x="78" y="68"/>
                          </a:cubicBezTo>
                          <a:cubicBezTo>
                            <a:pt x="78" y="68"/>
                            <a:pt x="78" y="68"/>
                            <a:pt x="79" y="68"/>
                          </a:cubicBezTo>
                          <a:cubicBezTo>
                            <a:pt x="79" y="68"/>
                            <a:pt x="79" y="68"/>
                            <a:pt x="79" y="68"/>
                          </a:cubicBezTo>
                          <a:cubicBezTo>
                            <a:pt x="79" y="68"/>
                            <a:pt x="79" y="67"/>
                            <a:pt x="79" y="67"/>
                          </a:cubicBezTo>
                          <a:cubicBezTo>
                            <a:pt x="79" y="68"/>
                            <a:pt x="79" y="68"/>
                            <a:pt x="79" y="68"/>
                          </a:cubicBezTo>
                          <a:cubicBezTo>
                            <a:pt x="79" y="68"/>
                            <a:pt x="79" y="67"/>
                            <a:pt x="79" y="67"/>
                          </a:cubicBezTo>
                          <a:cubicBezTo>
                            <a:pt x="79" y="68"/>
                            <a:pt x="79" y="68"/>
                            <a:pt x="79" y="68"/>
                          </a:cubicBezTo>
                          <a:cubicBezTo>
                            <a:pt x="79" y="68"/>
                            <a:pt x="78" y="69"/>
                            <a:pt x="77" y="68"/>
                          </a:cubicBezTo>
                          <a:cubicBezTo>
                            <a:pt x="77" y="69"/>
                            <a:pt x="76" y="69"/>
                            <a:pt x="76" y="69"/>
                          </a:cubicBezTo>
                          <a:cubicBezTo>
                            <a:pt x="76" y="69"/>
                            <a:pt x="76" y="69"/>
                            <a:pt x="76" y="69"/>
                          </a:cubicBezTo>
                          <a:cubicBezTo>
                            <a:pt x="76" y="68"/>
                            <a:pt x="77" y="69"/>
                            <a:pt x="77" y="68"/>
                          </a:cubicBezTo>
                          <a:cubicBezTo>
                            <a:pt x="77" y="68"/>
                            <a:pt x="76" y="69"/>
                            <a:pt x="76" y="68"/>
                          </a:cubicBezTo>
                          <a:cubicBezTo>
                            <a:pt x="76" y="68"/>
                            <a:pt x="76" y="68"/>
                            <a:pt x="77" y="68"/>
                          </a:cubicBezTo>
                          <a:cubicBezTo>
                            <a:pt x="77" y="68"/>
                            <a:pt x="76" y="68"/>
                            <a:pt x="76" y="68"/>
                          </a:cubicBezTo>
                          <a:cubicBezTo>
                            <a:pt x="76" y="68"/>
                            <a:pt x="76" y="68"/>
                            <a:pt x="76" y="68"/>
                          </a:cubicBezTo>
                          <a:cubicBezTo>
                            <a:pt x="76" y="69"/>
                            <a:pt x="76" y="68"/>
                            <a:pt x="76" y="69"/>
                          </a:cubicBezTo>
                          <a:cubicBezTo>
                            <a:pt x="76" y="69"/>
                            <a:pt x="75" y="69"/>
                            <a:pt x="75" y="69"/>
                          </a:cubicBezTo>
                          <a:cubicBezTo>
                            <a:pt x="75" y="69"/>
                            <a:pt x="75" y="69"/>
                            <a:pt x="75" y="69"/>
                          </a:cubicBezTo>
                          <a:cubicBezTo>
                            <a:pt x="75" y="69"/>
                            <a:pt x="75" y="69"/>
                            <a:pt x="75" y="69"/>
                          </a:cubicBezTo>
                          <a:cubicBezTo>
                            <a:pt x="75" y="69"/>
                            <a:pt x="75" y="69"/>
                            <a:pt x="75" y="69"/>
                          </a:cubicBezTo>
                          <a:cubicBezTo>
                            <a:pt x="75" y="69"/>
                            <a:pt x="75" y="69"/>
                            <a:pt x="75" y="69"/>
                          </a:cubicBezTo>
                          <a:cubicBezTo>
                            <a:pt x="75" y="69"/>
                            <a:pt x="75" y="68"/>
                            <a:pt x="76" y="68"/>
                          </a:cubicBezTo>
                          <a:cubicBezTo>
                            <a:pt x="75" y="68"/>
                            <a:pt x="75" y="68"/>
                            <a:pt x="75" y="69"/>
                          </a:cubicBezTo>
                          <a:cubicBezTo>
                            <a:pt x="75" y="69"/>
                            <a:pt x="74" y="68"/>
                            <a:pt x="75" y="68"/>
                          </a:cubicBezTo>
                          <a:cubicBezTo>
                            <a:pt x="74" y="68"/>
                            <a:pt x="74" y="69"/>
                            <a:pt x="73" y="69"/>
                          </a:cubicBezTo>
                          <a:cubicBezTo>
                            <a:pt x="73" y="69"/>
                            <a:pt x="73" y="69"/>
                            <a:pt x="73" y="69"/>
                          </a:cubicBezTo>
                          <a:cubicBezTo>
                            <a:pt x="73" y="69"/>
                            <a:pt x="74" y="68"/>
                            <a:pt x="74" y="68"/>
                          </a:cubicBezTo>
                          <a:cubicBezTo>
                            <a:pt x="74" y="68"/>
                            <a:pt x="73" y="69"/>
                            <a:pt x="73" y="68"/>
                          </a:cubicBezTo>
                          <a:cubicBezTo>
                            <a:pt x="73" y="69"/>
                            <a:pt x="73" y="69"/>
                            <a:pt x="73" y="69"/>
                          </a:cubicBezTo>
                          <a:cubicBezTo>
                            <a:pt x="73" y="69"/>
                            <a:pt x="73" y="69"/>
                            <a:pt x="73" y="69"/>
                          </a:cubicBezTo>
                          <a:cubicBezTo>
                            <a:pt x="73" y="69"/>
                            <a:pt x="73" y="69"/>
                            <a:pt x="72" y="69"/>
                          </a:cubicBezTo>
                          <a:cubicBezTo>
                            <a:pt x="73" y="69"/>
                            <a:pt x="72" y="69"/>
                            <a:pt x="72" y="69"/>
                          </a:cubicBezTo>
                          <a:cubicBezTo>
                            <a:pt x="73" y="69"/>
                            <a:pt x="73" y="69"/>
                            <a:pt x="73" y="68"/>
                          </a:cubicBezTo>
                          <a:cubicBezTo>
                            <a:pt x="73" y="68"/>
                            <a:pt x="72" y="69"/>
                            <a:pt x="72" y="69"/>
                          </a:cubicBezTo>
                          <a:cubicBezTo>
                            <a:pt x="72" y="69"/>
                            <a:pt x="71" y="69"/>
                            <a:pt x="71" y="69"/>
                          </a:cubicBezTo>
                          <a:close/>
                          <a:moveTo>
                            <a:pt x="76" y="68"/>
                          </a:moveTo>
                          <a:cubicBezTo>
                            <a:pt x="76" y="68"/>
                            <a:pt x="76" y="68"/>
                            <a:pt x="76" y="68"/>
                          </a:cubicBezTo>
                          <a:cubicBezTo>
                            <a:pt x="76" y="68"/>
                            <a:pt x="76" y="68"/>
                            <a:pt x="76" y="68"/>
                          </a:cubicBezTo>
                          <a:cubicBezTo>
                            <a:pt x="76" y="68"/>
                            <a:pt x="76" y="68"/>
                            <a:pt x="76" y="68"/>
                          </a:cubicBezTo>
                          <a:close/>
                          <a:moveTo>
                            <a:pt x="75" y="68"/>
                          </a:moveTo>
                          <a:cubicBezTo>
                            <a:pt x="75" y="68"/>
                            <a:pt x="75" y="68"/>
                            <a:pt x="75" y="68"/>
                          </a:cubicBezTo>
                          <a:cubicBezTo>
                            <a:pt x="75" y="68"/>
                            <a:pt x="75" y="68"/>
                            <a:pt x="75" y="68"/>
                          </a:cubicBezTo>
                          <a:cubicBezTo>
                            <a:pt x="75" y="68"/>
                            <a:pt x="76" y="68"/>
                            <a:pt x="76" y="68"/>
                          </a:cubicBezTo>
                          <a:cubicBezTo>
                            <a:pt x="75" y="68"/>
                            <a:pt x="76" y="68"/>
                            <a:pt x="76" y="68"/>
                          </a:cubicBezTo>
                          <a:cubicBezTo>
                            <a:pt x="76" y="68"/>
                            <a:pt x="75" y="68"/>
                            <a:pt x="75" y="68"/>
                          </a:cubicBezTo>
                          <a:close/>
                          <a:moveTo>
                            <a:pt x="73" y="68"/>
                          </a:moveTo>
                          <a:cubicBezTo>
                            <a:pt x="73" y="68"/>
                            <a:pt x="74" y="68"/>
                            <a:pt x="74" y="68"/>
                          </a:cubicBezTo>
                          <a:cubicBezTo>
                            <a:pt x="73" y="68"/>
                            <a:pt x="73" y="68"/>
                            <a:pt x="73" y="68"/>
                          </a:cubicBezTo>
                          <a:close/>
                          <a:moveTo>
                            <a:pt x="73" y="68"/>
                          </a:moveTo>
                          <a:cubicBezTo>
                            <a:pt x="73" y="68"/>
                            <a:pt x="73" y="68"/>
                            <a:pt x="73" y="68"/>
                          </a:cubicBezTo>
                          <a:cubicBezTo>
                            <a:pt x="73" y="68"/>
                            <a:pt x="73" y="68"/>
                            <a:pt x="73" y="68"/>
                          </a:cubicBezTo>
                          <a:close/>
                          <a:moveTo>
                            <a:pt x="69" y="66"/>
                          </a:moveTo>
                          <a:cubicBezTo>
                            <a:pt x="69" y="65"/>
                            <a:pt x="70" y="66"/>
                            <a:pt x="70" y="65"/>
                          </a:cubicBezTo>
                          <a:cubicBezTo>
                            <a:pt x="70" y="66"/>
                            <a:pt x="70" y="65"/>
                            <a:pt x="69" y="66"/>
                          </a:cubicBezTo>
                          <a:close/>
                          <a:moveTo>
                            <a:pt x="74" y="72"/>
                          </a:moveTo>
                          <a:cubicBezTo>
                            <a:pt x="74" y="72"/>
                            <a:pt x="74" y="72"/>
                            <a:pt x="74" y="72"/>
                          </a:cubicBezTo>
                          <a:cubicBezTo>
                            <a:pt x="74" y="72"/>
                            <a:pt x="74" y="72"/>
                            <a:pt x="74" y="72"/>
                          </a:cubicBezTo>
                          <a:cubicBezTo>
                            <a:pt x="74" y="72"/>
                            <a:pt x="74" y="72"/>
                            <a:pt x="74" y="73"/>
                          </a:cubicBezTo>
                          <a:cubicBezTo>
                            <a:pt x="74" y="73"/>
                            <a:pt x="74" y="73"/>
                            <a:pt x="74" y="72"/>
                          </a:cubicBezTo>
                          <a:close/>
                          <a:moveTo>
                            <a:pt x="75" y="64"/>
                          </a:moveTo>
                          <a:cubicBezTo>
                            <a:pt x="75" y="64"/>
                            <a:pt x="74" y="64"/>
                            <a:pt x="74" y="65"/>
                          </a:cubicBezTo>
                          <a:cubicBezTo>
                            <a:pt x="74" y="65"/>
                            <a:pt x="74" y="65"/>
                            <a:pt x="74" y="65"/>
                          </a:cubicBezTo>
                          <a:cubicBezTo>
                            <a:pt x="74" y="64"/>
                            <a:pt x="74" y="64"/>
                            <a:pt x="74" y="64"/>
                          </a:cubicBezTo>
                          <a:cubicBezTo>
                            <a:pt x="74" y="64"/>
                            <a:pt x="75" y="64"/>
                            <a:pt x="75" y="64"/>
                          </a:cubicBezTo>
                          <a:cubicBezTo>
                            <a:pt x="75" y="64"/>
                            <a:pt x="75" y="64"/>
                            <a:pt x="75" y="64"/>
                          </a:cubicBezTo>
                          <a:cubicBezTo>
                            <a:pt x="75" y="64"/>
                            <a:pt x="75" y="64"/>
                            <a:pt x="75" y="64"/>
                          </a:cubicBezTo>
                          <a:cubicBezTo>
                            <a:pt x="75" y="64"/>
                            <a:pt x="75" y="64"/>
                            <a:pt x="75" y="64"/>
                          </a:cubicBezTo>
                          <a:cubicBezTo>
                            <a:pt x="75" y="64"/>
                            <a:pt x="75" y="64"/>
                            <a:pt x="75" y="64"/>
                          </a:cubicBezTo>
                          <a:cubicBezTo>
                            <a:pt x="75" y="64"/>
                            <a:pt x="76" y="63"/>
                            <a:pt x="76" y="64"/>
                          </a:cubicBezTo>
                          <a:cubicBezTo>
                            <a:pt x="76" y="64"/>
                            <a:pt x="75" y="64"/>
                            <a:pt x="75" y="64"/>
                          </a:cubicBezTo>
                          <a:close/>
                          <a:moveTo>
                            <a:pt x="74" y="62"/>
                          </a:moveTo>
                          <a:cubicBezTo>
                            <a:pt x="75" y="62"/>
                            <a:pt x="75" y="62"/>
                            <a:pt x="75" y="62"/>
                          </a:cubicBezTo>
                          <a:cubicBezTo>
                            <a:pt x="75" y="62"/>
                            <a:pt x="75" y="62"/>
                            <a:pt x="75" y="62"/>
                          </a:cubicBezTo>
                          <a:cubicBezTo>
                            <a:pt x="74" y="63"/>
                            <a:pt x="74" y="63"/>
                            <a:pt x="74" y="63"/>
                          </a:cubicBezTo>
                          <a:cubicBezTo>
                            <a:pt x="73" y="63"/>
                            <a:pt x="74" y="63"/>
                            <a:pt x="74" y="62"/>
                          </a:cubicBezTo>
                          <a:close/>
                          <a:moveTo>
                            <a:pt x="110" y="44"/>
                          </a:moveTo>
                          <a:cubicBezTo>
                            <a:pt x="110" y="44"/>
                            <a:pt x="111" y="43"/>
                            <a:pt x="111" y="43"/>
                          </a:cubicBezTo>
                          <a:cubicBezTo>
                            <a:pt x="112" y="43"/>
                            <a:pt x="111" y="43"/>
                            <a:pt x="111" y="43"/>
                          </a:cubicBezTo>
                          <a:cubicBezTo>
                            <a:pt x="113" y="43"/>
                            <a:pt x="113" y="43"/>
                            <a:pt x="113" y="43"/>
                          </a:cubicBezTo>
                          <a:cubicBezTo>
                            <a:pt x="113" y="43"/>
                            <a:pt x="113" y="43"/>
                            <a:pt x="112" y="43"/>
                          </a:cubicBezTo>
                          <a:cubicBezTo>
                            <a:pt x="113" y="42"/>
                            <a:pt x="113" y="42"/>
                            <a:pt x="113" y="42"/>
                          </a:cubicBezTo>
                          <a:cubicBezTo>
                            <a:pt x="113" y="42"/>
                            <a:pt x="112" y="42"/>
                            <a:pt x="113" y="42"/>
                          </a:cubicBezTo>
                          <a:cubicBezTo>
                            <a:pt x="113" y="43"/>
                            <a:pt x="113" y="43"/>
                            <a:pt x="113" y="43"/>
                          </a:cubicBezTo>
                          <a:cubicBezTo>
                            <a:pt x="114" y="42"/>
                            <a:pt x="115" y="41"/>
                            <a:pt x="116" y="41"/>
                          </a:cubicBezTo>
                          <a:cubicBezTo>
                            <a:pt x="115" y="42"/>
                            <a:pt x="114" y="42"/>
                            <a:pt x="114" y="42"/>
                          </a:cubicBezTo>
                          <a:cubicBezTo>
                            <a:pt x="114" y="42"/>
                            <a:pt x="113" y="43"/>
                            <a:pt x="113" y="43"/>
                          </a:cubicBezTo>
                          <a:cubicBezTo>
                            <a:pt x="113" y="43"/>
                            <a:pt x="113" y="43"/>
                            <a:pt x="113" y="43"/>
                          </a:cubicBezTo>
                          <a:cubicBezTo>
                            <a:pt x="113" y="43"/>
                            <a:pt x="116" y="42"/>
                            <a:pt x="115" y="42"/>
                          </a:cubicBezTo>
                          <a:cubicBezTo>
                            <a:pt x="114" y="42"/>
                            <a:pt x="115" y="42"/>
                            <a:pt x="114" y="42"/>
                          </a:cubicBezTo>
                          <a:cubicBezTo>
                            <a:pt x="114" y="42"/>
                            <a:pt x="114" y="42"/>
                            <a:pt x="114" y="42"/>
                          </a:cubicBezTo>
                          <a:cubicBezTo>
                            <a:pt x="114" y="42"/>
                            <a:pt x="114" y="42"/>
                            <a:pt x="114" y="43"/>
                          </a:cubicBezTo>
                          <a:cubicBezTo>
                            <a:pt x="114" y="43"/>
                            <a:pt x="114" y="42"/>
                            <a:pt x="113" y="43"/>
                          </a:cubicBezTo>
                          <a:cubicBezTo>
                            <a:pt x="114" y="42"/>
                            <a:pt x="114" y="42"/>
                            <a:pt x="114" y="42"/>
                          </a:cubicBezTo>
                          <a:cubicBezTo>
                            <a:pt x="115" y="42"/>
                            <a:pt x="115" y="42"/>
                            <a:pt x="115" y="41"/>
                          </a:cubicBezTo>
                          <a:cubicBezTo>
                            <a:pt x="115" y="42"/>
                            <a:pt x="115" y="42"/>
                            <a:pt x="115" y="42"/>
                          </a:cubicBezTo>
                          <a:cubicBezTo>
                            <a:pt x="115" y="42"/>
                            <a:pt x="115" y="42"/>
                            <a:pt x="115" y="42"/>
                          </a:cubicBezTo>
                          <a:cubicBezTo>
                            <a:pt x="115" y="42"/>
                            <a:pt x="115" y="42"/>
                            <a:pt x="115" y="42"/>
                          </a:cubicBezTo>
                          <a:cubicBezTo>
                            <a:pt x="115" y="42"/>
                            <a:pt x="116" y="42"/>
                            <a:pt x="116" y="42"/>
                          </a:cubicBezTo>
                          <a:cubicBezTo>
                            <a:pt x="116" y="42"/>
                            <a:pt x="116" y="42"/>
                            <a:pt x="116" y="42"/>
                          </a:cubicBezTo>
                          <a:cubicBezTo>
                            <a:pt x="116" y="42"/>
                            <a:pt x="116" y="42"/>
                            <a:pt x="116" y="42"/>
                          </a:cubicBezTo>
                          <a:cubicBezTo>
                            <a:pt x="116" y="42"/>
                            <a:pt x="115" y="42"/>
                            <a:pt x="115" y="42"/>
                          </a:cubicBezTo>
                          <a:cubicBezTo>
                            <a:pt x="114" y="43"/>
                            <a:pt x="114" y="43"/>
                            <a:pt x="113" y="44"/>
                          </a:cubicBezTo>
                          <a:cubicBezTo>
                            <a:pt x="113" y="44"/>
                            <a:pt x="113" y="44"/>
                            <a:pt x="113" y="44"/>
                          </a:cubicBezTo>
                          <a:cubicBezTo>
                            <a:pt x="113" y="44"/>
                            <a:pt x="113" y="44"/>
                            <a:pt x="112" y="44"/>
                          </a:cubicBezTo>
                          <a:cubicBezTo>
                            <a:pt x="112" y="44"/>
                            <a:pt x="113" y="44"/>
                            <a:pt x="114" y="43"/>
                          </a:cubicBezTo>
                          <a:cubicBezTo>
                            <a:pt x="113" y="43"/>
                            <a:pt x="113" y="43"/>
                            <a:pt x="113" y="43"/>
                          </a:cubicBezTo>
                          <a:cubicBezTo>
                            <a:pt x="113" y="43"/>
                            <a:pt x="113" y="43"/>
                            <a:pt x="113" y="43"/>
                          </a:cubicBezTo>
                          <a:cubicBezTo>
                            <a:pt x="113" y="43"/>
                            <a:pt x="113" y="43"/>
                            <a:pt x="113" y="43"/>
                          </a:cubicBezTo>
                          <a:cubicBezTo>
                            <a:pt x="113" y="43"/>
                            <a:pt x="113" y="43"/>
                            <a:pt x="113" y="43"/>
                          </a:cubicBezTo>
                          <a:cubicBezTo>
                            <a:pt x="113" y="43"/>
                            <a:pt x="113" y="43"/>
                            <a:pt x="113" y="43"/>
                          </a:cubicBezTo>
                          <a:cubicBezTo>
                            <a:pt x="112" y="43"/>
                            <a:pt x="112" y="43"/>
                            <a:pt x="112" y="43"/>
                          </a:cubicBezTo>
                          <a:cubicBezTo>
                            <a:pt x="112" y="44"/>
                            <a:pt x="112" y="44"/>
                            <a:pt x="112" y="44"/>
                          </a:cubicBezTo>
                          <a:cubicBezTo>
                            <a:pt x="112" y="43"/>
                            <a:pt x="112" y="43"/>
                            <a:pt x="112" y="43"/>
                          </a:cubicBezTo>
                          <a:cubicBezTo>
                            <a:pt x="113" y="43"/>
                            <a:pt x="113" y="43"/>
                            <a:pt x="113" y="43"/>
                          </a:cubicBezTo>
                          <a:cubicBezTo>
                            <a:pt x="113" y="44"/>
                            <a:pt x="112" y="44"/>
                            <a:pt x="112" y="44"/>
                          </a:cubicBezTo>
                          <a:cubicBezTo>
                            <a:pt x="112" y="44"/>
                            <a:pt x="112" y="44"/>
                            <a:pt x="112" y="44"/>
                          </a:cubicBezTo>
                          <a:cubicBezTo>
                            <a:pt x="112" y="44"/>
                            <a:pt x="112" y="44"/>
                            <a:pt x="112" y="44"/>
                          </a:cubicBezTo>
                          <a:cubicBezTo>
                            <a:pt x="112" y="44"/>
                            <a:pt x="112" y="44"/>
                            <a:pt x="112" y="44"/>
                          </a:cubicBezTo>
                          <a:cubicBezTo>
                            <a:pt x="112" y="44"/>
                            <a:pt x="112" y="44"/>
                            <a:pt x="112" y="45"/>
                          </a:cubicBezTo>
                          <a:cubicBezTo>
                            <a:pt x="112" y="44"/>
                            <a:pt x="113" y="44"/>
                            <a:pt x="113" y="44"/>
                          </a:cubicBezTo>
                          <a:cubicBezTo>
                            <a:pt x="113" y="44"/>
                            <a:pt x="113" y="44"/>
                            <a:pt x="114" y="44"/>
                          </a:cubicBezTo>
                          <a:cubicBezTo>
                            <a:pt x="114" y="43"/>
                            <a:pt x="114" y="43"/>
                            <a:pt x="115" y="43"/>
                          </a:cubicBezTo>
                          <a:cubicBezTo>
                            <a:pt x="114" y="43"/>
                            <a:pt x="114" y="43"/>
                            <a:pt x="115" y="43"/>
                          </a:cubicBezTo>
                          <a:cubicBezTo>
                            <a:pt x="114" y="44"/>
                            <a:pt x="113" y="44"/>
                            <a:pt x="112" y="44"/>
                          </a:cubicBezTo>
                          <a:cubicBezTo>
                            <a:pt x="112" y="45"/>
                            <a:pt x="111" y="45"/>
                            <a:pt x="111" y="45"/>
                          </a:cubicBezTo>
                          <a:cubicBezTo>
                            <a:pt x="111" y="45"/>
                            <a:pt x="111" y="45"/>
                            <a:pt x="111" y="45"/>
                          </a:cubicBezTo>
                          <a:cubicBezTo>
                            <a:pt x="111" y="45"/>
                            <a:pt x="111" y="45"/>
                            <a:pt x="111" y="45"/>
                          </a:cubicBezTo>
                          <a:cubicBezTo>
                            <a:pt x="111" y="45"/>
                            <a:pt x="111" y="45"/>
                            <a:pt x="112" y="44"/>
                          </a:cubicBezTo>
                          <a:cubicBezTo>
                            <a:pt x="112" y="44"/>
                            <a:pt x="111" y="44"/>
                            <a:pt x="111" y="44"/>
                          </a:cubicBezTo>
                          <a:cubicBezTo>
                            <a:pt x="111" y="45"/>
                            <a:pt x="111" y="45"/>
                            <a:pt x="111" y="45"/>
                          </a:cubicBezTo>
                          <a:cubicBezTo>
                            <a:pt x="111" y="45"/>
                            <a:pt x="111" y="45"/>
                            <a:pt x="111" y="44"/>
                          </a:cubicBezTo>
                          <a:cubicBezTo>
                            <a:pt x="111" y="45"/>
                            <a:pt x="111" y="45"/>
                            <a:pt x="110" y="45"/>
                          </a:cubicBezTo>
                          <a:cubicBezTo>
                            <a:pt x="110" y="45"/>
                            <a:pt x="110" y="45"/>
                            <a:pt x="110" y="45"/>
                          </a:cubicBezTo>
                          <a:cubicBezTo>
                            <a:pt x="110" y="45"/>
                            <a:pt x="110" y="45"/>
                            <a:pt x="110" y="45"/>
                          </a:cubicBezTo>
                          <a:cubicBezTo>
                            <a:pt x="110" y="45"/>
                            <a:pt x="110" y="45"/>
                            <a:pt x="109" y="45"/>
                          </a:cubicBezTo>
                          <a:cubicBezTo>
                            <a:pt x="110" y="45"/>
                            <a:pt x="109" y="45"/>
                            <a:pt x="109" y="45"/>
                          </a:cubicBezTo>
                          <a:cubicBezTo>
                            <a:pt x="110" y="45"/>
                            <a:pt x="110" y="45"/>
                            <a:pt x="110" y="45"/>
                          </a:cubicBezTo>
                          <a:cubicBezTo>
                            <a:pt x="110" y="45"/>
                            <a:pt x="110" y="45"/>
                            <a:pt x="110" y="45"/>
                          </a:cubicBezTo>
                          <a:cubicBezTo>
                            <a:pt x="110" y="44"/>
                            <a:pt x="110" y="44"/>
                            <a:pt x="110" y="44"/>
                          </a:cubicBezTo>
                          <a:cubicBezTo>
                            <a:pt x="110" y="45"/>
                            <a:pt x="110" y="45"/>
                            <a:pt x="110" y="45"/>
                          </a:cubicBezTo>
                          <a:cubicBezTo>
                            <a:pt x="111" y="44"/>
                            <a:pt x="111" y="44"/>
                            <a:pt x="112" y="44"/>
                          </a:cubicBezTo>
                          <a:cubicBezTo>
                            <a:pt x="112" y="44"/>
                            <a:pt x="112" y="44"/>
                            <a:pt x="112" y="44"/>
                          </a:cubicBezTo>
                          <a:cubicBezTo>
                            <a:pt x="112" y="44"/>
                            <a:pt x="112" y="44"/>
                            <a:pt x="112" y="43"/>
                          </a:cubicBezTo>
                          <a:cubicBezTo>
                            <a:pt x="112" y="43"/>
                            <a:pt x="111" y="44"/>
                            <a:pt x="111" y="43"/>
                          </a:cubicBezTo>
                          <a:cubicBezTo>
                            <a:pt x="112" y="43"/>
                            <a:pt x="112" y="43"/>
                            <a:pt x="112" y="43"/>
                          </a:cubicBezTo>
                          <a:cubicBezTo>
                            <a:pt x="112" y="43"/>
                            <a:pt x="112" y="43"/>
                            <a:pt x="111" y="43"/>
                          </a:cubicBezTo>
                          <a:cubicBezTo>
                            <a:pt x="111" y="43"/>
                            <a:pt x="111" y="44"/>
                            <a:pt x="111" y="44"/>
                          </a:cubicBezTo>
                          <a:cubicBezTo>
                            <a:pt x="111" y="44"/>
                            <a:pt x="111" y="44"/>
                            <a:pt x="111" y="44"/>
                          </a:cubicBezTo>
                          <a:cubicBezTo>
                            <a:pt x="111" y="43"/>
                            <a:pt x="111" y="44"/>
                            <a:pt x="111" y="44"/>
                          </a:cubicBezTo>
                          <a:cubicBezTo>
                            <a:pt x="110" y="44"/>
                            <a:pt x="111" y="44"/>
                            <a:pt x="111" y="44"/>
                          </a:cubicBezTo>
                          <a:cubicBezTo>
                            <a:pt x="111" y="44"/>
                            <a:pt x="111" y="44"/>
                            <a:pt x="111" y="44"/>
                          </a:cubicBezTo>
                          <a:cubicBezTo>
                            <a:pt x="111" y="44"/>
                            <a:pt x="111" y="44"/>
                            <a:pt x="111" y="44"/>
                          </a:cubicBezTo>
                          <a:cubicBezTo>
                            <a:pt x="111" y="44"/>
                            <a:pt x="111" y="44"/>
                            <a:pt x="111" y="44"/>
                          </a:cubicBezTo>
                          <a:cubicBezTo>
                            <a:pt x="110" y="44"/>
                            <a:pt x="111" y="44"/>
                            <a:pt x="111" y="44"/>
                          </a:cubicBezTo>
                          <a:cubicBezTo>
                            <a:pt x="110" y="45"/>
                            <a:pt x="110" y="44"/>
                            <a:pt x="109" y="45"/>
                          </a:cubicBezTo>
                          <a:cubicBezTo>
                            <a:pt x="109" y="45"/>
                            <a:pt x="108" y="45"/>
                            <a:pt x="108" y="45"/>
                          </a:cubicBezTo>
                          <a:cubicBezTo>
                            <a:pt x="107" y="45"/>
                            <a:pt x="108" y="45"/>
                            <a:pt x="108" y="46"/>
                          </a:cubicBezTo>
                          <a:cubicBezTo>
                            <a:pt x="108" y="46"/>
                            <a:pt x="107" y="46"/>
                            <a:pt x="107" y="46"/>
                          </a:cubicBezTo>
                          <a:cubicBezTo>
                            <a:pt x="107" y="45"/>
                            <a:pt x="107" y="45"/>
                            <a:pt x="107" y="45"/>
                          </a:cubicBezTo>
                          <a:cubicBezTo>
                            <a:pt x="107" y="45"/>
                            <a:pt x="107" y="45"/>
                            <a:pt x="107" y="45"/>
                          </a:cubicBezTo>
                          <a:cubicBezTo>
                            <a:pt x="107" y="46"/>
                            <a:pt x="107" y="46"/>
                            <a:pt x="107" y="46"/>
                          </a:cubicBezTo>
                          <a:cubicBezTo>
                            <a:pt x="107" y="46"/>
                            <a:pt x="107" y="46"/>
                            <a:pt x="107" y="46"/>
                          </a:cubicBezTo>
                          <a:cubicBezTo>
                            <a:pt x="107" y="46"/>
                            <a:pt x="107" y="46"/>
                            <a:pt x="106" y="46"/>
                          </a:cubicBezTo>
                          <a:cubicBezTo>
                            <a:pt x="106" y="46"/>
                            <a:pt x="106" y="46"/>
                            <a:pt x="106" y="46"/>
                          </a:cubicBezTo>
                          <a:cubicBezTo>
                            <a:pt x="106" y="46"/>
                            <a:pt x="106" y="46"/>
                            <a:pt x="107" y="46"/>
                          </a:cubicBezTo>
                          <a:cubicBezTo>
                            <a:pt x="106" y="46"/>
                            <a:pt x="106" y="46"/>
                            <a:pt x="106" y="46"/>
                          </a:cubicBezTo>
                          <a:cubicBezTo>
                            <a:pt x="106" y="46"/>
                            <a:pt x="106" y="46"/>
                            <a:pt x="106" y="46"/>
                          </a:cubicBezTo>
                          <a:cubicBezTo>
                            <a:pt x="106" y="46"/>
                            <a:pt x="105" y="47"/>
                            <a:pt x="105" y="47"/>
                          </a:cubicBezTo>
                          <a:cubicBezTo>
                            <a:pt x="104" y="47"/>
                            <a:pt x="104" y="47"/>
                            <a:pt x="104" y="47"/>
                          </a:cubicBezTo>
                          <a:cubicBezTo>
                            <a:pt x="104" y="47"/>
                            <a:pt x="105" y="47"/>
                            <a:pt x="105" y="47"/>
                          </a:cubicBezTo>
                          <a:cubicBezTo>
                            <a:pt x="105" y="47"/>
                            <a:pt x="105" y="47"/>
                            <a:pt x="105" y="46"/>
                          </a:cubicBezTo>
                          <a:cubicBezTo>
                            <a:pt x="105" y="47"/>
                            <a:pt x="105" y="47"/>
                            <a:pt x="105" y="47"/>
                          </a:cubicBezTo>
                          <a:cubicBezTo>
                            <a:pt x="105" y="47"/>
                            <a:pt x="106" y="46"/>
                            <a:pt x="106" y="46"/>
                          </a:cubicBezTo>
                          <a:cubicBezTo>
                            <a:pt x="105" y="46"/>
                            <a:pt x="104" y="47"/>
                            <a:pt x="104" y="47"/>
                          </a:cubicBezTo>
                          <a:cubicBezTo>
                            <a:pt x="104" y="47"/>
                            <a:pt x="104" y="47"/>
                            <a:pt x="104" y="47"/>
                          </a:cubicBezTo>
                          <a:cubicBezTo>
                            <a:pt x="104" y="47"/>
                            <a:pt x="104" y="47"/>
                            <a:pt x="104" y="47"/>
                          </a:cubicBezTo>
                          <a:cubicBezTo>
                            <a:pt x="105" y="47"/>
                            <a:pt x="105" y="47"/>
                            <a:pt x="105" y="47"/>
                          </a:cubicBezTo>
                          <a:cubicBezTo>
                            <a:pt x="105" y="47"/>
                            <a:pt x="105" y="47"/>
                            <a:pt x="105" y="47"/>
                          </a:cubicBezTo>
                          <a:cubicBezTo>
                            <a:pt x="104" y="47"/>
                            <a:pt x="104" y="48"/>
                            <a:pt x="103" y="48"/>
                          </a:cubicBezTo>
                          <a:cubicBezTo>
                            <a:pt x="103" y="48"/>
                            <a:pt x="103" y="48"/>
                            <a:pt x="104" y="48"/>
                          </a:cubicBezTo>
                          <a:cubicBezTo>
                            <a:pt x="104" y="48"/>
                            <a:pt x="103" y="48"/>
                            <a:pt x="103" y="48"/>
                          </a:cubicBezTo>
                          <a:cubicBezTo>
                            <a:pt x="103" y="48"/>
                            <a:pt x="103" y="48"/>
                            <a:pt x="103" y="48"/>
                          </a:cubicBezTo>
                          <a:cubicBezTo>
                            <a:pt x="103" y="48"/>
                            <a:pt x="103" y="48"/>
                            <a:pt x="103" y="48"/>
                          </a:cubicBezTo>
                          <a:cubicBezTo>
                            <a:pt x="103" y="48"/>
                            <a:pt x="102" y="48"/>
                            <a:pt x="103" y="48"/>
                          </a:cubicBezTo>
                          <a:cubicBezTo>
                            <a:pt x="102" y="48"/>
                            <a:pt x="102" y="48"/>
                            <a:pt x="101" y="49"/>
                          </a:cubicBezTo>
                          <a:cubicBezTo>
                            <a:pt x="101" y="49"/>
                            <a:pt x="101" y="49"/>
                            <a:pt x="101" y="49"/>
                          </a:cubicBezTo>
                          <a:cubicBezTo>
                            <a:pt x="101" y="49"/>
                            <a:pt x="102" y="49"/>
                            <a:pt x="102" y="48"/>
                          </a:cubicBezTo>
                          <a:cubicBezTo>
                            <a:pt x="101" y="48"/>
                            <a:pt x="101" y="49"/>
                            <a:pt x="101" y="49"/>
                          </a:cubicBezTo>
                          <a:cubicBezTo>
                            <a:pt x="100" y="49"/>
                            <a:pt x="99" y="50"/>
                            <a:pt x="99" y="50"/>
                          </a:cubicBezTo>
                          <a:cubicBezTo>
                            <a:pt x="99" y="50"/>
                            <a:pt x="99" y="50"/>
                            <a:pt x="99" y="50"/>
                          </a:cubicBezTo>
                          <a:cubicBezTo>
                            <a:pt x="99" y="50"/>
                            <a:pt x="98" y="50"/>
                            <a:pt x="98" y="50"/>
                          </a:cubicBezTo>
                          <a:cubicBezTo>
                            <a:pt x="98" y="50"/>
                            <a:pt x="99" y="50"/>
                            <a:pt x="98" y="50"/>
                          </a:cubicBezTo>
                          <a:cubicBezTo>
                            <a:pt x="98" y="50"/>
                            <a:pt x="99" y="50"/>
                            <a:pt x="99" y="50"/>
                          </a:cubicBezTo>
                          <a:cubicBezTo>
                            <a:pt x="99" y="50"/>
                            <a:pt x="99" y="49"/>
                            <a:pt x="99" y="49"/>
                          </a:cubicBezTo>
                          <a:cubicBezTo>
                            <a:pt x="99" y="49"/>
                            <a:pt x="99" y="49"/>
                            <a:pt x="99" y="50"/>
                          </a:cubicBezTo>
                          <a:cubicBezTo>
                            <a:pt x="99" y="50"/>
                            <a:pt x="99" y="49"/>
                            <a:pt x="99" y="49"/>
                          </a:cubicBezTo>
                          <a:cubicBezTo>
                            <a:pt x="99" y="49"/>
                            <a:pt x="99" y="49"/>
                            <a:pt x="99" y="49"/>
                          </a:cubicBezTo>
                          <a:cubicBezTo>
                            <a:pt x="99" y="49"/>
                            <a:pt x="99" y="49"/>
                            <a:pt x="100" y="49"/>
                          </a:cubicBezTo>
                          <a:cubicBezTo>
                            <a:pt x="100" y="49"/>
                            <a:pt x="101" y="48"/>
                            <a:pt x="102" y="48"/>
                          </a:cubicBezTo>
                          <a:cubicBezTo>
                            <a:pt x="102" y="48"/>
                            <a:pt x="102" y="48"/>
                            <a:pt x="101" y="48"/>
                          </a:cubicBezTo>
                          <a:cubicBezTo>
                            <a:pt x="101" y="48"/>
                            <a:pt x="102" y="48"/>
                            <a:pt x="102" y="48"/>
                          </a:cubicBezTo>
                          <a:cubicBezTo>
                            <a:pt x="102" y="48"/>
                            <a:pt x="102" y="48"/>
                            <a:pt x="102" y="48"/>
                          </a:cubicBezTo>
                          <a:cubicBezTo>
                            <a:pt x="101" y="48"/>
                            <a:pt x="101" y="48"/>
                            <a:pt x="101" y="49"/>
                          </a:cubicBezTo>
                          <a:cubicBezTo>
                            <a:pt x="101" y="49"/>
                            <a:pt x="101" y="48"/>
                            <a:pt x="100" y="49"/>
                          </a:cubicBezTo>
                          <a:cubicBezTo>
                            <a:pt x="100" y="48"/>
                            <a:pt x="101" y="48"/>
                            <a:pt x="101" y="48"/>
                          </a:cubicBezTo>
                          <a:cubicBezTo>
                            <a:pt x="100" y="48"/>
                            <a:pt x="100" y="49"/>
                            <a:pt x="100" y="49"/>
                          </a:cubicBezTo>
                          <a:cubicBezTo>
                            <a:pt x="100" y="49"/>
                            <a:pt x="100" y="49"/>
                            <a:pt x="99" y="49"/>
                          </a:cubicBezTo>
                          <a:cubicBezTo>
                            <a:pt x="99" y="49"/>
                            <a:pt x="100" y="49"/>
                            <a:pt x="100" y="49"/>
                          </a:cubicBezTo>
                          <a:cubicBezTo>
                            <a:pt x="99" y="49"/>
                            <a:pt x="99" y="49"/>
                            <a:pt x="99" y="49"/>
                          </a:cubicBezTo>
                          <a:cubicBezTo>
                            <a:pt x="99" y="49"/>
                            <a:pt x="99" y="49"/>
                            <a:pt x="99" y="49"/>
                          </a:cubicBezTo>
                          <a:cubicBezTo>
                            <a:pt x="99" y="49"/>
                            <a:pt x="99" y="49"/>
                            <a:pt x="99" y="49"/>
                          </a:cubicBezTo>
                          <a:cubicBezTo>
                            <a:pt x="98" y="49"/>
                            <a:pt x="98" y="50"/>
                            <a:pt x="97" y="50"/>
                          </a:cubicBezTo>
                          <a:cubicBezTo>
                            <a:pt x="97" y="51"/>
                            <a:pt x="97" y="50"/>
                            <a:pt x="98" y="50"/>
                          </a:cubicBezTo>
                          <a:cubicBezTo>
                            <a:pt x="97" y="51"/>
                            <a:pt x="98" y="50"/>
                            <a:pt x="97" y="50"/>
                          </a:cubicBezTo>
                          <a:cubicBezTo>
                            <a:pt x="97" y="51"/>
                            <a:pt x="98" y="50"/>
                            <a:pt x="97" y="51"/>
                          </a:cubicBezTo>
                          <a:cubicBezTo>
                            <a:pt x="97" y="51"/>
                            <a:pt x="98" y="50"/>
                            <a:pt x="98" y="50"/>
                          </a:cubicBezTo>
                          <a:cubicBezTo>
                            <a:pt x="97" y="51"/>
                            <a:pt x="98" y="51"/>
                            <a:pt x="97" y="51"/>
                          </a:cubicBezTo>
                          <a:cubicBezTo>
                            <a:pt x="97" y="51"/>
                            <a:pt x="98" y="51"/>
                            <a:pt x="98" y="51"/>
                          </a:cubicBezTo>
                          <a:cubicBezTo>
                            <a:pt x="98" y="51"/>
                            <a:pt x="98" y="51"/>
                            <a:pt x="98" y="51"/>
                          </a:cubicBezTo>
                          <a:cubicBezTo>
                            <a:pt x="98" y="51"/>
                            <a:pt x="99" y="50"/>
                            <a:pt x="99" y="51"/>
                          </a:cubicBezTo>
                          <a:cubicBezTo>
                            <a:pt x="98" y="51"/>
                            <a:pt x="98" y="51"/>
                            <a:pt x="98" y="51"/>
                          </a:cubicBezTo>
                          <a:cubicBezTo>
                            <a:pt x="98" y="51"/>
                            <a:pt x="99" y="51"/>
                            <a:pt x="99" y="51"/>
                          </a:cubicBezTo>
                          <a:cubicBezTo>
                            <a:pt x="99" y="51"/>
                            <a:pt x="99" y="51"/>
                            <a:pt x="99" y="51"/>
                          </a:cubicBezTo>
                          <a:cubicBezTo>
                            <a:pt x="99" y="51"/>
                            <a:pt x="99" y="51"/>
                            <a:pt x="99" y="50"/>
                          </a:cubicBezTo>
                          <a:cubicBezTo>
                            <a:pt x="99" y="50"/>
                            <a:pt x="99" y="50"/>
                            <a:pt x="100" y="50"/>
                          </a:cubicBezTo>
                          <a:cubicBezTo>
                            <a:pt x="99" y="50"/>
                            <a:pt x="100" y="50"/>
                            <a:pt x="100" y="50"/>
                          </a:cubicBezTo>
                          <a:cubicBezTo>
                            <a:pt x="100" y="50"/>
                            <a:pt x="100" y="50"/>
                            <a:pt x="100" y="50"/>
                          </a:cubicBezTo>
                          <a:cubicBezTo>
                            <a:pt x="100" y="50"/>
                            <a:pt x="100" y="50"/>
                            <a:pt x="100" y="50"/>
                          </a:cubicBezTo>
                          <a:cubicBezTo>
                            <a:pt x="100" y="50"/>
                            <a:pt x="100" y="50"/>
                            <a:pt x="100" y="50"/>
                          </a:cubicBezTo>
                          <a:cubicBezTo>
                            <a:pt x="100" y="50"/>
                            <a:pt x="100" y="50"/>
                            <a:pt x="100" y="50"/>
                          </a:cubicBezTo>
                          <a:cubicBezTo>
                            <a:pt x="100" y="50"/>
                            <a:pt x="100" y="50"/>
                            <a:pt x="100" y="50"/>
                          </a:cubicBezTo>
                          <a:cubicBezTo>
                            <a:pt x="101" y="50"/>
                            <a:pt x="101" y="49"/>
                            <a:pt x="101" y="49"/>
                          </a:cubicBezTo>
                          <a:cubicBezTo>
                            <a:pt x="101" y="49"/>
                            <a:pt x="102" y="49"/>
                            <a:pt x="102" y="49"/>
                          </a:cubicBezTo>
                          <a:cubicBezTo>
                            <a:pt x="101" y="49"/>
                            <a:pt x="101" y="49"/>
                            <a:pt x="101" y="50"/>
                          </a:cubicBezTo>
                          <a:cubicBezTo>
                            <a:pt x="101" y="50"/>
                            <a:pt x="101" y="50"/>
                            <a:pt x="101" y="50"/>
                          </a:cubicBezTo>
                          <a:cubicBezTo>
                            <a:pt x="101" y="50"/>
                            <a:pt x="101" y="50"/>
                            <a:pt x="101" y="50"/>
                          </a:cubicBezTo>
                          <a:cubicBezTo>
                            <a:pt x="101" y="50"/>
                            <a:pt x="102" y="50"/>
                            <a:pt x="102" y="50"/>
                          </a:cubicBezTo>
                          <a:cubicBezTo>
                            <a:pt x="102" y="49"/>
                            <a:pt x="102" y="49"/>
                            <a:pt x="102" y="49"/>
                          </a:cubicBezTo>
                          <a:cubicBezTo>
                            <a:pt x="102" y="49"/>
                            <a:pt x="102" y="49"/>
                            <a:pt x="102" y="50"/>
                          </a:cubicBezTo>
                          <a:cubicBezTo>
                            <a:pt x="102" y="49"/>
                            <a:pt x="102" y="49"/>
                            <a:pt x="103" y="49"/>
                          </a:cubicBezTo>
                          <a:cubicBezTo>
                            <a:pt x="103" y="49"/>
                            <a:pt x="102" y="50"/>
                            <a:pt x="102" y="50"/>
                          </a:cubicBezTo>
                          <a:cubicBezTo>
                            <a:pt x="102" y="50"/>
                            <a:pt x="102" y="50"/>
                            <a:pt x="102" y="50"/>
                          </a:cubicBezTo>
                          <a:cubicBezTo>
                            <a:pt x="102" y="50"/>
                            <a:pt x="102" y="50"/>
                            <a:pt x="101" y="50"/>
                          </a:cubicBezTo>
                          <a:cubicBezTo>
                            <a:pt x="101" y="50"/>
                            <a:pt x="102" y="50"/>
                            <a:pt x="102" y="50"/>
                          </a:cubicBezTo>
                          <a:cubicBezTo>
                            <a:pt x="102" y="50"/>
                            <a:pt x="102" y="50"/>
                            <a:pt x="103" y="50"/>
                          </a:cubicBezTo>
                          <a:cubicBezTo>
                            <a:pt x="103" y="50"/>
                            <a:pt x="102" y="50"/>
                            <a:pt x="102" y="50"/>
                          </a:cubicBezTo>
                          <a:cubicBezTo>
                            <a:pt x="103" y="49"/>
                            <a:pt x="103" y="49"/>
                            <a:pt x="103" y="49"/>
                          </a:cubicBezTo>
                          <a:cubicBezTo>
                            <a:pt x="103" y="49"/>
                            <a:pt x="103" y="49"/>
                            <a:pt x="103" y="49"/>
                          </a:cubicBezTo>
                          <a:cubicBezTo>
                            <a:pt x="103" y="49"/>
                            <a:pt x="103" y="49"/>
                            <a:pt x="103" y="49"/>
                          </a:cubicBezTo>
                          <a:cubicBezTo>
                            <a:pt x="103" y="49"/>
                            <a:pt x="103" y="49"/>
                            <a:pt x="103" y="49"/>
                          </a:cubicBezTo>
                          <a:cubicBezTo>
                            <a:pt x="103" y="49"/>
                            <a:pt x="103" y="49"/>
                            <a:pt x="103" y="49"/>
                          </a:cubicBezTo>
                          <a:cubicBezTo>
                            <a:pt x="103" y="49"/>
                            <a:pt x="104" y="49"/>
                            <a:pt x="104" y="48"/>
                          </a:cubicBezTo>
                          <a:cubicBezTo>
                            <a:pt x="105" y="48"/>
                            <a:pt x="105" y="48"/>
                            <a:pt x="106" y="48"/>
                          </a:cubicBezTo>
                          <a:cubicBezTo>
                            <a:pt x="106" y="48"/>
                            <a:pt x="106" y="48"/>
                            <a:pt x="107" y="47"/>
                          </a:cubicBezTo>
                          <a:cubicBezTo>
                            <a:pt x="107" y="48"/>
                            <a:pt x="106" y="48"/>
                            <a:pt x="106" y="48"/>
                          </a:cubicBezTo>
                          <a:cubicBezTo>
                            <a:pt x="106" y="48"/>
                            <a:pt x="106" y="48"/>
                            <a:pt x="106" y="48"/>
                          </a:cubicBezTo>
                          <a:cubicBezTo>
                            <a:pt x="106" y="48"/>
                            <a:pt x="106" y="48"/>
                            <a:pt x="105" y="48"/>
                          </a:cubicBezTo>
                          <a:cubicBezTo>
                            <a:pt x="105" y="48"/>
                            <a:pt x="106" y="48"/>
                            <a:pt x="105" y="48"/>
                          </a:cubicBezTo>
                          <a:cubicBezTo>
                            <a:pt x="105" y="48"/>
                            <a:pt x="105" y="48"/>
                            <a:pt x="105" y="48"/>
                          </a:cubicBezTo>
                          <a:cubicBezTo>
                            <a:pt x="105" y="48"/>
                            <a:pt x="105" y="48"/>
                            <a:pt x="105" y="48"/>
                          </a:cubicBezTo>
                          <a:cubicBezTo>
                            <a:pt x="105" y="49"/>
                            <a:pt x="105" y="48"/>
                            <a:pt x="105" y="49"/>
                          </a:cubicBezTo>
                          <a:cubicBezTo>
                            <a:pt x="105" y="49"/>
                            <a:pt x="105" y="49"/>
                            <a:pt x="105" y="49"/>
                          </a:cubicBezTo>
                          <a:cubicBezTo>
                            <a:pt x="105" y="49"/>
                            <a:pt x="105" y="49"/>
                            <a:pt x="105" y="49"/>
                          </a:cubicBezTo>
                          <a:cubicBezTo>
                            <a:pt x="105" y="49"/>
                            <a:pt x="105" y="49"/>
                            <a:pt x="105" y="49"/>
                          </a:cubicBezTo>
                          <a:cubicBezTo>
                            <a:pt x="104" y="49"/>
                            <a:pt x="104" y="49"/>
                            <a:pt x="104" y="49"/>
                          </a:cubicBezTo>
                          <a:cubicBezTo>
                            <a:pt x="104" y="49"/>
                            <a:pt x="104" y="49"/>
                            <a:pt x="105" y="49"/>
                          </a:cubicBezTo>
                          <a:cubicBezTo>
                            <a:pt x="104" y="49"/>
                            <a:pt x="104" y="49"/>
                            <a:pt x="104" y="49"/>
                          </a:cubicBezTo>
                          <a:cubicBezTo>
                            <a:pt x="104" y="49"/>
                            <a:pt x="104" y="49"/>
                            <a:pt x="104" y="49"/>
                          </a:cubicBezTo>
                          <a:cubicBezTo>
                            <a:pt x="103" y="49"/>
                            <a:pt x="104" y="50"/>
                            <a:pt x="104" y="50"/>
                          </a:cubicBezTo>
                          <a:cubicBezTo>
                            <a:pt x="104" y="50"/>
                            <a:pt x="104" y="49"/>
                            <a:pt x="104" y="49"/>
                          </a:cubicBezTo>
                          <a:cubicBezTo>
                            <a:pt x="104" y="49"/>
                            <a:pt x="104" y="49"/>
                            <a:pt x="104" y="49"/>
                          </a:cubicBezTo>
                          <a:cubicBezTo>
                            <a:pt x="104" y="49"/>
                            <a:pt x="104" y="49"/>
                            <a:pt x="104" y="49"/>
                          </a:cubicBezTo>
                          <a:cubicBezTo>
                            <a:pt x="104" y="49"/>
                            <a:pt x="104" y="50"/>
                            <a:pt x="104" y="50"/>
                          </a:cubicBezTo>
                          <a:cubicBezTo>
                            <a:pt x="104" y="50"/>
                            <a:pt x="105" y="49"/>
                            <a:pt x="105" y="49"/>
                          </a:cubicBezTo>
                          <a:cubicBezTo>
                            <a:pt x="105" y="49"/>
                            <a:pt x="105" y="49"/>
                            <a:pt x="105" y="49"/>
                          </a:cubicBezTo>
                          <a:cubicBezTo>
                            <a:pt x="105" y="49"/>
                            <a:pt x="105" y="49"/>
                            <a:pt x="105" y="49"/>
                          </a:cubicBezTo>
                          <a:cubicBezTo>
                            <a:pt x="106" y="49"/>
                            <a:pt x="105" y="49"/>
                            <a:pt x="105" y="49"/>
                          </a:cubicBezTo>
                          <a:cubicBezTo>
                            <a:pt x="105" y="49"/>
                            <a:pt x="106" y="49"/>
                            <a:pt x="106" y="49"/>
                          </a:cubicBezTo>
                          <a:cubicBezTo>
                            <a:pt x="106" y="49"/>
                            <a:pt x="106" y="49"/>
                            <a:pt x="106" y="49"/>
                          </a:cubicBezTo>
                          <a:cubicBezTo>
                            <a:pt x="106" y="48"/>
                            <a:pt x="106" y="49"/>
                            <a:pt x="106" y="49"/>
                          </a:cubicBezTo>
                          <a:cubicBezTo>
                            <a:pt x="106" y="49"/>
                            <a:pt x="106" y="49"/>
                            <a:pt x="106" y="49"/>
                          </a:cubicBezTo>
                          <a:cubicBezTo>
                            <a:pt x="106" y="49"/>
                            <a:pt x="106" y="49"/>
                            <a:pt x="106" y="49"/>
                          </a:cubicBezTo>
                          <a:cubicBezTo>
                            <a:pt x="106" y="49"/>
                            <a:pt x="106" y="49"/>
                            <a:pt x="106" y="49"/>
                          </a:cubicBezTo>
                          <a:cubicBezTo>
                            <a:pt x="106" y="49"/>
                            <a:pt x="106" y="49"/>
                            <a:pt x="106" y="49"/>
                          </a:cubicBezTo>
                          <a:cubicBezTo>
                            <a:pt x="106" y="49"/>
                            <a:pt x="105" y="50"/>
                            <a:pt x="105" y="50"/>
                          </a:cubicBezTo>
                          <a:cubicBezTo>
                            <a:pt x="105" y="50"/>
                            <a:pt x="105" y="50"/>
                            <a:pt x="105" y="50"/>
                          </a:cubicBezTo>
                          <a:cubicBezTo>
                            <a:pt x="104" y="51"/>
                            <a:pt x="104" y="51"/>
                            <a:pt x="103" y="51"/>
                          </a:cubicBezTo>
                          <a:cubicBezTo>
                            <a:pt x="103" y="51"/>
                            <a:pt x="103" y="51"/>
                            <a:pt x="103" y="51"/>
                          </a:cubicBezTo>
                          <a:cubicBezTo>
                            <a:pt x="103" y="51"/>
                            <a:pt x="103" y="51"/>
                            <a:pt x="103" y="51"/>
                          </a:cubicBezTo>
                          <a:cubicBezTo>
                            <a:pt x="103" y="51"/>
                            <a:pt x="103" y="51"/>
                            <a:pt x="103" y="51"/>
                          </a:cubicBezTo>
                          <a:cubicBezTo>
                            <a:pt x="103" y="50"/>
                            <a:pt x="103" y="51"/>
                            <a:pt x="103" y="51"/>
                          </a:cubicBezTo>
                          <a:cubicBezTo>
                            <a:pt x="103" y="51"/>
                            <a:pt x="103" y="51"/>
                            <a:pt x="103" y="51"/>
                          </a:cubicBezTo>
                          <a:cubicBezTo>
                            <a:pt x="103" y="51"/>
                            <a:pt x="103" y="51"/>
                            <a:pt x="102" y="51"/>
                          </a:cubicBezTo>
                          <a:cubicBezTo>
                            <a:pt x="102" y="51"/>
                            <a:pt x="102" y="51"/>
                            <a:pt x="101" y="51"/>
                          </a:cubicBezTo>
                          <a:cubicBezTo>
                            <a:pt x="101" y="51"/>
                            <a:pt x="101" y="51"/>
                            <a:pt x="101" y="51"/>
                          </a:cubicBezTo>
                          <a:cubicBezTo>
                            <a:pt x="101" y="51"/>
                            <a:pt x="101" y="52"/>
                            <a:pt x="101" y="52"/>
                          </a:cubicBezTo>
                          <a:cubicBezTo>
                            <a:pt x="101" y="52"/>
                            <a:pt x="101" y="52"/>
                            <a:pt x="101" y="52"/>
                          </a:cubicBezTo>
                          <a:cubicBezTo>
                            <a:pt x="101" y="52"/>
                            <a:pt x="101" y="52"/>
                            <a:pt x="100" y="52"/>
                          </a:cubicBezTo>
                          <a:cubicBezTo>
                            <a:pt x="100" y="52"/>
                            <a:pt x="100" y="52"/>
                            <a:pt x="101" y="52"/>
                          </a:cubicBezTo>
                          <a:cubicBezTo>
                            <a:pt x="101" y="52"/>
                            <a:pt x="101" y="52"/>
                            <a:pt x="101" y="52"/>
                          </a:cubicBezTo>
                          <a:cubicBezTo>
                            <a:pt x="100" y="52"/>
                            <a:pt x="100" y="52"/>
                            <a:pt x="100" y="52"/>
                          </a:cubicBezTo>
                          <a:cubicBezTo>
                            <a:pt x="100" y="52"/>
                            <a:pt x="100" y="52"/>
                            <a:pt x="100" y="52"/>
                          </a:cubicBezTo>
                          <a:cubicBezTo>
                            <a:pt x="100" y="52"/>
                            <a:pt x="101" y="51"/>
                            <a:pt x="101" y="51"/>
                          </a:cubicBezTo>
                          <a:cubicBezTo>
                            <a:pt x="101" y="51"/>
                            <a:pt x="102" y="51"/>
                            <a:pt x="102" y="51"/>
                          </a:cubicBezTo>
                          <a:cubicBezTo>
                            <a:pt x="102" y="50"/>
                            <a:pt x="101" y="51"/>
                            <a:pt x="101" y="51"/>
                          </a:cubicBezTo>
                          <a:cubicBezTo>
                            <a:pt x="101" y="50"/>
                            <a:pt x="102" y="50"/>
                            <a:pt x="102" y="50"/>
                          </a:cubicBezTo>
                          <a:cubicBezTo>
                            <a:pt x="102" y="50"/>
                            <a:pt x="102" y="50"/>
                            <a:pt x="102" y="50"/>
                          </a:cubicBezTo>
                          <a:cubicBezTo>
                            <a:pt x="102" y="50"/>
                            <a:pt x="102" y="50"/>
                            <a:pt x="101" y="50"/>
                          </a:cubicBezTo>
                          <a:cubicBezTo>
                            <a:pt x="101" y="50"/>
                            <a:pt x="101" y="50"/>
                            <a:pt x="102" y="50"/>
                          </a:cubicBezTo>
                          <a:cubicBezTo>
                            <a:pt x="101" y="50"/>
                            <a:pt x="101" y="50"/>
                            <a:pt x="101" y="50"/>
                          </a:cubicBezTo>
                          <a:cubicBezTo>
                            <a:pt x="101" y="50"/>
                            <a:pt x="101" y="50"/>
                            <a:pt x="101" y="50"/>
                          </a:cubicBezTo>
                          <a:cubicBezTo>
                            <a:pt x="101" y="50"/>
                            <a:pt x="101" y="51"/>
                            <a:pt x="101" y="51"/>
                          </a:cubicBezTo>
                          <a:cubicBezTo>
                            <a:pt x="101" y="51"/>
                            <a:pt x="101" y="50"/>
                            <a:pt x="101" y="51"/>
                          </a:cubicBezTo>
                          <a:cubicBezTo>
                            <a:pt x="101" y="51"/>
                            <a:pt x="101" y="51"/>
                            <a:pt x="101" y="50"/>
                          </a:cubicBezTo>
                          <a:cubicBezTo>
                            <a:pt x="100" y="50"/>
                            <a:pt x="100" y="51"/>
                            <a:pt x="100" y="51"/>
                          </a:cubicBezTo>
                          <a:cubicBezTo>
                            <a:pt x="100" y="51"/>
                            <a:pt x="100" y="51"/>
                            <a:pt x="101" y="51"/>
                          </a:cubicBezTo>
                          <a:cubicBezTo>
                            <a:pt x="101" y="51"/>
                            <a:pt x="101" y="51"/>
                            <a:pt x="101" y="51"/>
                          </a:cubicBezTo>
                          <a:cubicBezTo>
                            <a:pt x="101" y="51"/>
                            <a:pt x="100" y="51"/>
                            <a:pt x="100" y="51"/>
                          </a:cubicBezTo>
                          <a:cubicBezTo>
                            <a:pt x="100" y="51"/>
                            <a:pt x="100" y="51"/>
                            <a:pt x="100" y="51"/>
                          </a:cubicBezTo>
                          <a:cubicBezTo>
                            <a:pt x="100" y="51"/>
                            <a:pt x="100" y="51"/>
                            <a:pt x="100" y="51"/>
                          </a:cubicBezTo>
                          <a:cubicBezTo>
                            <a:pt x="100" y="51"/>
                            <a:pt x="100" y="52"/>
                            <a:pt x="99" y="52"/>
                          </a:cubicBezTo>
                          <a:cubicBezTo>
                            <a:pt x="100" y="52"/>
                            <a:pt x="100" y="52"/>
                            <a:pt x="100" y="52"/>
                          </a:cubicBezTo>
                          <a:cubicBezTo>
                            <a:pt x="99" y="52"/>
                            <a:pt x="99" y="52"/>
                            <a:pt x="98" y="52"/>
                          </a:cubicBezTo>
                          <a:cubicBezTo>
                            <a:pt x="98" y="53"/>
                            <a:pt x="97" y="53"/>
                            <a:pt x="97" y="53"/>
                          </a:cubicBezTo>
                          <a:cubicBezTo>
                            <a:pt x="97" y="53"/>
                            <a:pt x="97" y="53"/>
                            <a:pt x="97" y="53"/>
                          </a:cubicBezTo>
                          <a:cubicBezTo>
                            <a:pt x="97" y="53"/>
                            <a:pt x="97" y="53"/>
                            <a:pt x="97" y="53"/>
                          </a:cubicBezTo>
                          <a:cubicBezTo>
                            <a:pt x="97" y="53"/>
                            <a:pt x="97" y="52"/>
                            <a:pt x="98" y="52"/>
                          </a:cubicBezTo>
                          <a:cubicBezTo>
                            <a:pt x="98" y="52"/>
                            <a:pt x="97" y="52"/>
                            <a:pt x="97" y="52"/>
                          </a:cubicBezTo>
                          <a:cubicBezTo>
                            <a:pt x="97" y="52"/>
                            <a:pt x="97" y="52"/>
                            <a:pt x="97" y="52"/>
                          </a:cubicBezTo>
                          <a:cubicBezTo>
                            <a:pt x="97" y="52"/>
                            <a:pt x="97" y="52"/>
                            <a:pt x="97" y="52"/>
                          </a:cubicBezTo>
                          <a:cubicBezTo>
                            <a:pt x="98" y="52"/>
                            <a:pt x="98" y="52"/>
                            <a:pt x="98" y="52"/>
                          </a:cubicBezTo>
                          <a:cubicBezTo>
                            <a:pt x="98" y="52"/>
                            <a:pt x="97" y="53"/>
                            <a:pt x="98" y="53"/>
                          </a:cubicBezTo>
                          <a:cubicBezTo>
                            <a:pt x="98" y="53"/>
                            <a:pt x="98" y="52"/>
                            <a:pt x="99" y="52"/>
                          </a:cubicBezTo>
                          <a:cubicBezTo>
                            <a:pt x="99" y="52"/>
                            <a:pt x="99" y="52"/>
                            <a:pt x="100" y="51"/>
                          </a:cubicBezTo>
                          <a:cubicBezTo>
                            <a:pt x="100" y="51"/>
                            <a:pt x="99" y="51"/>
                            <a:pt x="99" y="51"/>
                          </a:cubicBezTo>
                          <a:cubicBezTo>
                            <a:pt x="99" y="51"/>
                            <a:pt x="99" y="52"/>
                            <a:pt x="99" y="52"/>
                          </a:cubicBezTo>
                          <a:cubicBezTo>
                            <a:pt x="99" y="52"/>
                            <a:pt x="99" y="52"/>
                            <a:pt x="99" y="52"/>
                          </a:cubicBezTo>
                          <a:cubicBezTo>
                            <a:pt x="98" y="52"/>
                            <a:pt x="99" y="52"/>
                            <a:pt x="99" y="52"/>
                          </a:cubicBezTo>
                          <a:cubicBezTo>
                            <a:pt x="99" y="52"/>
                            <a:pt x="98" y="52"/>
                            <a:pt x="98" y="52"/>
                          </a:cubicBezTo>
                          <a:cubicBezTo>
                            <a:pt x="98" y="52"/>
                            <a:pt x="98" y="52"/>
                            <a:pt x="98" y="52"/>
                          </a:cubicBezTo>
                          <a:cubicBezTo>
                            <a:pt x="98" y="52"/>
                            <a:pt x="98" y="52"/>
                            <a:pt x="98" y="52"/>
                          </a:cubicBezTo>
                          <a:cubicBezTo>
                            <a:pt x="98" y="52"/>
                            <a:pt x="98" y="52"/>
                            <a:pt x="97" y="52"/>
                          </a:cubicBezTo>
                          <a:cubicBezTo>
                            <a:pt x="97" y="52"/>
                            <a:pt x="97" y="52"/>
                            <a:pt x="97" y="52"/>
                          </a:cubicBezTo>
                          <a:cubicBezTo>
                            <a:pt x="97" y="52"/>
                            <a:pt x="97" y="52"/>
                            <a:pt x="97" y="52"/>
                          </a:cubicBezTo>
                          <a:cubicBezTo>
                            <a:pt x="96" y="52"/>
                            <a:pt x="97" y="52"/>
                            <a:pt x="97" y="53"/>
                          </a:cubicBezTo>
                          <a:cubicBezTo>
                            <a:pt x="97" y="53"/>
                            <a:pt x="96" y="53"/>
                            <a:pt x="96" y="53"/>
                          </a:cubicBezTo>
                          <a:cubicBezTo>
                            <a:pt x="96" y="53"/>
                            <a:pt x="96" y="53"/>
                            <a:pt x="97" y="53"/>
                          </a:cubicBezTo>
                          <a:cubicBezTo>
                            <a:pt x="96" y="52"/>
                            <a:pt x="96" y="53"/>
                            <a:pt x="96" y="53"/>
                          </a:cubicBezTo>
                          <a:cubicBezTo>
                            <a:pt x="96" y="52"/>
                            <a:pt x="97" y="52"/>
                            <a:pt x="98" y="52"/>
                          </a:cubicBezTo>
                          <a:cubicBezTo>
                            <a:pt x="98" y="51"/>
                            <a:pt x="98" y="51"/>
                            <a:pt x="98" y="52"/>
                          </a:cubicBezTo>
                          <a:cubicBezTo>
                            <a:pt x="98" y="51"/>
                            <a:pt x="98" y="51"/>
                            <a:pt x="98" y="51"/>
                          </a:cubicBezTo>
                          <a:cubicBezTo>
                            <a:pt x="98" y="51"/>
                            <a:pt x="98" y="51"/>
                            <a:pt x="98" y="51"/>
                          </a:cubicBezTo>
                          <a:cubicBezTo>
                            <a:pt x="98" y="51"/>
                            <a:pt x="99" y="51"/>
                            <a:pt x="99" y="51"/>
                          </a:cubicBezTo>
                          <a:cubicBezTo>
                            <a:pt x="98" y="51"/>
                            <a:pt x="97" y="52"/>
                            <a:pt x="97" y="52"/>
                          </a:cubicBezTo>
                          <a:cubicBezTo>
                            <a:pt x="96" y="52"/>
                            <a:pt x="97" y="52"/>
                            <a:pt x="96" y="52"/>
                          </a:cubicBezTo>
                          <a:cubicBezTo>
                            <a:pt x="96" y="52"/>
                            <a:pt x="96" y="52"/>
                            <a:pt x="96" y="52"/>
                          </a:cubicBezTo>
                          <a:cubicBezTo>
                            <a:pt x="96" y="52"/>
                            <a:pt x="96" y="52"/>
                            <a:pt x="96" y="52"/>
                          </a:cubicBezTo>
                          <a:cubicBezTo>
                            <a:pt x="96" y="52"/>
                            <a:pt x="96" y="52"/>
                            <a:pt x="96" y="52"/>
                          </a:cubicBezTo>
                          <a:cubicBezTo>
                            <a:pt x="95" y="52"/>
                            <a:pt x="95" y="52"/>
                            <a:pt x="95" y="53"/>
                          </a:cubicBezTo>
                          <a:cubicBezTo>
                            <a:pt x="95" y="52"/>
                            <a:pt x="95" y="52"/>
                            <a:pt x="95" y="52"/>
                          </a:cubicBezTo>
                          <a:cubicBezTo>
                            <a:pt x="95" y="52"/>
                            <a:pt x="95" y="53"/>
                            <a:pt x="95" y="53"/>
                          </a:cubicBezTo>
                          <a:cubicBezTo>
                            <a:pt x="95" y="53"/>
                            <a:pt x="94" y="53"/>
                            <a:pt x="94" y="53"/>
                          </a:cubicBezTo>
                          <a:cubicBezTo>
                            <a:pt x="94" y="53"/>
                            <a:pt x="94" y="53"/>
                            <a:pt x="94" y="53"/>
                          </a:cubicBezTo>
                          <a:cubicBezTo>
                            <a:pt x="94" y="53"/>
                            <a:pt x="94" y="53"/>
                            <a:pt x="94" y="53"/>
                          </a:cubicBezTo>
                          <a:cubicBezTo>
                            <a:pt x="94" y="53"/>
                            <a:pt x="94" y="53"/>
                            <a:pt x="93" y="53"/>
                          </a:cubicBezTo>
                          <a:cubicBezTo>
                            <a:pt x="94" y="53"/>
                            <a:pt x="94" y="53"/>
                            <a:pt x="94" y="53"/>
                          </a:cubicBezTo>
                          <a:cubicBezTo>
                            <a:pt x="93" y="53"/>
                            <a:pt x="93" y="53"/>
                            <a:pt x="93" y="54"/>
                          </a:cubicBezTo>
                          <a:cubicBezTo>
                            <a:pt x="93" y="54"/>
                            <a:pt x="93" y="53"/>
                            <a:pt x="93" y="53"/>
                          </a:cubicBezTo>
                          <a:cubicBezTo>
                            <a:pt x="93" y="53"/>
                            <a:pt x="93" y="53"/>
                            <a:pt x="93" y="53"/>
                          </a:cubicBezTo>
                          <a:cubicBezTo>
                            <a:pt x="93" y="53"/>
                            <a:pt x="93" y="53"/>
                            <a:pt x="93" y="53"/>
                          </a:cubicBezTo>
                          <a:cubicBezTo>
                            <a:pt x="93" y="53"/>
                            <a:pt x="94" y="53"/>
                            <a:pt x="94" y="52"/>
                          </a:cubicBezTo>
                          <a:cubicBezTo>
                            <a:pt x="94" y="52"/>
                            <a:pt x="94" y="53"/>
                            <a:pt x="93" y="53"/>
                          </a:cubicBezTo>
                          <a:cubicBezTo>
                            <a:pt x="94" y="52"/>
                            <a:pt x="94" y="52"/>
                            <a:pt x="94" y="52"/>
                          </a:cubicBezTo>
                          <a:cubicBezTo>
                            <a:pt x="94" y="52"/>
                            <a:pt x="94" y="52"/>
                            <a:pt x="94" y="52"/>
                          </a:cubicBezTo>
                          <a:cubicBezTo>
                            <a:pt x="94" y="52"/>
                            <a:pt x="95" y="52"/>
                            <a:pt x="94" y="52"/>
                          </a:cubicBezTo>
                          <a:cubicBezTo>
                            <a:pt x="95" y="52"/>
                            <a:pt x="95" y="52"/>
                            <a:pt x="95" y="52"/>
                          </a:cubicBezTo>
                          <a:cubicBezTo>
                            <a:pt x="95" y="52"/>
                            <a:pt x="94" y="52"/>
                            <a:pt x="95" y="51"/>
                          </a:cubicBezTo>
                          <a:cubicBezTo>
                            <a:pt x="94" y="52"/>
                            <a:pt x="94" y="52"/>
                            <a:pt x="94" y="52"/>
                          </a:cubicBezTo>
                          <a:cubicBezTo>
                            <a:pt x="94" y="52"/>
                            <a:pt x="94" y="52"/>
                            <a:pt x="94" y="52"/>
                          </a:cubicBezTo>
                          <a:cubicBezTo>
                            <a:pt x="94" y="52"/>
                            <a:pt x="94" y="52"/>
                            <a:pt x="94" y="52"/>
                          </a:cubicBezTo>
                          <a:cubicBezTo>
                            <a:pt x="94" y="52"/>
                            <a:pt x="94" y="52"/>
                            <a:pt x="94" y="52"/>
                          </a:cubicBezTo>
                          <a:cubicBezTo>
                            <a:pt x="94" y="52"/>
                            <a:pt x="94" y="52"/>
                            <a:pt x="94" y="52"/>
                          </a:cubicBezTo>
                          <a:cubicBezTo>
                            <a:pt x="93" y="52"/>
                            <a:pt x="93" y="52"/>
                            <a:pt x="93" y="52"/>
                          </a:cubicBezTo>
                          <a:cubicBezTo>
                            <a:pt x="93" y="52"/>
                            <a:pt x="93" y="52"/>
                            <a:pt x="92" y="52"/>
                          </a:cubicBezTo>
                          <a:cubicBezTo>
                            <a:pt x="92" y="52"/>
                            <a:pt x="93" y="52"/>
                            <a:pt x="93" y="52"/>
                          </a:cubicBezTo>
                          <a:cubicBezTo>
                            <a:pt x="93" y="52"/>
                            <a:pt x="93" y="52"/>
                            <a:pt x="93" y="52"/>
                          </a:cubicBezTo>
                          <a:cubicBezTo>
                            <a:pt x="93" y="52"/>
                            <a:pt x="93" y="52"/>
                            <a:pt x="92" y="52"/>
                          </a:cubicBezTo>
                          <a:cubicBezTo>
                            <a:pt x="92" y="52"/>
                            <a:pt x="92" y="52"/>
                            <a:pt x="93" y="53"/>
                          </a:cubicBezTo>
                          <a:cubicBezTo>
                            <a:pt x="92" y="53"/>
                            <a:pt x="92" y="53"/>
                            <a:pt x="92" y="53"/>
                          </a:cubicBezTo>
                          <a:cubicBezTo>
                            <a:pt x="92" y="53"/>
                            <a:pt x="92" y="53"/>
                            <a:pt x="92" y="52"/>
                          </a:cubicBezTo>
                          <a:cubicBezTo>
                            <a:pt x="92" y="52"/>
                            <a:pt x="92" y="52"/>
                            <a:pt x="91" y="52"/>
                          </a:cubicBezTo>
                          <a:cubicBezTo>
                            <a:pt x="91" y="52"/>
                            <a:pt x="92" y="52"/>
                            <a:pt x="92" y="52"/>
                          </a:cubicBezTo>
                          <a:cubicBezTo>
                            <a:pt x="92" y="53"/>
                            <a:pt x="92" y="53"/>
                            <a:pt x="91" y="53"/>
                          </a:cubicBezTo>
                          <a:cubicBezTo>
                            <a:pt x="91" y="53"/>
                            <a:pt x="92" y="53"/>
                            <a:pt x="91" y="52"/>
                          </a:cubicBezTo>
                          <a:cubicBezTo>
                            <a:pt x="91" y="53"/>
                            <a:pt x="91" y="53"/>
                            <a:pt x="91" y="53"/>
                          </a:cubicBezTo>
                          <a:cubicBezTo>
                            <a:pt x="91" y="53"/>
                            <a:pt x="91" y="53"/>
                            <a:pt x="91" y="53"/>
                          </a:cubicBezTo>
                          <a:cubicBezTo>
                            <a:pt x="91" y="53"/>
                            <a:pt x="91" y="53"/>
                            <a:pt x="90" y="53"/>
                          </a:cubicBezTo>
                          <a:cubicBezTo>
                            <a:pt x="90" y="53"/>
                            <a:pt x="91" y="53"/>
                            <a:pt x="91" y="53"/>
                          </a:cubicBezTo>
                          <a:cubicBezTo>
                            <a:pt x="90" y="53"/>
                            <a:pt x="90" y="53"/>
                            <a:pt x="90" y="53"/>
                          </a:cubicBezTo>
                          <a:cubicBezTo>
                            <a:pt x="90" y="53"/>
                            <a:pt x="90" y="53"/>
                            <a:pt x="90" y="53"/>
                          </a:cubicBezTo>
                          <a:cubicBezTo>
                            <a:pt x="90" y="53"/>
                            <a:pt x="90" y="53"/>
                            <a:pt x="90" y="53"/>
                          </a:cubicBezTo>
                          <a:cubicBezTo>
                            <a:pt x="90" y="53"/>
                            <a:pt x="89" y="54"/>
                            <a:pt x="89" y="54"/>
                          </a:cubicBezTo>
                          <a:cubicBezTo>
                            <a:pt x="89" y="54"/>
                            <a:pt x="89" y="54"/>
                            <a:pt x="90" y="54"/>
                          </a:cubicBezTo>
                          <a:cubicBezTo>
                            <a:pt x="90" y="54"/>
                            <a:pt x="90" y="54"/>
                            <a:pt x="90" y="54"/>
                          </a:cubicBezTo>
                          <a:cubicBezTo>
                            <a:pt x="90" y="54"/>
                            <a:pt x="90" y="54"/>
                            <a:pt x="90" y="54"/>
                          </a:cubicBezTo>
                          <a:cubicBezTo>
                            <a:pt x="89" y="54"/>
                            <a:pt x="89" y="54"/>
                            <a:pt x="89" y="54"/>
                          </a:cubicBezTo>
                          <a:cubicBezTo>
                            <a:pt x="89" y="54"/>
                            <a:pt x="89" y="54"/>
                            <a:pt x="89" y="54"/>
                          </a:cubicBezTo>
                          <a:cubicBezTo>
                            <a:pt x="89" y="54"/>
                            <a:pt x="89" y="54"/>
                            <a:pt x="89" y="54"/>
                          </a:cubicBezTo>
                          <a:cubicBezTo>
                            <a:pt x="89" y="54"/>
                            <a:pt x="89" y="54"/>
                            <a:pt x="89" y="54"/>
                          </a:cubicBezTo>
                          <a:cubicBezTo>
                            <a:pt x="89" y="54"/>
                            <a:pt x="89" y="54"/>
                            <a:pt x="89" y="54"/>
                          </a:cubicBezTo>
                          <a:cubicBezTo>
                            <a:pt x="89" y="54"/>
                            <a:pt x="88" y="55"/>
                            <a:pt x="88" y="55"/>
                          </a:cubicBezTo>
                          <a:cubicBezTo>
                            <a:pt x="88" y="55"/>
                            <a:pt x="87" y="55"/>
                            <a:pt x="87" y="56"/>
                          </a:cubicBezTo>
                          <a:cubicBezTo>
                            <a:pt x="87" y="56"/>
                            <a:pt x="87" y="55"/>
                            <a:pt x="87" y="55"/>
                          </a:cubicBezTo>
                          <a:cubicBezTo>
                            <a:pt x="87" y="55"/>
                            <a:pt x="87" y="55"/>
                            <a:pt x="87" y="55"/>
                          </a:cubicBezTo>
                          <a:cubicBezTo>
                            <a:pt x="87" y="55"/>
                            <a:pt x="87" y="55"/>
                            <a:pt x="87" y="55"/>
                          </a:cubicBezTo>
                          <a:cubicBezTo>
                            <a:pt x="87" y="55"/>
                            <a:pt x="87" y="55"/>
                            <a:pt x="88" y="55"/>
                          </a:cubicBezTo>
                          <a:cubicBezTo>
                            <a:pt x="88" y="55"/>
                            <a:pt x="88" y="55"/>
                            <a:pt x="88" y="55"/>
                          </a:cubicBezTo>
                          <a:cubicBezTo>
                            <a:pt x="88" y="55"/>
                            <a:pt x="89" y="54"/>
                            <a:pt x="89" y="54"/>
                          </a:cubicBezTo>
                          <a:cubicBezTo>
                            <a:pt x="89" y="54"/>
                            <a:pt x="89" y="54"/>
                            <a:pt x="89" y="54"/>
                          </a:cubicBezTo>
                          <a:cubicBezTo>
                            <a:pt x="89" y="54"/>
                            <a:pt x="89" y="54"/>
                            <a:pt x="89" y="54"/>
                          </a:cubicBezTo>
                          <a:cubicBezTo>
                            <a:pt x="89" y="54"/>
                            <a:pt x="88" y="54"/>
                            <a:pt x="88" y="54"/>
                          </a:cubicBezTo>
                          <a:cubicBezTo>
                            <a:pt x="88" y="54"/>
                            <a:pt x="89" y="54"/>
                            <a:pt x="89" y="54"/>
                          </a:cubicBezTo>
                          <a:cubicBezTo>
                            <a:pt x="88" y="54"/>
                            <a:pt x="88" y="54"/>
                            <a:pt x="88" y="54"/>
                          </a:cubicBezTo>
                          <a:cubicBezTo>
                            <a:pt x="88" y="54"/>
                            <a:pt x="88" y="54"/>
                            <a:pt x="88" y="54"/>
                          </a:cubicBezTo>
                          <a:cubicBezTo>
                            <a:pt x="88" y="54"/>
                            <a:pt x="87" y="54"/>
                            <a:pt x="87" y="54"/>
                          </a:cubicBezTo>
                          <a:cubicBezTo>
                            <a:pt x="87" y="55"/>
                            <a:pt x="87" y="55"/>
                            <a:pt x="87" y="55"/>
                          </a:cubicBezTo>
                          <a:cubicBezTo>
                            <a:pt x="87" y="55"/>
                            <a:pt x="87" y="55"/>
                            <a:pt x="86" y="55"/>
                          </a:cubicBezTo>
                          <a:cubicBezTo>
                            <a:pt x="86" y="55"/>
                            <a:pt x="87" y="55"/>
                            <a:pt x="87" y="55"/>
                          </a:cubicBezTo>
                          <a:cubicBezTo>
                            <a:pt x="86" y="54"/>
                            <a:pt x="86" y="55"/>
                            <a:pt x="86" y="55"/>
                          </a:cubicBezTo>
                          <a:cubicBezTo>
                            <a:pt x="86" y="55"/>
                            <a:pt x="85" y="55"/>
                            <a:pt x="86" y="55"/>
                          </a:cubicBezTo>
                          <a:cubicBezTo>
                            <a:pt x="85" y="56"/>
                            <a:pt x="85" y="56"/>
                            <a:pt x="85" y="56"/>
                          </a:cubicBezTo>
                          <a:cubicBezTo>
                            <a:pt x="85" y="56"/>
                            <a:pt x="85" y="56"/>
                            <a:pt x="85" y="56"/>
                          </a:cubicBezTo>
                          <a:cubicBezTo>
                            <a:pt x="85" y="56"/>
                            <a:pt x="85" y="56"/>
                            <a:pt x="85" y="56"/>
                          </a:cubicBezTo>
                          <a:cubicBezTo>
                            <a:pt x="85" y="56"/>
                            <a:pt x="84" y="56"/>
                            <a:pt x="84" y="56"/>
                          </a:cubicBezTo>
                          <a:cubicBezTo>
                            <a:pt x="84" y="56"/>
                            <a:pt x="85" y="56"/>
                            <a:pt x="85" y="56"/>
                          </a:cubicBezTo>
                          <a:cubicBezTo>
                            <a:pt x="85" y="56"/>
                            <a:pt x="85" y="56"/>
                            <a:pt x="85" y="56"/>
                          </a:cubicBezTo>
                          <a:cubicBezTo>
                            <a:pt x="85" y="57"/>
                            <a:pt x="85" y="57"/>
                            <a:pt x="85" y="57"/>
                          </a:cubicBezTo>
                          <a:cubicBezTo>
                            <a:pt x="85" y="57"/>
                            <a:pt x="85" y="57"/>
                            <a:pt x="85" y="57"/>
                          </a:cubicBezTo>
                          <a:cubicBezTo>
                            <a:pt x="85" y="57"/>
                            <a:pt x="84" y="57"/>
                            <a:pt x="84" y="57"/>
                          </a:cubicBezTo>
                          <a:cubicBezTo>
                            <a:pt x="84" y="57"/>
                            <a:pt x="85" y="57"/>
                            <a:pt x="85" y="57"/>
                          </a:cubicBezTo>
                          <a:cubicBezTo>
                            <a:pt x="85" y="57"/>
                            <a:pt x="85" y="57"/>
                            <a:pt x="85" y="57"/>
                          </a:cubicBezTo>
                          <a:cubicBezTo>
                            <a:pt x="85" y="57"/>
                            <a:pt x="84" y="57"/>
                            <a:pt x="84" y="57"/>
                          </a:cubicBezTo>
                          <a:cubicBezTo>
                            <a:pt x="84" y="57"/>
                            <a:pt x="84" y="57"/>
                            <a:pt x="84" y="57"/>
                          </a:cubicBezTo>
                          <a:cubicBezTo>
                            <a:pt x="84" y="57"/>
                            <a:pt x="84" y="57"/>
                            <a:pt x="84" y="57"/>
                          </a:cubicBezTo>
                          <a:cubicBezTo>
                            <a:pt x="84" y="57"/>
                            <a:pt x="84" y="57"/>
                            <a:pt x="84" y="57"/>
                          </a:cubicBezTo>
                          <a:cubicBezTo>
                            <a:pt x="84" y="57"/>
                            <a:pt x="84" y="57"/>
                            <a:pt x="84" y="57"/>
                          </a:cubicBezTo>
                          <a:cubicBezTo>
                            <a:pt x="84" y="56"/>
                            <a:pt x="84" y="57"/>
                            <a:pt x="84" y="56"/>
                          </a:cubicBezTo>
                          <a:cubicBezTo>
                            <a:pt x="84" y="56"/>
                            <a:pt x="84" y="56"/>
                            <a:pt x="83" y="57"/>
                          </a:cubicBezTo>
                          <a:cubicBezTo>
                            <a:pt x="83" y="57"/>
                            <a:pt x="83" y="57"/>
                            <a:pt x="83" y="57"/>
                          </a:cubicBezTo>
                          <a:cubicBezTo>
                            <a:pt x="83" y="57"/>
                            <a:pt x="83" y="57"/>
                            <a:pt x="83" y="57"/>
                          </a:cubicBezTo>
                          <a:cubicBezTo>
                            <a:pt x="83" y="57"/>
                            <a:pt x="82" y="57"/>
                            <a:pt x="82" y="57"/>
                          </a:cubicBezTo>
                          <a:cubicBezTo>
                            <a:pt x="83" y="57"/>
                            <a:pt x="82" y="57"/>
                            <a:pt x="82" y="57"/>
                          </a:cubicBezTo>
                          <a:cubicBezTo>
                            <a:pt x="82" y="57"/>
                            <a:pt x="82" y="57"/>
                            <a:pt x="81" y="57"/>
                          </a:cubicBezTo>
                          <a:cubicBezTo>
                            <a:pt x="82" y="57"/>
                            <a:pt x="82" y="57"/>
                            <a:pt x="82" y="57"/>
                          </a:cubicBezTo>
                          <a:cubicBezTo>
                            <a:pt x="82" y="57"/>
                            <a:pt x="82" y="57"/>
                            <a:pt x="82" y="57"/>
                          </a:cubicBezTo>
                          <a:cubicBezTo>
                            <a:pt x="82" y="57"/>
                            <a:pt x="82" y="57"/>
                            <a:pt x="82" y="57"/>
                          </a:cubicBezTo>
                          <a:cubicBezTo>
                            <a:pt x="82" y="57"/>
                            <a:pt x="83" y="56"/>
                            <a:pt x="83" y="56"/>
                          </a:cubicBezTo>
                          <a:cubicBezTo>
                            <a:pt x="83" y="56"/>
                            <a:pt x="84" y="56"/>
                            <a:pt x="84" y="55"/>
                          </a:cubicBezTo>
                          <a:cubicBezTo>
                            <a:pt x="84" y="55"/>
                            <a:pt x="85" y="55"/>
                            <a:pt x="85" y="55"/>
                          </a:cubicBezTo>
                          <a:cubicBezTo>
                            <a:pt x="85" y="55"/>
                            <a:pt x="85" y="55"/>
                            <a:pt x="85" y="55"/>
                          </a:cubicBezTo>
                          <a:cubicBezTo>
                            <a:pt x="85" y="55"/>
                            <a:pt x="85" y="55"/>
                            <a:pt x="86" y="55"/>
                          </a:cubicBezTo>
                          <a:cubicBezTo>
                            <a:pt x="85" y="55"/>
                            <a:pt x="85" y="55"/>
                            <a:pt x="85" y="55"/>
                          </a:cubicBezTo>
                          <a:cubicBezTo>
                            <a:pt x="85" y="55"/>
                            <a:pt x="86" y="54"/>
                            <a:pt x="86" y="54"/>
                          </a:cubicBezTo>
                          <a:cubicBezTo>
                            <a:pt x="86" y="55"/>
                            <a:pt x="86" y="55"/>
                            <a:pt x="86" y="55"/>
                          </a:cubicBezTo>
                          <a:cubicBezTo>
                            <a:pt x="86" y="55"/>
                            <a:pt x="86" y="54"/>
                            <a:pt x="87" y="54"/>
                          </a:cubicBezTo>
                          <a:cubicBezTo>
                            <a:pt x="87" y="54"/>
                            <a:pt x="86" y="54"/>
                            <a:pt x="86" y="55"/>
                          </a:cubicBezTo>
                          <a:cubicBezTo>
                            <a:pt x="86" y="54"/>
                            <a:pt x="86" y="54"/>
                            <a:pt x="86" y="54"/>
                          </a:cubicBezTo>
                          <a:cubicBezTo>
                            <a:pt x="86" y="54"/>
                            <a:pt x="86" y="54"/>
                            <a:pt x="85" y="54"/>
                          </a:cubicBezTo>
                          <a:cubicBezTo>
                            <a:pt x="86" y="54"/>
                            <a:pt x="86" y="54"/>
                            <a:pt x="86" y="54"/>
                          </a:cubicBezTo>
                          <a:cubicBezTo>
                            <a:pt x="85" y="54"/>
                            <a:pt x="85" y="55"/>
                            <a:pt x="85" y="55"/>
                          </a:cubicBezTo>
                          <a:cubicBezTo>
                            <a:pt x="85" y="55"/>
                            <a:pt x="85" y="55"/>
                            <a:pt x="84" y="55"/>
                          </a:cubicBezTo>
                          <a:cubicBezTo>
                            <a:pt x="84" y="55"/>
                            <a:pt x="84" y="55"/>
                            <a:pt x="84" y="55"/>
                          </a:cubicBezTo>
                          <a:cubicBezTo>
                            <a:pt x="84" y="55"/>
                            <a:pt x="84" y="55"/>
                            <a:pt x="84" y="55"/>
                          </a:cubicBezTo>
                          <a:cubicBezTo>
                            <a:pt x="85" y="55"/>
                            <a:pt x="84" y="55"/>
                            <a:pt x="84" y="55"/>
                          </a:cubicBezTo>
                          <a:cubicBezTo>
                            <a:pt x="84" y="55"/>
                            <a:pt x="84" y="55"/>
                            <a:pt x="84" y="56"/>
                          </a:cubicBezTo>
                          <a:cubicBezTo>
                            <a:pt x="83" y="55"/>
                            <a:pt x="83" y="56"/>
                            <a:pt x="83" y="56"/>
                          </a:cubicBezTo>
                          <a:cubicBezTo>
                            <a:pt x="83" y="56"/>
                            <a:pt x="83" y="56"/>
                            <a:pt x="83" y="56"/>
                          </a:cubicBezTo>
                          <a:cubicBezTo>
                            <a:pt x="83" y="56"/>
                            <a:pt x="83" y="56"/>
                            <a:pt x="83" y="56"/>
                          </a:cubicBezTo>
                          <a:cubicBezTo>
                            <a:pt x="83" y="56"/>
                            <a:pt x="83" y="56"/>
                            <a:pt x="82" y="56"/>
                          </a:cubicBezTo>
                          <a:cubicBezTo>
                            <a:pt x="82" y="56"/>
                            <a:pt x="83" y="56"/>
                            <a:pt x="82" y="56"/>
                          </a:cubicBezTo>
                          <a:cubicBezTo>
                            <a:pt x="82" y="56"/>
                            <a:pt x="82" y="56"/>
                            <a:pt x="82" y="56"/>
                          </a:cubicBezTo>
                          <a:cubicBezTo>
                            <a:pt x="82" y="56"/>
                            <a:pt x="82" y="56"/>
                            <a:pt x="82" y="56"/>
                          </a:cubicBezTo>
                          <a:cubicBezTo>
                            <a:pt x="82" y="56"/>
                            <a:pt x="82" y="56"/>
                            <a:pt x="82" y="56"/>
                          </a:cubicBezTo>
                          <a:cubicBezTo>
                            <a:pt x="82" y="56"/>
                            <a:pt x="82" y="56"/>
                            <a:pt x="82" y="56"/>
                          </a:cubicBezTo>
                          <a:cubicBezTo>
                            <a:pt x="82" y="56"/>
                            <a:pt x="82" y="56"/>
                            <a:pt x="82" y="56"/>
                          </a:cubicBezTo>
                          <a:cubicBezTo>
                            <a:pt x="82" y="56"/>
                            <a:pt x="82" y="56"/>
                            <a:pt x="82" y="56"/>
                          </a:cubicBezTo>
                          <a:cubicBezTo>
                            <a:pt x="82" y="56"/>
                            <a:pt x="82" y="56"/>
                            <a:pt x="82" y="56"/>
                          </a:cubicBezTo>
                          <a:cubicBezTo>
                            <a:pt x="82" y="56"/>
                            <a:pt x="83" y="55"/>
                            <a:pt x="83" y="55"/>
                          </a:cubicBezTo>
                          <a:cubicBezTo>
                            <a:pt x="82" y="55"/>
                            <a:pt x="82" y="56"/>
                            <a:pt x="82" y="56"/>
                          </a:cubicBezTo>
                          <a:cubicBezTo>
                            <a:pt x="82" y="56"/>
                            <a:pt x="82" y="56"/>
                            <a:pt x="82" y="56"/>
                          </a:cubicBezTo>
                          <a:cubicBezTo>
                            <a:pt x="82" y="56"/>
                            <a:pt x="81" y="56"/>
                            <a:pt x="81" y="56"/>
                          </a:cubicBezTo>
                          <a:cubicBezTo>
                            <a:pt x="81" y="56"/>
                            <a:pt x="81" y="56"/>
                            <a:pt x="82" y="56"/>
                          </a:cubicBezTo>
                          <a:cubicBezTo>
                            <a:pt x="81" y="56"/>
                            <a:pt x="81" y="56"/>
                            <a:pt x="82" y="56"/>
                          </a:cubicBezTo>
                          <a:cubicBezTo>
                            <a:pt x="82" y="56"/>
                            <a:pt x="82" y="56"/>
                            <a:pt x="81" y="56"/>
                          </a:cubicBezTo>
                          <a:cubicBezTo>
                            <a:pt x="81" y="57"/>
                            <a:pt x="82" y="57"/>
                            <a:pt x="81" y="57"/>
                          </a:cubicBezTo>
                          <a:cubicBezTo>
                            <a:pt x="81" y="57"/>
                            <a:pt x="81" y="57"/>
                            <a:pt x="81" y="57"/>
                          </a:cubicBezTo>
                          <a:cubicBezTo>
                            <a:pt x="81" y="57"/>
                            <a:pt x="80" y="57"/>
                            <a:pt x="79" y="58"/>
                          </a:cubicBezTo>
                          <a:cubicBezTo>
                            <a:pt x="79" y="58"/>
                            <a:pt x="80" y="58"/>
                            <a:pt x="80" y="58"/>
                          </a:cubicBezTo>
                          <a:cubicBezTo>
                            <a:pt x="80" y="58"/>
                            <a:pt x="80" y="58"/>
                            <a:pt x="80" y="58"/>
                          </a:cubicBezTo>
                          <a:cubicBezTo>
                            <a:pt x="80" y="58"/>
                            <a:pt x="79" y="58"/>
                            <a:pt x="79" y="58"/>
                          </a:cubicBezTo>
                          <a:cubicBezTo>
                            <a:pt x="79" y="58"/>
                            <a:pt x="80" y="58"/>
                            <a:pt x="79" y="58"/>
                          </a:cubicBezTo>
                          <a:cubicBezTo>
                            <a:pt x="79" y="58"/>
                            <a:pt x="79" y="58"/>
                            <a:pt x="79" y="58"/>
                          </a:cubicBezTo>
                          <a:cubicBezTo>
                            <a:pt x="79" y="58"/>
                            <a:pt x="79" y="58"/>
                            <a:pt x="79" y="58"/>
                          </a:cubicBezTo>
                          <a:cubicBezTo>
                            <a:pt x="79" y="58"/>
                            <a:pt x="79" y="58"/>
                            <a:pt x="79" y="58"/>
                          </a:cubicBezTo>
                          <a:cubicBezTo>
                            <a:pt x="79" y="57"/>
                            <a:pt x="79" y="57"/>
                            <a:pt x="79" y="57"/>
                          </a:cubicBezTo>
                          <a:cubicBezTo>
                            <a:pt x="79" y="57"/>
                            <a:pt x="79" y="57"/>
                            <a:pt x="79" y="57"/>
                          </a:cubicBezTo>
                          <a:cubicBezTo>
                            <a:pt x="79" y="57"/>
                            <a:pt x="79" y="57"/>
                            <a:pt x="79" y="57"/>
                          </a:cubicBezTo>
                          <a:cubicBezTo>
                            <a:pt x="79" y="57"/>
                            <a:pt x="78" y="57"/>
                            <a:pt x="78" y="57"/>
                          </a:cubicBezTo>
                          <a:cubicBezTo>
                            <a:pt x="78" y="57"/>
                            <a:pt x="78" y="57"/>
                            <a:pt x="78" y="58"/>
                          </a:cubicBezTo>
                          <a:cubicBezTo>
                            <a:pt x="78" y="58"/>
                            <a:pt x="78" y="57"/>
                            <a:pt x="78" y="58"/>
                          </a:cubicBezTo>
                          <a:cubicBezTo>
                            <a:pt x="78" y="58"/>
                            <a:pt x="78" y="58"/>
                            <a:pt x="78" y="57"/>
                          </a:cubicBezTo>
                          <a:cubicBezTo>
                            <a:pt x="79" y="57"/>
                            <a:pt x="78" y="58"/>
                            <a:pt x="78" y="58"/>
                          </a:cubicBezTo>
                          <a:cubicBezTo>
                            <a:pt x="78" y="58"/>
                            <a:pt x="78" y="58"/>
                            <a:pt x="78" y="58"/>
                          </a:cubicBezTo>
                          <a:cubicBezTo>
                            <a:pt x="78" y="58"/>
                            <a:pt x="78" y="58"/>
                            <a:pt x="78" y="58"/>
                          </a:cubicBezTo>
                          <a:cubicBezTo>
                            <a:pt x="78" y="58"/>
                            <a:pt x="78" y="58"/>
                            <a:pt x="78" y="58"/>
                          </a:cubicBezTo>
                          <a:cubicBezTo>
                            <a:pt x="78" y="58"/>
                            <a:pt x="78" y="58"/>
                            <a:pt x="78" y="58"/>
                          </a:cubicBezTo>
                          <a:cubicBezTo>
                            <a:pt x="78" y="58"/>
                            <a:pt x="78" y="58"/>
                            <a:pt x="78" y="58"/>
                          </a:cubicBezTo>
                          <a:cubicBezTo>
                            <a:pt x="78" y="58"/>
                            <a:pt x="77" y="58"/>
                            <a:pt x="78" y="57"/>
                          </a:cubicBezTo>
                          <a:cubicBezTo>
                            <a:pt x="78" y="57"/>
                            <a:pt x="77" y="57"/>
                            <a:pt x="77" y="58"/>
                          </a:cubicBezTo>
                          <a:cubicBezTo>
                            <a:pt x="77" y="58"/>
                            <a:pt x="77" y="58"/>
                            <a:pt x="77" y="58"/>
                          </a:cubicBezTo>
                          <a:cubicBezTo>
                            <a:pt x="77" y="58"/>
                            <a:pt x="77" y="58"/>
                            <a:pt x="77" y="58"/>
                          </a:cubicBezTo>
                          <a:cubicBezTo>
                            <a:pt x="77" y="58"/>
                            <a:pt x="77" y="58"/>
                            <a:pt x="76" y="58"/>
                          </a:cubicBezTo>
                          <a:cubicBezTo>
                            <a:pt x="77" y="58"/>
                            <a:pt x="77" y="58"/>
                            <a:pt x="77" y="58"/>
                          </a:cubicBezTo>
                          <a:cubicBezTo>
                            <a:pt x="77" y="58"/>
                            <a:pt x="76" y="58"/>
                            <a:pt x="76" y="58"/>
                          </a:cubicBezTo>
                          <a:cubicBezTo>
                            <a:pt x="76" y="58"/>
                            <a:pt x="77" y="58"/>
                            <a:pt x="76" y="58"/>
                          </a:cubicBezTo>
                          <a:cubicBezTo>
                            <a:pt x="76" y="58"/>
                            <a:pt x="76" y="58"/>
                            <a:pt x="76" y="59"/>
                          </a:cubicBezTo>
                          <a:cubicBezTo>
                            <a:pt x="76" y="58"/>
                            <a:pt x="76" y="58"/>
                            <a:pt x="76" y="58"/>
                          </a:cubicBezTo>
                          <a:cubicBezTo>
                            <a:pt x="76" y="58"/>
                            <a:pt x="76" y="58"/>
                            <a:pt x="76" y="58"/>
                          </a:cubicBezTo>
                          <a:cubicBezTo>
                            <a:pt x="75" y="58"/>
                            <a:pt x="75" y="58"/>
                            <a:pt x="75" y="58"/>
                          </a:cubicBezTo>
                          <a:cubicBezTo>
                            <a:pt x="75" y="58"/>
                            <a:pt x="75" y="58"/>
                            <a:pt x="75" y="58"/>
                          </a:cubicBezTo>
                          <a:cubicBezTo>
                            <a:pt x="75" y="58"/>
                            <a:pt x="75" y="59"/>
                            <a:pt x="75" y="58"/>
                          </a:cubicBezTo>
                          <a:cubicBezTo>
                            <a:pt x="74" y="59"/>
                            <a:pt x="74" y="59"/>
                            <a:pt x="73" y="59"/>
                          </a:cubicBezTo>
                          <a:cubicBezTo>
                            <a:pt x="73" y="59"/>
                            <a:pt x="74" y="59"/>
                            <a:pt x="74" y="58"/>
                          </a:cubicBezTo>
                          <a:cubicBezTo>
                            <a:pt x="74" y="58"/>
                            <a:pt x="74" y="58"/>
                            <a:pt x="75" y="58"/>
                          </a:cubicBezTo>
                          <a:cubicBezTo>
                            <a:pt x="75" y="58"/>
                            <a:pt x="74" y="58"/>
                            <a:pt x="74" y="58"/>
                          </a:cubicBezTo>
                          <a:cubicBezTo>
                            <a:pt x="74" y="58"/>
                            <a:pt x="74" y="58"/>
                            <a:pt x="74" y="58"/>
                          </a:cubicBezTo>
                          <a:cubicBezTo>
                            <a:pt x="74" y="58"/>
                            <a:pt x="75" y="58"/>
                            <a:pt x="75" y="58"/>
                          </a:cubicBezTo>
                          <a:cubicBezTo>
                            <a:pt x="75" y="58"/>
                            <a:pt x="75" y="58"/>
                            <a:pt x="75" y="58"/>
                          </a:cubicBezTo>
                          <a:cubicBezTo>
                            <a:pt x="75" y="58"/>
                            <a:pt x="75" y="58"/>
                            <a:pt x="75" y="58"/>
                          </a:cubicBezTo>
                          <a:cubicBezTo>
                            <a:pt x="75" y="57"/>
                            <a:pt x="75" y="57"/>
                            <a:pt x="75" y="57"/>
                          </a:cubicBezTo>
                          <a:cubicBezTo>
                            <a:pt x="75" y="57"/>
                            <a:pt x="75" y="57"/>
                            <a:pt x="75" y="57"/>
                          </a:cubicBezTo>
                          <a:cubicBezTo>
                            <a:pt x="76" y="57"/>
                            <a:pt x="76" y="56"/>
                            <a:pt x="77" y="56"/>
                          </a:cubicBezTo>
                          <a:cubicBezTo>
                            <a:pt x="77" y="56"/>
                            <a:pt x="77" y="56"/>
                            <a:pt x="77" y="56"/>
                          </a:cubicBezTo>
                          <a:cubicBezTo>
                            <a:pt x="78" y="56"/>
                            <a:pt x="78" y="56"/>
                            <a:pt x="78" y="56"/>
                          </a:cubicBezTo>
                          <a:cubicBezTo>
                            <a:pt x="78" y="56"/>
                            <a:pt x="78" y="56"/>
                            <a:pt x="78" y="56"/>
                          </a:cubicBezTo>
                          <a:cubicBezTo>
                            <a:pt x="78" y="56"/>
                            <a:pt x="78" y="56"/>
                            <a:pt x="78" y="55"/>
                          </a:cubicBezTo>
                          <a:cubicBezTo>
                            <a:pt x="78" y="55"/>
                            <a:pt x="78" y="56"/>
                            <a:pt x="78" y="56"/>
                          </a:cubicBezTo>
                          <a:cubicBezTo>
                            <a:pt x="79" y="55"/>
                            <a:pt x="79" y="55"/>
                            <a:pt x="79" y="55"/>
                          </a:cubicBezTo>
                          <a:cubicBezTo>
                            <a:pt x="80" y="55"/>
                            <a:pt x="80" y="54"/>
                            <a:pt x="80" y="54"/>
                          </a:cubicBezTo>
                          <a:cubicBezTo>
                            <a:pt x="81" y="54"/>
                            <a:pt x="81" y="54"/>
                            <a:pt x="82" y="54"/>
                          </a:cubicBezTo>
                          <a:cubicBezTo>
                            <a:pt x="81" y="54"/>
                            <a:pt x="81" y="54"/>
                            <a:pt x="81" y="54"/>
                          </a:cubicBezTo>
                          <a:cubicBezTo>
                            <a:pt x="81" y="54"/>
                            <a:pt x="81" y="54"/>
                            <a:pt x="81" y="54"/>
                          </a:cubicBezTo>
                          <a:cubicBezTo>
                            <a:pt x="81" y="54"/>
                            <a:pt x="81" y="54"/>
                            <a:pt x="82" y="54"/>
                          </a:cubicBezTo>
                          <a:cubicBezTo>
                            <a:pt x="81" y="54"/>
                            <a:pt x="83" y="53"/>
                            <a:pt x="83" y="53"/>
                          </a:cubicBezTo>
                          <a:cubicBezTo>
                            <a:pt x="83" y="53"/>
                            <a:pt x="83" y="53"/>
                            <a:pt x="83" y="53"/>
                          </a:cubicBezTo>
                          <a:cubicBezTo>
                            <a:pt x="84" y="53"/>
                            <a:pt x="84" y="53"/>
                            <a:pt x="84" y="53"/>
                          </a:cubicBezTo>
                          <a:cubicBezTo>
                            <a:pt x="84" y="53"/>
                            <a:pt x="84" y="53"/>
                            <a:pt x="84" y="53"/>
                          </a:cubicBezTo>
                          <a:cubicBezTo>
                            <a:pt x="85" y="52"/>
                            <a:pt x="87" y="51"/>
                            <a:pt x="89" y="50"/>
                          </a:cubicBezTo>
                          <a:cubicBezTo>
                            <a:pt x="89" y="50"/>
                            <a:pt x="89" y="50"/>
                            <a:pt x="89" y="50"/>
                          </a:cubicBezTo>
                          <a:cubicBezTo>
                            <a:pt x="89" y="50"/>
                            <a:pt x="89" y="50"/>
                            <a:pt x="89" y="50"/>
                          </a:cubicBezTo>
                          <a:cubicBezTo>
                            <a:pt x="89" y="50"/>
                            <a:pt x="89" y="50"/>
                            <a:pt x="89" y="50"/>
                          </a:cubicBezTo>
                          <a:cubicBezTo>
                            <a:pt x="89" y="50"/>
                            <a:pt x="89" y="50"/>
                            <a:pt x="89" y="50"/>
                          </a:cubicBezTo>
                          <a:cubicBezTo>
                            <a:pt x="89" y="50"/>
                            <a:pt x="89" y="50"/>
                            <a:pt x="89" y="50"/>
                          </a:cubicBezTo>
                          <a:cubicBezTo>
                            <a:pt x="90" y="50"/>
                            <a:pt x="89" y="50"/>
                            <a:pt x="89" y="50"/>
                          </a:cubicBezTo>
                          <a:cubicBezTo>
                            <a:pt x="89" y="50"/>
                            <a:pt x="89" y="49"/>
                            <a:pt x="90" y="49"/>
                          </a:cubicBezTo>
                          <a:cubicBezTo>
                            <a:pt x="90" y="49"/>
                            <a:pt x="90" y="50"/>
                            <a:pt x="90" y="49"/>
                          </a:cubicBezTo>
                          <a:cubicBezTo>
                            <a:pt x="90" y="49"/>
                            <a:pt x="90" y="49"/>
                            <a:pt x="91" y="49"/>
                          </a:cubicBezTo>
                          <a:cubicBezTo>
                            <a:pt x="91" y="49"/>
                            <a:pt x="91" y="49"/>
                            <a:pt x="91" y="49"/>
                          </a:cubicBezTo>
                          <a:cubicBezTo>
                            <a:pt x="91" y="49"/>
                            <a:pt x="91" y="49"/>
                            <a:pt x="92" y="49"/>
                          </a:cubicBezTo>
                          <a:cubicBezTo>
                            <a:pt x="92" y="49"/>
                            <a:pt x="91" y="49"/>
                            <a:pt x="92" y="48"/>
                          </a:cubicBezTo>
                          <a:cubicBezTo>
                            <a:pt x="92" y="48"/>
                            <a:pt x="91" y="49"/>
                            <a:pt x="91" y="48"/>
                          </a:cubicBezTo>
                          <a:cubicBezTo>
                            <a:pt x="92" y="48"/>
                            <a:pt x="92" y="48"/>
                            <a:pt x="92" y="48"/>
                          </a:cubicBezTo>
                          <a:cubicBezTo>
                            <a:pt x="92" y="48"/>
                            <a:pt x="93" y="48"/>
                            <a:pt x="93" y="47"/>
                          </a:cubicBezTo>
                          <a:cubicBezTo>
                            <a:pt x="93" y="47"/>
                            <a:pt x="94" y="47"/>
                            <a:pt x="94" y="47"/>
                          </a:cubicBezTo>
                          <a:cubicBezTo>
                            <a:pt x="94" y="47"/>
                            <a:pt x="94" y="47"/>
                            <a:pt x="94" y="47"/>
                          </a:cubicBezTo>
                          <a:cubicBezTo>
                            <a:pt x="95" y="47"/>
                            <a:pt x="95" y="47"/>
                            <a:pt x="96" y="47"/>
                          </a:cubicBezTo>
                          <a:cubicBezTo>
                            <a:pt x="95" y="47"/>
                            <a:pt x="95" y="47"/>
                            <a:pt x="95" y="47"/>
                          </a:cubicBezTo>
                          <a:cubicBezTo>
                            <a:pt x="95" y="47"/>
                            <a:pt x="96" y="47"/>
                            <a:pt x="96" y="46"/>
                          </a:cubicBezTo>
                          <a:cubicBezTo>
                            <a:pt x="96" y="46"/>
                            <a:pt x="95" y="47"/>
                            <a:pt x="95" y="47"/>
                          </a:cubicBezTo>
                          <a:cubicBezTo>
                            <a:pt x="95" y="47"/>
                            <a:pt x="95" y="47"/>
                            <a:pt x="95" y="47"/>
                          </a:cubicBezTo>
                          <a:cubicBezTo>
                            <a:pt x="95" y="47"/>
                            <a:pt x="95" y="47"/>
                            <a:pt x="95" y="47"/>
                          </a:cubicBezTo>
                          <a:cubicBezTo>
                            <a:pt x="94" y="48"/>
                            <a:pt x="93" y="48"/>
                            <a:pt x="92" y="49"/>
                          </a:cubicBezTo>
                          <a:cubicBezTo>
                            <a:pt x="92" y="49"/>
                            <a:pt x="92" y="48"/>
                            <a:pt x="92" y="49"/>
                          </a:cubicBezTo>
                          <a:cubicBezTo>
                            <a:pt x="91" y="49"/>
                            <a:pt x="89" y="50"/>
                            <a:pt x="88" y="51"/>
                          </a:cubicBezTo>
                          <a:cubicBezTo>
                            <a:pt x="88" y="51"/>
                            <a:pt x="88" y="51"/>
                            <a:pt x="88" y="51"/>
                          </a:cubicBezTo>
                          <a:cubicBezTo>
                            <a:pt x="88" y="51"/>
                            <a:pt x="88" y="51"/>
                            <a:pt x="88" y="51"/>
                          </a:cubicBezTo>
                          <a:cubicBezTo>
                            <a:pt x="87" y="51"/>
                            <a:pt x="87" y="52"/>
                            <a:pt x="86" y="52"/>
                          </a:cubicBezTo>
                          <a:cubicBezTo>
                            <a:pt x="86" y="52"/>
                            <a:pt x="86" y="52"/>
                            <a:pt x="86" y="52"/>
                          </a:cubicBezTo>
                          <a:cubicBezTo>
                            <a:pt x="86" y="52"/>
                            <a:pt x="86" y="52"/>
                            <a:pt x="86" y="52"/>
                          </a:cubicBezTo>
                          <a:cubicBezTo>
                            <a:pt x="86" y="52"/>
                            <a:pt x="86" y="52"/>
                            <a:pt x="86" y="52"/>
                          </a:cubicBezTo>
                          <a:cubicBezTo>
                            <a:pt x="85" y="52"/>
                            <a:pt x="85" y="52"/>
                            <a:pt x="85" y="52"/>
                          </a:cubicBezTo>
                          <a:cubicBezTo>
                            <a:pt x="85" y="53"/>
                            <a:pt x="85" y="53"/>
                            <a:pt x="85" y="53"/>
                          </a:cubicBezTo>
                          <a:cubicBezTo>
                            <a:pt x="85" y="53"/>
                            <a:pt x="86" y="52"/>
                            <a:pt x="87" y="52"/>
                          </a:cubicBezTo>
                          <a:cubicBezTo>
                            <a:pt x="87" y="52"/>
                            <a:pt x="87" y="52"/>
                            <a:pt x="87" y="52"/>
                          </a:cubicBezTo>
                          <a:cubicBezTo>
                            <a:pt x="87" y="52"/>
                            <a:pt x="87" y="52"/>
                            <a:pt x="87" y="52"/>
                          </a:cubicBezTo>
                          <a:cubicBezTo>
                            <a:pt x="87" y="52"/>
                            <a:pt x="88" y="52"/>
                            <a:pt x="88" y="51"/>
                          </a:cubicBezTo>
                          <a:cubicBezTo>
                            <a:pt x="88" y="52"/>
                            <a:pt x="89" y="51"/>
                            <a:pt x="88" y="51"/>
                          </a:cubicBezTo>
                          <a:cubicBezTo>
                            <a:pt x="88" y="51"/>
                            <a:pt x="89" y="51"/>
                            <a:pt x="88" y="51"/>
                          </a:cubicBezTo>
                          <a:cubicBezTo>
                            <a:pt x="88" y="52"/>
                            <a:pt x="89" y="51"/>
                            <a:pt x="89" y="51"/>
                          </a:cubicBezTo>
                          <a:cubicBezTo>
                            <a:pt x="89" y="52"/>
                            <a:pt x="89" y="52"/>
                            <a:pt x="88" y="52"/>
                          </a:cubicBezTo>
                          <a:cubicBezTo>
                            <a:pt x="89" y="52"/>
                            <a:pt x="88" y="52"/>
                            <a:pt x="88" y="52"/>
                          </a:cubicBezTo>
                          <a:cubicBezTo>
                            <a:pt x="88" y="52"/>
                            <a:pt x="88" y="52"/>
                            <a:pt x="87" y="52"/>
                          </a:cubicBezTo>
                          <a:cubicBezTo>
                            <a:pt x="87" y="52"/>
                            <a:pt x="87" y="52"/>
                            <a:pt x="86" y="52"/>
                          </a:cubicBezTo>
                          <a:cubicBezTo>
                            <a:pt x="86" y="53"/>
                            <a:pt x="87" y="52"/>
                            <a:pt x="87" y="53"/>
                          </a:cubicBezTo>
                          <a:cubicBezTo>
                            <a:pt x="87" y="52"/>
                            <a:pt x="87" y="52"/>
                            <a:pt x="87" y="52"/>
                          </a:cubicBezTo>
                          <a:cubicBezTo>
                            <a:pt x="87" y="52"/>
                            <a:pt x="88" y="52"/>
                            <a:pt x="88" y="52"/>
                          </a:cubicBezTo>
                          <a:cubicBezTo>
                            <a:pt x="88" y="52"/>
                            <a:pt x="88" y="52"/>
                            <a:pt x="88" y="52"/>
                          </a:cubicBezTo>
                          <a:cubicBezTo>
                            <a:pt x="88" y="52"/>
                            <a:pt x="88" y="52"/>
                            <a:pt x="89" y="52"/>
                          </a:cubicBezTo>
                          <a:cubicBezTo>
                            <a:pt x="89" y="52"/>
                            <a:pt x="89" y="52"/>
                            <a:pt x="89" y="52"/>
                          </a:cubicBezTo>
                          <a:cubicBezTo>
                            <a:pt x="89" y="52"/>
                            <a:pt x="89" y="52"/>
                            <a:pt x="89" y="52"/>
                          </a:cubicBezTo>
                          <a:cubicBezTo>
                            <a:pt x="89" y="52"/>
                            <a:pt x="89" y="52"/>
                            <a:pt x="89" y="52"/>
                          </a:cubicBezTo>
                          <a:cubicBezTo>
                            <a:pt x="88" y="53"/>
                            <a:pt x="89" y="52"/>
                            <a:pt x="89" y="52"/>
                          </a:cubicBezTo>
                          <a:cubicBezTo>
                            <a:pt x="89" y="52"/>
                            <a:pt x="89" y="52"/>
                            <a:pt x="89" y="52"/>
                          </a:cubicBezTo>
                          <a:cubicBezTo>
                            <a:pt x="90" y="52"/>
                            <a:pt x="90" y="52"/>
                            <a:pt x="90" y="52"/>
                          </a:cubicBezTo>
                          <a:cubicBezTo>
                            <a:pt x="90" y="52"/>
                            <a:pt x="90" y="52"/>
                            <a:pt x="91" y="51"/>
                          </a:cubicBezTo>
                          <a:cubicBezTo>
                            <a:pt x="90" y="51"/>
                            <a:pt x="90" y="51"/>
                            <a:pt x="90" y="52"/>
                          </a:cubicBezTo>
                          <a:cubicBezTo>
                            <a:pt x="90" y="51"/>
                            <a:pt x="90" y="51"/>
                            <a:pt x="91" y="51"/>
                          </a:cubicBezTo>
                          <a:cubicBezTo>
                            <a:pt x="91" y="51"/>
                            <a:pt x="91" y="51"/>
                            <a:pt x="92" y="51"/>
                          </a:cubicBezTo>
                          <a:cubicBezTo>
                            <a:pt x="92" y="51"/>
                            <a:pt x="92" y="51"/>
                            <a:pt x="92" y="51"/>
                          </a:cubicBezTo>
                          <a:cubicBezTo>
                            <a:pt x="93" y="50"/>
                            <a:pt x="93" y="50"/>
                            <a:pt x="94" y="50"/>
                          </a:cubicBezTo>
                          <a:cubicBezTo>
                            <a:pt x="94" y="49"/>
                            <a:pt x="94" y="49"/>
                            <a:pt x="94" y="49"/>
                          </a:cubicBezTo>
                          <a:cubicBezTo>
                            <a:pt x="94" y="50"/>
                            <a:pt x="93" y="50"/>
                            <a:pt x="93" y="50"/>
                          </a:cubicBezTo>
                          <a:cubicBezTo>
                            <a:pt x="92" y="50"/>
                            <a:pt x="92" y="51"/>
                            <a:pt x="92" y="50"/>
                          </a:cubicBezTo>
                          <a:cubicBezTo>
                            <a:pt x="92" y="51"/>
                            <a:pt x="92" y="51"/>
                            <a:pt x="92" y="51"/>
                          </a:cubicBezTo>
                          <a:cubicBezTo>
                            <a:pt x="91" y="50"/>
                            <a:pt x="93" y="50"/>
                            <a:pt x="93" y="50"/>
                          </a:cubicBezTo>
                          <a:cubicBezTo>
                            <a:pt x="93" y="50"/>
                            <a:pt x="93" y="50"/>
                            <a:pt x="93" y="50"/>
                          </a:cubicBezTo>
                          <a:cubicBezTo>
                            <a:pt x="93" y="50"/>
                            <a:pt x="93" y="50"/>
                            <a:pt x="93" y="50"/>
                          </a:cubicBezTo>
                          <a:cubicBezTo>
                            <a:pt x="93" y="50"/>
                            <a:pt x="93" y="50"/>
                            <a:pt x="93" y="50"/>
                          </a:cubicBezTo>
                          <a:cubicBezTo>
                            <a:pt x="93" y="50"/>
                            <a:pt x="93" y="50"/>
                            <a:pt x="93" y="50"/>
                          </a:cubicBezTo>
                          <a:cubicBezTo>
                            <a:pt x="93" y="49"/>
                            <a:pt x="94" y="49"/>
                            <a:pt x="94" y="49"/>
                          </a:cubicBezTo>
                          <a:cubicBezTo>
                            <a:pt x="94" y="49"/>
                            <a:pt x="94" y="49"/>
                            <a:pt x="94" y="49"/>
                          </a:cubicBezTo>
                          <a:cubicBezTo>
                            <a:pt x="93" y="49"/>
                            <a:pt x="93" y="49"/>
                            <a:pt x="93" y="49"/>
                          </a:cubicBezTo>
                          <a:cubicBezTo>
                            <a:pt x="94" y="49"/>
                            <a:pt x="94" y="49"/>
                            <a:pt x="94" y="49"/>
                          </a:cubicBezTo>
                          <a:cubicBezTo>
                            <a:pt x="94" y="49"/>
                            <a:pt x="94" y="49"/>
                            <a:pt x="94" y="49"/>
                          </a:cubicBezTo>
                          <a:cubicBezTo>
                            <a:pt x="94" y="49"/>
                            <a:pt x="94" y="49"/>
                            <a:pt x="95" y="49"/>
                          </a:cubicBezTo>
                          <a:cubicBezTo>
                            <a:pt x="95" y="48"/>
                            <a:pt x="95" y="48"/>
                            <a:pt x="95" y="48"/>
                          </a:cubicBezTo>
                          <a:cubicBezTo>
                            <a:pt x="95" y="48"/>
                            <a:pt x="95" y="48"/>
                            <a:pt x="95" y="48"/>
                          </a:cubicBezTo>
                          <a:cubicBezTo>
                            <a:pt x="95" y="48"/>
                            <a:pt x="95" y="48"/>
                            <a:pt x="96" y="48"/>
                          </a:cubicBezTo>
                          <a:cubicBezTo>
                            <a:pt x="96" y="48"/>
                            <a:pt x="96" y="48"/>
                            <a:pt x="96" y="48"/>
                          </a:cubicBezTo>
                          <a:cubicBezTo>
                            <a:pt x="96" y="48"/>
                            <a:pt x="96" y="48"/>
                            <a:pt x="96" y="48"/>
                          </a:cubicBezTo>
                          <a:cubicBezTo>
                            <a:pt x="96" y="48"/>
                            <a:pt x="96" y="48"/>
                            <a:pt x="96" y="48"/>
                          </a:cubicBezTo>
                          <a:cubicBezTo>
                            <a:pt x="96" y="48"/>
                            <a:pt x="96" y="47"/>
                            <a:pt x="97" y="47"/>
                          </a:cubicBezTo>
                          <a:cubicBezTo>
                            <a:pt x="96" y="47"/>
                            <a:pt x="96" y="48"/>
                            <a:pt x="96" y="47"/>
                          </a:cubicBezTo>
                          <a:cubicBezTo>
                            <a:pt x="96" y="47"/>
                            <a:pt x="96" y="47"/>
                            <a:pt x="97" y="47"/>
                          </a:cubicBezTo>
                          <a:cubicBezTo>
                            <a:pt x="97" y="47"/>
                            <a:pt x="96" y="47"/>
                            <a:pt x="97" y="47"/>
                          </a:cubicBezTo>
                          <a:cubicBezTo>
                            <a:pt x="97" y="47"/>
                            <a:pt x="97" y="47"/>
                            <a:pt x="97" y="47"/>
                          </a:cubicBezTo>
                          <a:cubicBezTo>
                            <a:pt x="97" y="47"/>
                            <a:pt x="97" y="47"/>
                            <a:pt x="97" y="47"/>
                          </a:cubicBezTo>
                          <a:cubicBezTo>
                            <a:pt x="97" y="47"/>
                            <a:pt x="97" y="46"/>
                            <a:pt x="97" y="46"/>
                          </a:cubicBezTo>
                          <a:cubicBezTo>
                            <a:pt x="97" y="46"/>
                            <a:pt x="97" y="46"/>
                            <a:pt x="98" y="46"/>
                          </a:cubicBezTo>
                          <a:cubicBezTo>
                            <a:pt x="98" y="46"/>
                            <a:pt x="97" y="46"/>
                            <a:pt x="97" y="46"/>
                          </a:cubicBezTo>
                          <a:cubicBezTo>
                            <a:pt x="97" y="46"/>
                            <a:pt x="98" y="46"/>
                            <a:pt x="98" y="46"/>
                          </a:cubicBezTo>
                          <a:cubicBezTo>
                            <a:pt x="99" y="45"/>
                            <a:pt x="100" y="45"/>
                            <a:pt x="101" y="44"/>
                          </a:cubicBezTo>
                          <a:cubicBezTo>
                            <a:pt x="101" y="45"/>
                            <a:pt x="101" y="44"/>
                            <a:pt x="101" y="44"/>
                          </a:cubicBezTo>
                          <a:cubicBezTo>
                            <a:pt x="101" y="45"/>
                            <a:pt x="101" y="45"/>
                            <a:pt x="101" y="45"/>
                          </a:cubicBezTo>
                          <a:cubicBezTo>
                            <a:pt x="101" y="45"/>
                            <a:pt x="101" y="45"/>
                            <a:pt x="101" y="45"/>
                          </a:cubicBezTo>
                          <a:cubicBezTo>
                            <a:pt x="101" y="45"/>
                            <a:pt x="101" y="45"/>
                            <a:pt x="101" y="45"/>
                          </a:cubicBezTo>
                          <a:cubicBezTo>
                            <a:pt x="101" y="45"/>
                            <a:pt x="101" y="45"/>
                            <a:pt x="100" y="45"/>
                          </a:cubicBezTo>
                          <a:cubicBezTo>
                            <a:pt x="100" y="45"/>
                            <a:pt x="101" y="45"/>
                            <a:pt x="101" y="45"/>
                          </a:cubicBezTo>
                          <a:cubicBezTo>
                            <a:pt x="100" y="45"/>
                            <a:pt x="99" y="45"/>
                            <a:pt x="100" y="46"/>
                          </a:cubicBezTo>
                          <a:cubicBezTo>
                            <a:pt x="100" y="46"/>
                            <a:pt x="100" y="45"/>
                            <a:pt x="100" y="45"/>
                          </a:cubicBezTo>
                          <a:cubicBezTo>
                            <a:pt x="100" y="45"/>
                            <a:pt x="100" y="45"/>
                            <a:pt x="100" y="45"/>
                          </a:cubicBezTo>
                          <a:cubicBezTo>
                            <a:pt x="100" y="45"/>
                            <a:pt x="100" y="45"/>
                            <a:pt x="100" y="46"/>
                          </a:cubicBezTo>
                          <a:cubicBezTo>
                            <a:pt x="100" y="45"/>
                            <a:pt x="100" y="45"/>
                            <a:pt x="100" y="45"/>
                          </a:cubicBezTo>
                          <a:cubicBezTo>
                            <a:pt x="100" y="45"/>
                            <a:pt x="100" y="45"/>
                            <a:pt x="100" y="45"/>
                          </a:cubicBezTo>
                          <a:cubicBezTo>
                            <a:pt x="100" y="45"/>
                            <a:pt x="100" y="45"/>
                            <a:pt x="100" y="45"/>
                          </a:cubicBezTo>
                          <a:cubicBezTo>
                            <a:pt x="101" y="45"/>
                            <a:pt x="101" y="45"/>
                            <a:pt x="101" y="45"/>
                          </a:cubicBezTo>
                          <a:cubicBezTo>
                            <a:pt x="101" y="45"/>
                            <a:pt x="101" y="45"/>
                            <a:pt x="101" y="45"/>
                          </a:cubicBezTo>
                          <a:cubicBezTo>
                            <a:pt x="101" y="44"/>
                            <a:pt x="102" y="45"/>
                            <a:pt x="102" y="44"/>
                          </a:cubicBezTo>
                          <a:cubicBezTo>
                            <a:pt x="103" y="44"/>
                            <a:pt x="103" y="44"/>
                            <a:pt x="103" y="44"/>
                          </a:cubicBezTo>
                          <a:cubicBezTo>
                            <a:pt x="103" y="44"/>
                            <a:pt x="103" y="44"/>
                            <a:pt x="103" y="44"/>
                          </a:cubicBezTo>
                          <a:cubicBezTo>
                            <a:pt x="103" y="44"/>
                            <a:pt x="104" y="44"/>
                            <a:pt x="103" y="44"/>
                          </a:cubicBezTo>
                          <a:cubicBezTo>
                            <a:pt x="104" y="43"/>
                            <a:pt x="103" y="44"/>
                            <a:pt x="103" y="44"/>
                          </a:cubicBezTo>
                          <a:cubicBezTo>
                            <a:pt x="103" y="44"/>
                            <a:pt x="103" y="43"/>
                            <a:pt x="104" y="43"/>
                          </a:cubicBezTo>
                          <a:cubicBezTo>
                            <a:pt x="104" y="43"/>
                            <a:pt x="104" y="43"/>
                            <a:pt x="104" y="43"/>
                          </a:cubicBezTo>
                          <a:cubicBezTo>
                            <a:pt x="104" y="43"/>
                            <a:pt x="104" y="43"/>
                            <a:pt x="104" y="43"/>
                          </a:cubicBezTo>
                          <a:cubicBezTo>
                            <a:pt x="104" y="43"/>
                            <a:pt x="104" y="43"/>
                            <a:pt x="105" y="43"/>
                          </a:cubicBezTo>
                          <a:cubicBezTo>
                            <a:pt x="105" y="43"/>
                            <a:pt x="105" y="43"/>
                            <a:pt x="105" y="43"/>
                          </a:cubicBezTo>
                          <a:cubicBezTo>
                            <a:pt x="105" y="42"/>
                            <a:pt x="105" y="42"/>
                            <a:pt x="105" y="42"/>
                          </a:cubicBezTo>
                          <a:cubicBezTo>
                            <a:pt x="104" y="43"/>
                            <a:pt x="104" y="43"/>
                            <a:pt x="104" y="43"/>
                          </a:cubicBezTo>
                          <a:cubicBezTo>
                            <a:pt x="104" y="42"/>
                            <a:pt x="105" y="42"/>
                            <a:pt x="105" y="42"/>
                          </a:cubicBezTo>
                          <a:cubicBezTo>
                            <a:pt x="105" y="42"/>
                            <a:pt x="106" y="42"/>
                            <a:pt x="106" y="41"/>
                          </a:cubicBezTo>
                          <a:cubicBezTo>
                            <a:pt x="106" y="41"/>
                            <a:pt x="107" y="41"/>
                            <a:pt x="108" y="41"/>
                          </a:cubicBezTo>
                          <a:cubicBezTo>
                            <a:pt x="108" y="41"/>
                            <a:pt x="107" y="41"/>
                            <a:pt x="107" y="41"/>
                          </a:cubicBezTo>
                          <a:cubicBezTo>
                            <a:pt x="107" y="41"/>
                            <a:pt x="108" y="40"/>
                            <a:pt x="108" y="41"/>
                          </a:cubicBezTo>
                          <a:cubicBezTo>
                            <a:pt x="108" y="40"/>
                            <a:pt x="108" y="41"/>
                            <a:pt x="108" y="40"/>
                          </a:cubicBezTo>
                          <a:cubicBezTo>
                            <a:pt x="108" y="40"/>
                            <a:pt x="108" y="40"/>
                            <a:pt x="108" y="40"/>
                          </a:cubicBezTo>
                          <a:cubicBezTo>
                            <a:pt x="108" y="40"/>
                            <a:pt x="109" y="40"/>
                            <a:pt x="109" y="40"/>
                          </a:cubicBezTo>
                          <a:cubicBezTo>
                            <a:pt x="109" y="40"/>
                            <a:pt x="109" y="40"/>
                            <a:pt x="109" y="40"/>
                          </a:cubicBezTo>
                          <a:cubicBezTo>
                            <a:pt x="109" y="40"/>
                            <a:pt x="108" y="40"/>
                            <a:pt x="108" y="40"/>
                          </a:cubicBezTo>
                          <a:cubicBezTo>
                            <a:pt x="108" y="40"/>
                            <a:pt x="107" y="41"/>
                            <a:pt x="106" y="41"/>
                          </a:cubicBezTo>
                          <a:cubicBezTo>
                            <a:pt x="106" y="41"/>
                            <a:pt x="106" y="41"/>
                            <a:pt x="106" y="41"/>
                          </a:cubicBezTo>
                          <a:cubicBezTo>
                            <a:pt x="106" y="41"/>
                            <a:pt x="106" y="41"/>
                            <a:pt x="106" y="41"/>
                          </a:cubicBezTo>
                          <a:cubicBezTo>
                            <a:pt x="106" y="41"/>
                            <a:pt x="106" y="41"/>
                            <a:pt x="106" y="41"/>
                          </a:cubicBezTo>
                          <a:cubicBezTo>
                            <a:pt x="106" y="42"/>
                            <a:pt x="105" y="42"/>
                            <a:pt x="104" y="42"/>
                          </a:cubicBezTo>
                          <a:cubicBezTo>
                            <a:pt x="104" y="42"/>
                            <a:pt x="104" y="42"/>
                            <a:pt x="104" y="42"/>
                          </a:cubicBezTo>
                          <a:cubicBezTo>
                            <a:pt x="102" y="43"/>
                            <a:pt x="100" y="45"/>
                            <a:pt x="97" y="46"/>
                          </a:cubicBezTo>
                          <a:cubicBezTo>
                            <a:pt x="97" y="46"/>
                            <a:pt x="97" y="46"/>
                            <a:pt x="97" y="46"/>
                          </a:cubicBezTo>
                          <a:cubicBezTo>
                            <a:pt x="97" y="46"/>
                            <a:pt x="97" y="46"/>
                            <a:pt x="96" y="46"/>
                          </a:cubicBezTo>
                          <a:cubicBezTo>
                            <a:pt x="96" y="46"/>
                            <a:pt x="96" y="46"/>
                            <a:pt x="96" y="46"/>
                          </a:cubicBezTo>
                          <a:cubicBezTo>
                            <a:pt x="97" y="46"/>
                            <a:pt x="97" y="46"/>
                            <a:pt x="97" y="45"/>
                          </a:cubicBezTo>
                          <a:cubicBezTo>
                            <a:pt x="97" y="45"/>
                            <a:pt x="97" y="45"/>
                            <a:pt x="97" y="46"/>
                          </a:cubicBezTo>
                          <a:cubicBezTo>
                            <a:pt x="98" y="45"/>
                            <a:pt x="98" y="45"/>
                            <a:pt x="98" y="45"/>
                          </a:cubicBezTo>
                          <a:cubicBezTo>
                            <a:pt x="98" y="45"/>
                            <a:pt x="98" y="45"/>
                            <a:pt x="98" y="45"/>
                          </a:cubicBezTo>
                          <a:cubicBezTo>
                            <a:pt x="99" y="45"/>
                            <a:pt x="99" y="45"/>
                            <a:pt x="99" y="45"/>
                          </a:cubicBezTo>
                          <a:cubicBezTo>
                            <a:pt x="99" y="45"/>
                            <a:pt x="98" y="45"/>
                            <a:pt x="98" y="45"/>
                          </a:cubicBezTo>
                          <a:cubicBezTo>
                            <a:pt x="99" y="45"/>
                            <a:pt x="99" y="44"/>
                            <a:pt x="99" y="44"/>
                          </a:cubicBezTo>
                          <a:cubicBezTo>
                            <a:pt x="99" y="44"/>
                            <a:pt x="99" y="44"/>
                            <a:pt x="99" y="45"/>
                          </a:cubicBezTo>
                          <a:cubicBezTo>
                            <a:pt x="99" y="45"/>
                            <a:pt x="99" y="45"/>
                            <a:pt x="99" y="45"/>
                          </a:cubicBezTo>
                          <a:cubicBezTo>
                            <a:pt x="99" y="44"/>
                            <a:pt x="100" y="44"/>
                            <a:pt x="100" y="44"/>
                          </a:cubicBezTo>
                          <a:cubicBezTo>
                            <a:pt x="100" y="44"/>
                            <a:pt x="100" y="44"/>
                            <a:pt x="100" y="44"/>
                          </a:cubicBezTo>
                          <a:cubicBezTo>
                            <a:pt x="100" y="44"/>
                            <a:pt x="100" y="44"/>
                            <a:pt x="101" y="44"/>
                          </a:cubicBezTo>
                          <a:cubicBezTo>
                            <a:pt x="101" y="44"/>
                            <a:pt x="101" y="44"/>
                            <a:pt x="101" y="44"/>
                          </a:cubicBezTo>
                          <a:cubicBezTo>
                            <a:pt x="101" y="44"/>
                            <a:pt x="101" y="44"/>
                            <a:pt x="101" y="43"/>
                          </a:cubicBezTo>
                          <a:cubicBezTo>
                            <a:pt x="101" y="43"/>
                            <a:pt x="101" y="43"/>
                            <a:pt x="102" y="43"/>
                          </a:cubicBezTo>
                          <a:cubicBezTo>
                            <a:pt x="102" y="43"/>
                            <a:pt x="102" y="43"/>
                            <a:pt x="102" y="43"/>
                          </a:cubicBezTo>
                          <a:cubicBezTo>
                            <a:pt x="102" y="43"/>
                            <a:pt x="103" y="43"/>
                            <a:pt x="102" y="43"/>
                          </a:cubicBezTo>
                          <a:cubicBezTo>
                            <a:pt x="104" y="42"/>
                            <a:pt x="107" y="40"/>
                            <a:pt x="108" y="40"/>
                          </a:cubicBezTo>
                          <a:cubicBezTo>
                            <a:pt x="108" y="40"/>
                            <a:pt x="108" y="40"/>
                            <a:pt x="108" y="40"/>
                          </a:cubicBezTo>
                          <a:cubicBezTo>
                            <a:pt x="109" y="40"/>
                            <a:pt x="109" y="39"/>
                            <a:pt x="110" y="39"/>
                          </a:cubicBezTo>
                          <a:cubicBezTo>
                            <a:pt x="110" y="39"/>
                            <a:pt x="110" y="39"/>
                            <a:pt x="110" y="39"/>
                          </a:cubicBezTo>
                          <a:cubicBezTo>
                            <a:pt x="110" y="39"/>
                            <a:pt x="111" y="39"/>
                            <a:pt x="111" y="38"/>
                          </a:cubicBezTo>
                          <a:cubicBezTo>
                            <a:pt x="111" y="38"/>
                            <a:pt x="111" y="39"/>
                            <a:pt x="111" y="39"/>
                          </a:cubicBezTo>
                          <a:cubicBezTo>
                            <a:pt x="110" y="39"/>
                            <a:pt x="109" y="39"/>
                            <a:pt x="109" y="40"/>
                          </a:cubicBezTo>
                          <a:cubicBezTo>
                            <a:pt x="109" y="40"/>
                            <a:pt x="109" y="40"/>
                            <a:pt x="109" y="40"/>
                          </a:cubicBezTo>
                          <a:cubicBezTo>
                            <a:pt x="109" y="40"/>
                            <a:pt x="109" y="40"/>
                            <a:pt x="109" y="40"/>
                          </a:cubicBezTo>
                          <a:cubicBezTo>
                            <a:pt x="109" y="40"/>
                            <a:pt x="109" y="40"/>
                            <a:pt x="109" y="40"/>
                          </a:cubicBezTo>
                          <a:cubicBezTo>
                            <a:pt x="109" y="40"/>
                            <a:pt x="109" y="40"/>
                            <a:pt x="109" y="40"/>
                          </a:cubicBezTo>
                          <a:cubicBezTo>
                            <a:pt x="109" y="40"/>
                            <a:pt x="109" y="40"/>
                            <a:pt x="109" y="40"/>
                          </a:cubicBezTo>
                          <a:cubicBezTo>
                            <a:pt x="109" y="40"/>
                            <a:pt x="109" y="40"/>
                            <a:pt x="109" y="40"/>
                          </a:cubicBezTo>
                          <a:cubicBezTo>
                            <a:pt x="109" y="40"/>
                            <a:pt x="110" y="39"/>
                            <a:pt x="110" y="39"/>
                          </a:cubicBezTo>
                          <a:cubicBezTo>
                            <a:pt x="110" y="39"/>
                            <a:pt x="110" y="39"/>
                            <a:pt x="110" y="39"/>
                          </a:cubicBezTo>
                          <a:cubicBezTo>
                            <a:pt x="110" y="39"/>
                            <a:pt x="111" y="39"/>
                            <a:pt x="111" y="39"/>
                          </a:cubicBezTo>
                          <a:cubicBezTo>
                            <a:pt x="111" y="39"/>
                            <a:pt x="111" y="39"/>
                            <a:pt x="110" y="39"/>
                          </a:cubicBezTo>
                          <a:cubicBezTo>
                            <a:pt x="110" y="39"/>
                            <a:pt x="111" y="39"/>
                            <a:pt x="111" y="39"/>
                          </a:cubicBezTo>
                          <a:cubicBezTo>
                            <a:pt x="111" y="39"/>
                            <a:pt x="111" y="39"/>
                            <a:pt x="112" y="39"/>
                          </a:cubicBezTo>
                          <a:cubicBezTo>
                            <a:pt x="112" y="38"/>
                            <a:pt x="112" y="38"/>
                            <a:pt x="113" y="38"/>
                          </a:cubicBezTo>
                          <a:cubicBezTo>
                            <a:pt x="113" y="38"/>
                            <a:pt x="113" y="38"/>
                            <a:pt x="113" y="38"/>
                          </a:cubicBezTo>
                          <a:cubicBezTo>
                            <a:pt x="113" y="38"/>
                            <a:pt x="113" y="38"/>
                            <a:pt x="113" y="38"/>
                          </a:cubicBezTo>
                          <a:cubicBezTo>
                            <a:pt x="113" y="38"/>
                            <a:pt x="113" y="38"/>
                            <a:pt x="112" y="39"/>
                          </a:cubicBezTo>
                          <a:cubicBezTo>
                            <a:pt x="112" y="39"/>
                            <a:pt x="113" y="38"/>
                            <a:pt x="113" y="39"/>
                          </a:cubicBezTo>
                          <a:cubicBezTo>
                            <a:pt x="113" y="39"/>
                            <a:pt x="113" y="39"/>
                            <a:pt x="113" y="39"/>
                          </a:cubicBezTo>
                          <a:cubicBezTo>
                            <a:pt x="113" y="38"/>
                            <a:pt x="113" y="38"/>
                            <a:pt x="113" y="38"/>
                          </a:cubicBezTo>
                          <a:cubicBezTo>
                            <a:pt x="113" y="38"/>
                            <a:pt x="113" y="39"/>
                            <a:pt x="113" y="38"/>
                          </a:cubicBezTo>
                          <a:cubicBezTo>
                            <a:pt x="113" y="38"/>
                            <a:pt x="113" y="38"/>
                            <a:pt x="113" y="38"/>
                          </a:cubicBezTo>
                          <a:cubicBezTo>
                            <a:pt x="113" y="39"/>
                            <a:pt x="113" y="39"/>
                            <a:pt x="112" y="39"/>
                          </a:cubicBezTo>
                          <a:cubicBezTo>
                            <a:pt x="112" y="39"/>
                            <a:pt x="112" y="39"/>
                            <a:pt x="112" y="39"/>
                          </a:cubicBezTo>
                          <a:cubicBezTo>
                            <a:pt x="112" y="39"/>
                            <a:pt x="112" y="39"/>
                            <a:pt x="112" y="39"/>
                          </a:cubicBezTo>
                          <a:cubicBezTo>
                            <a:pt x="112" y="39"/>
                            <a:pt x="111" y="39"/>
                            <a:pt x="111" y="39"/>
                          </a:cubicBezTo>
                          <a:cubicBezTo>
                            <a:pt x="112" y="39"/>
                            <a:pt x="112" y="39"/>
                            <a:pt x="112" y="39"/>
                          </a:cubicBezTo>
                          <a:cubicBezTo>
                            <a:pt x="111" y="39"/>
                            <a:pt x="111" y="40"/>
                            <a:pt x="110" y="40"/>
                          </a:cubicBezTo>
                          <a:cubicBezTo>
                            <a:pt x="110" y="40"/>
                            <a:pt x="110" y="40"/>
                            <a:pt x="110" y="40"/>
                          </a:cubicBezTo>
                          <a:cubicBezTo>
                            <a:pt x="110" y="40"/>
                            <a:pt x="110" y="40"/>
                            <a:pt x="110" y="40"/>
                          </a:cubicBezTo>
                          <a:cubicBezTo>
                            <a:pt x="110" y="40"/>
                            <a:pt x="110" y="40"/>
                            <a:pt x="110" y="40"/>
                          </a:cubicBezTo>
                          <a:cubicBezTo>
                            <a:pt x="110" y="40"/>
                            <a:pt x="110" y="40"/>
                            <a:pt x="110" y="40"/>
                          </a:cubicBezTo>
                          <a:cubicBezTo>
                            <a:pt x="110" y="40"/>
                            <a:pt x="110" y="40"/>
                            <a:pt x="110" y="40"/>
                          </a:cubicBezTo>
                          <a:cubicBezTo>
                            <a:pt x="109" y="41"/>
                            <a:pt x="109" y="41"/>
                            <a:pt x="108" y="41"/>
                          </a:cubicBezTo>
                          <a:cubicBezTo>
                            <a:pt x="108" y="41"/>
                            <a:pt x="109" y="41"/>
                            <a:pt x="109" y="41"/>
                          </a:cubicBezTo>
                          <a:cubicBezTo>
                            <a:pt x="109" y="41"/>
                            <a:pt x="108" y="42"/>
                            <a:pt x="107" y="42"/>
                          </a:cubicBezTo>
                          <a:cubicBezTo>
                            <a:pt x="107" y="42"/>
                            <a:pt x="108" y="42"/>
                            <a:pt x="108" y="42"/>
                          </a:cubicBezTo>
                          <a:cubicBezTo>
                            <a:pt x="108" y="42"/>
                            <a:pt x="108" y="42"/>
                            <a:pt x="108" y="42"/>
                          </a:cubicBezTo>
                          <a:cubicBezTo>
                            <a:pt x="108" y="42"/>
                            <a:pt x="108" y="42"/>
                            <a:pt x="108" y="41"/>
                          </a:cubicBezTo>
                          <a:cubicBezTo>
                            <a:pt x="109" y="41"/>
                            <a:pt x="108" y="42"/>
                            <a:pt x="108" y="42"/>
                          </a:cubicBezTo>
                          <a:cubicBezTo>
                            <a:pt x="108" y="42"/>
                            <a:pt x="108" y="41"/>
                            <a:pt x="109" y="42"/>
                          </a:cubicBezTo>
                          <a:cubicBezTo>
                            <a:pt x="109" y="41"/>
                            <a:pt x="108" y="41"/>
                            <a:pt x="109" y="41"/>
                          </a:cubicBezTo>
                          <a:cubicBezTo>
                            <a:pt x="109" y="41"/>
                            <a:pt x="109" y="41"/>
                            <a:pt x="109" y="41"/>
                          </a:cubicBezTo>
                          <a:cubicBezTo>
                            <a:pt x="109" y="41"/>
                            <a:pt x="109" y="41"/>
                            <a:pt x="109" y="41"/>
                          </a:cubicBezTo>
                          <a:cubicBezTo>
                            <a:pt x="109" y="41"/>
                            <a:pt x="109" y="42"/>
                            <a:pt x="108" y="42"/>
                          </a:cubicBezTo>
                          <a:cubicBezTo>
                            <a:pt x="109" y="42"/>
                            <a:pt x="109" y="42"/>
                            <a:pt x="110" y="41"/>
                          </a:cubicBezTo>
                          <a:cubicBezTo>
                            <a:pt x="109" y="41"/>
                            <a:pt x="109" y="41"/>
                            <a:pt x="109" y="41"/>
                          </a:cubicBezTo>
                          <a:cubicBezTo>
                            <a:pt x="109" y="41"/>
                            <a:pt x="110" y="41"/>
                            <a:pt x="110" y="41"/>
                          </a:cubicBezTo>
                          <a:cubicBezTo>
                            <a:pt x="110" y="41"/>
                            <a:pt x="111" y="41"/>
                            <a:pt x="111" y="40"/>
                          </a:cubicBezTo>
                          <a:cubicBezTo>
                            <a:pt x="111" y="40"/>
                            <a:pt x="111" y="40"/>
                            <a:pt x="111" y="41"/>
                          </a:cubicBezTo>
                          <a:cubicBezTo>
                            <a:pt x="110" y="41"/>
                            <a:pt x="110" y="41"/>
                            <a:pt x="110" y="41"/>
                          </a:cubicBezTo>
                          <a:cubicBezTo>
                            <a:pt x="110" y="41"/>
                            <a:pt x="110" y="41"/>
                            <a:pt x="111" y="41"/>
                          </a:cubicBezTo>
                          <a:cubicBezTo>
                            <a:pt x="110" y="41"/>
                            <a:pt x="110" y="41"/>
                            <a:pt x="110" y="42"/>
                          </a:cubicBezTo>
                          <a:cubicBezTo>
                            <a:pt x="109" y="42"/>
                            <a:pt x="109" y="42"/>
                            <a:pt x="109" y="42"/>
                          </a:cubicBezTo>
                          <a:cubicBezTo>
                            <a:pt x="109" y="42"/>
                            <a:pt x="109" y="42"/>
                            <a:pt x="109" y="42"/>
                          </a:cubicBezTo>
                          <a:cubicBezTo>
                            <a:pt x="109" y="42"/>
                            <a:pt x="110" y="42"/>
                            <a:pt x="110" y="42"/>
                          </a:cubicBezTo>
                          <a:cubicBezTo>
                            <a:pt x="110" y="42"/>
                            <a:pt x="110" y="42"/>
                            <a:pt x="110" y="41"/>
                          </a:cubicBezTo>
                          <a:cubicBezTo>
                            <a:pt x="110" y="41"/>
                            <a:pt x="110" y="42"/>
                            <a:pt x="110" y="42"/>
                          </a:cubicBezTo>
                          <a:cubicBezTo>
                            <a:pt x="111" y="41"/>
                            <a:pt x="111" y="41"/>
                            <a:pt x="111" y="41"/>
                          </a:cubicBezTo>
                          <a:cubicBezTo>
                            <a:pt x="111" y="42"/>
                            <a:pt x="111" y="42"/>
                            <a:pt x="111" y="42"/>
                          </a:cubicBezTo>
                          <a:cubicBezTo>
                            <a:pt x="111" y="42"/>
                            <a:pt x="112" y="41"/>
                            <a:pt x="112" y="41"/>
                          </a:cubicBezTo>
                          <a:cubicBezTo>
                            <a:pt x="112" y="42"/>
                            <a:pt x="111" y="42"/>
                            <a:pt x="111" y="42"/>
                          </a:cubicBezTo>
                          <a:cubicBezTo>
                            <a:pt x="110" y="42"/>
                            <a:pt x="111" y="42"/>
                            <a:pt x="111" y="42"/>
                          </a:cubicBezTo>
                          <a:cubicBezTo>
                            <a:pt x="111" y="42"/>
                            <a:pt x="111" y="42"/>
                            <a:pt x="110" y="42"/>
                          </a:cubicBezTo>
                          <a:cubicBezTo>
                            <a:pt x="110" y="42"/>
                            <a:pt x="110" y="42"/>
                            <a:pt x="110" y="42"/>
                          </a:cubicBezTo>
                          <a:cubicBezTo>
                            <a:pt x="109" y="42"/>
                            <a:pt x="110" y="42"/>
                            <a:pt x="110" y="42"/>
                          </a:cubicBezTo>
                          <a:cubicBezTo>
                            <a:pt x="110" y="42"/>
                            <a:pt x="110" y="42"/>
                            <a:pt x="110" y="42"/>
                          </a:cubicBezTo>
                          <a:cubicBezTo>
                            <a:pt x="110" y="42"/>
                            <a:pt x="109" y="42"/>
                            <a:pt x="109" y="42"/>
                          </a:cubicBezTo>
                          <a:cubicBezTo>
                            <a:pt x="109" y="42"/>
                            <a:pt x="109" y="43"/>
                            <a:pt x="109" y="43"/>
                          </a:cubicBezTo>
                          <a:cubicBezTo>
                            <a:pt x="109" y="43"/>
                            <a:pt x="109" y="43"/>
                            <a:pt x="109" y="43"/>
                          </a:cubicBezTo>
                          <a:cubicBezTo>
                            <a:pt x="109" y="43"/>
                            <a:pt x="108" y="43"/>
                            <a:pt x="108" y="43"/>
                          </a:cubicBezTo>
                          <a:cubicBezTo>
                            <a:pt x="108" y="43"/>
                            <a:pt x="107" y="44"/>
                            <a:pt x="108" y="43"/>
                          </a:cubicBezTo>
                          <a:cubicBezTo>
                            <a:pt x="107" y="44"/>
                            <a:pt x="107" y="43"/>
                            <a:pt x="107" y="44"/>
                          </a:cubicBezTo>
                          <a:cubicBezTo>
                            <a:pt x="107" y="44"/>
                            <a:pt x="107" y="44"/>
                            <a:pt x="107" y="44"/>
                          </a:cubicBezTo>
                          <a:cubicBezTo>
                            <a:pt x="107" y="44"/>
                            <a:pt x="106" y="44"/>
                            <a:pt x="107" y="44"/>
                          </a:cubicBezTo>
                          <a:cubicBezTo>
                            <a:pt x="107" y="44"/>
                            <a:pt x="107" y="44"/>
                            <a:pt x="106" y="44"/>
                          </a:cubicBezTo>
                          <a:cubicBezTo>
                            <a:pt x="106" y="44"/>
                            <a:pt x="105" y="45"/>
                            <a:pt x="105" y="45"/>
                          </a:cubicBezTo>
                          <a:cubicBezTo>
                            <a:pt x="105" y="45"/>
                            <a:pt x="105" y="45"/>
                            <a:pt x="105" y="45"/>
                          </a:cubicBezTo>
                          <a:cubicBezTo>
                            <a:pt x="105" y="45"/>
                            <a:pt x="104" y="45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5"/>
                          </a:cubicBezTo>
                          <a:cubicBezTo>
                            <a:pt x="105" y="45"/>
                            <a:pt x="104" y="45"/>
                            <a:pt x="104" y="45"/>
                          </a:cubicBezTo>
                          <a:cubicBezTo>
                            <a:pt x="104" y="45"/>
                            <a:pt x="105" y="45"/>
                            <a:pt x="105" y="45"/>
                          </a:cubicBezTo>
                          <a:cubicBezTo>
                            <a:pt x="105" y="45"/>
                            <a:pt x="106" y="45"/>
                            <a:pt x="106" y="45"/>
                          </a:cubicBezTo>
                          <a:cubicBezTo>
                            <a:pt x="106" y="45"/>
                            <a:pt x="106" y="45"/>
                            <a:pt x="106" y="45"/>
                          </a:cubicBezTo>
                          <a:cubicBezTo>
                            <a:pt x="106" y="45"/>
                            <a:pt x="106" y="45"/>
                            <a:pt x="105" y="45"/>
                          </a:cubicBezTo>
                          <a:cubicBezTo>
                            <a:pt x="106" y="45"/>
                            <a:pt x="107" y="44"/>
                            <a:pt x="108" y="44"/>
                          </a:cubicBezTo>
                          <a:cubicBezTo>
                            <a:pt x="108" y="44"/>
                            <a:pt x="108" y="44"/>
                            <a:pt x="108" y="44"/>
                          </a:cubicBezTo>
                          <a:cubicBezTo>
                            <a:pt x="108" y="44"/>
                            <a:pt x="108" y="44"/>
                            <a:pt x="108" y="44"/>
                          </a:cubicBezTo>
                          <a:cubicBezTo>
                            <a:pt x="108" y="43"/>
                            <a:pt x="108" y="43"/>
                            <a:pt x="108" y="44"/>
                          </a:cubicBezTo>
                          <a:cubicBezTo>
                            <a:pt x="108" y="43"/>
                            <a:pt x="108" y="43"/>
                            <a:pt x="109" y="43"/>
                          </a:cubicBezTo>
                          <a:cubicBezTo>
                            <a:pt x="109" y="43"/>
                            <a:pt x="108" y="43"/>
                            <a:pt x="108" y="43"/>
                          </a:cubicBezTo>
                          <a:cubicBezTo>
                            <a:pt x="109" y="43"/>
                            <a:pt x="109" y="43"/>
                            <a:pt x="109" y="43"/>
                          </a:cubicBezTo>
                          <a:cubicBezTo>
                            <a:pt x="109" y="43"/>
                            <a:pt x="110" y="43"/>
                            <a:pt x="110" y="43"/>
                          </a:cubicBezTo>
                          <a:cubicBezTo>
                            <a:pt x="110" y="43"/>
                            <a:pt x="110" y="44"/>
                            <a:pt x="110" y="43"/>
                          </a:cubicBezTo>
                          <a:cubicBezTo>
                            <a:pt x="109" y="44"/>
                            <a:pt x="108" y="44"/>
                            <a:pt x="108" y="45"/>
                          </a:cubicBezTo>
                          <a:cubicBezTo>
                            <a:pt x="108" y="45"/>
                            <a:pt x="108" y="44"/>
                            <a:pt x="108" y="44"/>
                          </a:cubicBezTo>
                          <a:cubicBezTo>
                            <a:pt x="108" y="45"/>
                            <a:pt x="108" y="45"/>
                            <a:pt x="108" y="45"/>
                          </a:cubicBezTo>
                          <a:cubicBezTo>
                            <a:pt x="108" y="45"/>
                            <a:pt x="108" y="45"/>
                            <a:pt x="108" y="45"/>
                          </a:cubicBezTo>
                          <a:cubicBezTo>
                            <a:pt x="108" y="45"/>
                            <a:pt x="108" y="45"/>
                            <a:pt x="109" y="45"/>
                          </a:cubicBezTo>
                          <a:cubicBezTo>
                            <a:pt x="109" y="45"/>
                            <a:pt x="109" y="45"/>
                            <a:pt x="109" y="45"/>
                          </a:cubicBezTo>
                          <a:cubicBezTo>
                            <a:pt x="110" y="44"/>
                            <a:pt x="110" y="44"/>
                            <a:pt x="111" y="43"/>
                          </a:cubicBezTo>
                          <a:cubicBezTo>
                            <a:pt x="110" y="44"/>
                            <a:pt x="109" y="45"/>
                            <a:pt x="108" y="45"/>
                          </a:cubicBezTo>
                          <a:cubicBezTo>
                            <a:pt x="108" y="44"/>
                            <a:pt x="110" y="44"/>
                            <a:pt x="111" y="43"/>
                          </a:cubicBezTo>
                          <a:cubicBezTo>
                            <a:pt x="111" y="43"/>
                            <a:pt x="110" y="43"/>
                            <a:pt x="110" y="43"/>
                          </a:cubicBezTo>
                          <a:cubicBezTo>
                            <a:pt x="110" y="43"/>
                            <a:pt x="110" y="43"/>
                            <a:pt x="110" y="43"/>
                          </a:cubicBezTo>
                          <a:cubicBezTo>
                            <a:pt x="111" y="43"/>
                            <a:pt x="111" y="43"/>
                            <a:pt x="111" y="43"/>
                          </a:cubicBezTo>
                          <a:cubicBezTo>
                            <a:pt x="111" y="43"/>
                            <a:pt x="111" y="43"/>
                            <a:pt x="111" y="43"/>
                          </a:cubicBezTo>
                          <a:cubicBezTo>
                            <a:pt x="111" y="43"/>
                            <a:pt x="110" y="43"/>
                            <a:pt x="110" y="44"/>
                          </a:cubicBezTo>
                          <a:close/>
                          <a:moveTo>
                            <a:pt x="81" y="54"/>
                          </a:moveTo>
                          <a:cubicBezTo>
                            <a:pt x="81" y="54"/>
                            <a:pt x="81" y="54"/>
                            <a:pt x="80" y="54"/>
                          </a:cubicBezTo>
                          <a:cubicBezTo>
                            <a:pt x="80" y="54"/>
                            <a:pt x="80" y="55"/>
                            <a:pt x="80" y="55"/>
                          </a:cubicBezTo>
                          <a:cubicBezTo>
                            <a:pt x="81" y="55"/>
                            <a:pt x="81" y="54"/>
                            <a:pt x="81" y="54"/>
                          </a:cubicBezTo>
                          <a:close/>
                          <a:moveTo>
                            <a:pt x="91" y="49"/>
                          </a:moveTo>
                          <a:cubicBezTo>
                            <a:pt x="91" y="49"/>
                            <a:pt x="90" y="49"/>
                            <a:pt x="90" y="49"/>
                          </a:cubicBezTo>
                          <a:cubicBezTo>
                            <a:pt x="90" y="49"/>
                            <a:pt x="90" y="49"/>
                            <a:pt x="90" y="49"/>
                          </a:cubicBezTo>
                          <a:cubicBezTo>
                            <a:pt x="90" y="49"/>
                            <a:pt x="91" y="49"/>
                            <a:pt x="91" y="49"/>
                          </a:cubicBezTo>
                          <a:close/>
                          <a:moveTo>
                            <a:pt x="88" y="52"/>
                          </a:moveTo>
                          <a:cubicBezTo>
                            <a:pt x="88" y="52"/>
                            <a:pt x="88" y="52"/>
                            <a:pt x="88" y="52"/>
                          </a:cubicBezTo>
                          <a:cubicBezTo>
                            <a:pt x="88" y="52"/>
                            <a:pt x="88" y="52"/>
                            <a:pt x="88" y="52"/>
                          </a:cubicBezTo>
                          <a:cubicBezTo>
                            <a:pt x="88" y="52"/>
                            <a:pt x="88" y="52"/>
                            <a:pt x="88" y="52"/>
                          </a:cubicBezTo>
                          <a:close/>
                          <a:moveTo>
                            <a:pt x="86" y="53"/>
                          </a:moveTo>
                          <a:cubicBezTo>
                            <a:pt x="86" y="53"/>
                            <a:pt x="86" y="53"/>
                            <a:pt x="86" y="53"/>
                          </a:cubicBezTo>
                          <a:cubicBezTo>
                            <a:pt x="86" y="53"/>
                            <a:pt x="85" y="53"/>
                            <a:pt x="86" y="53"/>
                          </a:cubicBezTo>
                          <a:cubicBezTo>
                            <a:pt x="85" y="53"/>
                            <a:pt x="85" y="53"/>
                            <a:pt x="85" y="53"/>
                          </a:cubicBezTo>
                          <a:cubicBezTo>
                            <a:pt x="86" y="53"/>
                            <a:pt x="86" y="53"/>
                            <a:pt x="86" y="53"/>
                          </a:cubicBezTo>
                          <a:cubicBezTo>
                            <a:pt x="86" y="52"/>
                            <a:pt x="86" y="53"/>
                            <a:pt x="86" y="53"/>
                          </a:cubicBezTo>
                          <a:close/>
                          <a:moveTo>
                            <a:pt x="86" y="53"/>
                          </a:moveTo>
                          <a:cubicBezTo>
                            <a:pt x="86" y="53"/>
                            <a:pt x="86" y="52"/>
                            <a:pt x="86" y="52"/>
                          </a:cubicBezTo>
                          <a:cubicBezTo>
                            <a:pt x="86" y="52"/>
                            <a:pt x="86" y="53"/>
                            <a:pt x="86" y="53"/>
                          </a:cubicBezTo>
                          <a:close/>
                          <a:moveTo>
                            <a:pt x="85" y="53"/>
                          </a:moveTo>
                          <a:cubicBezTo>
                            <a:pt x="85" y="53"/>
                            <a:pt x="85" y="53"/>
                            <a:pt x="85" y="53"/>
                          </a:cubicBezTo>
                          <a:cubicBezTo>
                            <a:pt x="85" y="53"/>
                            <a:pt x="85" y="53"/>
                            <a:pt x="85" y="53"/>
                          </a:cubicBezTo>
                          <a:cubicBezTo>
                            <a:pt x="85" y="53"/>
                            <a:pt x="85" y="53"/>
                            <a:pt x="85" y="53"/>
                          </a:cubicBezTo>
                          <a:cubicBezTo>
                            <a:pt x="85" y="53"/>
                            <a:pt x="85" y="53"/>
                            <a:pt x="85" y="53"/>
                          </a:cubicBezTo>
                          <a:cubicBezTo>
                            <a:pt x="85" y="53"/>
                            <a:pt x="85" y="53"/>
                            <a:pt x="85" y="53"/>
                          </a:cubicBezTo>
                          <a:close/>
                          <a:moveTo>
                            <a:pt x="85" y="53"/>
                          </a:moveTo>
                          <a:cubicBezTo>
                            <a:pt x="85" y="53"/>
                            <a:pt x="85" y="53"/>
                            <a:pt x="84" y="53"/>
                          </a:cubicBezTo>
                          <a:cubicBezTo>
                            <a:pt x="84" y="53"/>
                            <a:pt x="84" y="53"/>
                            <a:pt x="84" y="53"/>
                          </a:cubicBezTo>
                          <a:cubicBezTo>
                            <a:pt x="84" y="53"/>
                            <a:pt x="84" y="53"/>
                            <a:pt x="84" y="53"/>
                          </a:cubicBezTo>
                          <a:cubicBezTo>
                            <a:pt x="84" y="53"/>
                            <a:pt x="85" y="53"/>
                            <a:pt x="85" y="53"/>
                          </a:cubicBezTo>
                          <a:close/>
                          <a:moveTo>
                            <a:pt x="79" y="56"/>
                          </a:moveTo>
                          <a:cubicBezTo>
                            <a:pt x="79" y="56"/>
                            <a:pt x="79" y="56"/>
                            <a:pt x="79" y="56"/>
                          </a:cubicBezTo>
                          <a:cubicBezTo>
                            <a:pt x="79" y="56"/>
                            <a:pt x="79" y="56"/>
                            <a:pt x="79" y="56"/>
                          </a:cubicBezTo>
                          <a:cubicBezTo>
                            <a:pt x="79" y="56"/>
                            <a:pt x="79" y="56"/>
                            <a:pt x="79" y="56"/>
                          </a:cubicBezTo>
                          <a:close/>
                          <a:moveTo>
                            <a:pt x="81" y="55"/>
                          </a:moveTo>
                          <a:cubicBezTo>
                            <a:pt x="80" y="55"/>
                            <a:pt x="80" y="56"/>
                            <a:pt x="80" y="56"/>
                          </a:cubicBezTo>
                          <a:cubicBezTo>
                            <a:pt x="80" y="56"/>
                            <a:pt x="80" y="55"/>
                            <a:pt x="81" y="55"/>
                          </a:cubicBezTo>
                          <a:close/>
                          <a:moveTo>
                            <a:pt x="83" y="54"/>
                          </a:moveTo>
                          <a:cubicBezTo>
                            <a:pt x="84" y="54"/>
                            <a:pt x="84" y="53"/>
                            <a:pt x="85" y="53"/>
                          </a:cubicBezTo>
                          <a:cubicBezTo>
                            <a:pt x="85" y="53"/>
                            <a:pt x="85" y="53"/>
                            <a:pt x="85" y="53"/>
                          </a:cubicBezTo>
                          <a:cubicBezTo>
                            <a:pt x="85" y="53"/>
                            <a:pt x="85" y="53"/>
                            <a:pt x="85" y="53"/>
                          </a:cubicBezTo>
                          <a:cubicBezTo>
                            <a:pt x="85" y="53"/>
                            <a:pt x="85" y="53"/>
                            <a:pt x="85" y="53"/>
                          </a:cubicBezTo>
                          <a:cubicBezTo>
                            <a:pt x="84" y="53"/>
                            <a:pt x="84" y="53"/>
                            <a:pt x="84" y="53"/>
                          </a:cubicBezTo>
                          <a:cubicBezTo>
                            <a:pt x="84" y="53"/>
                            <a:pt x="84" y="53"/>
                            <a:pt x="84" y="53"/>
                          </a:cubicBezTo>
                          <a:cubicBezTo>
                            <a:pt x="84" y="53"/>
                            <a:pt x="84" y="54"/>
                            <a:pt x="84" y="54"/>
                          </a:cubicBezTo>
                          <a:cubicBezTo>
                            <a:pt x="84" y="54"/>
                            <a:pt x="84" y="53"/>
                            <a:pt x="84" y="53"/>
                          </a:cubicBezTo>
                          <a:cubicBezTo>
                            <a:pt x="83" y="54"/>
                            <a:pt x="82" y="54"/>
                            <a:pt x="81" y="55"/>
                          </a:cubicBezTo>
                          <a:cubicBezTo>
                            <a:pt x="82" y="55"/>
                            <a:pt x="83" y="54"/>
                            <a:pt x="83" y="54"/>
                          </a:cubicBezTo>
                          <a:cubicBezTo>
                            <a:pt x="83" y="54"/>
                            <a:pt x="84" y="54"/>
                            <a:pt x="83" y="54"/>
                          </a:cubicBezTo>
                          <a:close/>
                          <a:moveTo>
                            <a:pt x="78" y="57"/>
                          </a:moveTo>
                          <a:cubicBezTo>
                            <a:pt x="78" y="57"/>
                            <a:pt x="78" y="57"/>
                            <a:pt x="78" y="57"/>
                          </a:cubicBezTo>
                          <a:cubicBezTo>
                            <a:pt x="78" y="57"/>
                            <a:pt x="78" y="57"/>
                            <a:pt x="78" y="57"/>
                          </a:cubicBezTo>
                          <a:cubicBezTo>
                            <a:pt x="78" y="57"/>
                            <a:pt x="78" y="57"/>
                            <a:pt x="78" y="57"/>
                          </a:cubicBezTo>
                          <a:close/>
                          <a:moveTo>
                            <a:pt x="78" y="57"/>
                          </a:moveTo>
                          <a:cubicBezTo>
                            <a:pt x="78" y="57"/>
                            <a:pt x="79" y="57"/>
                            <a:pt x="79" y="57"/>
                          </a:cubicBezTo>
                          <a:cubicBezTo>
                            <a:pt x="79" y="57"/>
                            <a:pt x="79" y="56"/>
                            <a:pt x="79" y="56"/>
                          </a:cubicBezTo>
                          <a:cubicBezTo>
                            <a:pt x="78" y="57"/>
                            <a:pt x="78" y="57"/>
                            <a:pt x="78" y="57"/>
                          </a:cubicBezTo>
                          <a:close/>
                          <a:moveTo>
                            <a:pt x="78" y="57"/>
                          </a:moveTo>
                          <a:cubicBezTo>
                            <a:pt x="78" y="57"/>
                            <a:pt x="79" y="57"/>
                            <a:pt x="79" y="56"/>
                          </a:cubicBezTo>
                          <a:cubicBezTo>
                            <a:pt x="79" y="57"/>
                            <a:pt x="78" y="57"/>
                            <a:pt x="78" y="57"/>
                          </a:cubicBezTo>
                          <a:close/>
                          <a:moveTo>
                            <a:pt x="82" y="55"/>
                          </a:moveTo>
                          <a:cubicBezTo>
                            <a:pt x="82" y="55"/>
                            <a:pt x="82" y="55"/>
                            <a:pt x="82" y="56"/>
                          </a:cubicBezTo>
                          <a:cubicBezTo>
                            <a:pt x="82" y="55"/>
                            <a:pt x="82" y="55"/>
                            <a:pt x="82" y="55"/>
                          </a:cubicBezTo>
                          <a:close/>
                          <a:moveTo>
                            <a:pt x="80" y="57"/>
                          </a:moveTo>
                          <a:cubicBezTo>
                            <a:pt x="80" y="57"/>
                            <a:pt x="79" y="57"/>
                            <a:pt x="79" y="57"/>
                          </a:cubicBezTo>
                          <a:cubicBezTo>
                            <a:pt x="79" y="57"/>
                            <a:pt x="79" y="57"/>
                            <a:pt x="80" y="57"/>
                          </a:cubicBezTo>
                          <a:close/>
                          <a:moveTo>
                            <a:pt x="80" y="57"/>
                          </a:moveTo>
                          <a:cubicBezTo>
                            <a:pt x="80" y="57"/>
                            <a:pt x="80" y="57"/>
                            <a:pt x="80" y="57"/>
                          </a:cubicBezTo>
                          <a:cubicBezTo>
                            <a:pt x="80" y="57"/>
                            <a:pt x="80" y="57"/>
                            <a:pt x="80" y="57"/>
                          </a:cubicBezTo>
                          <a:cubicBezTo>
                            <a:pt x="80" y="57"/>
                            <a:pt x="80" y="57"/>
                            <a:pt x="80" y="57"/>
                          </a:cubicBezTo>
                          <a:cubicBezTo>
                            <a:pt x="80" y="57"/>
                            <a:pt x="79" y="57"/>
                            <a:pt x="79" y="58"/>
                          </a:cubicBezTo>
                          <a:cubicBezTo>
                            <a:pt x="80" y="57"/>
                            <a:pt x="80" y="57"/>
                            <a:pt x="80" y="57"/>
                          </a:cubicBezTo>
                          <a:cubicBezTo>
                            <a:pt x="80" y="57"/>
                            <a:pt x="80" y="57"/>
                            <a:pt x="80" y="57"/>
                          </a:cubicBezTo>
                          <a:close/>
                          <a:moveTo>
                            <a:pt x="81" y="57"/>
                          </a:moveTo>
                          <a:cubicBezTo>
                            <a:pt x="81" y="57"/>
                            <a:pt x="81" y="57"/>
                            <a:pt x="81" y="57"/>
                          </a:cubicBezTo>
                          <a:cubicBezTo>
                            <a:pt x="81" y="57"/>
                            <a:pt x="81" y="57"/>
                            <a:pt x="81" y="57"/>
                          </a:cubicBezTo>
                          <a:cubicBezTo>
                            <a:pt x="81" y="57"/>
                            <a:pt x="81" y="57"/>
                            <a:pt x="81" y="57"/>
                          </a:cubicBezTo>
                          <a:cubicBezTo>
                            <a:pt x="81" y="57"/>
                            <a:pt x="81" y="57"/>
                            <a:pt x="81" y="56"/>
                          </a:cubicBezTo>
                          <a:cubicBezTo>
                            <a:pt x="81" y="57"/>
                            <a:pt x="81" y="57"/>
                            <a:pt x="81" y="56"/>
                          </a:cubicBezTo>
                          <a:cubicBezTo>
                            <a:pt x="81" y="56"/>
                            <a:pt x="81" y="57"/>
                            <a:pt x="81" y="57"/>
                          </a:cubicBezTo>
                          <a:close/>
                          <a:moveTo>
                            <a:pt x="80" y="57"/>
                          </a:moveTo>
                          <a:cubicBezTo>
                            <a:pt x="80" y="57"/>
                            <a:pt x="81" y="57"/>
                            <a:pt x="81" y="57"/>
                          </a:cubicBezTo>
                          <a:cubicBezTo>
                            <a:pt x="81" y="57"/>
                            <a:pt x="80" y="57"/>
                            <a:pt x="80" y="57"/>
                          </a:cubicBezTo>
                          <a:cubicBezTo>
                            <a:pt x="81" y="56"/>
                            <a:pt x="81" y="57"/>
                            <a:pt x="81" y="56"/>
                          </a:cubicBezTo>
                          <a:cubicBezTo>
                            <a:pt x="81" y="56"/>
                            <a:pt x="80" y="57"/>
                            <a:pt x="80" y="57"/>
                          </a:cubicBezTo>
                          <a:close/>
                          <a:moveTo>
                            <a:pt x="86" y="53"/>
                          </a:moveTo>
                          <a:cubicBezTo>
                            <a:pt x="87" y="54"/>
                            <a:pt x="87" y="53"/>
                            <a:pt x="88" y="53"/>
                          </a:cubicBezTo>
                          <a:cubicBezTo>
                            <a:pt x="88" y="52"/>
                            <a:pt x="88" y="53"/>
                            <a:pt x="87" y="53"/>
                          </a:cubicBezTo>
                          <a:cubicBezTo>
                            <a:pt x="87" y="53"/>
                            <a:pt x="87" y="53"/>
                            <a:pt x="87" y="53"/>
                          </a:cubicBezTo>
                          <a:cubicBezTo>
                            <a:pt x="86" y="53"/>
                            <a:pt x="87" y="53"/>
                            <a:pt x="87" y="53"/>
                          </a:cubicBezTo>
                          <a:cubicBezTo>
                            <a:pt x="87" y="53"/>
                            <a:pt x="86" y="53"/>
                            <a:pt x="86" y="53"/>
                          </a:cubicBezTo>
                          <a:cubicBezTo>
                            <a:pt x="87" y="53"/>
                            <a:pt x="87" y="53"/>
                            <a:pt x="87" y="53"/>
                          </a:cubicBezTo>
                          <a:cubicBezTo>
                            <a:pt x="86" y="53"/>
                            <a:pt x="86" y="53"/>
                            <a:pt x="86" y="53"/>
                          </a:cubicBezTo>
                          <a:cubicBezTo>
                            <a:pt x="86" y="53"/>
                            <a:pt x="86" y="54"/>
                            <a:pt x="85" y="54"/>
                          </a:cubicBezTo>
                          <a:cubicBezTo>
                            <a:pt x="85" y="53"/>
                            <a:pt x="85" y="54"/>
                            <a:pt x="85" y="54"/>
                          </a:cubicBezTo>
                          <a:cubicBezTo>
                            <a:pt x="85" y="54"/>
                            <a:pt x="85" y="54"/>
                            <a:pt x="85" y="54"/>
                          </a:cubicBezTo>
                          <a:cubicBezTo>
                            <a:pt x="85" y="54"/>
                            <a:pt x="85" y="54"/>
                            <a:pt x="84" y="54"/>
                          </a:cubicBezTo>
                          <a:cubicBezTo>
                            <a:pt x="84" y="54"/>
                            <a:pt x="84" y="54"/>
                            <a:pt x="84" y="54"/>
                          </a:cubicBezTo>
                          <a:cubicBezTo>
                            <a:pt x="84" y="54"/>
                            <a:pt x="85" y="54"/>
                            <a:pt x="85" y="54"/>
                          </a:cubicBezTo>
                          <a:cubicBezTo>
                            <a:pt x="85" y="54"/>
                            <a:pt x="85" y="53"/>
                            <a:pt x="85" y="53"/>
                          </a:cubicBezTo>
                          <a:cubicBezTo>
                            <a:pt x="85" y="54"/>
                            <a:pt x="85" y="53"/>
                            <a:pt x="84" y="54"/>
                          </a:cubicBezTo>
                          <a:cubicBezTo>
                            <a:pt x="84" y="54"/>
                            <a:pt x="84" y="54"/>
                            <a:pt x="84" y="54"/>
                          </a:cubicBezTo>
                          <a:cubicBezTo>
                            <a:pt x="84" y="54"/>
                            <a:pt x="84" y="54"/>
                            <a:pt x="84" y="54"/>
                          </a:cubicBezTo>
                          <a:cubicBezTo>
                            <a:pt x="84" y="54"/>
                            <a:pt x="84" y="54"/>
                            <a:pt x="84" y="54"/>
                          </a:cubicBezTo>
                          <a:cubicBezTo>
                            <a:pt x="84" y="54"/>
                            <a:pt x="84" y="54"/>
                            <a:pt x="83" y="54"/>
                          </a:cubicBezTo>
                          <a:cubicBezTo>
                            <a:pt x="83" y="54"/>
                            <a:pt x="84" y="54"/>
                            <a:pt x="84" y="54"/>
                          </a:cubicBezTo>
                          <a:cubicBezTo>
                            <a:pt x="84" y="54"/>
                            <a:pt x="84" y="54"/>
                            <a:pt x="84" y="54"/>
                          </a:cubicBezTo>
                          <a:cubicBezTo>
                            <a:pt x="84" y="54"/>
                            <a:pt x="84" y="54"/>
                            <a:pt x="84" y="54"/>
                          </a:cubicBezTo>
                          <a:cubicBezTo>
                            <a:pt x="84" y="54"/>
                            <a:pt x="83" y="55"/>
                            <a:pt x="83" y="55"/>
                          </a:cubicBezTo>
                          <a:cubicBezTo>
                            <a:pt x="84" y="54"/>
                            <a:pt x="84" y="54"/>
                            <a:pt x="85" y="54"/>
                          </a:cubicBezTo>
                          <a:cubicBezTo>
                            <a:pt x="85" y="54"/>
                            <a:pt x="85" y="54"/>
                            <a:pt x="86" y="54"/>
                          </a:cubicBezTo>
                          <a:cubicBezTo>
                            <a:pt x="86" y="54"/>
                            <a:pt x="86" y="54"/>
                            <a:pt x="86" y="54"/>
                          </a:cubicBezTo>
                          <a:cubicBezTo>
                            <a:pt x="86" y="54"/>
                            <a:pt x="85" y="54"/>
                            <a:pt x="86" y="54"/>
                          </a:cubicBezTo>
                          <a:cubicBezTo>
                            <a:pt x="86" y="54"/>
                            <a:pt x="86" y="54"/>
                            <a:pt x="86" y="53"/>
                          </a:cubicBezTo>
                          <a:close/>
                          <a:moveTo>
                            <a:pt x="86" y="54"/>
                          </a:moveTo>
                          <a:cubicBezTo>
                            <a:pt x="86" y="54"/>
                            <a:pt x="87" y="54"/>
                            <a:pt x="87" y="54"/>
                          </a:cubicBezTo>
                          <a:cubicBezTo>
                            <a:pt x="86" y="54"/>
                            <a:pt x="86" y="54"/>
                            <a:pt x="86" y="54"/>
                          </a:cubicBezTo>
                          <a:cubicBezTo>
                            <a:pt x="86" y="54"/>
                            <a:pt x="86" y="54"/>
                            <a:pt x="86" y="54"/>
                          </a:cubicBezTo>
                          <a:close/>
                          <a:moveTo>
                            <a:pt x="103" y="50"/>
                          </a:moveTo>
                          <a:cubicBezTo>
                            <a:pt x="103" y="50"/>
                            <a:pt x="103" y="50"/>
                            <a:pt x="103" y="50"/>
                          </a:cubicBezTo>
                          <a:cubicBezTo>
                            <a:pt x="103" y="50"/>
                            <a:pt x="103" y="50"/>
                            <a:pt x="103" y="50"/>
                          </a:cubicBezTo>
                          <a:cubicBezTo>
                            <a:pt x="103" y="50"/>
                            <a:pt x="103" y="50"/>
                            <a:pt x="103" y="50"/>
                          </a:cubicBezTo>
                          <a:close/>
                          <a:moveTo>
                            <a:pt x="105" y="50"/>
                          </a:moveTo>
                          <a:cubicBezTo>
                            <a:pt x="105" y="49"/>
                            <a:pt x="105" y="49"/>
                            <a:pt x="105" y="49"/>
                          </a:cubicBezTo>
                          <a:cubicBezTo>
                            <a:pt x="105" y="49"/>
                            <a:pt x="105" y="49"/>
                            <a:pt x="105" y="50"/>
                          </a:cubicBezTo>
                          <a:close/>
                          <a:moveTo>
                            <a:pt x="102" y="50"/>
                          </a:moveTo>
                          <a:cubicBezTo>
                            <a:pt x="102" y="50"/>
                            <a:pt x="102" y="50"/>
                            <a:pt x="102" y="51"/>
                          </a:cubicBezTo>
                          <a:cubicBezTo>
                            <a:pt x="102" y="51"/>
                            <a:pt x="102" y="51"/>
                            <a:pt x="102" y="51"/>
                          </a:cubicBezTo>
                          <a:cubicBezTo>
                            <a:pt x="102" y="50"/>
                            <a:pt x="102" y="50"/>
                            <a:pt x="102" y="50"/>
                          </a:cubicBezTo>
                          <a:cubicBezTo>
                            <a:pt x="102" y="50"/>
                            <a:pt x="102" y="51"/>
                            <a:pt x="102" y="51"/>
                          </a:cubicBezTo>
                          <a:cubicBezTo>
                            <a:pt x="102" y="51"/>
                            <a:pt x="103" y="50"/>
                            <a:pt x="102" y="51"/>
                          </a:cubicBezTo>
                          <a:cubicBezTo>
                            <a:pt x="103" y="50"/>
                            <a:pt x="103" y="50"/>
                            <a:pt x="103" y="50"/>
                          </a:cubicBezTo>
                          <a:cubicBezTo>
                            <a:pt x="103" y="51"/>
                            <a:pt x="102" y="50"/>
                            <a:pt x="102" y="50"/>
                          </a:cubicBezTo>
                          <a:close/>
                          <a:moveTo>
                            <a:pt x="102" y="50"/>
                          </a:moveTo>
                          <a:cubicBezTo>
                            <a:pt x="103" y="50"/>
                            <a:pt x="103" y="50"/>
                            <a:pt x="103" y="50"/>
                          </a:cubicBezTo>
                          <a:cubicBezTo>
                            <a:pt x="103" y="50"/>
                            <a:pt x="102" y="50"/>
                            <a:pt x="102" y="50"/>
                          </a:cubicBezTo>
                          <a:close/>
                          <a:moveTo>
                            <a:pt x="100" y="50"/>
                          </a:moveTo>
                          <a:cubicBezTo>
                            <a:pt x="100" y="50"/>
                            <a:pt x="100" y="51"/>
                            <a:pt x="100" y="51"/>
                          </a:cubicBezTo>
                          <a:cubicBezTo>
                            <a:pt x="100" y="51"/>
                            <a:pt x="100" y="51"/>
                            <a:pt x="100" y="51"/>
                          </a:cubicBezTo>
                          <a:cubicBezTo>
                            <a:pt x="100" y="51"/>
                            <a:pt x="100" y="50"/>
                            <a:pt x="100" y="51"/>
                          </a:cubicBezTo>
                          <a:cubicBezTo>
                            <a:pt x="100" y="51"/>
                            <a:pt x="99" y="51"/>
                            <a:pt x="99" y="51"/>
                          </a:cubicBezTo>
                          <a:cubicBezTo>
                            <a:pt x="99" y="51"/>
                            <a:pt x="99" y="51"/>
                            <a:pt x="100" y="51"/>
                          </a:cubicBezTo>
                          <a:cubicBezTo>
                            <a:pt x="100" y="51"/>
                            <a:pt x="100" y="51"/>
                            <a:pt x="100" y="51"/>
                          </a:cubicBezTo>
                          <a:cubicBezTo>
                            <a:pt x="100" y="50"/>
                            <a:pt x="100" y="50"/>
                            <a:pt x="100" y="50"/>
                          </a:cubicBezTo>
                          <a:cubicBezTo>
                            <a:pt x="100" y="50"/>
                            <a:pt x="101" y="50"/>
                            <a:pt x="101" y="50"/>
                          </a:cubicBezTo>
                          <a:cubicBezTo>
                            <a:pt x="101" y="50"/>
                            <a:pt x="101" y="50"/>
                            <a:pt x="101" y="50"/>
                          </a:cubicBezTo>
                          <a:cubicBezTo>
                            <a:pt x="101" y="50"/>
                            <a:pt x="101" y="50"/>
                            <a:pt x="101" y="50"/>
                          </a:cubicBezTo>
                          <a:cubicBezTo>
                            <a:pt x="101" y="50"/>
                            <a:pt x="101" y="50"/>
                            <a:pt x="101" y="50"/>
                          </a:cubicBezTo>
                          <a:cubicBezTo>
                            <a:pt x="101" y="50"/>
                            <a:pt x="101" y="50"/>
                            <a:pt x="101" y="50"/>
                          </a:cubicBezTo>
                          <a:cubicBezTo>
                            <a:pt x="101" y="50"/>
                            <a:pt x="101" y="50"/>
                            <a:pt x="100" y="50"/>
                          </a:cubicBezTo>
                          <a:cubicBezTo>
                            <a:pt x="100" y="50"/>
                            <a:pt x="100" y="50"/>
                            <a:pt x="100" y="50"/>
                          </a:cubicBezTo>
                          <a:cubicBezTo>
                            <a:pt x="100" y="50"/>
                            <a:pt x="100" y="50"/>
                            <a:pt x="100" y="50"/>
                          </a:cubicBezTo>
                          <a:close/>
                          <a:moveTo>
                            <a:pt x="95" y="52"/>
                          </a:moveTo>
                          <a:cubicBezTo>
                            <a:pt x="95" y="52"/>
                            <a:pt x="95" y="52"/>
                            <a:pt x="95" y="52"/>
                          </a:cubicBezTo>
                          <a:cubicBezTo>
                            <a:pt x="95" y="52"/>
                            <a:pt x="95" y="52"/>
                            <a:pt x="94" y="52"/>
                          </a:cubicBezTo>
                          <a:cubicBezTo>
                            <a:pt x="94" y="52"/>
                            <a:pt x="95" y="52"/>
                            <a:pt x="95" y="52"/>
                          </a:cubicBezTo>
                          <a:close/>
                          <a:moveTo>
                            <a:pt x="97" y="51"/>
                          </a:moveTo>
                          <a:cubicBezTo>
                            <a:pt x="97" y="51"/>
                            <a:pt x="96" y="51"/>
                            <a:pt x="96" y="51"/>
                          </a:cubicBezTo>
                          <a:cubicBezTo>
                            <a:pt x="96" y="51"/>
                            <a:pt x="96" y="51"/>
                            <a:pt x="96" y="51"/>
                          </a:cubicBezTo>
                          <a:cubicBezTo>
                            <a:pt x="97" y="51"/>
                            <a:pt x="97" y="51"/>
                            <a:pt x="97" y="51"/>
                          </a:cubicBezTo>
                          <a:close/>
                          <a:moveTo>
                            <a:pt x="96" y="51"/>
                          </a:moveTo>
                          <a:cubicBezTo>
                            <a:pt x="96" y="51"/>
                            <a:pt x="96" y="51"/>
                            <a:pt x="96" y="51"/>
                          </a:cubicBezTo>
                          <a:cubicBezTo>
                            <a:pt x="96" y="51"/>
                            <a:pt x="96" y="51"/>
                            <a:pt x="96" y="51"/>
                          </a:cubicBezTo>
                          <a:cubicBezTo>
                            <a:pt x="96" y="52"/>
                            <a:pt x="96" y="52"/>
                            <a:pt x="95" y="52"/>
                          </a:cubicBezTo>
                          <a:cubicBezTo>
                            <a:pt x="96" y="52"/>
                            <a:pt x="95" y="52"/>
                            <a:pt x="96" y="52"/>
                          </a:cubicBezTo>
                          <a:cubicBezTo>
                            <a:pt x="96" y="52"/>
                            <a:pt x="96" y="52"/>
                            <a:pt x="96" y="52"/>
                          </a:cubicBezTo>
                          <a:cubicBezTo>
                            <a:pt x="96" y="52"/>
                            <a:pt x="96" y="52"/>
                            <a:pt x="96" y="52"/>
                          </a:cubicBezTo>
                          <a:cubicBezTo>
                            <a:pt x="96" y="52"/>
                            <a:pt x="96" y="52"/>
                            <a:pt x="96" y="52"/>
                          </a:cubicBezTo>
                          <a:cubicBezTo>
                            <a:pt x="96" y="52"/>
                            <a:pt x="96" y="52"/>
                            <a:pt x="96" y="52"/>
                          </a:cubicBezTo>
                          <a:cubicBezTo>
                            <a:pt x="96" y="51"/>
                            <a:pt x="96" y="52"/>
                            <a:pt x="96" y="51"/>
                          </a:cubicBezTo>
                          <a:close/>
                          <a:moveTo>
                            <a:pt x="97" y="51"/>
                          </a:moveTo>
                          <a:cubicBezTo>
                            <a:pt x="96" y="51"/>
                            <a:pt x="96" y="51"/>
                            <a:pt x="96" y="51"/>
                          </a:cubicBezTo>
                          <a:cubicBezTo>
                            <a:pt x="96" y="51"/>
                            <a:pt x="96" y="51"/>
                            <a:pt x="96" y="51"/>
                          </a:cubicBezTo>
                          <a:cubicBezTo>
                            <a:pt x="97" y="51"/>
                            <a:pt x="97" y="51"/>
                            <a:pt x="97" y="51"/>
                          </a:cubicBezTo>
                          <a:cubicBezTo>
                            <a:pt x="97" y="51"/>
                            <a:pt x="97" y="51"/>
                            <a:pt x="97" y="51"/>
                          </a:cubicBezTo>
                          <a:cubicBezTo>
                            <a:pt x="96" y="51"/>
                            <a:pt x="97" y="51"/>
                            <a:pt x="97" y="51"/>
                          </a:cubicBezTo>
                          <a:close/>
                          <a:moveTo>
                            <a:pt x="96" y="51"/>
                          </a:moveTo>
                          <a:cubicBezTo>
                            <a:pt x="95" y="51"/>
                            <a:pt x="95" y="51"/>
                            <a:pt x="95" y="52"/>
                          </a:cubicBezTo>
                          <a:cubicBezTo>
                            <a:pt x="95" y="52"/>
                            <a:pt x="95" y="52"/>
                            <a:pt x="95" y="52"/>
                          </a:cubicBezTo>
                          <a:cubicBezTo>
                            <a:pt x="95" y="51"/>
                            <a:pt x="96" y="51"/>
                            <a:pt x="96" y="51"/>
                          </a:cubicBezTo>
                          <a:close/>
                          <a:moveTo>
                            <a:pt x="108" y="44"/>
                          </a:moveTo>
                          <a:cubicBezTo>
                            <a:pt x="108" y="44"/>
                            <a:pt x="108" y="44"/>
                            <a:pt x="108" y="44"/>
                          </a:cubicBezTo>
                          <a:cubicBezTo>
                            <a:pt x="108" y="44"/>
                            <a:pt x="109" y="44"/>
                            <a:pt x="109" y="44"/>
                          </a:cubicBezTo>
                          <a:cubicBezTo>
                            <a:pt x="109" y="44"/>
                            <a:pt x="109" y="44"/>
                            <a:pt x="108" y="44"/>
                          </a:cubicBezTo>
                          <a:close/>
                          <a:moveTo>
                            <a:pt x="106" y="45"/>
                          </a:moveTo>
                          <a:cubicBezTo>
                            <a:pt x="105" y="45"/>
                            <a:pt x="105" y="46"/>
                            <a:pt x="105" y="46"/>
                          </a:cubicBezTo>
                          <a:cubicBezTo>
                            <a:pt x="105" y="46"/>
                            <a:pt x="106" y="45"/>
                            <a:pt x="106" y="45"/>
                          </a:cubicBezTo>
                          <a:close/>
                          <a:moveTo>
                            <a:pt x="104" y="46"/>
                          </a:moveTo>
                          <a:cubicBezTo>
                            <a:pt x="105" y="46"/>
                            <a:pt x="104" y="46"/>
                            <a:pt x="104" y="46"/>
                          </a:cubicBezTo>
                          <a:cubicBezTo>
                            <a:pt x="105" y="46"/>
                            <a:pt x="105" y="46"/>
                            <a:pt x="105" y="46"/>
                          </a:cubicBezTo>
                          <a:cubicBezTo>
                            <a:pt x="105" y="46"/>
                            <a:pt x="105" y="46"/>
                            <a:pt x="105" y="46"/>
                          </a:cubicBezTo>
                          <a:cubicBezTo>
                            <a:pt x="105" y="46"/>
                            <a:pt x="105" y="46"/>
                            <a:pt x="104" y="46"/>
                          </a:cubicBezTo>
                          <a:cubicBezTo>
                            <a:pt x="105" y="46"/>
                            <a:pt x="105" y="46"/>
                            <a:pt x="105" y="46"/>
                          </a:cubicBezTo>
                          <a:cubicBezTo>
                            <a:pt x="105" y="46"/>
                            <a:pt x="105" y="46"/>
                            <a:pt x="105" y="46"/>
                          </a:cubicBezTo>
                          <a:cubicBezTo>
                            <a:pt x="105" y="46"/>
                            <a:pt x="105" y="46"/>
                            <a:pt x="105" y="45"/>
                          </a:cubicBezTo>
                          <a:cubicBezTo>
                            <a:pt x="105" y="45"/>
                            <a:pt x="105" y="46"/>
                            <a:pt x="105" y="46"/>
                          </a:cubicBezTo>
                          <a:cubicBezTo>
                            <a:pt x="105" y="46"/>
                            <a:pt x="105" y="45"/>
                            <a:pt x="105" y="45"/>
                          </a:cubicBezTo>
                          <a:cubicBezTo>
                            <a:pt x="104" y="45"/>
                            <a:pt x="104" y="46"/>
                            <a:pt x="104" y="46"/>
                          </a:cubicBezTo>
                          <a:close/>
                          <a:moveTo>
                            <a:pt x="102" y="47"/>
                          </a:moveTo>
                          <a:cubicBezTo>
                            <a:pt x="103" y="47"/>
                            <a:pt x="103" y="47"/>
                            <a:pt x="104" y="47"/>
                          </a:cubicBezTo>
                          <a:cubicBezTo>
                            <a:pt x="104" y="47"/>
                            <a:pt x="104" y="47"/>
                            <a:pt x="104" y="46"/>
                          </a:cubicBezTo>
                          <a:cubicBezTo>
                            <a:pt x="104" y="47"/>
                            <a:pt x="104" y="47"/>
                            <a:pt x="103" y="47"/>
                          </a:cubicBezTo>
                          <a:cubicBezTo>
                            <a:pt x="103" y="47"/>
                            <a:pt x="103" y="47"/>
                            <a:pt x="103" y="47"/>
                          </a:cubicBezTo>
                          <a:cubicBezTo>
                            <a:pt x="103" y="47"/>
                            <a:pt x="103" y="47"/>
                            <a:pt x="102" y="47"/>
                          </a:cubicBezTo>
                          <a:close/>
                          <a:moveTo>
                            <a:pt x="99" y="48"/>
                          </a:moveTo>
                          <a:cubicBezTo>
                            <a:pt x="99" y="49"/>
                            <a:pt x="99" y="49"/>
                            <a:pt x="99" y="49"/>
                          </a:cubicBezTo>
                          <a:cubicBezTo>
                            <a:pt x="99" y="48"/>
                            <a:pt x="99" y="49"/>
                            <a:pt x="99" y="49"/>
                          </a:cubicBezTo>
                          <a:cubicBezTo>
                            <a:pt x="99" y="49"/>
                            <a:pt x="99" y="49"/>
                            <a:pt x="99" y="49"/>
                          </a:cubicBezTo>
                          <a:cubicBezTo>
                            <a:pt x="99" y="49"/>
                            <a:pt x="99" y="49"/>
                            <a:pt x="99" y="48"/>
                          </a:cubicBezTo>
                          <a:cubicBezTo>
                            <a:pt x="99" y="49"/>
                            <a:pt x="99" y="48"/>
                            <a:pt x="99" y="48"/>
                          </a:cubicBezTo>
                          <a:cubicBezTo>
                            <a:pt x="99" y="49"/>
                            <a:pt x="99" y="48"/>
                            <a:pt x="98" y="49"/>
                          </a:cubicBezTo>
                          <a:cubicBezTo>
                            <a:pt x="98" y="49"/>
                            <a:pt x="99" y="49"/>
                            <a:pt x="99" y="49"/>
                          </a:cubicBezTo>
                          <a:cubicBezTo>
                            <a:pt x="98" y="49"/>
                            <a:pt x="98" y="49"/>
                            <a:pt x="98" y="49"/>
                          </a:cubicBezTo>
                          <a:cubicBezTo>
                            <a:pt x="98" y="49"/>
                            <a:pt x="98" y="49"/>
                            <a:pt x="99" y="49"/>
                          </a:cubicBezTo>
                          <a:cubicBezTo>
                            <a:pt x="99" y="49"/>
                            <a:pt x="100" y="49"/>
                            <a:pt x="99" y="48"/>
                          </a:cubicBezTo>
                          <a:close/>
                          <a:moveTo>
                            <a:pt x="101" y="48"/>
                          </a:moveTo>
                          <a:cubicBezTo>
                            <a:pt x="101" y="48"/>
                            <a:pt x="99" y="48"/>
                            <a:pt x="100" y="48"/>
                          </a:cubicBezTo>
                          <a:cubicBezTo>
                            <a:pt x="100" y="48"/>
                            <a:pt x="100" y="48"/>
                            <a:pt x="101" y="48"/>
                          </a:cubicBezTo>
                          <a:close/>
                          <a:moveTo>
                            <a:pt x="101" y="48"/>
                          </a:moveTo>
                          <a:cubicBezTo>
                            <a:pt x="101" y="48"/>
                            <a:pt x="101" y="47"/>
                            <a:pt x="101" y="47"/>
                          </a:cubicBezTo>
                          <a:cubicBezTo>
                            <a:pt x="101" y="47"/>
                            <a:pt x="101" y="48"/>
                            <a:pt x="101" y="48"/>
                          </a:cubicBezTo>
                          <a:cubicBezTo>
                            <a:pt x="101" y="48"/>
                            <a:pt x="101" y="48"/>
                            <a:pt x="101" y="48"/>
                          </a:cubicBezTo>
                          <a:close/>
                          <a:moveTo>
                            <a:pt x="104" y="45"/>
                          </a:moveTo>
                          <a:cubicBezTo>
                            <a:pt x="104" y="46"/>
                            <a:pt x="104" y="46"/>
                            <a:pt x="104" y="46"/>
                          </a:cubicBezTo>
                          <a:cubicBezTo>
                            <a:pt x="104" y="46"/>
                            <a:pt x="104" y="46"/>
                            <a:pt x="104" y="46"/>
                          </a:cubicBezTo>
                          <a:cubicBezTo>
                            <a:pt x="104" y="46"/>
                            <a:pt x="103" y="46"/>
                            <a:pt x="103" y="46"/>
                          </a:cubicBezTo>
                          <a:cubicBezTo>
                            <a:pt x="103" y="46"/>
                            <a:pt x="103" y="46"/>
                            <a:pt x="103" y="46"/>
                          </a:cubicBezTo>
                          <a:cubicBezTo>
                            <a:pt x="103" y="46"/>
                            <a:pt x="103" y="46"/>
                            <a:pt x="104" y="46"/>
                          </a:cubicBezTo>
                          <a:cubicBezTo>
                            <a:pt x="103" y="46"/>
                            <a:pt x="103" y="46"/>
                            <a:pt x="103" y="46"/>
                          </a:cubicBezTo>
                          <a:cubicBezTo>
                            <a:pt x="103" y="46"/>
                            <a:pt x="103" y="46"/>
                            <a:pt x="103" y="46"/>
                          </a:cubicBezTo>
                          <a:cubicBezTo>
                            <a:pt x="103" y="46"/>
                            <a:pt x="104" y="46"/>
                            <a:pt x="104" y="46"/>
                          </a:cubicBezTo>
                          <a:cubicBezTo>
                            <a:pt x="104" y="46"/>
                            <a:pt x="104" y="46"/>
                            <a:pt x="104" y="45"/>
                          </a:cubicBezTo>
                          <a:close/>
                          <a:moveTo>
                            <a:pt x="102" y="47"/>
                          </a:moveTo>
                          <a:cubicBezTo>
                            <a:pt x="102" y="47"/>
                            <a:pt x="102" y="47"/>
                            <a:pt x="102" y="47"/>
                          </a:cubicBezTo>
                          <a:cubicBezTo>
                            <a:pt x="102" y="47"/>
                            <a:pt x="103" y="47"/>
                            <a:pt x="103" y="47"/>
                          </a:cubicBezTo>
                          <a:cubicBezTo>
                            <a:pt x="102" y="47"/>
                            <a:pt x="102" y="47"/>
                            <a:pt x="102" y="47"/>
                          </a:cubicBezTo>
                          <a:close/>
                          <a:moveTo>
                            <a:pt x="103" y="46"/>
                          </a:moveTo>
                          <a:cubicBezTo>
                            <a:pt x="103" y="46"/>
                            <a:pt x="103" y="46"/>
                            <a:pt x="103" y="46"/>
                          </a:cubicBezTo>
                          <a:cubicBezTo>
                            <a:pt x="103" y="46"/>
                            <a:pt x="103" y="46"/>
                            <a:pt x="103" y="46"/>
                          </a:cubicBezTo>
                          <a:close/>
                          <a:moveTo>
                            <a:pt x="101" y="47"/>
                          </a:moveTo>
                          <a:cubicBezTo>
                            <a:pt x="101" y="47"/>
                            <a:pt x="101" y="47"/>
                            <a:pt x="101" y="47"/>
                          </a:cubicBezTo>
                          <a:cubicBezTo>
                            <a:pt x="101" y="47"/>
                            <a:pt x="100" y="47"/>
                            <a:pt x="100" y="47"/>
                          </a:cubicBezTo>
                          <a:cubicBezTo>
                            <a:pt x="100" y="47"/>
                            <a:pt x="101" y="47"/>
                            <a:pt x="101" y="47"/>
                          </a:cubicBezTo>
                          <a:cubicBezTo>
                            <a:pt x="101" y="47"/>
                            <a:pt x="100" y="47"/>
                            <a:pt x="100" y="48"/>
                          </a:cubicBezTo>
                          <a:cubicBezTo>
                            <a:pt x="100" y="47"/>
                            <a:pt x="101" y="47"/>
                            <a:pt x="101" y="47"/>
                          </a:cubicBezTo>
                          <a:cubicBezTo>
                            <a:pt x="101" y="47"/>
                            <a:pt x="101" y="47"/>
                            <a:pt x="102" y="47"/>
                          </a:cubicBezTo>
                          <a:cubicBezTo>
                            <a:pt x="102" y="47"/>
                            <a:pt x="102" y="47"/>
                            <a:pt x="102" y="47"/>
                          </a:cubicBezTo>
                          <a:cubicBezTo>
                            <a:pt x="102" y="47"/>
                            <a:pt x="102" y="47"/>
                            <a:pt x="101" y="47"/>
                          </a:cubicBezTo>
                          <a:cubicBezTo>
                            <a:pt x="101" y="47"/>
                            <a:pt x="102" y="47"/>
                            <a:pt x="102" y="47"/>
                          </a:cubicBezTo>
                          <a:cubicBezTo>
                            <a:pt x="102" y="47"/>
                            <a:pt x="102" y="47"/>
                            <a:pt x="102" y="47"/>
                          </a:cubicBezTo>
                          <a:cubicBezTo>
                            <a:pt x="102" y="47"/>
                            <a:pt x="102" y="47"/>
                            <a:pt x="102" y="47"/>
                          </a:cubicBezTo>
                          <a:cubicBezTo>
                            <a:pt x="102" y="47"/>
                            <a:pt x="102" y="47"/>
                            <a:pt x="102" y="47"/>
                          </a:cubicBezTo>
                          <a:cubicBezTo>
                            <a:pt x="102" y="47"/>
                            <a:pt x="101" y="47"/>
                            <a:pt x="101" y="47"/>
                          </a:cubicBezTo>
                          <a:cubicBezTo>
                            <a:pt x="101" y="47"/>
                            <a:pt x="101" y="47"/>
                            <a:pt x="101" y="47"/>
                          </a:cubicBezTo>
                          <a:close/>
                          <a:moveTo>
                            <a:pt x="99" y="48"/>
                          </a:moveTo>
                          <a:cubicBezTo>
                            <a:pt x="100" y="48"/>
                            <a:pt x="100" y="48"/>
                            <a:pt x="100" y="48"/>
                          </a:cubicBezTo>
                          <a:cubicBezTo>
                            <a:pt x="100" y="48"/>
                            <a:pt x="100" y="48"/>
                            <a:pt x="99" y="48"/>
                          </a:cubicBezTo>
                          <a:cubicBezTo>
                            <a:pt x="99" y="48"/>
                            <a:pt x="99" y="48"/>
                            <a:pt x="99" y="48"/>
                          </a:cubicBezTo>
                          <a:cubicBezTo>
                            <a:pt x="99" y="48"/>
                            <a:pt x="98" y="48"/>
                            <a:pt x="98" y="48"/>
                          </a:cubicBezTo>
                          <a:cubicBezTo>
                            <a:pt x="98" y="49"/>
                            <a:pt x="99" y="48"/>
                            <a:pt x="99" y="48"/>
                          </a:cubicBezTo>
                          <a:cubicBezTo>
                            <a:pt x="99" y="48"/>
                            <a:pt x="99" y="48"/>
                            <a:pt x="99" y="48"/>
                          </a:cubicBezTo>
                          <a:cubicBezTo>
                            <a:pt x="99" y="48"/>
                            <a:pt x="99" y="48"/>
                            <a:pt x="99" y="48"/>
                          </a:cubicBezTo>
                          <a:close/>
                          <a:moveTo>
                            <a:pt x="97" y="49"/>
                          </a:moveTo>
                          <a:cubicBezTo>
                            <a:pt x="97" y="49"/>
                            <a:pt x="97" y="49"/>
                            <a:pt x="97" y="49"/>
                          </a:cubicBezTo>
                          <a:cubicBezTo>
                            <a:pt x="97" y="49"/>
                            <a:pt x="97" y="49"/>
                            <a:pt x="97" y="49"/>
                          </a:cubicBezTo>
                          <a:close/>
                          <a:moveTo>
                            <a:pt x="96" y="50"/>
                          </a:moveTo>
                          <a:cubicBezTo>
                            <a:pt x="95" y="50"/>
                            <a:pt x="96" y="50"/>
                            <a:pt x="96" y="50"/>
                          </a:cubicBezTo>
                          <a:cubicBezTo>
                            <a:pt x="96" y="50"/>
                            <a:pt x="95" y="50"/>
                            <a:pt x="95" y="50"/>
                          </a:cubicBezTo>
                          <a:cubicBezTo>
                            <a:pt x="95" y="50"/>
                            <a:pt x="95" y="50"/>
                            <a:pt x="96" y="50"/>
                          </a:cubicBezTo>
                          <a:close/>
                          <a:moveTo>
                            <a:pt x="94" y="50"/>
                          </a:moveTo>
                          <a:cubicBezTo>
                            <a:pt x="94" y="50"/>
                            <a:pt x="94" y="51"/>
                            <a:pt x="94" y="51"/>
                          </a:cubicBezTo>
                          <a:cubicBezTo>
                            <a:pt x="94" y="51"/>
                            <a:pt x="94" y="51"/>
                            <a:pt x="94" y="51"/>
                          </a:cubicBezTo>
                          <a:cubicBezTo>
                            <a:pt x="94" y="51"/>
                            <a:pt x="95" y="50"/>
                            <a:pt x="94" y="50"/>
                          </a:cubicBezTo>
                          <a:close/>
                          <a:moveTo>
                            <a:pt x="102" y="46"/>
                          </a:moveTo>
                          <a:cubicBezTo>
                            <a:pt x="102" y="46"/>
                            <a:pt x="101" y="46"/>
                            <a:pt x="101" y="46"/>
                          </a:cubicBezTo>
                          <a:cubicBezTo>
                            <a:pt x="101" y="46"/>
                            <a:pt x="102" y="46"/>
                            <a:pt x="102" y="47"/>
                          </a:cubicBezTo>
                          <a:cubicBezTo>
                            <a:pt x="102" y="46"/>
                            <a:pt x="103" y="46"/>
                            <a:pt x="103" y="46"/>
                          </a:cubicBezTo>
                          <a:cubicBezTo>
                            <a:pt x="103" y="46"/>
                            <a:pt x="102" y="46"/>
                            <a:pt x="102" y="46"/>
                          </a:cubicBezTo>
                          <a:close/>
                          <a:moveTo>
                            <a:pt x="100" y="47"/>
                          </a:moveTo>
                          <a:cubicBezTo>
                            <a:pt x="100" y="47"/>
                            <a:pt x="100" y="47"/>
                            <a:pt x="100" y="47"/>
                          </a:cubicBezTo>
                          <a:cubicBezTo>
                            <a:pt x="100" y="47"/>
                            <a:pt x="100" y="47"/>
                            <a:pt x="100" y="47"/>
                          </a:cubicBezTo>
                          <a:cubicBezTo>
                            <a:pt x="100" y="47"/>
                            <a:pt x="100" y="47"/>
                            <a:pt x="101" y="47"/>
                          </a:cubicBezTo>
                          <a:cubicBezTo>
                            <a:pt x="100" y="46"/>
                            <a:pt x="101" y="46"/>
                            <a:pt x="101" y="46"/>
                          </a:cubicBezTo>
                          <a:cubicBezTo>
                            <a:pt x="101" y="46"/>
                            <a:pt x="100" y="46"/>
                            <a:pt x="100" y="47"/>
                          </a:cubicBezTo>
                          <a:cubicBezTo>
                            <a:pt x="100" y="47"/>
                            <a:pt x="100" y="46"/>
                            <a:pt x="100" y="47"/>
                          </a:cubicBezTo>
                          <a:cubicBezTo>
                            <a:pt x="100" y="47"/>
                            <a:pt x="100" y="47"/>
                            <a:pt x="100" y="47"/>
                          </a:cubicBezTo>
                          <a:cubicBezTo>
                            <a:pt x="100" y="47"/>
                            <a:pt x="99" y="47"/>
                            <a:pt x="99" y="47"/>
                          </a:cubicBezTo>
                          <a:cubicBezTo>
                            <a:pt x="99" y="47"/>
                            <a:pt x="99" y="47"/>
                            <a:pt x="99" y="47"/>
                          </a:cubicBezTo>
                          <a:cubicBezTo>
                            <a:pt x="99" y="47"/>
                            <a:pt x="99" y="48"/>
                            <a:pt x="99" y="47"/>
                          </a:cubicBezTo>
                          <a:cubicBezTo>
                            <a:pt x="99" y="47"/>
                            <a:pt x="99" y="47"/>
                            <a:pt x="99" y="47"/>
                          </a:cubicBezTo>
                          <a:cubicBezTo>
                            <a:pt x="99" y="47"/>
                            <a:pt x="99" y="47"/>
                            <a:pt x="100" y="47"/>
                          </a:cubicBezTo>
                          <a:close/>
                          <a:moveTo>
                            <a:pt x="105" y="44"/>
                          </a:moveTo>
                          <a:cubicBezTo>
                            <a:pt x="105" y="44"/>
                            <a:pt x="105" y="44"/>
                            <a:pt x="106" y="44"/>
                          </a:cubicBezTo>
                          <a:cubicBezTo>
                            <a:pt x="105" y="44"/>
                            <a:pt x="105" y="44"/>
                            <a:pt x="105" y="44"/>
                          </a:cubicBezTo>
                          <a:cubicBezTo>
                            <a:pt x="105" y="44"/>
                            <a:pt x="105" y="44"/>
                            <a:pt x="105" y="44"/>
                          </a:cubicBezTo>
                          <a:close/>
                          <a:moveTo>
                            <a:pt x="104" y="44"/>
                          </a:moveTo>
                          <a:cubicBezTo>
                            <a:pt x="104" y="44"/>
                            <a:pt x="105" y="44"/>
                            <a:pt x="104" y="44"/>
                          </a:cubicBezTo>
                          <a:cubicBezTo>
                            <a:pt x="105" y="44"/>
                            <a:pt x="105" y="44"/>
                            <a:pt x="105" y="44"/>
                          </a:cubicBezTo>
                          <a:cubicBezTo>
                            <a:pt x="105" y="44"/>
                            <a:pt x="105" y="44"/>
                            <a:pt x="104" y="44"/>
                          </a:cubicBezTo>
                          <a:close/>
                          <a:moveTo>
                            <a:pt x="103" y="45"/>
                          </a:moveTo>
                          <a:cubicBezTo>
                            <a:pt x="103" y="45"/>
                            <a:pt x="103" y="45"/>
                            <a:pt x="104" y="45"/>
                          </a:cubicBezTo>
                          <a:cubicBezTo>
                            <a:pt x="103" y="45"/>
                            <a:pt x="103" y="45"/>
                            <a:pt x="103" y="45"/>
                          </a:cubicBezTo>
                          <a:cubicBezTo>
                            <a:pt x="103" y="45"/>
                            <a:pt x="103" y="45"/>
                            <a:pt x="103" y="45"/>
                          </a:cubicBezTo>
                          <a:close/>
                          <a:moveTo>
                            <a:pt x="104" y="45"/>
                          </a:moveTo>
                          <a:cubicBezTo>
                            <a:pt x="104" y="45"/>
                            <a:pt x="104" y="45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5"/>
                          </a:cubicBezTo>
                          <a:close/>
                          <a:moveTo>
                            <a:pt x="107" y="43"/>
                          </a:moveTo>
                          <a:cubicBezTo>
                            <a:pt x="107" y="43"/>
                            <a:pt x="107" y="43"/>
                            <a:pt x="107" y="43"/>
                          </a:cubicBezTo>
                          <a:cubicBezTo>
                            <a:pt x="107" y="43"/>
                            <a:pt x="107" y="43"/>
                            <a:pt x="107" y="43"/>
                          </a:cubicBezTo>
                          <a:cubicBezTo>
                            <a:pt x="107" y="43"/>
                            <a:pt x="108" y="43"/>
                            <a:pt x="107" y="43"/>
                          </a:cubicBezTo>
                          <a:close/>
                          <a:moveTo>
                            <a:pt x="106" y="44"/>
                          </a:moveTo>
                          <a:cubicBezTo>
                            <a:pt x="106" y="44"/>
                            <a:pt x="105" y="44"/>
                            <a:pt x="105" y="44"/>
                          </a:cubicBezTo>
                          <a:cubicBezTo>
                            <a:pt x="105" y="44"/>
                            <a:pt x="105" y="44"/>
                            <a:pt x="106" y="44"/>
                          </a:cubicBezTo>
                          <a:close/>
                          <a:moveTo>
                            <a:pt x="106" y="43"/>
                          </a:moveTo>
                          <a:cubicBezTo>
                            <a:pt x="106" y="44"/>
                            <a:pt x="106" y="44"/>
                            <a:pt x="106" y="44"/>
                          </a:cubicBezTo>
                          <a:cubicBezTo>
                            <a:pt x="106" y="44"/>
                            <a:pt x="107" y="44"/>
                            <a:pt x="106" y="43"/>
                          </a:cubicBezTo>
                          <a:close/>
                          <a:moveTo>
                            <a:pt x="104" y="45"/>
                          </a:moveTo>
                          <a:cubicBezTo>
                            <a:pt x="104" y="45"/>
                            <a:pt x="104" y="45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5"/>
                          </a:cubicBezTo>
                          <a:cubicBezTo>
                            <a:pt x="104" y="45"/>
                            <a:pt x="104" y="45"/>
                            <a:pt x="104" y="45"/>
                          </a:cubicBezTo>
                          <a:close/>
                          <a:moveTo>
                            <a:pt x="108" y="43"/>
                          </a:moveTo>
                          <a:cubicBezTo>
                            <a:pt x="108" y="43"/>
                            <a:pt x="107" y="43"/>
                            <a:pt x="107" y="43"/>
                          </a:cubicBezTo>
                          <a:cubicBezTo>
                            <a:pt x="108" y="43"/>
                            <a:pt x="108" y="43"/>
                            <a:pt x="108" y="43"/>
                          </a:cubicBezTo>
                          <a:cubicBezTo>
                            <a:pt x="108" y="43"/>
                            <a:pt x="108" y="43"/>
                            <a:pt x="108" y="43"/>
                          </a:cubicBezTo>
                          <a:close/>
                          <a:moveTo>
                            <a:pt x="109" y="42"/>
                          </a:moveTo>
                          <a:cubicBezTo>
                            <a:pt x="109" y="42"/>
                            <a:pt x="108" y="42"/>
                            <a:pt x="108" y="43"/>
                          </a:cubicBezTo>
                          <a:cubicBezTo>
                            <a:pt x="108" y="43"/>
                            <a:pt x="108" y="43"/>
                            <a:pt x="108" y="43"/>
                          </a:cubicBezTo>
                          <a:cubicBezTo>
                            <a:pt x="108" y="42"/>
                            <a:pt x="108" y="43"/>
                            <a:pt x="108" y="43"/>
                          </a:cubicBezTo>
                          <a:cubicBezTo>
                            <a:pt x="109" y="42"/>
                            <a:pt x="108" y="42"/>
                            <a:pt x="109" y="42"/>
                          </a:cubicBezTo>
                          <a:cubicBezTo>
                            <a:pt x="109" y="42"/>
                            <a:pt x="109" y="42"/>
                            <a:pt x="109" y="42"/>
                          </a:cubicBezTo>
                          <a:close/>
                          <a:moveTo>
                            <a:pt x="110" y="41"/>
                          </a:moveTo>
                          <a:cubicBezTo>
                            <a:pt x="110" y="41"/>
                            <a:pt x="110" y="41"/>
                            <a:pt x="110" y="41"/>
                          </a:cubicBezTo>
                          <a:cubicBezTo>
                            <a:pt x="110" y="41"/>
                            <a:pt x="110" y="41"/>
                            <a:pt x="110" y="41"/>
                          </a:cubicBezTo>
                          <a:close/>
                          <a:moveTo>
                            <a:pt x="106" y="43"/>
                          </a:moveTo>
                          <a:cubicBezTo>
                            <a:pt x="106" y="43"/>
                            <a:pt x="106" y="43"/>
                            <a:pt x="106" y="44"/>
                          </a:cubicBezTo>
                          <a:cubicBezTo>
                            <a:pt x="106" y="43"/>
                            <a:pt x="106" y="43"/>
                            <a:pt x="106" y="43"/>
                          </a:cubicBezTo>
                          <a:cubicBezTo>
                            <a:pt x="106" y="43"/>
                            <a:pt x="107" y="43"/>
                            <a:pt x="107" y="43"/>
                          </a:cubicBezTo>
                          <a:cubicBezTo>
                            <a:pt x="107" y="43"/>
                            <a:pt x="107" y="43"/>
                            <a:pt x="107" y="43"/>
                          </a:cubicBezTo>
                          <a:cubicBezTo>
                            <a:pt x="107" y="43"/>
                            <a:pt x="106" y="43"/>
                            <a:pt x="106" y="43"/>
                          </a:cubicBezTo>
                          <a:close/>
                          <a:moveTo>
                            <a:pt x="107" y="42"/>
                          </a:moveTo>
                          <a:cubicBezTo>
                            <a:pt x="107" y="42"/>
                            <a:pt x="107" y="42"/>
                            <a:pt x="107" y="42"/>
                          </a:cubicBezTo>
                          <a:cubicBezTo>
                            <a:pt x="107" y="42"/>
                            <a:pt x="107" y="42"/>
                            <a:pt x="107" y="42"/>
                          </a:cubicBezTo>
                          <a:cubicBezTo>
                            <a:pt x="107" y="42"/>
                            <a:pt x="107" y="42"/>
                            <a:pt x="107" y="42"/>
                          </a:cubicBezTo>
                          <a:close/>
                          <a:moveTo>
                            <a:pt x="107" y="42"/>
                          </a:moveTo>
                          <a:cubicBezTo>
                            <a:pt x="107" y="42"/>
                            <a:pt x="107" y="42"/>
                            <a:pt x="108" y="42"/>
                          </a:cubicBezTo>
                          <a:cubicBezTo>
                            <a:pt x="107" y="42"/>
                            <a:pt x="107" y="42"/>
                            <a:pt x="107" y="42"/>
                          </a:cubicBezTo>
                          <a:close/>
                          <a:moveTo>
                            <a:pt x="107" y="41"/>
                          </a:moveTo>
                          <a:cubicBezTo>
                            <a:pt x="107" y="41"/>
                            <a:pt x="108" y="41"/>
                            <a:pt x="108" y="41"/>
                          </a:cubicBezTo>
                          <a:cubicBezTo>
                            <a:pt x="108" y="41"/>
                            <a:pt x="107" y="41"/>
                            <a:pt x="107" y="41"/>
                          </a:cubicBezTo>
                          <a:close/>
                          <a:moveTo>
                            <a:pt x="110" y="40"/>
                          </a:moveTo>
                          <a:cubicBezTo>
                            <a:pt x="110" y="40"/>
                            <a:pt x="110" y="40"/>
                            <a:pt x="110" y="40"/>
                          </a:cubicBezTo>
                          <a:cubicBezTo>
                            <a:pt x="110" y="40"/>
                            <a:pt x="111" y="40"/>
                            <a:pt x="110" y="40"/>
                          </a:cubicBezTo>
                          <a:cubicBezTo>
                            <a:pt x="110" y="40"/>
                            <a:pt x="110" y="40"/>
                            <a:pt x="110" y="40"/>
                          </a:cubicBezTo>
                          <a:close/>
                          <a:moveTo>
                            <a:pt x="110" y="40"/>
                          </a:moveTo>
                          <a:cubicBezTo>
                            <a:pt x="109" y="40"/>
                            <a:pt x="109" y="40"/>
                            <a:pt x="109" y="40"/>
                          </a:cubicBezTo>
                          <a:cubicBezTo>
                            <a:pt x="109" y="40"/>
                            <a:pt x="110" y="40"/>
                            <a:pt x="110" y="40"/>
                          </a:cubicBezTo>
                          <a:close/>
                          <a:moveTo>
                            <a:pt x="108" y="41"/>
                          </a:moveTo>
                          <a:cubicBezTo>
                            <a:pt x="108" y="41"/>
                            <a:pt x="109" y="41"/>
                            <a:pt x="109" y="41"/>
                          </a:cubicBezTo>
                          <a:cubicBezTo>
                            <a:pt x="109" y="41"/>
                            <a:pt x="109" y="40"/>
                            <a:pt x="109" y="40"/>
                          </a:cubicBezTo>
                          <a:cubicBezTo>
                            <a:pt x="109" y="40"/>
                            <a:pt x="110" y="40"/>
                            <a:pt x="110" y="40"/>
                          </a:cubicBezTo>
                          <a:cubicBezTo>
                            <a:pt x="109" y="40"/>
                            <a:pt x="109" y="40"/>
                            <a:pt x="108" y="40"/>
                          </a:cubicBezTo>
                          <a:cubicBezTo>
                            <a:pt x="109" y="40"/>
                            <a:pt x="109" y="40"/>
                            <a:pt x="109" y="40"/>
                          </a:cubicBezTo>
                          <a:cubicBezTo>
                            <a:pt x="108" y="41"/>
                            <a:pt x="108" y="41"/>
                            <a:pt x="108" y="41"/>
                          </a:cubicBezTo>
                          <a:close/>
                          <a:moveTo>
                            <a:pt x="106" y="42"/>
                          </a:moveTo>
                          <a:cubicBezTo>
                            <a:pt x="106" y="42"/>
                            <a:pt x="106" y="42"/>
                            <a:pt x="106" y="42"/>
                          </a:cubicBezTo>
                          <a:cubicBezTo>
                            <a:pt x="107" y="42"/>
                            <a:pt x="106" y="42"/>
                            <a:pt x="106" y="42"/>
                          </a:cubicBezTo>
                          <a:cubicBezTo>
                            <a:pt x="106" y="42"/>
                            <a:pt x="106" y="42"/>
                            <a:pt x="106" y="42"/>
                          </a:cubicBezTo>
                          <a:close/>
                          <a:moveTo>
                            <a:pt x="105" y="43"/>
                          </a:moveTo>
                          <a:cubicBezTo>
                            <a:pt x="105" y="43"/>
                            <a:pt x="105" y="43"/>
                            <a:pt x="105" y="43"/>
                          </a:cubicBezTo>
                          <a:cubicBezTo>
                            <a:pt x="105" y="43"/>
                            <a:pt x="105" y="43"/>
                            <a:pt x="105" y="43"/>
                          </a:cubicBezTo>
                          <a:cubicBezTo>
                            <a:pt x="105" y="43"/>
                            <a:pt x="105" y="43"/>
                            <a:pt x="105" y="43"/>
                          </a:cubicBezTo>
                          <a:cubicBezTo>
                            <a:pt x="105" y="43"/>
                            <a:pt x="105" y="44"/>
                            <a:pt x="105" y="43"/>
                          </a:cubicBezTo>
                          <a:cubicBezTo>
                            <a:pt x="105" y="43"/>
                            <a:pt x="106" y="43"/>
                            <a:pt x="106" y="43"/>
                          </a:cubicBezTo>
                          <a:cubicBezTo>
                            <a:pt x="106" y="43"/>
                            <a:pt x="106" y="43"/>
                            <a:pt x="106" y="43"/>
                          </a:cubicBezTo>
                          <a:cubicBezTo>
                            <a:pt x="106" y="43"/>
                            <a:pt x="106" y="43"/>
                            <a:pt x="106" y="43"/>
                          </a:cubicBezTo>
                          <a:cubicBezTo>
                            <a:pt x="107" y="43"/>
                            <a:pt x="107" y="43"/>
                            <a:pt x="107" y="43"/>
                          </a:cubicBezTo>
                          <a:cubicBezTo>
                            <a:pt x="107" y="43"/>
                            <a:pt x="107" y="42"/>
                            <a:pt x="107" y="42"/>
                          </a:cubicBezTo>
                          <a:cubicBezTo>
                            <a:pt x="106" y="42"/>
                            <a:pt x="106" y="43"/>
                            <a:pt x="106" y="43"/>
                          </a:cubicBezTo>
                          <a:cubicBezTo>
                            <a:pt x="105" y="43"/>
                            <a:pt x="105" y="43"/>
                            <a:pt x="105" y="43"/>
                          </a:cubicBezTo>
                          <a:cubicBezTo>
                            <a:pt x="105" y="43"/>
                            <a:pt x="104" y="43"/>
                            <a:pt x="104" y="43"/>
                          </a:cubicBezTo>
                          <a:cubicBezTo>
                            <a:pt x="104" y="43"/>
                            <a:pt x="104" y="44"/>
                            <a:pt x="104" y="44"/>
                          </a:cubicBezTo>
                          <a:cubicBezTo>
                            <a:pt x="104" y="43"/>
                            <a:pt x="104" y="44"/>
                            <a:pt x="104" y="44"/>
                          </a:cubicBezTo>
                          <a:cubicBezTo>
                            <a:pt x="104" y="44"/>
                            <a:pt x="104" y="43"/>
                            <a:pt x="105" y="43"/>
                          </a:cubicBezTo>
                          <a:close/>
                          <a:moveTo>
                            <a:pt x="103" y="44"/>
                          </a:moveTo>
                          <a:cubicBezTo>
                            <a:pt x="104" y="44"/>
                            <a:pt x="104" y="44"/>
                            <a:pt x="104" y="44"/>
                          </a:cubicBezTo>
                          <a:cubicBezTo>
                            <a:pt x="104" y="44"/>
                            <a:pt x="104" y="44"/>
                            <a:pt x="104" y="44"/>
                          </a:cubicBezTo>
                          <a:cubicBezTo>
                            <a:pt x="104" y="44"/>
                            <a:pt x="104" y="44"/>
                            <a:pt x="105" y="44"/>
                          </a:cubicBezTo>
                          <a:cubicBezTo>
                            <a:pt x="104" y="44"/>
                            <a:pt x="104" y="44"/>
                            <a:pt x="104" y="44"/>
                          </a:cubicBezTo>
                          <a:cubicBezTo>
                            <a:pt x="104" y="44"/>
                            <a:pt x="104" y="44"/>
                            <a:pt x="104" y="44"/>
                          </a:cubicBezTo>
                          <a:cubicBezTo>
                            <a:pt x="104" y="44"/>
                            <a:pt x="104" y="44"/>
                            <a:pt x="104" y="44"/>
                          </a:cubicBezTo>
                          <a:cubicBezTo>
                            <a:pt x="104" y="44"/>
                            <a:pt x="104" y="44"/>
                            <a:pt x="103" y="44"/>
                          </a:cubicBezTo>
                          <a:close/>
                          <a:moveTo>
                            <a:pt x="103" y="45"/>
                          </a:moveTo>
                          <a:cubicBezTo>
                            <a:pt x="103" y="45"/>
                            <a:pt x="103" y="45"/>
                            <a:pt x="103" y="45"/>
                          </a:cubicBezTo>
                          <a:cubicBezTo>
                            <a:pt x="103" y="45"/>
                            <a:pt x="103" y="45"/>
                            <a:pt x="103" y="45"/>
                          </a:cubicBezTo>
                          <a:close/>
                          <a:moveTo>
                            <a:pt x="102" y="44"/>
                          </a:moveTo>
                          <a:cubicBezTo>
                            <a:pt x="103" y="44"/>
                            <a:pt x="103" y="44"/>
                            <a:pt x="103" y="45"/>
                          </a:cubicBezTo>
                          <a:cubicBezTo>
                            <a:pt x="103" y="44"/>
                            <a:pt x="103" y="44"/>
                            <a:pt x="103" y="44"/>
                          </a:cubicBezTo>
                          <a:cubicBezTo>
                            <a:pt x="103" y="44"/>
                            <a:pt x="103" y="44"/>
                            <a:pt x="103" y="44"/>
                          </a:cubicBezTo>
                          <a:cubicBezTo>
                            <a:pt x="103" y="44"/>
                            <a:pt x="103" y="44"/>
                            <a:pt x="102" y="44"/>
                          </a:cubicBezTo>
                          <a:close/>
                          <a:moveTo>
                            <a:pt x="99" y="46"/>
                          </a:moveTo>
                          <a:cubicBezTo>
                            <a:pt x="100" y="46"/>
                            <a:pt x="100" y="46"/>
                            <a:pt x="100" y="46"/>
                          </a:cubicBezTo>
                          <a:cubicBezTo>
                            <a:pt x="100" y="46"/>
                            <a:pt x="99" y="46"/>
                            <a:pt x="99" y="46"/>
                          </a:cubicBezTo>
                          <a:close/>
                          <a:moveTo>
                            <a:pt x="99" y="46"/>
                          </a:moveTo>
                          <a:cubicBezTo>
                            <a:pt x="99" y="46"/>
                            <a:pt x="99" y="46"/>
                            <a:pt x="99" y="46"/>
                          </a:cubicBezTo>
                          <a:cubicBezTo>
                            <a:pt x="99" y="46"/>
                            <a:pt x="99" y="46"/>
                            <a:pt x="99" y="46"/>
                          </a:cubicBezTo>
                          <a:cubicBezTo>
                            <a:pt x="99" y="46"/>
                            <a:pt x="98" y="46"/>
                            <a:pt x="99" y="47"/>
                          </a:cubicBezTo>
                          <a:cubicBezTo>
                            <a:pt x="99" y="46"/>
                            <a:pt x="99" y="47"/>
                            <a:pt x="99" y="46"/>
                          </a:cubicBezTo>
                          <a:cubicBezTo>
                            <a:pt x="99" y="46"/>
                            <a:pt x="99" y="46"/>
                            <a:pt x="99" y="46"/>
                          </a:cubicBezTo>
                          <a:close/>
                          <a:moveTo>
                            <a:pt x="97" y="47"/>
                          </a:moveTo>
                          <a:cubicBezTo>
                            <a:pt x="98" y="47"/>
                            <a:pt x="98" y="47"/>
                            <a:pt x="98" y="46"/>
                          </a:cubicBezTo>
                          <a:cubicBezTo>
                            <a:pt x="98" y="47"/>
                            <a:pt x="98" y="46"/>
                            <a:pt x="99" y="46"/>
                          </a:cubicBezTo>
                          <a:cubicBezTo>
                            <a:pt x="99" y="46"/>
                            <a:pt x="99" y="46"/>
                            <a:pt x="99" y="46"/>
                          </a:cubicBezTo>
                          <a:cubicBezTo>
                            <a:pt x="99" y="46"/>
                            <a:pt x="99" y="46"/>
                            <a:pt x="100" y="46"/>
                          </a:cubicBezTo>
                          <a:cubicBezTo>
                            <a:pt x="99" y="45"/>
                            <a:pt x="99" y="46"/>
                            <a:pt x="99" y="46"/>
                          </a:cubicBezTo>
                          <a:cubicBezTo>
                            <a:pt x="99" y="46"/>
                            <a:pt x="99" y="45"/>
                            <a:pt x="99" y="45"/>
                          </a:cubicBezTo>
                          <a:cubicBezTo>
                            <a:pt x="99" y="45"/>
                            <a:pt x="99" y="46"/>
                            <a:pt x="99" y="46"/>
                          </a:cubicBezTo>
                          <a:cubicBezTo>
                            <a:pt x="99" y="46"/>
                            <a:pt x="99" y="46"/>
                            <a:pt x="99" y="46"/>
                          </a:cubicBezTo>
                          <a:cubicBezTo>
                            <a:pt x="99" y="46"/>
                            <a:pt x="99" y="46"/>
                            <a:pt x="99" y="46"/>
                          </a:cubicBezTo>
                          <a:cubicBezTo>
                            <a:pt x="99" y="46"/>
                            <a:pt x="99" y="46"/>
                            <a:pt x="98" y="46"/>
                          </a:cubicBezTo>
                          <a:cubicBezTo>
                            <a:pt x="98" y="46"/>
                            <a:pt x="98" y="46"/>
                            <a:pt x="98" y="46"/>
                          </a:cubicBezTo>
                          <a:cubicBezTo>
                            <a:pt x="98" y="46"/>
                            <a:pt x="98" y="47"/>
                            <a:pt x="98" y="46"/>
                          </a:cubicBezTo>
                          <a:cubicBezTo>
                            <a:pt x="98" y="46"/>
                            <a:pt x="98" y="46"/>
                            <a:pt x="98" y="46"/>
                          </a:cubicBezTo>
                          <a:cubicBezTo>
                            <a:pt x="98" y="46"/>
                            <a:pt x="98" y="46"/>
                            <a:pt x="98" y="46"/>
                          </a:cubicBezTo>
                          <a:cubicBezTo>
                            <a:pt x="98" y="46"/>
                            <a:pt x="97" y="46"/>
                            <a:pt x="97" y="47"/>
                          </a:cubicBezTo>
                          <a:close/>
                          <a:moveTo>
                            <a:pt x="98" y="47"/>
                          </a:moveTo>
                          <a:cubicBezTo>
                            <a:pt x="98" y="47"/>
                            <a:pt x="98" y="47"/>
                            <a:pt x="98" y="46"/>
                          </a:cubicBezTo>
                          <a:cubicBezTo>
                            <a:pt x="98" y="47"/>
                            <a:pt x="98" y="47"/>
                            <a:pt x="98" y="47"/>
                          </a:cubicBezTo>
                          <a:close/>
                          <a:moveTo>
                            <a:pt x="98" y="47"/>
                          </a:moveTo>
                          <a:cubicBezTo>
                            <a:pt x="98" y="47"/>
                            <a:pt x="97" y="47"/>
                            <a:pt x="97" y="47"/>
                          </a:cubicBezTo>
                          <a:cubicBezTo>
                            <a:pt x="98" y="47"/>
                            <a:pt x="98" y="47"/>
                            <a:pt x="98" y="47"/>
                          </a:cubicBezTo>
                          <a:cubicBezTo>
                            <a:pt x="98" y="47"/>
                            <a:pt x="97" y="47"/>
                            <a:pt x="97" y="47"/>
                          </a:cubicBezTo>
                          <a:cubicBezTo>
                            <a:pt x="98" y="47"/>
                            <a:pt x="98" y="47"/>
                            <a:pt x="98" y="47"/>
                          </a:cubicBezTo>
                          <a:close/>
                          <a:moveTo>
                            <a:pt x="98" y="47"/>
                          </a:moveTo>
                          <a:cubicBezTo>
                            <a:pt x="98" y="48"/>
                            <a:pt x="98" y="48"/>
                            <a:pt x="98" y="48"/>
                          </a:cubicBezTo>
                          <a:cubicBezTo>
                            <a:pt x="98" y="48"/>
                            <a:pt x="98" y="47"/>
                            <a:pt x="98" y="48"/>
                          </a:cubicBezTo>
                          <a:cubicBezTo>
                            <a:pt x="98" y="48"/>
                            <a:pt x="98" y="48"/>
                            <a:pt x="98" y="48"/>
                          </a:cubicBezTo>
                          <a:cubicBezTo>
                            <a:pt x="98" y="48"/>
                            <a:pt x="97" y="48"/>
                            <a:pt x="97" y="49"/>
                          </a:cubicBezTo>
                          <a:cubicBezTo>
                            <a:pt x="97" y="49"/>
                            <a:pt x="97" y="48"/>
                            <a:pt x="97" y="48"/>
                          </a:cubicBezTo>
                          <a:cubicBezTo>
                            <a:pt x="96" y="49"/>
                            <a:pt x="97" y="48"/>
                            <a:pt x="97" y="49"/>
                          </a:cubicBezTo>
                          <a:cubicBezTo>
                            <a:pt x="97" y="49"/>
                            <a:pt x="97" y="48"/>
                            <a:pt x="97" y="48"/>
                          </a:cubicBezTo>
                          <a:cubicBezTo>
                            <a:pt x="97" y="48"/>
                            <a:pt x="98" y="48"/>
                            <a:pt x="98" y="48"/>
                          </a:cubicBezTo>
                          <a:cubicBezTo>
                            <a:pt x="98" y="48"/>
                            <a:pt x="97" y="48"/>
                            <a:pt x="97" y="49"/>
                          </a:cubicBezTo>
                          <a:cubicBezTo>
                            <a:pt x="97" y="48"/>
                            <a:pt x="98" y="48"/>
                            <a:pt x="98" y="48"/>
                          </a:cubicBezTo>
                          <a:cubicBezTo>
                            <a:pt x="98" y="48"/>
                            <a:pt x="98" y="49"/>
                            <a:pt x="98" y="49"/>
                          </a:cubicBezTo>
                          <a:cubicBezTo>
                            <a:pt x="98" y="48"/>
                            <a:pt x="98" y="48"/>
                            <a:pt x="98" y="48"/>
                          </a:cubicBezTo>
                          <a:cubicBezTo>
                            <a:pt x="98" y="48"/>
                            <a:pt x="98" y="48"/>
                            <a:pt x="98" y="48"/>
                          </a:cubicBezTo>
                          <a:cubicBezTo>
                            <a:pt x="98" y="48"/>
                            <a:pt x="98" y="48"/>
                            <a:pt x="98" y="48"/>
                          </a:cubicBezTo>
                          <a:cubicBezTo>
                            <a:pt x="98" y="48"/>
                            <a:pt x="98" y="48"/>
                            <a:pt x="98" y="48"/>
                          </a:cubicBezTo>
                          <a:cubicBezTo>
                            <a:pt x="98" y="48"/>
                            <a:pt x="99" y="47"/>
                            <a:pt x="99" y="47"/>
                          </a:cubicBezTo>
                          <a:cubicBezTo>
                            <a:pt x="99" y="47"/>
                            <a:pt x="98" y="48"/>
                            <a:pt x="98" y="47"/>
                          </a:cubicBezTo>
                          <a:cubicBezTo>
                            <a:pt x="98" y="47"/>
                            <a:pt x="98" y="47"/>
                            <a:pt x="98" y="47"/>
                          </a:cubicBezTo>
                          <a:cubicBezTo>
                            <a:pt x="98" y="47"/>
                            <a:pt x="99" y="47"/>
                            <a:pt x="99" y="47"/>
                          </a:cubicBezTo>
                          <a:cubicBezTo>
                            <a:pt x="98" y="47"/>
                            <a:pt x="99" y="47"/>
                            <a:pt x="99" y="47"/>
                          </a:cubicBezTo>
                          <a:cubicBezTo>
                            <a:pt x="99" y="47"/>
                            <a:pt x="99" y="47"/>
                            <a:pt x="99" y="47"/>
                          </a:cubicBezTo>
                          <a:cubicBezTo>
                            <a:pt x="99" y="47"/>
                            <a:pt x="99" y="47"/>
                            <a:pt x="99" y="47"/>
                          </a:cubicBezTo>
                          <a:cubicBezTo>
                            <a:pt x="99" y="47"/>
                            <a:pt x="99" y="47"/>
                            <a:pt x="99" y="47"/>
                          </a:cubicBezTo>
                          <a:cubicBezTo>
                            <a:pt x="99" y="47"/>
                            <a:pt x="99" y="46"/>
                            <a:pt x="100" y="46"/>
                          </a:cubicBezTo>
                          <a:cubicBezTo>
                            <a:pt x="100" y="46"/>
                            <a:pt x="100" y="46"/>
                            <a:pt x="100" y="46"/>
                          </a:cubicBezTo>
                          <a:cubicBezTo>
                            <a:pt x="100" y="46"/>
                            <a:pt x="101" y="46"/>
                            <a:pt x="101" y="46"/>
                          </a:cubicBezTo>
                          <a:cubicBezTo>
                            <a:pt x="100" y="46"/>
                            <a:pt x="100" y="46"/>
                            <a:pt x="99" y="46"/>
                          </a:cubicBezTo>
                          <a:cubicBezTo>
                            <a:pt x="99" y="47"/>
                            <a:pt x="98" y="47"/>
                            <a:pt x="98" y="47"/>
                          </a:cubicBezTo>
                          <a:cubicBezTo>
                            <a:pt x="98" y="47"/>
                            <a:pt x="97" y="48"/>
                            <a:pt x="97" y="48"/>
                          </a:cubicBezTo>
                          <a:cubicBezTo>
                            <a:pt x="97" y="48"/>
                            <a:pt x="97" y="48"/>
                            <a:pt x="97" y="48"/>
                          </a:cubicBezTo>
                          <a:cubicBezTo>
                            <a:pt x="97" y="48"/>
                            <a:pt x="97" y="48"/>
                            <a:pt x="97" y="48"/>
                          </a:cubicBezTo>
                          <a:cubicBezTo>
                            <a:pt x="97" y="48"/>
                            <a:pt x="97" y="48"/>
                            <a:pt x="97" y="48"/>
                          </a:cubicBezTo>
                          <a:cubicBezTo>
                            <a:pt x="97" y="48"/>
                            <a:pt x="96" y="48"/>
                            <a:pt x="96" y="48"/>
                          </a:cubicBezTo>
                          <a:cubicBezTo>
                            <a:pt x="96" y="48"/>
                            <a:pt x="96" y="48"/>
                            <a:pt x="96" y="48"/>
                          </a:cubicBezTo>
                          <a:cubicBezTo>
                            <a:pt x="97" y="48"/>
                            <a:pt x="97" y="48"/>
                            <a:pt x="98" y="47"/>
                          </a:cubicBezTo>
                          <a:close/>
                          <a:moveTo>
                            <a:pt x="93" y="51"/>
                          </a:moveTo>
                          <a:cubicBezTo>
                            <a:pt x="93" y="51"/>
                            <a:pt x="93" y="51"/>
                            <a:pt x="93" y="51"/>
                          </a:cubicBezTo>
                          <a:cubicBezTo>
                            <a:pt x="93" y="51"/>
                            <a:pt x="93" y="51"/>
                            <a:pt x="93" y="51"/>
                          </a:cubicBezTo>
                          <a:cubicBezTo>
                            <a:pt x="93" y="51"/>
                            <a:pt x="93" y="51"/>
                            <a:pt x="93" y="51"/>
                          </a:cubicBezTo>
                          <a:cubicBezTo>
                            <a:pt x="93" y="51"/>
                            <a:pt x="94" y="51"/>
                            <a:pt x="93" y="51"/>
                          </a:cubicBezTo>
                          <a:cubicBezTo>
                            <a:pt x="93" y="51"/>
                            <a:pt x="93" y="51"/>
                            <a:pt x="93" y="51"/>
                          </a:cubicBezTo>
                          <a:close/>
                          <a:moveTo>
                            <a:pt x="95" y="50"/>
                          </a:moveTo>
                          <a:cubicBezTo>
                            <a:pt x="95" y="50"/>
                            <a:pt x="96" y="49"/>
                            <a:pt x="96" y="49"/>
                          </a:cubicBezTo>
                          <a:cubicBezTo>
                            <a:pt x="96" y="49"/>
                            <a:pt x="96" y="49"/>
                            <a:pt x="96" y="49"/>
                          </a:cubicBezTo>
                          <a:cubicBezTo>
                            <a:pt x="96" y="49"/>
                            <a:pt x="96" y="49"/>
                            <a:pt x="96" y="49"/>
                          </a:cubicBezTo>
                          <a:cubicBezTo>
                            <a:pt x="95" y="49"/>
                            <a:pt x="95" y="49"/>
                            <a:pt x="95" y="49"/>
                          </a:cubicBezTo>
                          <a:cubicBezTo>
                            <a:pt x="95" y="50"/>
                            <a:pt x="95" y="49"/>
                            <a:pt x="95" y="50"/>
                          </a:cubicBezTo>
                          <a:cubicBezTo>
                            <a:pt x="95" y="50"/>
                            <a:pt x="95" y="50"/>
                            <a:pt x="95" y="50"/>
                          </a:cubicBezTo>
                          <a:cubicBezTo>
                            <a:pt x="95" y="50"/>
                            <a:pt x="95" y="50"/>
                            <a:pt x="95" y="50"/>
                          </a:cubicBezTo>
                          <a:cubicBezTo>
                            <a:pt x="95" y="50"/>
                            <a:pt x="95" y="50"/>
                            <a:pt x="95" y="50"/>
                          </a:cubicBezTo>
                          <a:close/>
                          <a:moveTo>
                            <a:pt x="96" y="49"/>
                          </a:moveTo>
                          <a:cubicBezTo>
                            <a:pt x="96" y="49"/>
                            <a:pt x="95" y="49"/>
                            <a:pt x="95" y="50"/>
                          </a:cubicBezTo>
                          <a:cubicBezTo>
                            <a:pt x="95" y="49"/>
                            <a:pt x="95" y="50"/>
                            <a:pt x="95" y="50"/>
                          </a:cubicBezTo>
                          <a:cubicBezTo>
                            <a:pt x="95" y="49"/>
                            <a:pt x="96" y="49"/>
                            <a:pt x="96" y="49"/>
                          </a:cubicBezTo>
                          <a:close/>
                          <a:moveTo>
                            <a:pt x="94" y="50"/>
                          </a:moveTo>
                          <a:cubicBezTo>
                            <a:pt x="93" y="50"/>
                            <a:pt x="93" y="51"/>
                            <a:pt x="92" y="51"/>
                          </a:cubicBezTo>
                          <a:cubicBezTo>
                            <a:pt x="92" y="51"/>
                            <a:pt x="92" y="51"/>
                            <a:pt x="92" y="51"/>
                          </a:cubicBezTo>
                          <a:cubicBezTo>
                            <a:pt x="93" y="51"/>
                            <a:pt x="92" y="51"/>
                            <a:pt x="93" y="51"/>
                          </a:cubicBezTo>
                          <a:cubicBezTo>
                            <a:pt x="93" y="51"/>
                            <a:pt x="93" y="51"/>
                            <a:pt x="93" y="51"/>
                          </a:cubicBezTo>
                          <a:cubicBezTo>
                            <a:pt x="93" y="51"/>
                            <a:pt x="93" y="51"/>
                            <a:pt x="93" y="51"/>
                          </a:cubicBezTo>
                          <a:cubicBezTo>
                            <a:pt x="93" y="51"/>
                            <a:pt x="93" y="50"/>
                            <a:pt x="94" y="50"/>
                          </a:cubicBezTo>
                          <a:cubicBezTo>
                            <a:pt x="94" y="51"/>
                            <a:pt x="94" y="50"/>
                            <a:pt x="94" y="50"/>
                          </a:cubicBezTo>
                          <a:cubicBezTo>
                            <a:pt x="94" y="50"/>
                            <a:pt x="94" y="50"/>
                            <a:pt x="94" y="50"/>
                          </a:cubicBezTo>
                          <a:cubicBezTo>
                            <a:pt x="94" y="50"/>
                            <a:pt x="94" y="50"/>
                            <a:pt x="94" y="50"/>
                          </a:cubicBezTo>
                          <a:cubicBezTo>
                            <a:pt x="94" y="50"/>
                            <a:pt x="94" y="50"/>
                            <a:pt x="94" y="50"/>
                          </a:cubicBezTo>
                          <a:cubicBezTo>
                            <a:pt x="94" y="50"/>
                            <a:pt x="94" y="50"/>
                            <a:pt x="94" y="50"/>
                          </a:cubicBezTo>
                          <a:close/>
                          <a:moveTo>
                            <a:pt x="92" y="51"/>
                          </a:moveTo>
                          <a:cubicBezTo>
                            <a:pt x="92" y="51"/>
                            <a:pt x="91" y="51"/>
                            <a:pt x="91" y="52"/>
                          </a:cubicBezTo>
                          <a:cubicBezTo>
                            <a:pt x="91" y="51"/>
                            <a:pt x="92" y="51"/>
                            <a:pt x="92" y="51"/>
                          </a:cubicBezTo>
                          <a:close/>
                          <a:moveTo>
                            <a:pt x="88" y="53"/>
                          </a:moveTo>
                          <a:cubicBezTo>
                            <a:pt x="87" y="53"/>
                            <a:pt x="87" y="53"/>
                            <a:pt x="87" y="54"/>
                          </a:cubicBezTo>
                          <a:cubicBezTo>
                            <a:pt x="87" y="54"/>
                            <a:pt x="87" y="54"/>
                            <a:pt x="87" y="54"/>
                          </a:cubicBezTo>
                          <a:cubicBezTo>
                            <a:pt x="87" y="54"/>
                            <a:pt x="87" y="54"/>
                            <a:pt x="87" y="54"/>
                          </a:cubicBezTo>
                          <a:cubicBezTo>
                            <a:pt x="87" y="53"/>
                            <a:pt x="87" y="54"/>
                            <a:pt x="88" y="53"/>
                          </a:cubicBezTo>
                          <a:cubicBezTo>
                            <a:pt x="87" y="53"/>
                            <a:pt x="88" y="53"/>
                            <a:pt x="88" y="53"/>
                          </a:cubicBezTo>
                          <a:close/>
                          <a:moveTo>
                            <a:pt x="87" y="54"/>
                          </a:moveTo>
                          <a:cubicBezTo>
                            <a:pt x="87" y="54"/>
                            <a:pt x="86" y="54"/>
                            <a:pt x="87" y="54"/>
                          </a:cubicBezTo>
                          <a:cubicBezTo>
                            <a:pt x="86" y="54"/>
                            <a:pt x="86" y="54"/>
                            <a:pt x="86" y="54"/>
                          </a:cubicBezTo>
                          <a:cubicBezTo>
                            <a:pt x="86" y="54"/>
                            <a:pt x="86" y="54"/>
                            <a:pt x="86" y="54"/>
                          </a:cubicBezTo>
                          <a:cubicBezTo>
                            <a:pt x="87" y="54"/>
                            <a:pt x="87" y="54"/>
                            <a:pt x="87" y="54"/>
                          </a:cubicBezTo>
                          <a:close/>
                          <a:moveTo>
                            <a:pt x="84" y="56"/>
                          </a:moveTo>
                          <a:cubicBezTo>
                            <a:pt x="84" y="56"/>
                            <a:pt x="84" y="56"/>
                            <a:pt x="84" y="56"/>
                          </a:cubicBezTo>
                          <a:cubicBezTo>
                            <a:pt x="84" y="56"/>
                            <a:pt x="84" y="56"/>
                            <a:pt x="85" y="55"/>
                          </a:cubicBezTo>
                          <a:cubicBezTo>
                            <a:pt x="84" y="56"/>
                            <a:pt x="84" y="55"/>
                            <a:pt x="85" y="55"/>
                          </a:cubicBezTo>
                          <a:cubicBezTo>
                            <a:pt x="84" y="55"/>
                            <a:pt x="84" y="55"/>
                            <a:pt x="84" y="56"/>
                          </a:cubicBezTo>
                          <a:close/>
                          <a:moveTo>
                            <a:pt x="87" y="54"/>
                          </a:moveTo>
                          <a:cubicBezTo>
                            <a:pt x="87" y="54"/>
                            <a:pt x="87" y="54"/>
                            <a:pt x="87" y="54"/>
                          </a:cubicBezTo>
                          <a:cubicBezTo>
                            <a:pt x="87" y="54"/>
                            <a:pt x="87" y="54"/>
                            <a:pt x="87" y="54"/>
                          </a:cubicBezTo>
                          <a:close/>
                          <a:moveTo>
                            <a:pt x="84" y="56"/>
                          </a:moveTo>
                          <a:cubicBezTo>
                            <a:pt x="84" y="56"/>
                            <a:pt x="84" y="56"/>
                            <a:pt x="84" y="56"/>
                          </a:cubicBezTo>
                          <a:cubicBezTo>
                            <a:pt x="84" y="56"/>
                            <a:pt x="84" y="56"/>
                            <a:pt x="84" y="56"/>
                          </a:cubicBezTo>
                          <a:cubicBezTo>
                            <a:pt x="84" y="56"/>
                            <a:pt x="83" y="56"/>
                            <a:pt x="83" y="56"/>
                          </a:cubicBezTo>
                          <a:cubicBezTo>
                            <a:pt x="83" y="56"/>
                            <a:pt x="84" y="56"/>
                            <a:pt x="84" y="56"/>
                          </a:cubicBezTo>
                          <a:close/>
                          <a:moveTo>
                            <a:pt x="83" y="56"/>
                          </a:moveTo>
                          <a:cubicBezTo>
                            <a:pt x="83" y="56"/>
                            <a:pt x="83" y="56"/>
                            <a:pt x="83" y="56"/>
                          </a:cubicBezTo>
                          <a:cubicBezTo>
                            <a:pt x="83" y="56"/>
                            <a:pt x="83" y="56"/>
                            <a:pt x="83" y="56"/>
                          </a:cubicBezTo>
                          <a:cubicBezTo>
                            <a:pt x="83" y="56"/>
                            <a:pt x="83" y="56"/>
                            <a:pt x="83" y="57"/>
                          </a:cubicBezTo>
                          <a:cubicBezTo>
                            <a:pt x="83" y="57"/>
                            <a:pt x="83" y="57"/>
                            <a:pt x="83" y="57"/>
                          </a:cubicBezTo>
                          <a:cubicBezTo>
                            <a:pt x="83" y="57"/>
                            <a:pt x="83" y="57"/>
                            <a:pt x="83" y="57"/>
                          </a:cubicBezTo>
                          <a:cubicBezTo>
                            <a:pt x="83" y="56"/>
                            <a:pt x="83" y="56"/>
                            <a:pt x="83" y="56"/>
                          </a:cubicBezTo>
                          <a:close/>
                          <a:moveTo>
                            <a:pt x="85" y="55"/>
                          </a:moveTo>
                          <a:cubicBezTo>
                            <a:pt x="85" y="55"/>
                            <a:pt x="85" y="56"/>
                            <a:pt x="85" y="56"/>
                          </a:cubicBezTo>
                          <a:cubicBezTo>
                            <a:pt x="85" y="56"/>
                            <a:pt x="85" y="55"/>
                            <a:pt x="85" y="55"/>
                          </a:cubicBezTo>
                          <a:close/>
                          <a:moveTo>
                            <a:pt x="89" y="53"/>
                          </a:moveTo>
                          <a:cubicBezTo>
                            <a:pt x="88" y="53"/>
                            <a:pt x="88" y="53"/>
                            <a:pt x="88" y="54"/>
                          </a:cubicBezTo>
                          <a:cubicBezTo>
                            <a:pt x="88" y="54"/>
                            <a:pt x="89" y="53"/>
                            <a:pt x="89" y="53"/>
                          </a:cubicBezTo>
                          <a:close/>
                          <a:moveTo>
                            <a:pt x="92" y="52"/>
                          </a:moveTo>
                          <a:cubicBezTo>
                            <a:pt x="92" y="52"/>
                            <a:pt x="92" y="52"/>
                            <a:pt x="92" y="52"/>
                          </a:cubicBezTo>
                          <a:cubicBezTo>
                            <a:pt x="93" y="51"/>
                            <a:pt x="93" y="51"/>
                            <a:pt x="92" y="51"/>
                          </a:cubicBezTo>
                          <a:cubicBezTo>
                            <a:pt x="92" y="51"/>
                            <a:pt x="93" y="51"/>
                            <a:pt x="92" y="51"/>
                          </a:cubicBezTo>
                          <a:cubicBezTo>
                            <a:pt x="92" y="51"/>
                            <a:pt x="92" y="52"/>
                            <a:pt x="92" y="51"/>
                          </a:cubicBezTo>
                          <a:cubicBezTo>
                            <a:pt x="92" y="52"/>
                            <a:pt x="91" y="52"/>
                            <a:pt x="91" y="52"/>
                          </a:cubicBezTo>
                          <a:cubicBezTo>
                            <a:pt x="91" y="52"/>
                            <a:pt x="91" y="52"/>
                            <a:pt x="91" y="52"/>
                          </a:cubicBezTo>
                          <a:cubicBezTo>
                            <a:pt x="91" y="52"/>
                            <a:pt x="90" y="53"/>
                            <a:pt x="90" y="52"/>
                          </a:cubicBezTo>
                          <a:cubicBezTo>
                            <a:pt x="90" y="52"/>
                            <a:pt x="90" y="52"/>
                            <a:pt x="91" y="52"/>
                          </a:cubicBezTo>
                          <a:cubicBezTo>
                            <a:pt x="91" y="52"/>
                            <a:pt x="91" y="52"/>
                            <a:pt x="91" y="52"/>
                          </a:cubicBezTo>
                          <a:cubicBezTo>
                            <a:pt x="90" y="52"/>
                            <a:pt x="90" y="52"/>
                            <a:pt x="90" y="52"/>
                          </a:cubicBezTo>
                          <a:cubicBezTo>
                            <a:pt x="90" y="52"/>
                            <a:pt x="90" y="52"/>
                            <a:pt x="90" y="52"/>
                          </a:cubicBezTo>
                          <a:cubicBezTo>
                            <a:pt x="90" y="52"/>
                            <a:pt x="90" y="52"/>
                            <a:pt x="91" y="52"/>
                          </a:cubicBezTo>
                          <a:cubicBezTo>
                            <a:pt x="91" y="52"/>
                            <a:pt x="90" y="52"/>
                            <a:pt x="91" y="52"/>
                          </a:cubicBezTo>
                          <a:cubicBezTo>
                            <a:pt x="90" y="52"/>
                            <a:pt x="90" y="52"/>
                            <a:pt x="90" y="52"/>
                          </a:cubicBezTo>
                          <a:cubicBezTo>
                            <a:pt x="90" y="52"/>
                            <a:pt x="90" y="52"/>
                            <a:pt x="89" y="52"/>
                          </a:cubicBezTo>
                          <a:cubicBezTo>
                            <a:pt x="90" y="52"/>
                            <a:pt x="90" y="52"/>
                            <a:pt x="90" y="52"/>
                          </a:cubicBezTo>
                          <a:cubicBezTo>
                            <a:pt x="90" y="52"/>
                            <a:pt x="89" y="52"/>
                            <a:pt x="89" y="53"/>
                          </a:cubicBezTo>
                          <a:cubicBezTo>
                            <a:pt x="89" y="53"/>
                            <a:pt x="89" y="53"/>
                            <a:pt x="89" y="53"/>
                          </a:cubicBezTo>
                          <a:cubicBezTo>
                            <a:pt x="89" y="53"/>
                            <a:pt x="90" y="53"/>
                            <a:pt x="90" y="52"/>
                          </a:cubicBezTo>
                          <a:cubicBezTo>
                            <a:pt x="90" y="52"/>
                            <a:pt x="90" y="53"/>
                            <a:pt x="90" y="52"/>
                          </a:cubicBezTo>
                          <a:cubicBezTo>
                            <a:pt x="90" y="53"/>
                            <a:pt x="90" y="53"/>
                            <a:pt x="90" y="53"/>
                          </a:cubicBezTo>
                          <a:cubicBezTo>
                            <a:pt x="90" y="53"/>
                            <a:pt x="89" y="53"/>
                            <a:pt x="89" y="53"/>
                          </a:cubicBezTo>
                          <a:cubicBezTo>
                            <a:pt x="89" y="53"/>
                            <a:pt x="89" y="53"/>
                            <a:pt x="89" y="53"/>
                          </a:cubicBezTo>
                          <a:cubicBezTo>
                            <a:pt x="89" y="54"/>
                            <a:pt x="89" y="54"/>
                            <a:pt x="89" y="54"/>
                          </a:cubicBezTo>
                          <a:cubicBezTo>
                            <a:pt x="90" y="53"/>
                            <a:pt x="90" y="53"/>
                            <a:pt x="90" y="53"/>
                          </a:cubicBezTo>
                          <a:cubicBezTo>
                            <a:pt x="90" y="52"/>
                            <a:pt x="92" y="52"/>
                            <a:pt x="92" y="52"/>
                          </a:cubicBezTo>
                          <a:close/>
                          <a:moveTo>
                            <a:pt x="94" y="51"/>
                          </a:moveTo>
                          <a:cubicBezTo>
                            <a:pt x="94" y="51"/>
                            <a:pt x="94" y="51"/>
                            <a:pt x="94" y="51"/>
                          </a:cubicBezTo>
                          <a:cubicBezTo>
                            <a:pt x="93" y="51"/>
                            <a:pt x="93" y="51"/>
                            <a:pt x="93" y="51"/>
                          </a:cubicBezTo>
                          <a:cubicBezTo>
                            <a:pt x="93" y="51"/>
                            <a:pt x="93" y="51"/>
                            <a:pt x="94" y="51"/>
                          </a:cubicBezTo>
                          <a:cubicBezTo>
                            <a:pt x="94" y="51"/>
                            <a:pt x="93" y="51"/>
                            <a:pt x="93" y="51"/>
                          </a:cubicBezTo>
                          <a:lnTo>
                            <a:pt x="94" y="51"/>
                          </a:lnTo>
                          <a:close/>
                          <a:moveTo>
                            <a:pt x="95" y="50"/>
                          </a:moveTo>
                          <a:cubicBezTo>
                            <a:pt x="95" y="50"/>
                            <a:pt x="95" y="50"/>
                            <a:pt x="94" y="51"/>
                          </a:cubicBezTo>
                          <a:cubicBezTo>
                            <a:pt x="95" y="51"/>
                            <a:pt x="94" y="51"/>
                            <a:pt x="94" y="51"/>
                          </a:cubicBezTo>
                          <a:cubicBezTo>
                            <a:pt x="95" y="51"/>
                            <a:pt x="95" y="51"/>
                            <a:pt x="95" y="50"/>
                          </a:cubicBezTo>
                          <a:close/>
                          <a:moveTo>
                            <a:pt x="98" y="49"/>
                          </a:moveTo>
                          <a:cubicBezTo>
                            <a:pt x="98" y="49"/>
                            <a:pt x="98" y="49"/>
                            <a:pt x="98" y="49"/>
                          </a:cubicBezTo>
                          <a:cubicBezTo>
                            <a:pt x="98" y="49"/>
                            <a:pt x="98" y="49"/>
                            <a:pt x="98" y="49"/>
                          </a:cubicBezTo>
                          <a:close/>
                          <a:moveTo>
                            <a:pt x="97" y="49"/>
                          </a:moveTo>
                          <a:cubicBezTo>
                            <a:pt x="98" y="49"/>
                            <a:pt x="97" y="50"/>
                            <a:pt x="97" y="50"/>
                          </a:cubicBezTo>
                          <a:cubicBezTo>
                            <a:pt x="97" y="50"/>
                            <a:pt x="97" y="50"/>
                            <a:pt x="97" y="50"/>
                          </a:cubicBezTo>
                          <a:cubicBezTo>
                            <a:pt x="97" y="50"/>
                            <a:pt x="97" y="50"/>
                            <a:pt x="97" y="50"/>
                          </a:cubicBezTo>
                          <a:cubicBezTo>
                            <a:pt x="97" y="50"/>
                            <a:pt x="98" y="50"/>
                            <a:pt x="98" y="50"/>
                          </a:cubicBezTo>
                          <a:cubicBezTo>
                            <a:pt x="98" y="49"/>
                            <a:pt x="99" y="49"/>
                            <a:pt x="98" y="49"/>
                          </a:cubicBezTo>
                          <a:cubicBezTo>
                            <a:pt x="98" y="49"/>
                            <a:pt x="98" y="49"/>
                            <a:pt x="98" y="49"/>
                          </a:cubicBezTo>
                          <a:cubicBezTo>
                            <a:pt x="98" y="49"/>
                            <a:pt x="97" y="49"/>
                            <a:pt x="97" y="49"/>
                          </a:cubicBezTo>
                          <a:cubicBezTo>
                            <a:pt x="97" y="50"/>
                            <a:pt x="97" y="49"/>
                            <a:pt x="97" y="49"/>
                          </a:cubicBezTo>
                          <a:close/>
                          <a:moveTo>
                            <a:pt x="93" y="52"/>
                          </a:moveTo>
                          <a:cubicBezTo>
                            <a:pt x="93" y="52"/>
                            <a:pt x="94" y="51"/>
                            <a:pt x="94" y="51"/>
                          </a:cubicBezTo>
                          <a:cubicBezTo>
                            <a:pt x="94" y="52"/>
                            <a:pt x="93" y="52"/>
                            <a:pt x="93" y="52"/>
                          </a:cubicBezTo>
                          <a:cubicBezTo>
                            <a:pt x="93" y="52"/>
                            <a:pt x="93" y="52"/>
                            <a:pt x="93" y="52"/>
                          </a:cubicBezTo>
                          <a:cubicBezTo>
                            <a:pt x="93" y="52"/>
                            <a:pt x="93" y="52"/>
                            <a:pt x="93" y="52"/>
                          </a:cubicBezTo>
                          <a:close/>
                          <a:moveTo>
                            <a:pt x="97" y="50"/>
                          </a:moveTo>
                          <a:cubicBezTo>
                            <a:pt x="97" y="50"/>
                            <a:pt x="97" y="50"/>
                            <a:pt x="97" y="50"/>
                          </a:cubicBezTo>
                          <a:cubicBezTo>
                            <a:pt x="96" y="50"/>
                            <a:pt x="96" y="50"/>
                            <a:pt x="96" y="50"/>
                          </a:cubicBezTo>
                          <a:cubicBezTo>
                            <a:pt x="96" y="50"/>
                            <a:pt x="96" y="50"/>
                            <a:pt x="96" y="50"/>
                          </a:cubicBezTo>
                          <a:cubicBezTo>
                            <a:pt x="96" y="50"/>
                            <a:pt x="96" y="50"/>
                            <a:pt x="97" y="50"/>
                          </a:cubicBezTo>
                          <a:close/>
                          <a:moveTo>
                            <a:pt x="96" y="51"/>
                          </a:moveTo>
                          <a:cubicBezTo>
                            <a:pt x="95" y="51"/>
                            <a:pt x="95" y="51"/>
                            <a:pt x="95" y="51"/>
                          </a:cubicBezTo>
                          <a:cubicBezTo>
                            <a:pt x="95" y="51"/>
                            <a:pt x="96" y="51"/>
                            <a:pt x="96" y="51"/>
                          </a:cubicBezTo>
                          <a:close/>
                          <a:moveTo>
                            <a:pt x="96" y="50"/>
                          </a:moveTo>
                          <a:cubicBezTo>
                            <a:pt x="96" y="50"/>
                            <a:pt x="96" y="51"/>
                            <a:pt x="96" y="51"/>
                          </a:cubicBezTo>
                          <a:cubicBezTo>
                            <a:pt x="96" y="51"/>
                            <a:pt x="97" y="50"/>
                            <a:pt x="97" y="50"/>
                          </a:cubicBezTo>
                          <a:cubicBezTo>
                            <a:pt x="97" y="50"/>
                            <a:pt x="97" y="50"/>
                            <a:pt x="96" y="50"/>
                          </a:cubicBezTo>
                          <a:close/>
                          <a:moveTo>
                            <a:pt x="100" y="48"/>
                          </a:moveTo>
                          <a:cubicBezTo>
                            <a:pt x="100" y="48"/>
                            <a:pt x="101" y="48"/>
                            <a:pt x="101" y="48"/>
                          </a:cubicBezTo>
                          <a:cubicBezTo>
                            <a:pt x="101" y="48"/>
                            <a:pt x="100" y="48"/>
                            <a:pt x="100" y="48"/>
                          </a:cubicBezTo>
                          <a:close/>
                          <a:moveTo>
                            <a:pt x="103" y="47"/>
                          </a:moveTo>
                          <a:cubicBezTo>
                            <a:pt x="103" y="47"/>
                            <a:pt x="103" y="47"/>
                            <a:pt x="103" y="47"/>
                          </a:cubicBezTo>
                          <a:cubicBezTo>
                            <a:pt x="103" y="47"/>
                            <a:pt x="103" y="47"/>
                            <a:pt x="103" y="47"/>
                          </a:cubicBezTo>
                          <a:cubicBezTo>
                            <a:pt x="103" y="47"/>
                            <a:pt x="102" y="47"/>
                            <a:pt x="102" y="47"/>
                          </a:cubicBezTo>
                          <a:cubicBezTo>
                            <a:pt x="102" y="47"/>
                            <a:pt x="103" y="47"/>
                            <a:pt x="103" y="47"/>
                          </a:cubicBezTo>
                          <a:cubicBezTo>
                            <a:pt x="102" y="47"/>
                            <a:pt x="103" y="47"/>
                            <a:pt x="103" y="47"/>
                          </a:cubicBezTo>
                          <a:cubicBezTo>
                            <a:pt x="103" y="47"/>
                            <a:pt x="103" y="47"/>
                            <a:pt x="103" y="47"/>
                          </a:cubicBezTo>
                          <a:close/>
                          <a:moveTo>
                            <a:pt x="103" y="47"/>
                          </a:moveTo>
                          <a:cubicBezTo>
                            <a:pt x="104" y="47"/>
                            <a:pt x="104" y="47"/>
                            <a:pt x="103" y="47"/>
                          </a:cubicBezTo>
                          <a:cubicBezTo>
                            <a:pt x="103" y="47"/>
                            <a:pt x="103" y="47"/>
                            <a:pt x="103" y="47"/>
                          </a:cubicBezTo>
                          <a:cubicBezTo>
                            <a:pt x="103" y="47"/>
                            <a:pt x="103" y="47"/>
                            <a:pt x="103" y="47"/>
                          </a:cubicBezTo>
                          <a:cubicBezTo>
                            <a:pt x="103" y="47"/>
                            <a:pt x="103" y="47"/>
                            <a:pt x="103" y="47"/>
                          </a:cubicBezTo>
                          <a:close/>
                          <a:moveTo>
                            <a:pt x="104" y="47"/>
                          </a:moveTo>
                          <a:cubicBezTo>
                            <a:pt x="104" y="47"/>
                            <a:pt x="104" y="46"/>
                            <a:pt x="104" y="46"/>
                          </a:cubicBezTo>
                          <a:cubicBezTo>
                            <a:pt x="104" y="47"/>
                            <a:pt x="104" y="47"/>
                            <a:pt x="104" y="47"/>
                          </a:cubicBezTo>
                          <a:cubicBezTo>
                            <a:pt x="104" y="47"/>
                            <a:pt x="104" y="47"/>
                            <a:pt x="104" y="47"/>
                          </a:cubicBezTo>
                          <a:close/>
                          <a:moveTo>
                            <a:pt x="103" y="47"/>
                          </a:moveTo>
                          <a:cubicBezTo>
                            <a:pt x="103" y="48"/>
                            <a:pt x="102" y="48"/>
                            <a:pt x="102" y="48"/>
                          </a:cubicBezTo>
                          <a:cubicBezTo>
                            <a:pt x="102" y="48"/>
                            <a:pt x="103" y="48"/>
                            <a:pt x="103" y="47"/>
                          </a:cubicBezTo>
                          <a:close/>
                          <a:moveTo>
                            <a:pt x="108" y="45"/>
                          </a:moveTo>
                          <a:cubicBezTo>
                            <a:pt x="108" y="45"/>
                            <a:pt x="108" y="45"/>
                            <a:pt x="108" y="45"/>
                          </a:cubicBezTo>
                          <a:cubicBezTo>
                            <a:pt x="108" y="45"/>
                            <a:pt x="108" y="45"/>
                            <a:pt x="108" y="45"/>
                          </a:cubicBezTo>
                          <a:cubicBezTo>
                            <a:pt x="108" y="44"/>
                            <a:pt x="108" y="44"/>
                            <a:pt x="108" y="44"/>
                          </a:cubicBezTo>
                          <a:cubicBezTo>
                            <a:pt x="108" y="44"/>
                            <a:pt x="108" y="44"/>
                            <a:pt x="108" y="44"/>
                          </a:cubicBezTo>
                          <a:cubicBezTo>
                            <a:pt x="108" y="44"/>
                            <a:pt x="107" y="44"/>
                            <a:pt x="107" y="45"/>
                          </a:cubicBezTo>
                          <a:cubicBezTo>
                            <a:pt x="107" y="44"/>
                            <a:pt x="108" y="44"/>
                            <a:pt x="108" y="44"/>
                          </a:cubicBezTo>
                          <a:cubicBezTo>
                            <a:pt x="107" y="45"/>
                            <a:pt x="107" y="45"/>
                            <a:pt x="107" y="45"/>
                          </a:cubicBezTo>
                          <a:cubicBezTo>
                            <a:pt x="107" y="45"/>
                            <a:pt x="107" y="45"/>
                            <a:pt x="107" y="45"/>
                          </a:cubicBezTo>
                          <a:cubicBezTo>
                            <a:pt x="107" y="45"/>
                            <a:pt x="106" y="45"/>
                            <a:pt x="106" y="45"/>
                          </a:cubicBezTo>
                          <a:cubicBezTo>
                            <a:pt x="106" y="45"/>
                            <a:pt x="106" y="45"/>
                            <a:pt x="106" y="45"/>
                          </a:cubicBezTo>
                          <a:cubicBezTo>
                            <a:pt x="106" y="45"/>
                            <a:pt x="106" y="45"/>
                            <a:pt x="106" y="45"/>
                          </a:cubicBezTo>
                          <a:cubicBezTo>
                            <a:pt x="107" y="45"/>
                            <a:pt x="107" y="45"/>
                            <a:pt x="107" y="45"/>
                          </a:cubicBezTo>
                          <a:cubicBezTo>
                            <a:pt x="107" y="45"/>
                            <a:pt x="107" y="45"/>
                            <a:pt x="107" y="45"/>
                          </a:cubicBezTo>
                          <a:cubicBezTo>
                            <a:pt x="108" y="45"/>
                            <a:pt x="108" y="45"/>
                            <a:pt x="108" y="45"/>
                          </a:cubicBezTo>
                          <a:cubicBezTo>
                            <a:pt x="108" y="45"/>
                            <a:pt x="108" y="45"/>
                            <a:pt x="108" y="45"/>
                          </a:cubicBezTo>
                          <a:close/>
                          <a:moveTo>
                            <a:pt x="112" y="43"/>
                          </a:moveTo>
                          <a:cubicBezTo>
                            <a:pt x="112" y="43"/>
                            <a:pt x="112" y="43"/>
                            <a:pt x="112" y="43"/>
                          </a:cubicBezTo>
                          <a:cubicBezTo>
                            <a:pt x="112" y="43"/>
                            <a:pt x="112" y="43"/>
                            <a:pt x="112" y="43"/>
                          </a:cubicBezTo>
                          <a:cubicBezTo>
                            <a:pt x="112" y="43"/>
                            <a:pt x="112" y="43"/>
                            <a:pt x="112" y="43"/>
                          </a:cubicBezTo>
                          <a:cubicBezTo>
                            <a:pt x="112" y="43"/>
                            <a:pt x="112" y="43"/>
                            <a:pt x="112" y="43"/>
                          </a:cubicBezTo>
                          <a:close/>
                          <a:moveTo>
                            <a:pt x="95" y="53"/>
                          </a:moveTo>
                          <a:cubicBezTo>
                            <a:pt x="94" y="53"/>
                            <a:pt x="94" y="53"/>
                            <a:pt x="94" y="53"/>
                          </a:cubicBezTo>
                          <a:cubicBezTo>
                            <a:pt x="94" y="53"/>
                            <a:pt x="95" y="53"/>
                            <a:pt x="95" y="53"/>
                          </a:cubicBezTo>
                          <a:close/>
                          <a:moveTo>
                            <a:pt x="77" y="64"/>
                          </a:moveTo>
                          <a:cubicBezTo>
                            <a:pt x="77" y="64"/>
                            <a:pt x="78" y="64"/>
                            <a:pt x="78" y="64"/>
                          </a:cubicBezTo>
                          <a:cubicBezTo>
                            <a:pt x="78" y="64"/>
                            <a:pt x="78" y="64"/>
                            <a:pt x="77" y="64"/>
                          </a:cubicBezTo>
                          <a:cubicBezTo>
                            <a:pt x="77" y="64"/>
                            <a:pt x="78" y="65"/>
                            <a:pt x="77" y="65"/>
                          </a:cubicBezTo>
                          <a:cubicBezTo>
                            <a:pt x="77" y="64"/>
                            <a:pt x="77" y="64"/>
                            <a:pt x="77" y="64"/>
                          </a:cubicBezTo>
                          <a:close/>
                          <a:moveTo>
                            <a:pt x="80" y="68"/>
                          </a:moveTo>
                          <a:cubicBezTo>
                            <a:pt x="80" y="67"/>
                            <a:pt x="80" y="68"/>
                            <a:pt x="80" y="68"/>
                          </a:cubicBezTo>
                          <a:cubicBezTo>
                            <a:pt x="80" y="67"/>
                            <a:pt x="80" y="67"/>
                            <a:pt x="80" y="67"/>
                          </a:cubicBezTo>
                          <a:cubicBezTo>
                            <a:pt x="80" y="68"/>
                            <a:pt x="80" y="68"/>
                            <a:pt x="80" y="68"/>
                          </a:cubicBezTo>
                          <a:cubicBezTo>
                            <a:pt x="80" y="68"/>
                            <a:pt x="80" y="68"/>
                            <a:pt x="80" y="68"/>
                          </a:cubicBezTo>
                          <a:close/>
                          <a:moveTo>
                            <a:pt x="77" y="62"/>
                          </a:moveTo>
                          <a:cubicBezTo>
                            <a:pt x="77" y="63"/>
                            <a:pt x="77" y="63"/>
                            <a:pt x="77" y="63"/>
                          </a:cubicBezTo>
                          <a:cubicBezTo>
                            <a:pt x="77" y="63"/>
                            <a:pt x="77" y="63"/>
                            <a:pt x="77" y="63"/>
                          </a:cubicBezTo>
                          <a:cubicBezTo>
                            <a:pt x="77" y="63"/>
                            <a:pt x="77" y="63"/>
                            <a:pt x="77" y="63"/>
                          </a:cubicBezTo>
                          <a:cubicBezTo>
                            <a:pt x="77" y="63"/>
                            <a:pt x="77" y="63"/>
                            <a:pt x="77" y="63"/>
                          </a:cubicBezTo>
                          <a:cubicBezTo>
                            <a:pt x="77" y="63"/>
                            <a:pt x="77" y="63"/>
                            <a:pt x="77" y="63"/>
                          </a:cubicBezTo>
                          <a:cubicBezTo>
                            <a:pt x="77" y="63"/>
                            <a:pt x="77" y="63"/>
                            <a:pt x="77" y="63"/>
                          </a:cubicBezTo>
                          <a:cubicBezTo>
                            <a:pt x="77" y="63"/>
                            <a:pt x="77" y="63"/>
                            <a:pt x="77" y="62"/>
                          </a:cubicBezTo>
                          <a:close/>
                          <a:moveTo>
                            <a:pt x="78" y="63"/>
                          </a:moveTo>
                          <a:cubicBezTo>
                            <a:pt x="78" y="63"/>
                            <a:pt x="78" y="63"/>
                            <a:pt x="77" y="64"/>
                          </a:cubicBezTo>
                          <a:cubicBezTo>
                            <a:pt x="77" y="64"/>
                            <a:pt x="77" y="63"/>
                            <a:pt x="77" y="63"/>
                          </a:cubicBezTo>
                          <a:cubicBezTo>
                            <a:pt x="77" y="63"/>
                            <a:pt x="77" y="63"/>
                            <a:pt x="77" y="63"/>
                          </a:cubicBezTo>
                          <a:cubicBezTo>
                            <a:pt x="77" y="63"/>
                            <a:pt x="78" y="63"/>
                            <a:pt x="78" y="63"/>
                          </a:cubicBezTo>
                          <a:cubicBezTo>
                            <a:pt x="77" y="63"/>
                            <a:pt x="77" y="63"/>
                            <a:pt x="77" y="63"/>
                          </a:cubicBezTo>
                          <a:cubicBezTo>
                            <a:pt x="77" y="63"/>
                            <a:pt x="77" y="63"/>
                            <a:pt x="77" y="63"/>
                          </a:cubicBezTo>
                          <a:cubicBezTo>
                            <a:pt x="77" y="63"/>
                            <a:pt x="78" y="63"/>
                            <a:pt x="78" y="63"/>
                          </a:cubicBezTo>
                          <a:cubicBezTo>
                            <a:pt x="78" y="63"/>
                            <a:pt x="78" y="63"/>
                            <a:pt x="78" y="63"/>
                          </a:cubicBezTo>
                          <a:cubicBezTo>
                            <a:pt x="78" y="63"/>
                            <a:pt x="78" y="63"/>
                            <a:pt x="78" y="63"/>
                          </a:cubicBezTo>
                          <a:cubicBezTo>
                            <a:pt x="78" y="63"/>
                            <a:pt x="78" y="63"/>
                            <a:pt x="78" y="63"/>
                          </a:cubicBezTo>
                          <a:cubicBezTo>
                            <a:pt x="79" y="63"/>
                            <a:pt x="79" y="63"/>
                            <a:pt x="79" y="62"/>
                          </a:cubicBezTo>
                          <a:cubicBezTo>
                            <a:pt x="79" y="62"/>
                            <a:pt x="79" y="62"/>
                            <a:pt x="80" y="63"/>
                          </a:cubicBezTo>
                          <a:cubicBezTo>
                            <a:pt x="79" y="63"/>
                            <a:pt x="79" y="63"/>
                            <a:pt x="78" y="63"/>
                          </a:cubicBezTo>
                          <a:close/>
                          <a:moveTo>
                            <a:pt x="76" y="62"/>
                          </a:moveTo>
                          <a:cubicBezTo>
                            <a:pt x="77" y="62"/>
                            <a:pt x="77" y="62"/>
                            <a:pt x="77" y="62"/>
                          </a:cubicBezTo>
                          <a:cubicBezTo>
                            <a:pt x="77" y="62"/>
                            <a:pt x="77" y="62"/>
                            <a:pt x="77" y="62"/>
                          </a:cubicBezTo>
                          <a:cubicBezTo>
                            <a:pt x="76" y="62"/>
                            <a:pt x="77" y="62"/>
                            <a:pt x="76" y="62"/>
                          </a:cubicBezTo>
                          <a:close/>
                          <a:moveTo>
                            <a:pt x="80" y="68"/>
                          </a:moveTo>
                          <a:cubicBezTo>
                            <a:pt x="80" y="68"/>
                            <a:pt x="80" y="68"/>
                            <a:pt x="80" y="68"/>
                          </a:cubicBezTo>
                          <a:cubicBezTo>
                            <a:pt x="80" y="68"/>
                            <a:pt x="80" y="68"/>
                            <a:pt x="80" y="68"/>
                          </a:cubicBezTo>
                          <a:cubicBezTo>
                            <a:pt x="80" y="68"/>
                            <a:pt x="80" y="68"/>
                            <a:pt x="80" y="68"/>
                          </a:cubicBezTo>
                          <a:cubicBezTo>
                            <a:pt x="80" y="68"/>
                            <a:pt x="80" y="68"/>
                            <a:pt x="80" y="68"/>
                          </a:cubicBezTo>
                          <a:close/>
                          <a:moveTo>
                            <a:pt x="81" y="59"/>
                          </a:moveTo>
                          <a:cubicBezTo>
                            <a:pt x="81" y="59"/>
                            <a:pt x="81" y="59"/>
                            <a:pt x="81" y="59"/>
                          </a:cubicBezTo>
                          <a:cubicBezTo>
                            <a:pt x="81" y="59"/>
                            <a:pt x="81" y="59"/>
                            <a:pt x="81" y="59"/>
                          </a:cubicBezTo>
                          <a:cubicBezTo>
                            <a:pt x="81" y="59"/>
                            <a:pt x="81" y="59"/>
                            <a:pt x="81" y="59"/>
                          </a:cubicBezTo>
                          <a:cubicBezTo>
                            <a:pt x="82" y="59"/>
                            <a:pt x="82" y="59"/>
                            <a:pt x="83" y="58"/>
                          </a:cubicBezTo>
                          <a:cubicBezTo>
                            <a:pt x="83" y="58"/>
                            <a:pt x="83" y="58"/>
                            <a:pt x="84" y="58"/>
                          </a:cubicBezTo>
                          <a:cubicBezTo>
                            <a:pt x="83" y="59"/>
                            <a:pt x="83" y="59"/>
                            <a:pt x="82" y="59"/>
                          </a:cubicBezTo>
                          <a:cubicBezTo>
                            <a:pt x="82" y="59"/>
                            <a:pt x="82" y="59"/>
                            <a:pt x="82" y="59"/>
                          </a:cubicBezTo>
                          <a:cubicBezTo>
                            <a:pt x="81" y="59"/>
                            <a:pt x="82" y="59"/>
                            <a:pt x="82" y="59"/>
                          </a:cubicBezTo>
                          <a:cubicBezTo>
                            <a:pt x="81" y="60"/>
                            <a:pt x="81" y="59"/>
                            <a:pt x="81" y="60"/>
                          </a:cubicBezTo>
                          <a:cubicBezTo>
                            <a:pt x="81" y="60"/>
                            <a:pt x="81" y="60"/>
                            <a:pt x="81" y="60"/>
                          </a:cubicBezTo>
                          <a:cubicBezTo>
                            <a:pt x="81" y="60"/>
                            <a:pt x="81" y="60"/>
                            <a:pt x="81" y="60"/>
                          </a:cubicBezTo>
                          <a:cubicBezTo>
                            <a:pt x="81" y="60"/>
                            <a:pt x="81" y="60"/>
                            <a:pt x="80" y="60"/>
                          </a:cubicBezTo>
                          <a:cubicBezTo>
                            <a:pt x="80" y="60"/>
                            <a:pt x="81" y="60"/>
                            <a:pt x="81" y="59"/>
                          </a:cubicBezTo>
                          <a:cubicBezTo>
                            <a:pt x="81" y="60"/>
                            <a:pt x="80" y="60"/>
                            <a:pt x="80" y="60"/>
                          </a:cubicBezTo>
                          <a:cubicBezTo>
                            <a:pt x="80" y="60"/>
                            <a:pt x="79" y="60"/>
                            <a:pt x="79" y="60"/>
                          </a:cubicBezTo>
                          <a:cubicBezTo>
                            <a:pt x="79" y="60"/>
                            <a:pt x="78" y="61"/>
                            <a:pt x="78" y="61"/>
                          </a:cubicBezTo>
                          <a:cubicBezTo>
                            <a:pt x="78" y="61"/>
                            <a:pt x="78" y="61"/>
                            <a:pt x="78" y="61"/>
                          </a:cubicBezTo>
                          <a:cubicBezTo>
                            <a:pt x="77" y="61"/>
                            <a:pt x="77" y="62"/>
                            <a:pt x="77" y="62"/>
                          </a:cubicBezTo>
                          <a:cubicBezTo>
                            <a:pt x="77" y="62"/>
                            <a:pt x="77" y="62"/>
                            <a:pt x="77" y="62"/>
                          </a:cubicBezTo>
                          <a:cubicBezTo>
                            <a:pt x="77" y="62"/>
                            <a:pt x="77" y="61"/>
                            <a:pt x="77" y="61"/>
                          </a:cubicBezTo>
                          <a:cubicBezTo>
                            <a:pt x="77" y="61"/>
                            <a:pt x="77" y="61"/>
                            <a:pt x="77" y="61"/>
                          </a:cubicBezTo>
                          <a:cubicBezTo>
                            <a:pt x="77" y="61"/>
                            <a:pt x="77" y="61"/>
                            <a:pt x="77" y="61"/>
                          </a:cubicBezTo>
                          <a:cubicBezTo>
                            <a:pt x="78" y="61"/>
                            <a:pt x="78" y="61"/>
                            <a:pt x="78" y="61"/>
                          </a:cubicBezTo>
                          <a:cubicBezTo>
                            <a:pt x="78" y="61"/>
                            <a:pt x="77" y="61"/>
                            <a:pt x="77" y="61"/>
                          </a:cubicBezTo>
                          <a:cubicBezTo>
                            <a:pt x="77" y="61"/>
                            <a:pt x="78" y="60"/>
                            <a:pt x="78" y="61"/>
                          </a:cubicBezTo>
                          <a:cubicBezTo>
                            <a:pt x="78" y="61"/>
                            <a:pt x="79" y="60"/>
                            <a:pt x="79" y="60"/>
                          </a:cubicBezTo>
                          <a:cubicBezTo>
                            <a:pt x="79" y="60"/>
                            <a:pt x="79" y="60"/>
                            <a:pt x="79" y="60"/>
                          </a:cubicBezTo>
                          <a:cubicBezTo>
                            <a:pt x="79" y="60"/>
                            <a:pt x="79" y="60"/>
                            <a:pt x="79" y="60"/>
                          </a:cubicBezTo>
                          <a:cubicBezTo>
                            <a:pt x="80" y="60"/>
                            <a:pt x="80" y="59"/>
                            <a:pt x="80" y="59"/>
                          </a:cubicBezTo>
                          <a:cubicBezTo>
                            <a:pt x="80" y="59"/>
                            <a:pt x="80" y="59"/>
                            <a:pt x="80" y="59"/>
                          </a:cubicBezTo>
                          <a:cubicBezTo>
                            <a:pt x="80" y="59"/>
                            <a:pt x="80" y="59"/>
                            <a:pt x="80" y="59"/>
                          </a:cubicBezTo>
                          <a:cubicBezTo>
                            <a:pt x="80" y="59"/>
                            <a:pt x="81" y="59"/>
                            <a:pt x="81" y="59"/>
                          </a:cubicBezTo>
                          <a:cubicBezTo>
                            <a:pt x="81" y="59"/>
                            <a:pt x="81" y="59"/>
                            <a:pt x="81" y="59"/>
                          </a:cubicBezTo>
                          <a:cubicBezTo>
                            <a:pt x="81" y="59"/>
                            <a:pt x="81" y="59"/>
                            <a:pt x="81" y="59"/>
                          </a:cubicBezTo>
                          <a:cubicBezTo>
                            <a:pt x="81" y="59"/>
                            <a:pt x="81" y="59"/>
                            <a:pt x="81" y="59"/>
                          </a:cubicBezTo>
                          <a:cubicBezTo>
                            <a:pt x="81" y="59"/>
                            <a:pt x="82" y="58"/>
                            <a:pt x="82" y="58"/>
                          </a:cubicBezTo>
                          <a:cubicBezTo>
                            <a:pt x="82" y="58"/>
                            <a:pt x="81" y="59"/>
                            <a:pt x="82" y="59"/>
                          </a:cubicBezTo>
                          <a:cubicBezTo>
                            <a:pt x="82" y="59"/>
                            <a:pt x="81" y="59"/>
                            <a:pt x="81" y="59"/>
                          </a:cubicBezTo>
                          <a:close/>
                          <a:moveTo>
                            <a:pt x="79" y="60"/>
                          </a:moveTo>
                          <a:cubicBezTo>
                            <a:pt x="80" y="60"/>
                            <a:pt x="80" y="60"/>
                            <a:pt x="80" y="60"/>
                          </a:cubicBezTo>
                          <a:cubicBezTo>
                            <a:pt x="80" y="60"/>
                            <a:pt x="80" y="60"/>
                            <a:pt x="80" y="60"/>
                          </a:cubicBezTo>
                          <a:cubicBezTo>
                            <a:pt x="80" y="60"/>
                            <a:pt x="80" y="60"/>
                            <a:pt x="80" y="60"/>
                          </a:cubicBezTo>
                          <a:cubicBezTo>
                            <a:pt x="80" y="60"/>
                            <a:pt x="79" y="60"/>
                            <a:pt x="79" y="60"/>
                          </a:cubicBezTo>
                          <a:close/>
                          <a:moveTo>
                            <a:pt x="80" y="65"/>
                          </a:moveTo>
                          <a:cubicBezTo>
                            <a:pt x="80" y="65"/>
                            <a:pt x="80" y="64"/>
                            <a:pt x="80" y="64"/>
                          </a:cubicBezTo>
                          <a:cubicBezTo>
                            <a:pt x="80" y="64"/>
                            <a:pt x="80" y="64"/>
                            <a:pt x="80" y="64"/>
                          </a:cubicBezTo>
                          <a:cubicBezTo>
                            <a:pt x="80" y="64"/>
                            <a:pt x="80" y="64"/>
                            <a:pt x="80" y="64"/>
                          </a:cubicBezTo>
                          <a:cubicBezTo>
                            <a:pt x="80" y="64"/>
                            <a:pt x="80" y="64"/>
                            <a:pt x="81" y="64"/>
                          </a:cubicBezTo>
                          <a:cubicBezTo>
                            <a:pt x="81" y="64"/>
                            <a:pt x="81" y="64"/>
                            <a:pt x="81" y="64"/>
                          </a:cubicBezTo>
                          <a:cubicBezTo>
                            <a:pt x="80" y="64"/>
                            <a:pt x="80" y="64"/>
                            <a:pt x="80" y="65"/>
                          </a:cubicBezTo>
                          <a:close/>
                          <a:moveTo>
                            <a:pt x="81" y="67"/>
                          </a:moveTo>
                          <a:cubicBezTo>
                            <a:pt x="81" y="66"/>
                            <a:pt x="81" y="66"/>
                            <a:pt x="81" y="67"/>
                          </a:cubicBezTo>
                          <a:cubicBezTo>
                            <a:pt x="81" y="67"/>
                            <a:pt x="81" y="66"/>
                            <a:pt x="81" y="66"/>
                          </a:cubicBezTo>
                          <a:cubicBezTo>
                            <a:pt x="81" y="66"/>
                            <a:pt x="81" y="66"/>
                            <a:pt x="81" y="66"/>
                          </a:cubicBezTo>
                          <a:cubicBezTo>
                            <a:pt x="82" y="66"/>
                            <a:pt x="81" y="66"/>
                            <a:pt x="81" y="66"/>
                          </a:cubicBezTo>
                          <a:cubicBezTo>
                            <a:pt x="82" y="66"/>
                            <a:pt x="82" y="66"/>
                            <a:pt x="82" y="65"/>
                          </a:cubicBezTo>
                          <a:cubicBezTo>
                            <a:pt x="82" y="65"/>
                            <a:pt x="82" y="66"/>
                            <a:pt x="82" y="66"/>
                          </a:cubicBezTo>
                          <a:cubicBezTo>
                            <a:pt x="82" y="65"/>
                            <a:pt x="83" y="65"/>
                            <a:pt x="83" y="66"/>
                          </a:cubicBezTo>
                          <a:cubicBezTo>
                            <a:pt x="82" y="66"/>
                            <a:pt x="82" y="66"/>
                            <a:pt x="81" y="67"/>
                          </a:cubicBezTo>
                          <a:close/>
                          <a:moveTo>
                            <a:pt x="81" y="66"/>
                          </a:moveTo>
                          <a:cubicBezTo>
                            <a:pt x="81" y="66"/>
                            <a:pt x="81" y="66"/>
                            <a:pt x="81" y="66"/>
                          </a:cubicBezTo>
                          <a:cubicBezTo>
                            <a:pt x="81" y="66"/>
                            <a:pt x="81" y="65"/>
                            <a:pt x="82" y="65"/>
                          </a:cubicBezTo>
                          <a:cubicBezTo>
                            <a:pt x="82" y="65"/>
                            <a:pt x="81" y="65"/>
                            <a:pt x="81" y="65"/>
                          </a:cubicBezTo>
                          <a:cubicBezTo>
                            <a:pt x="81" y="65"/>
                            <a:pt x="81" y="65"/>
                            <a:pt x="81" y="65"/>
                          </a:cubicBezTo>
                          <a:cubicBezTo>
                            <a:pt x="81" y="65"/>
                            <a:pt x="81" y="65"/>
                            <a:pt x="81" y="65"/>
                          </a:cubicBezTo>
                          <a:cubicBezTo>
                            <a:pt x="81" y="65"/>
                            <a:pt x="81" y="65"/>
                            <a:pt x="81" y="64"/>
                          </a:cubicBezTo>
                          <a:cubicBezTo>
                            <a:pt x="81" y="64"/>
                            <a:pt x="81" y="64"/>
                            <a:pt x="81" y="65"/>
                          </a:cubicBezTo>
                          <a:cubicBezTo>
                            <a:pt x="81" y="64"/>
                            <a:pt x="81" y="64"/>
                            <a:pt x="82" y="64"/>
                          </a:cubicBezTo>
                          <a:cubicBezTo>
                            <a:pt x="82" y="64"/>
                            <a:pt x="81" y="64"/>
                            <a:pt x="81" y="65"/>
                          </a:cubicBezTo>
                          <a:cubicBezTo>
                            <a:pt x="82" y="64"/>
                            <a:pt x="82" y="64"/>
                            <a:pt x="83" y="64"/>
                          </a:cubicBezTo>
                          <a:cubicBezTo>
                            <a:pt x="83" y="64"/>
                            <a:pt x="83" y="64"/>
                            <a:pt x="82" y="64"/>
                          </a:cubicBezTo>
                          <a:cubicBezTo>
                            <a:pt x="82" y="64"/>
                            <a:pt x="82" y="64"/>
                            <a:pt x="83" y="64"/>
                          </a:cubicBezTo>
                          <a:cubicBezTo>
                            <a:pt x="83" y="64"/>
                            <a:pt x="82" y="64"/>
                            <a:pt x="82" y="64"/>
                          </a:cubicBezTo>
                          <a:cubicBezTo>
                            <a:pt x="82" y="64"/>
                            <a:pt x="82" y="65"/>
                            <a:pt x="82" y="65"/>
                          </a:cubicBezTo>
                          <a:cubicBezTo>
                            <a:pt x="82" y="65"/>
                            <a:pt x="82" y="65"/>
                            <a:pt x="82" y="65"/>
                          </a:cubicBezTo>
                          <a:cubicBezTo>
                            <a:pt x="82" y="65"/>
                            <a:pt x="82" y="65"/>
                            <a:pt x="82" y="65"/>
                          </a:cubicBezTo>
                          <a:cubicBezTo>
                            <a:pt x="82" y="65"/>
                            <a:pt x="82" y="65"/>
                            <a:pt x="82" y="65"/>
                          </a:cubicBezTo>
                          <a:cubicBezTo>
                            <a:pt x="82" y="65"/>
                            <a:pt x="82" y="65"/>
                            <a:pt x="82" y="65"/>
                          </a:cubicBezTo>
                          <a:cubicBezTo>
                            <a:pt x="83" y="64"/>
                            <a:pt x="84" y="64"/>
                            <a:pt x="84" y="63"/>
                          </a:cubicBezTo>
                          <a:cubicBezTo>
                            <a:pt x="84" y="63"/>
                            <a:pt x="84" y="64"/>
                            <a:pt x="85" y="64"/>
                          </a:cubicBezTo>
                          <a:cubicBezTo>
                            <a:pt x="84" y="64"/>
                            <a:pt x="83" y="65"/>
                            <a:pt x="82" y="65"/>
                          </a:cubicBezTo>
                          <a:cubicBezTo>
                            <a:pt x="82" y="65"/>
                            <a:pt x="81" y="65"/>
                            <a:pt x="81" y="66"/>
                          </a:cubicBezTo>
                          <a:cubicBezTo>
                            <a:pt x="81" y="66"/>
                            <a:pt x="81" y="66"/>
                            <a:pt x="81" y="66"/>
                          </a:cubicBezTo>
                          <a:cubicBezTo>
                            <a:pt x="81" y="66"/>
                            <a:pt x="81" y="66"/>
                            <a:pt x="81" y="66"/>
                          </a:cubicBezTo>
                          <a:cubicBezTo>
                            <a:pt x="81" y="66"/>
                            <a:pt x="81" y="66"/>
                            <a:pt x="81" y="66"/>
                          </a:cubicBezTo>
                          <a:cubicBezTo>
                            <a:pt x="81" y="66"/>
                            <a:pt x="81" y="66"/>
                            <a:pt x="81" y="66"/>
                          </a:cubicBezTo>
                          <a:close/>
                          <a:moveTo>
                            <a:pt x="81" y="64"/>
                          </a:moveTo>
                          <a:cubicBezTo>
                            <a:pt x="81" y="64"/>
                            <a:pt x="81" y="64"/>
                            <a:pt x="81" y="64"/>
                          </a:cubicBezTo>
                          <a:cubicBezTo>
                            <a:pt x="81" y="64"/>
                            <a:pt x="81" y="64"/>
                            <a:pt x="81" y="64"/>
                          </a:cubicBezTo>
                          <a:cubicBezTo>
                            <a:pt x="81" y="64"/>
                            <a:pt x="81" y="64"/>
                            <a:pt x="81" y="64"/>
                          </a:cubicBezTo>
                          <a:cubicBezTo>
                            <a:pt x="81" y="64"/>
                            <a:pt x="81" y="64"/>
                            <a:pt x="81" y="64"/>
                          </a:cubicBezTo>
                          <a:cubicBezTo>
                            <a:pt x="81" y="64"/>
                            <a:pt x="81" y="64"/>
                            <a:pt x="81" y="64"/>
                          </a:cubicBezTo>
                          <a:cubicBezTo>
                            <a:pt x="81" y="64"/>
                            <a:pt x="81" y="64"/>
                            <a:pt x="81" y="64"/>
                          </a:cubicBezTo>
                          <a:close/>
                          <a:moveTo>
                            <a:pt x="81" y="63"/>
                          </a:moveTo>
                          <a:cubicBezTo>
                            <a:pt x="81" y="63"/>
                            <a:pt x="82" y="63"/>
                            <a:pt x="82" y="63"/>
                          </a:cubicBezTo>
                          <a:cubicBezTo>
                            <a:pt x="82" y="63"/>
                            <a:pt x="81" y="63"/>
                            <a:pt x="81" y="63"/>
                          </a:cubicBezTo>
                          <a:cubicBezTo>
                            <a:pt x="81" y="63"/>
                            <a:pt x="81" y="63"/>
                            <a:pt x="81" y="63"/>
                          </a:cubicBezTo>
                          <a:cubicBezTo>
                            <a:pt x="81" y="63"/>
                            <a:pt x="81" y="63"/>
                            <a:pt x="81" y="63"/>
                          </a:cubicBezTo>
                          <a:cubicBezTo>
                            <a:pt x="81" y="63"/>
                            <a:pt x="81" y="63"/>
                            <a:pt x="81" y="63"/>
                          </a:cubicBezTo>
                          <a:cubicBezTo>
                            <a:pt x="81" y="63"/>
                            <a:pt x="81" y="62"/>
                            <a:pt x="81" y="62"/>
                          </a:cubicBezTo>
                          <a:cubicBezTo>
                            <a:pt x="81" y="62"/>
                            <a:pt x="81" y="62"/>
                            <a:pt x="81" y="62"/>
                          </a:cubicBezTo>
                          <a:cubicBezTo>
                            <a:pt x="81" y="62"/>
                            <a:pt x="81" y="62"/>
                            <a:pt x="82" y="62"/>
                          </a:cubicBezTo>
                          <a:cubicBezTo>
                            <a:pt x="82" y="62"/>
                            <a:pt x="82" y="62"/>
                            <a:pt x="81" y="62"/>
                          </a:cubicBezTo>
                          <a:cubicBezTo>
                            <a:pt x="82" y="62"/>
                            <a:pt x="82" y="62"/>
                            <a:pt x="82" y="62"/>
                          </a:cubicBezTo>
                          <a:cubicBezTo>
                            <a:pt x="82" y="63"/>
                            <a:pt x="82" y="63"/>
                            <a:pt x="81" y="63"/>
                          </a:cubicBezTo>
                          <a:close/>
                          <a:moveTo>
                            <a:pt x="82" y="63"/>
                          </a:moveTo>
                          <a:cubicBezTo>
                            <a:pt x="82" y="63"/>
                            <a:pt x="82" y="63"/>
                            <a:pt x="82" y="63"/>
                          </a:cubicBezTo>
                          <a:cubicBezTo>
                            <a:pt x="82" y="63"/>
                            <a:pt x="82" y="63"/>
                            <a:pt x="82" y="63"/>
                          </a:cubicBezTo>
                          <a:cubicBezTo>
                            <a:pt x="82" y="63"/>
                            <a:pt x="83" y="63"/>
                            <a:pt x="83" y="63"/>
                          </a:cubicBezTo>
                          <a:cubicBezTo>
                            <a:pt x="83" y="63"/>
                            <a:pt x="83" y="63"/>
                            <a:pt x="82" y="63"/>
                          </a:cubicBezTo>
                          <a:close/>
                          <a:moveTo>
                            <a:pt x="81" y="57"/>
                          </a:moveTo>
                          <a:cubicBezTo>
                            <a:pt x="81" y="57"/>
                            <a:pt x="81" y="57"/>
                            <a:pt x="81" y="57"/>
                          </a:cubicBezTo>
                          <a:cubicBezTo>
                            <a:pt x="81" y="57"/>
                            <a:pt x="80" y="58"/>
                            <a:pt x="81" y="58"/>
                          </a:cubicBezTo>
                          <a:cubicBezTo>
                            <a:pt x="80" y="58"/>
                            <a:pt x="80" y="58"/>
                            <a:pt x="80" y="58"/>
                          </a:cubicBezTo>
                          <a:cubicBezTo>
                            <a:pt x="80" y="58"/>
                            <a:pt x="80" y="58"/>
                            <a:pt x="80" y="58"/>
                          </a:cubicBezTo>
                          <a:cubicBezTo>
                            <a:pt x="80" y="58"/>
                            <a:pt x="80" y="58"/>
                            <a:pt x="80" y="58"/>
                          </a:cubicBezTo>
                          <a:cubicBezTo>
                            <a:pt x="80" y="58"/>
                            <a:pt x="80" y="57"/>
                            <a:pt x="80" y="58"/>
                          </a:cubicBezTo>
                          <a:cubicBezTo>
                            <a:pt x="80" y="57"/>
                            <a:pt x="80" y="58"/>
                            <a:pt x="80" y="58"/>
                          </a:cubicBezTo>
                          <a:cubicBezTo>
                            <a:pt x="80" y="57"/>
                            <a:pt x="80" y="57"/>
                            <a:pt x="81" y="57"/>
                          </a:cubicBezTo>
                          <a:close/>
                          <a:moveTo>
                            <a:pt x="83" y="61"/>
                          </a:moveTo>
                          <a:cubicBezTo>
                            <a:pt x="83" y="61"/>
                            <a:pt x="83" y="61"/>
                            <a:pt x="83" y="61"/>
                          </a:cubicBezTo>
                          <a:cubicBezTo>
                            <a:pt x="83" y="61"/>
                            <a:pt x="83" y="61"/>
                            <a:pt x="84" y="61"/>
                          </a:cubicBezTo>
                          <a:cubicBezTo>
                            <a:pt x="84" y="60"/>
                            <a:pt x="83" y="60"/>
                            <a:pt x="83" y="60"/>
                          </a:cubicBezTo>
                          <a:cubicBezTo>
                            <a:pt x="84" y="60"/>
                            <a:pt x="84" y="60"/>
                            <a:pt x="84" y="60"/>
                          </a:cubicBezTo>
                          <a:cubicBezTo>
                            <a:pt x="84" y="60"/>
                            <a:pt x="84" y="60"/>
                            <a:pt x="84" y="60"/>
                          </a:cubicBezTo>
                          <a:cubicBezTo>
                            <a:pt x="84" y="60"/>
                            <a:pt x="84" y="61"/>
                            <a:pt x="83" y="61"/>
                          </a:cubicBezTo>
                          <a:cubicBezTo>
                            <a:pt x="84" y="61"/>
                            <a:pt x="84" y="61"/>
                            <a:pt x="84" y="61"/>
                          </a:cubicBezTo>
                          <a:cubicBezTo>
                            <a:pt x="84" y="61"/>
                            <a:pt x="84" y="61"/>
                            <a:pt x="84" y="61"/>
                          </a:cubicBezTo>
                          <a:cubicBezTo>
                            <a:pt x="84" y="60"/>
                            <a:pt x="84" y="60"/>
                            <a:pt x="84" y="61"/>
                          </a:cubicBezTo>
                          <a:cubicBezTo>
                            <a:pt x="84" y="61"/>
                            <a:pt x="84" y="61"/>
                            <a:pt x="84" y="61"/>
                          </a:cubicBezTo>
                          <a:cubicBezTo>
                            <a:pt x="84" y="61"/>
                            <a:pt x="84" y="61"/>
                            <a:pt x="83" y="61"/>
                          </a:cubicBezTo>
                          <a:cubicBezTo>
                            <a:pt x="83" y="62"/>
                            <a:pt x="84" y="61"/>
                            <a:pt x="84" y="62"/>
                          </a:cubicBezTo>
                          <a:cubicBezTo>
                            <a:pt x="83" y="62"/>
                            <a:pt x="83" y="62"/>
                            <a:pt x="83" y="62"/>
                          </a:cubicBezTo>
                          <a:cubicBezTo>
                            <a:pt x="83" y="62"/>
                            <a:pt x="83" y="62"/>
                            <a:pt x="83" y="62"/>
                          </a:cubicBezTo>
                          <a:cubicBezTo>
                            <a:pt x="83" y="62"/>
                            <a:pt x="83" y="62"/>
                            <a:pt x="83" y="62"/>
                          </a:cubicBezTo>
                          <a:cubicBezTo>
                            <a:pt x="83" y="62"/>
                            <a:pt x="82" y="62"/>
                            <a:pt x="82" y="62"/>
                          </a:cubicBezTo>
                          <a:cubicBezTo>
                            <a:pt x="82" y="62"/>
                            <a:pt x="82" y="62"/>
                            <a:pt x="82" y="62"/>
                          </a:cubicBezTo>
                          <a:cubicBezTo>
                            <a:pt x="82" y="62"/>
                            <a:pt x="82" y="62"/>
                            <a:pt x="82" y="62"/>
                          </a:cubicBezTo>
                          <a:cubicBezTo>
                            <a:pt x="82" y="62"/>
                            <a:pt x="82" y="62"/>
                            <a:pt x="82" y="62"/>
                          </a:cubicBezTo>
                          <a:cubicBezTo>
                            <a:pt x="82" y="62"/>
                            <a:pt x="83" y="61"/>
                            <a:pt x="83" y="61"/>
                          </a:cubicBezTo>
                          <a:close/>
                          <a:moveTo>
                            <a:pt x="84" y="62"/>
                          </a:moveTo>
                          <a:cubicBezTo>
                            <a:pt x="84" y="62"/>
                            <a:pt x="84" y="62"/>
                            <a:pt x="84" y="62"/>
                          </a:cubicBezTo>
                          <a:cubicBezTo>
                            <a:pt x="84" y="62"/>
                            <a:pt x="83" y="62"/>
                            <a:pt x="83" y="62"/>
                          </a:cubicBezTo>
                          <a:cubicBezTo>
                            <a:pt x="83" y="63"/>
                            <a:pt x="83" y="62"/>
                            <a:pt x="83" y="62"/>
                          </a:cubicBezTo>
                          <a:cubicBezTo>
                            <a:pt x="83" y="62"/>
                            <a:pt x="84" y="62"/>
                            <a:pt x="84" y="62"/>
                          </a:cubicBezTo>
                          <a:cubicBezTo>
                            <a:pt x="84" y="62"/>
                            <a:pt x="84" y="62"/>
                            <a:pt x="84" y="62"/>
                          </a:cubicBezTo>
                          <a:close/>
                          <a:moveTo>
                            <a:pt x="88" y="62"/>
                          </a:moveTo>
                          <a:cubicBezTo>
                            <a:pt x="88" y="62"/>
                            <a:pt x="88" y="62"/>
                            <a:pt x="88" y="62"/>
                          </a:cubicBezTo>
                          <a:cubicBezTo>
                            <a:pt x="88" y="62"/>
                            <a:pt x="88" y="62"/>
                            <a:pt x="88" y="62"/>
                          </a:cubicBezTo>
                          <a:close/>
                          <a:moveTo>
                            <a:pt x="88" y="62"/>
                          </a:moveTo>
                          <a:cubicBezTo>
                            <a:pt x="88" y="62"/>
                            <a:pt x="88" y="62"/>
                            <a:pt x="88" y="62"/>
                          </a:cubicBezTo>
                          <a:cubicBezTo>
                            <a:pt x="88" y="62"/>
                            <a:pt x="88" y="62"/>
                            <a:pt x="88" y="62"/>
                          </a:cubicBezTo>
                          <a:close/>
                          <a:moveTo>
                            <a:pt x="89" y="62"/>
                          </a:moveTo>
                          <a:cubicBezTo>
                            <a:pt x="88" y="62"/>
                            <a:pt x="88" y="63"/>
                            <a:pt x="88" y="63"/>
                          </a:cubicBezTo>
                          <a:cubicBezTo>
                            <a:pt x="87" y="63"/>
                            <a:pt x="87" y="63"/>
                            <a:pt x="87" y="63"/>
                          </a:cubicBezTo>
                          <a:cubicBezTo>
                            <a:pt x="87" y="63"/>
                            <a:pt x="87" y="64"/>
                            <a:pt x="87" y="64"/>
                          </a:cubicBezTo>
                          <a:cubicBezTo>
                            <a:pt x="86" y="64"/>
                            <a:pt x="86" y="64"/>
                            <a:pt x="86" y="64"/>
                          </a:cubicBezTo>
                          <a:cubicBezTo>
                            <a:pt x="86" y="64"/>
                            <a:pt x="86" y="64"/>
                            <a:pt x="86" y="64"/>
                          </a:cubicBezTo>
                          <a:cubicBezTo>
                            <a:pt x="86" y="63"/>
                            <a:pt x="86" y="64"/>
                            <a:pt x="86" y="64"/>
                          </a:cubicBezTo>
                          <a:cubicBezTo>
                            <a:pt x="86" y="64"/>
                            <a:pt x="86" y="64"/>
                            <a:pt x="86" y="64"/>
                          </a:cubicBezTo>
                          <a:cubicBezTo>
                            <a:pt x="86" y="64"/>
                            <a:pt x="86" y="63"/>
                            <a:pt x="86" y="63"/>
                          </a:cubicBezTo>
                          <a:cubicBezTo>
                            <a:pt x="86" y="63"/>
                            <a:pt x="87" y="63"/>
                            <a:pt x="87" y="63"/>
                          </a:cubicBezTo>
                          <a:cubicBezTo>
                            <a:pt x="87" y="63"/>
                            <a:pt x="87" y="63"/>
                            <a:pt x="87" y="63"/>
                          </a:cubicBezTo>
                          <a:cubicBezTo>
                            <a:pt x="87" y="63"/>
                            <a:pt x="88" y="63"/>
                            <a:pt x="88" y="62"/>
                          </a:cubicBezTo>
                          <a:cubicBezTo>
                            <a:pt x="88" y="63"/>
                            <a:pt x="88" y="62"/>
                            <a:pt x="89" y="62"/>
                          </a:cubicBezTo>
                          <a:close/>
                          <a:moveTo>
                            <a:pt x="87" y="63"/>
                          </a:moveTo>
                          <a:cubicBezTo>
                            <a:pt x="87" y="63"/>
                            <a:pt x="87" y="63"/>
                            <a:pt x="87" y="63"/>
                          </a:cubicBezTo>
                          <a:cubicBezTo>
                            <a:pt x="87" y="63"/>
                            <a:pt x="87" y="63"/>
                            <a:pt x="87" y="63"/>
                          </a:cubicBezTo>
                          <a:close/>
                          <a:moveTo>
                            <a:pt x="84" y="61"/>
                          </a:moveTo>
                          <a:cubicBezTo>
                            <a:pt x="85" y="61"/>
                            <a:pt x="85" y="61"/>
                            <a:pt x="85" y="61"/>
                          </a:cubicBezTo>
                          <a:cubicBezTo>
                            <a:pt x="85" y="61"/>
                            <a:pt x="85" y="61"/>
                            <a:pt x="85" y="61"/>
                          </a:cubicBezTo>
                          <a:cubicBezTo>
                            <a:pt x="85" y="61"/>
                            <a:pt x="85" y="61"/>
                            <a:pt x="85" y="61"/>
                          </a:cubicBezTo>
                          <a:cubicBezTo>
                            <a:pt x="85" y="61"/>
                            <a:pt x="84" y="61"/>
                            <a:pt x="84" y="61"/>
                          </a:cubicBezTo>
                          <a:close/>
                          <a:moveTo>
                            <a:pt x="86" y="61"/>
                          </a:moveTo>
                          <a:cubicBezTo>
                            <a:pt x="86" y="61"/>
                            <a:pt x="86" y="61"/>
                            <a:pt x="86" y="61"/>
                          </a:cubicBezTo>
                          <a:cubicBezTo>
                            <a:pt x="86" y="61"/>
                            <a:pt x="86" y="61"/>
                            <a:pt x="86" y="61"/>
                          </a:cubicBezTo>
                          <a:cubicBezTo>
                            <a:pt x="85" y="61"/>
                            <a:pt x="85" y="61"/>
                            <a:pt x="85" y="61"/>
                          </a:cubicBezTo>
                          <a:cubicBezTo>
                            <a:pt x="85" y="61"/>
                            <a:pt x="85" y="61"/>
                            <a:pt x="85" y="61"/>
                          </a:cubicBezTo>
                          <a:cubicBezTo>
                            <a:pt x="85" y="61"/>
                            <a:pt x="85" y="61"/>
                            <a:pt x="86" y="61"/>
                          </a:cubicBezTo>
                          <a:cubicBezTo>
                            <a:pt x="86" y="61"/>
                            <a:pt x="85" y="61"/>
                            <a:pt x="85" y="61"/>
                          </a:cubicBezTo>
                          <a:cubicBezTo>
                            <a:pt x="85" y="61"/>
                            <a:pt x="85" y="60"/>
                            <a:pt x="86" y="60"/>
                          </a:cubicBezTo>
                          <a:cubicBezTo>
                            <a:pt x="86" y="60"/>
                            <a:pt x="86" y="61"/>
                            <a:pt x="86" y="61"/>
                          </a:cubicBezTo>
                          <a:cubicBezTo>
                            <a:pt x="86" y="61"/>
                            <a:pt x="86" y="60"/>
                            <a:pt x="86" y="60"/>
                          </a:cubicBezTo>
                          <a:cubicBezTo>
                            <a:pt x="86" y="60"/>
                            <a:pt x="86" y="60"/>
                            <a:pt x="86" y="60"/>
                          </a:cubicBezTo>
                          <a:cubicBezTo>
                            <a:pt x="86" y="60"/>
                            <a:pt x="86" y="61"/>
                            <a:pt x="86" y="60"/>
                          </a:cubicBezTo>
                          <a:cubicBezTo>
                            <a:pt x="86" y="60"/>
                            <a:pt x="86" y="60"/>
                            <a:pt x="86" y="60"/>
                          </a:cubicBezTo>
                          <a:cubicBezTo>
                            <a:pt x="87" y="60"/>
                            <a:pt x="87" y="60"/>
                            <a:pt x="87" y="60"/>
                          </a:cubicBezTo>
                          <a:cubicBezTo>
                            <a:pt x="87" y="60"/>
                            <a:pt x="87" y="60"/>
                            <a:pt x="87" y="60"/>
                          </a:cubicBezTo>
                          <a:cubicBezTo>
                            <a:pt x="87" y="60"/>
                            <a:pt x="87" y="60"/>
                            <a:pt x="87" y="60"/>
                          </a:cubicBezTo>
                          <a:cubicBezTo>
                            <a:pt x="87" y="60"/>
                            <a:pt x="87" y="59"/>
                            <a:pt x="87" y="59"/>
                          </a:cubicBezTo>
                          <a:cubicBezTo>
                            <a:pt x="87" y="59"/>
                            <a:pt x="87" y="59"/>
                            <a:pt x="87" y="59"/>
                          </a:cubicBezTo>
                          <a:cubicBezTo>
                            <a:pt x="87" y="59"/>
                            <a:pt x="88" y="59"/>
                            <a:pt x="88" y="59"/>
                          </a:cubicBezTo>
                          <a:cubicBezTo>
                            <a:pt x="88" y="59"/>
                            <a:pt x="88" y="59"/>
                            <a:pt x="88" y="59"/>
                          </a:cubicBezTo>
                          <a:cubicBezTo>
                            <a:pt x="88" y="59"/>
                            <a:pt x="88" y="59"/>
                            <a:pt x="88" y="59"/>
                          </a:cubicBezTo>
                          <a:cubicBezTo>
                            <a:pt x="89" y="58"/>
                            <a:pt x="89" y="58"/>
                            <a:pt x="89" y="59"/>
                          </a:cubicBezTo>
                          <a:cubicBezTo>
                            <a:pt x="89" y="59"/>
                            <a:pt x="89" y="59"/>
                            <a:pt x="88" y="59"/>
                          </a:cubicBezTo>
                          <a:cubicBezTo>
                            <a:pt x="88" y="59"/>
                            <a:pt x="88" y="59"/>
                            <a:pt x="88" y="59"/>
                          </a:cubicBezTo>
                          <a:cubicBezTo>
                            <a:pt x="88" y="59"/>
                            <a:pt x="88" y="59"/>
                            <a:pt x="88" y="60"/>
                          </a:cubicBezTo>
                          <a:cubicBezTo>
                            <a:pt x="88" y="60"/>
                            <a:pt x="88" y="60"/>
                            <a:pt x="88" y="59"/>
                          </a:cubicBezTo>
                          <a:cubicBezTo>
                            <a:pt x="87" y="60"/>
                            <a:pt x="87" y="60"/>
                            <a:pt x="86" y="60"/>
                          </a:cubicBezTo>
                          <a:cubicBezTo>
                            <a:pt x="86" y="61"/>
                            <a:pt x="86" y="61"/>
                            <a:pt x="86" y="61"/>
                          </a:cubicBezTo>
                          <a:close/>
                          <a:moveTo>
                            <a:pt x="88" y="62"/>
                          </a:moveTo>
                          <a:cubicBezTo>
                            <a:pt x="88" y="62"/>
                            <a:pt x="88" y="62"/>
                            <a:pt x="88" y="62"/>
                          </a:cubicBezTo>
                          <a:cubicBezTo>
                            <a:pt x="88" y="62"/>
                            <a:pt x="88" y="62"/>
                            <a:pt x="88" y="62"/>
                          </a:cubicBezTo>
                          <a:cubicBezTo>
                            <a:pt x="87" y="63"/>
                            <a:pt x="86" y="63"/>
                            <a:pt x="86" y="63"/>
                          </a:cubicBezTo>
                          <a:cubicBezTo>
                            <a:pt x="86" y="63"/>
                            <a:pt x="86" y="63"/>
                            <a:pt x="86" y="63"/>
                          </a:cubicBezTo>
                          <a:cubicBezTo>
                            <a:pt x="86" y="63"/>
                            <a:pt x="86" y="63"/>
                            <a:pt x="86" y="63"/>
                          </a:cubicBezTo>
                          <a:cubicBezTo>
                            <a:pt x="86" y="63"/>
                            <a:pt x="86" y="63"/>
                            <a:pt x="86" y="63"/>
                          </a:cubicBezTo>
                          <a:cubicBezTo>
                            <a:pt x="85" y="63"/>
                            <a:pt x="85" y="63"/>
                            <a:pt x="85" y="63"/>
                          </a:cubicBezTo>
                          <a:cubicBezTo>
                            <a:pt x="85" y="63"/>
                            <a:pt x="85" y="63"/>
                            <a:pt x="86" y="63"/>
                          </a:cubicBezTo>
                          <a:cubicBezTo>
                            <a:pt x="85" y="63"/>
                            <a:pt x="85" y="63"/>
                            <a:pt x="85" y="64"/>
                          </a:cubicBezTo>
                          <a:cubicBezTo>
                            <a:pt x="85" y="63"/>
                            <a:pt x="85" y="63"/>
                            <a:pt x="86" y="63"/>
                          </a:cubicBezTo>
                          <a:cubicBezTo>
                            <a:pt x="86" y="63"/>
                            <a:pt x="86" y="63"/>
                            <a:pt x="86" y="62"/>
                          </a:cubicBezTo>
                          <a:cubicBezTo>
                            <a:pt x="86" y="62"/>
                            <a:pt x="86" y="62"/>
                            <a:pt x="86" y="63"/>
                          </a:cubicBezTo>
                          <a:cubicBezTo>
                            <a:pt x="86" y="62"/>
                            <a:pt x="87" y="62"/>
                            <a:pt x="87" y="62"/>
                          </a:cubicBezTo>
                          <a:cubicBezTo>
                            <a:pt x="87" y="62"/>
                            <a:pt x="87" y="62"/>
                            <a:pt x="87" y="62"/>
                          </a:cubicBezTo>
                          <a:cubicBezTo>
                            <a:pt x="88" y="62"/>
                            <a:pt x="88" y="62"/>
                            <a:pt x="88" y="62"/>
                          </a:cubicBezTo>
                          <a:close/>
                          <a:moveTo>
                            <a:pt x="87" y="62"/>
                          </a:moveTo>
                          <a:cubicBezTo>
                            <a:pt x="87" y="62"/>
                            <a:pt x="87" y="62"/>
                            <a:pt x="87" y="62"/>
                          </a:cubicBezTo>
                          <a:cubicBezTo>
                            <a:pt x="87" y="62"/>
                            <a:pt x="87" y="62"/>
                            <a:pt x="87" y="62"/>
                          </a:cubicBezTo>
                          <a:close/>
                          <a:moveTo>
                            <a:pt x="85" y="57"/>
                          </a:moveTo>
                          <a:cubicBezTo>
                            <a:pt x="85" y="58"/>
                            <a:pt x="84" y="58"/>
                            <a:pt x="84" y="58"/>
                          </a:cubicBezTo>
                          <a:cubicBezTo>
                            <a:pt x="84" y="58"/>
                            <a:pt x="84" y="58"/>
                            <a:pt x="84" y="58"/>
                          </a:cubicBezTo>
                          <a:cubicBezTo>
                            <a:pt x="84" y="58"/>
                            <a:pt x="85" y="58"/>
                            <a:pt x="85" y="57"/>
                          </a:cubicBezTo>
                          <a:cubicBezTo>
                            <a:pt x="85" y="57"/>
                            <a:pt x="85" y="57"/>
                            <a:pt x="85" y="57"/>
                          </a:cubicBezTo>
                          <a:close/>
                          <a:moveTo>
                            <a:pt x="86" y="59"/>
                          </a:moveTo>
                          <a:cubicBezTo>
                            <a:pt x="86" y="59"/>
                            <a:pt x="86" y="59"/>
                            <a:pt x="86" y="59"/>
                          </a:cubicBezTo>
                          <a:cubicBezTo>
                            <a:pt x="86" y="59"/>
                            <a:pt x="86" y="59"/>
                            <a:pt x="85" y="59"/>
                          </a:cubicBezTo>
                          <a:cubicBezTo>
                            <a:pt x="85" y="59"/>
                            <a:pt x="85" y="60"/>
                            <a:pt x="85" y="60"/>
                          </a:cubicBezTo>
                          <a:cubicBezTo>
                            <a:pt x="85" y="60"/>
                            <a:pt x="85" y="60"/>
                            <a:pt x="85" y="60"/>
                          </a:cubicBezTo>
                          <a:cubicBezTo>
                            <a:pt x="85" y="60"/>
                            <a:pt x="85" y="60"/>
                            <a:pt x="85" y="60"/>
                          </a:cubicBezTo>
                          <a:cubicBezTo>
                            <a:pt x="85" y="59"/>
                            <a:pt x="85" y="59"/>
                            <a:pt x="86" y="59"/>
                          </a:cubicBezTo>
                          <a:cubicBezTo>
                            <a:pt x="86" y="59"/>
                            <a:pt x="87" y="58"/>
                            <a:pt x="87" y="58"/>
                          </a:cubicBezTo>
                          <a:cubicBezTo>
                            <a:pt x="87" y="59"/>
                            <a:pt x="87" y="59"/>
                            <a:pt x="86" y="59"/>
                          </a:cubicBezTo>
                          <a:close/>
                          <a:moveTo>
                            <a:pt x="85" y="58"/>
                          </a:moveTo>
                          <a:cubicBezTo>
                            <a:pt x="85" y="58"/>
                            <a:pt x="85" y="58"/>
                            <a:pt x="85" y="58"/>
                          </a:cubicBezTo>
                          <a:cubicBezTo>
                            <a:pt x="85" y="58"/>
                            <a:pt x="84" y="59"/>
                            <a:pt x="84" y="58"/>
                          </a:cubicBezTo>
                          <a:cubicBezTo>
                            <a:pt x="85" y="58"/>
                            <a:pt x="85" y="58"/>
                            <a:pt x="85" y="58"/>
                          </a:cubicBezTo>
                          <a:cubicBezTo>
                            <a:pt x="85" y="58"/>
                            <a:pt x="85" y="58"/>
                            <a:pt x="85" y="58"/>
                          </a:cubicBezTo>
                          <a:cubicBezTo>
                            <a:pt x="85" y="58"/>
                            <a:pt x="85" y="58"/>
                            <a:pt x="86" y="58"/>
                          </a:cubicBezTo>
                          <a:cubicBezTo>
                            <a:pt x="85" y="58"/>
                            <a:pt x="85" y="58"/>
                            <a:pt x="85" y="58"/>
                          </a:cubicBezTo>
                          <a:close/>
                          <a:moveTo>
                            <a:pt x="83" y="57"/>
                          </a:moveTo>
                          <a:cubicBezTo>
                            <a:pt x="83" y="56"/>
                            <a:pt x="84" y="57"/>
                            <a:pt x="84" y="57"/>
                          </a:cubicBezTo>
                          <a:cubicBezTo>
                            <a:pt x="83" y="57"/>
                            <a:pt x="84" y="57"/>
                            <a:pt x="83" y="57"/>
                          </a:cubicBezTo>
                          <a:cubicBezTo>
                            <a:pt x="83" y="57"/>
                            <a:pt x="84" y="57"/>
                            <a:pt x="83" y="57"/>
                          </a:cubicBezTo>
                          <a:close/>
                          <a:moveTo>
                            <a:pt x="87" y="61"/>
                          </a:moveTo>
                          <a:cubicBezTo>
                            <a:pt x="87" y="62"/>
                            <a:pt x="87" y="61"/>
                            <a:pt x="87" y="62"/>
                          </a:cubicBezTo>
                          <a:cubicBezTo>
                            <a:pt x="87" y="62"/>
                            <a:pt x="87" y="62"/>
                            <a:pt x="87" y="62"/>
                          </a:cubicBezTo>
                          <a:cubicBezTo>
                            <a:pt x="86" y="61"/>
                            <a:pt x="87" y="61"/>
                            <a:pt x="87" y="61"/>
                          </a:cubicBezTo>
                          <a:close/>
                          <a:moveTo>
                            <a:pt x="88" y="56"/>
                          </a:moveTo>
                          <a:cubicBezTo>
                            <a:pt x="88" y="56"/>
                            <a:pt x="88" y="56"/>
                            <a:pt x="88" y="56"/>
                          </a:cubicBezTo>
                          <a:cubicBezTo>
                            <a:pt x="88" y="57"/>
                            <a:pt x="88" y="57"/>
                            <a:pt x="87" y="56"/>
                          </a:cubicBezTo>
                          <a:cubicBezTo>
                            <a:pt x="87" y="57"/>
                            <a:pt x="87" y="57"/>
                            <a:pt x="87" y="57"/>
                          </a:cubicBezTo>
                          <a:cubicBezTo>
                            <a:pt x="87" y="57"/>
                            <a:pt x="87" y="57"/>
                            <a:pt x="87" y="57"/>
                          </a:cubicBezTo>
                          <a:cubicBezTo>
                            <a:pt x="86" y="57"/>
                            <a:pt x="86" y="57"/>
                            <a:pt x="86" y="57"/>
                          </a:cubicBezTo>
                          <a:cubicBezTo>
                            <a:pt x="86" y="57"/>
                            <a:pt x="86" y="57"/>
                            <a:pt x="86" y="58"/>
                          </a:cubicBezTo>
                          <a:cubicBezTo>
                            <a:pt x="86" y="58"/>
                            <a:pt x="86" y="58"/>
                            <a:pt x="86" y="58"/>
                          </a:cubicBezTo>
                          <a:cubicBezTo>
                            <a:pt x="86" y="58"/>
                            <a:pt x="86" y="57"/>
                            <a:pt x="86" y="57"/>
                          </a:cubicBezTo>
                          <a:cubicBezTo>
                            <a:pt x="86" y="57"/>
                            <a:pt x="86" y="57"/>
                            <a:pt x="85" y="58"/>
                          </a:cubicBezTo>
                          <a:cubicBezTo>
                            <a:pt x="85" y="57"/>
                            <a:pt x="87" y="57"/>
                            <a:pt x="87" y="56"/>
                          </a:cubicBezTo>
                          <a:cubicBezTo>
                            <a:pt x="88" y="56"/>
                            <a:pt x="88" y="56"/>
                            <a:pt x="88" y="56"/>
                          </a:cubicBezTo>
                          <a:cubicBezTo>
                            <a:pt x="88" y="56"/>
                            <a:pt x="88" y="56"/>
                            <a:pt x="88" y="56"/>
                          </a:cubicBezTo>
                          <a:close/>
                          <a:moveTo>
                            <a:pt x="88" y="61"/>
                          </a:moveTo>
                          <a:cubicBezTo>
                            <a:pt x="88" y="61"/>
                            <a:pt x="88" y="61"/>
                            <a:pt x="88" y="61"/>
                          </a:cubicBezTo>
                          <a:cubicBezTo>
                            <a:pt x="88" y="62"/>
                            <a:pt x="88" y="61"/>
                            <a:pt x="89" y="61"/>
                          </a:cubicBezTo>
                          <a:cubicBezTo>
                            <a:pt x="88" y="61"/>
                            <a:pt x="88" y="61"/>
                            <a:pt x="88" y="61"/>
                          </a:cubicBezTo>
                          <a:cubicBezTo>
                            <a:pt x="89" y="61"/>
                            <a:pt x="89" y="61"/>
                            <a:pt x="90" y="60"/>
                          </a:cubicBezTo>
                          <a:cubicBezTo>
                            <a:pt x="90" y="60"/>
                            <a:pt x="90" y="60"/>
                            <a:pt x="90" y="60"/>
                          </a:cubicBezTo>
                          <a:cubicBezTo>
                            <a:pt x="90" y="60"/>
                            <a:pt x="90" y="60"/>
                            <a:pt x="91" y="60"/>
                          </a:cubicBezTo>
                          <a:cubicBezTo>
                            <a:pt x="91" y="60"/>
                            <a:pt x="91" y="60"/>
                            <a:pt x="91" y="60"/>
                          </a:cubicBezTo>
                          <a:cubicBezTo>
                            <a:pt x="91" y="60"/>
                            <a:pt x="92" y="60"/>
                            <a:pt x="92" y="59"/>
                          </a:cubicBezTo>
                          <a:cubicBezTo>
                            <a:pt x="92" y="60"/>
                            <a:pt x="91" y="60"/>
                            <a:pt x="91" y="60"/>
                          </a:cubicBezTo>
                          <a:cubicBezTo>
                            <a:pt x="90" y="60"/>
                            <a:pt x="89" y="61"/>
                            <a:pt x="89" y="61"/>
                          </a:cubicBezTo>
                          <a:cubicBezTo>
                            <a:pt x="89" y="61"/>
                            <a:pt x="89" y="61"/>
                            <a:pt x="89" y="61"/>
                          </a:cubicBezTo>
                          <a:cubicBezTo>
                            <a:pt x="88" y="62"/>
                            <a:pt x="88" y="62"/>
                            <a:pt x="88" y="62"/>
                          </a:cubicBezTo>
                          <a:cubicBezTo>
                            <a:pt x="88" y="62"/>
                            <a:pt x="88" y="62"/>
                            <a:pt x="88" y="62"/>
                          </a:cubicBezTo>
                          <a:cubicBezTo>
                            <a:pt x="88" y="62"/>
                            <a:pt x="88" y="61"/>
                            <a:pt x="88" y="61"/>
                          </a:cubicBezTo>
                          <a:cubicBezTo>
                            <a:pt x="88" y="61"/>
                            <a:pt x="88" y="61"/>
                            <a:pt x="88" y="61"/>
                          </a:cubicBezTo>
                          <a:close/>
                          <a:moveTo>
                            <a:pt x="88" y="57"/>
                          </a:moveTo>
                          <a:cubicBezTo>
                            <a:pt x="88" y="57"/>
                            <a:pt x="88" y="57"/>
                            <a:pt x="88" y="57"/>
                          </a:cubicBezTo>
                          <a:cubicBezTo>
                            <a:pt x="88" y="57"/>
                            <a:pt x="88" y="57"/>
                            <a:pt x="88" y="57"/>
                          </a:cubicBezTo>
                          <a:cubicBezTo>
                            <a:pt x="88" y="57"/>
                            <a:pt x="87" y="58"/>
                            <a:pt x="86" y="58"/>
                          </a:cubicBezTo>
                          <a:cubicBezTo>
                            <a:pt x="87" y="58"/>
                            <a:pt x="87" y="57"/>
                            <a:pt x="88" y="57"/>
                          </a:cubicBezTo>
                          <a:close/>
                          <a:moveTo>
                            <a:pt x="90" y="61"/>
                          </a:moveTo>
                          <a:cubicBezTo>
                            <a:pt x="89" y="61"/>
                            <a:pt x="89" y="61"/>
                            <a:pt x="89" y="62"/>
                          </a:cubicBezTo>
                          <a:cubicBezTo>
                            <a:pt x="89" y="61"/>
                            <a:pt x="89" y="61"/>
                            <a:pt x="90" y="61"/>
                          </a:cubicBezTo>
                          <a:close/>
                          <a:moveTo>
                            <a:pt x="87" y="55"/>
                          </a:moveTo>
                          <a:cubicBezTo>
                            <a:pt x="87" y="55"/>
                            <a:pt x="87" y="55"/>
                            <a:pt x="87" y="55"/>
                          </a:cubicBezTo>
                          <a:cubicBezTo>
                            <a:pt x="88" y="55"/>
                            <a:pt x="87" y="55"/>
                            <a:pt x="87" y="55"/>
                          </a:cubicBezTo>
                          <a:close/>
                          <a:moveTo>
                            <a:pt x="90" y="58"/>
                          </a:moveTo>
                          <a:cubicBezTo>
                            <a:pt x="90" y="58"/>
                            <a:pt x="90" y="58"/>
                            <a:pt x="91" y="58"/>
                          </a:cubicBezTo>
                          <a:cubicBezTo>
                            <a:pt x="90" y="58"/>
                            <a:pt x="92" y="57"/>
                            <a:pt x="92" y="57"/>
                          </a:cubicBezTo>
                          <a:cubicBezTo>
                            <a:pt x="91" y="57"/>
                            <a:pt x="91" y="58"/>
                            <a:pt x="90" y="58"/>
                          </a:cubicBezTo>
                          <a:cubicBezTo>
                            <a:pt x="90" y="58"/>
                            <a:pt x="90" y="58"/>
                            <a:pt x="90" y="58"/>
                          </a:cubicBezTo>
                          <a:cubicBezTo>
                            <a:pt x="90" y="58"/>
                            <a:pt x="90" y="58"/>
                            <a:pt x="89" y="58"/>
                          </a:cubicBezTo>
                          <a:cubicBezTo>
                            <a:pt x="89" y="58"/>
                            <a:pt x="90" y="58"/>
                            <a:pt x="90" y="58"/>
                          </a:cubicBezTo>
                          <a:cubicBezTo>
                            <a:pt x="90" y="58"/>
                            <a:pt x="89" y="58"/>
                            <a:pt x="89" y="58"/>
                          </a:cubicBezTo>
                          <a:cubicBezTo>
                            <a:pt x="89" y="58"/>
                            <a:pt x="90" y="58"/>
                            <a:pt x="90" y="58"/>
                          </a:cubicBezTo>
                          <a:cubicBezTo>
                            <a:pt x="90" y="58"/>
                            <a:pt x="90" y="58"/>
                            <a:pt x="90" y="58"/>
                          </a:cubicBezTo>
                          <a:close/>
                          <a:moveTo>
                            <a:pt x="87" y="53"/>
                          </a:moveTo>
                          <a:cubicBezTo>
                            <a:pt x="87" y="53"/>
                            <a:pt x="87" y="53"/>
                            <a:pt x="87" y="53"/>
                          </a:cubicBezTo>
                          <a:cubicBezTo>
                            <a:pt x="87" y="53"/>
                            <a:pt x="87" y="53"/>
                            <a:pt x="87" y="53"/>
                          </a:cubicBezTo>
                          <a:cubicBezTo>
                            <a:pt x="87" y="53"/>
                            <a:pt x="88" y="52"/>
                            <a:pt x="87" y="53"/>
                          </a:cubicBezTo>
                          <a:close/>
                          <a:moveTo>
                            <a:pt x="93" y="61"/>
                          </a:moveTo>
                          <a:cubicBezTo>
                            <a:pt x="92" y="61"/>
                            <a:pt x="92" y="61"/>
                            <a:pt x="92" y="61"/>
                          </a:cubicBezTo>
                          <a:cubicBezTo>
                            <a:pt x="92" y="61"/>
                            <a:pt x="93" y="61"/>
                            <a:pt x="93" y="60"/>
                          </a:cubicBezTo>
                          <a:cubicBezTo>
                            <a:pt x="93" y="60"/>
                            <a:pt x="93" y="60"/>
                            <a:pt x="93" y="61"/>
                          </a:cubicBezTo>
                          <a:close/>
                          <a:moveTo>
                            <a:pt x="91" y="58"/>
                          </a:moveTo>
                          <a:cubicBezTo>
                            <a:pt x="91" y="58"/>
                            <a:pt x="91" y="58"/>
                            <a:pt x="91" y="58"/>
                          </a:cubicBezTo>
                          <a:cubicBezTo>
                            <a:pt x="91" y="58"/>
                            <a:pt x="91" y="58"/>
                            <a:pt x="91" y="58"/>
                          </a:cubicBezTo>
                          <a:close/>
                          <a:moveTo>
                            <a:pt x="89" y="51"/>
                          </a:moveTo>
                          <a:cubicBezTo>
                            <a:pt x="89" y="51"/>
                            <a:pt x="90" y="50"/>
                            <a:pt x="90" y="50"/>
                          </a:cubicBezTo>
                          <a:cubicBezTo>
                            <a:pt x="90" y="50"/>
                            <a:pt x="90" y="51"/>
                            <a:pt x="89" y="51"/>
                          </a:cubicBezTo>
                          <a:cubicBezTo>
                            <a:pt x="89" y="51"/>
                            <a:pt x="89" y="51"/>
                            <a:pt x="89" y="51"/>
                          </a:cubicBezTo>
                          <a:cubicBezTo>
                            <a:pt x="89" y="51"/>
                            <a:pt x="89" y="51"/>
                            <a:pt x="89" y="51"/>
                          </a:cubicBezTo>
                          <a:close/>
                          <a:moveTo>
                            <a:pt x="90" y="51"/>
                          </a:moveTo>
                          <a:cubicBezTo>
                            <a:pt x="90" y="51"/>
                            <a:pt x="90" y="51"/>
                            <a:pt x="90" y="51"/>
                          </a:cubicBezTo>
                          <a:cubicBezTo>
                            <a:pt x="90" y="51"/>
                            <a:pt x="90" y="51"/>
                            <a:pt x="90" y="51"/>
                          </a:cubicBezTo>
                          <a:cubicBezTo>
                            <a:pt x="90" y="51"/>
                            <a:pt x="91" y="50"/>
                            <a:pt x="92" y="50"/>
                          </a:cubicBezTo>
                          <a:cubicBezTo>
                            <a:pt x="91" y="50"/>
                            <a:pt x="91" y="51"/>
                            <a:pt x="90" y="51"/>
                          </a:cubicBezTo>
                          <a:cubicBezTo>
                            <a:pt x="91" y="51"/>
                            <a:pt x="90" y="51"/>
                            <a:pt x="90" y="51"/>
                          </a:cubicBezTo>
                          <a:cubicBezTo>
                            <a:pt x="90" y="51"/>
                            <a:pt x="90" y="51"/>
                            <a:pt x="90" y="51"/>
                          </a:cubicBezTo>
                          <a:cubicBezTo>
                            <a:pt x="90" y="51"/>
                            <a:pt x="89" y="51"/>
                            <a:pt x="89" y="51"/>
                          </a:cubicBezTo>
                          <a:cubicBezTo>
                            <a:pt x="89" y="51"/>
                            <a:pt x="90" y="51"/>
                            <a:pt x="90" y="51"/>
                          </a:cubicBezTo>
                          <a:close/>
                          <a:moveTo>
                            <a:pt x="95" y="57"/>
                          </a:moveTo>
                          <a:cubicBezTo>
                            <a:pt x="95" y="57"/>
                            <a:pt x="95" y="57"/>
                            <a:pt x="95" y="58"/>
                          </a:cubicBezTo>
                          <a:cubicBezTo>
                            <a:pt x="95" y="58"/>
                            <a:pt x="95" y="58"/>
                            <a:pt x="94" y="58"/>
                          </a:cubicBezTo>
                          <a:cubicBezTo>
                            <a:pt x="94" y="58"/>
                            <a:pt x="94" y="58"/>
                            <a:pt x="95" y="58"/>
                          </a:cubicBezTo>
                          <a:cubicBezTo>
                            <a:pt x="95" y="58"/>
                            <a:pt x="95" y="58"/>
                            <a:pt x="95" y="58"/>
                          </a:cubicBezTo>
                          <a:cubicBezTo>
                            <a:pt x="95" y="57"/>
                            <a:pt x="95" y="57"/>
                            <a:pt x="95" y="57"/>
                          </a:cubicBezTo>
                          <a:close/>
                          <a:moveTo>
                            <a:pt x="96" y="59"/>
                          </a:moveTo>
                          <a:cubicBezTo>
                            <a:pt x="96" y="59"/>
                            <a:pt x="96" y="59"/>
                            <a:pt x="96" y="59"/>
                          </a:cubicBezTo>
                          <a:cubicBezTo>
                            <a:pt x="96" y="59"/>
                            <a:pt x="96" y="59"/>
                            <a:pt x="96" y="59"/>
                          </a:cubicBezTo>
                          <a:cubicBezTo>
                            <a:pt x="96" y="59"/>
                            <a:pt x="95" y="59"/>
                            <a:pt x="95" y="59"/>
                          </a:cubicBezTo>
                          <a:cubicBezTo>
                            <a:pt x="95" y="59"/>
                            <a:pt x="95" y="59"/>
                            <a:pt x="95" y="59"/>
                          </a:cubicBezTo>
                          <a:cubicBezTo>
                            <a:pt x="95" y="59"/>
                            <a:pt x="96" y="59"/>
                            <a:pt x="96" y="59"/>
                          </a:cubicBezTo>
                          <a:close/>
                          <a:moveTo>
                            <a:pt x="98" y="57"/>
                          </a:moveTo>
                          <a:cubicBezTo>
                            <a:pt x="98" y="57"/>
                            <a:pt x="98" y="57"/>
                            <a:pt x="98" y="57"/>
                          </a:cubicBezTo>
                          <a:cubicBezTo>
                            <a:pt x="98" y="57"/>
                            <a:pt x="99" y="57"/>
                            <a:pt x="99" y="57"/>
                          </a:cubicBezTo>
                          <a:cubicBezTo>
                            <a:pt x="98" y="58"/>
                            <a:pt x="97" y="58"/>
                            <a:pt x="96" y="59"/>
                          </a:cubicBezTo>
                          <a:cubicBezTo>
                            <a:pt x="96" y="58"/>
                            <a:pt x="96" y="58"/>
                            <a:pt x="97" y="58"/>
                          </a:cubicBezTo>
                          <a:cubicBezTo>
                            <a:pt x="97" y="58"/>
                            <a:pt x="96" y="58"/>
                            <a:pt x="96" y="58"/>
                          </a:cubicBezTo>
                          <a:cubicBezTo>
                            <a:pt x="96" y="58"/>
                            <a:pt x="97" y="58"/>
                            <a:pt x="97" y="58"/>
                          </a:cubicBezTo>
                          <a:cubicBezTo>
                            <a:pt x="97" y="58"/>
                            <a:pt x="97" y="58"/>
                            <a:pt x="97" y="58"/>
                          </a:cubicBezTo>
                          <a:cubicBezTo>
                            <a:pt x="97" y="58"/>
                            <a:pt x="98" y="57"/>
                            <a:pt x="98" y="57"/>
                          </a:cubicBezTo>
                          <a:cubicBezTo>
                            <a:pt x="98" y="57"/>
                            <a:pt x="98" y="57"/>
                            <a:pt x="98" y="57"/>
                          </a:cubicBezTo>
                          <a:cubicBezTo>
                            <a:pt x="98" y="57"/>
                            <a:pt x="98" y="57"/>
                            <a:pt x="98" y="57"/>
                          </a:cubicBezTo>
                          <a:close/>
                          <a:moveTo>
                            <a:pt x="96" y="57"/>
                          </a:moveTo>
                          <a:cubicBezTo>
                            <a:pt x="95" y="57"/>
                            <a:pt x="96" y="57"/>
                            <a:pt x="96" y="57"/>
                          </a:cubicBezTo>
                          <a:cubicBezTo>
                            <a:pt x="96" y="57"/>
                            <a:pt x="96" y="57"/>
                            <a:pt x="96" y="57"/>
                          </a:cubicBezTo>
                          <a:cubicBezTo>
                            <a:pt x="95" y="57"/>
                            <a:pt x="96" y="57"/>
                            <a:pt x="96" y="57"/>
                          </a:cubicBezTo>
                          <a:close/>
                          <a:moveTo>
                            <a:pt x="99" y="55"/>
                          </a:moveTo>
                          <a:cubicBezTo>
                            <a:pt x="98" y="55"/>
                            <a:pt x="97" y="56"/>
                            <a:pt x="96" y="56"/>
                          </a:cubicBezTo>
                          <a:cubicBezTo>
                            <a:pt x="96" y="56"/>
                            <a:pt x="96" y="56"/>
                            <a:pt x="97" y="56"/>
                          </a:cubicBezTo>
                          <a:cubicBezTo>
                            <a:pt x="97" y="56"/>
                            <a:pt x="97" y="56"/>
                            <a:pt x="97" y="56"/>
                          </a:cubicBezTo>
                          <a:cubicBezTo>
                            <a:pt x="96" y="56"/>
                            <a:pt x="96" y="56"/>
                            <a:pt x="95" y="56"/>
                          </a:cubicBezTo>
                          <a:cubicBezTo>
                            <a:pt x="95" y="56"/>
                            <a:pt x="96" y="56"/>
                            <a:pt x="96" y="56"/>
                          </a:cubicBezTo>
                          <a:cubicBezTo>
                            <a:pt x="96" y="56"/>
                            <a:pt x="96" y="56"/>
                            <a:pt x="97" y="55"/>
                          </a:cubicBezTo>
                          <a:cubicBezTo>
                            <a:pt x="96" y="55"/>
                            <a:pt x="96" y="56"/>
                            <a:pt x="96" y="55"/>
                          </a:cubicBezTo>
                          <a:cubicBezTo>
                            <a:pt x="96" y="56"/>
                            <a:pt x="96" y="56"/>
                            <a:pt x="96" y="56"/>
                          </a:cubicBezTo>
                          <a:cubicBezTo>
                            <a:pt x="95" y="56"/>
                            <a:pt x="95" y="56"/>
                            <a:pt x="95" y="56"/>
                          </a:cubicBezTo>
                          <a:cubicBezTo>
                            <a:pt x="95" y="56"/>
                            <a:pt x="95" y="55"/>
                            <a:pt x="95" y="55"/>
                          </a:cubicBezTo>
                          <a:cubicBezTo>
                            <a:pt x="95" y="56"/>
                            <a:pt x="96" y="56"/>
                            <a:pt x="96" y="55"/>
                          </a:cubicBezTo>
                          <a:cubicBezTo>
                            <a:pt x="96" y="55"/>
                            <a:pt x="96" y="55"/>
                            <a:pt x="95" y="55"/>
                          </a:cubicBezTo>
                          <a:cubicBezTo>
                            <a:pt x="96" y="55"/>
                            <a:pt x="96" y="55"/>
                            <a:pt x="96" y="55"/>
                          </a:cubicBezTo>
                          <a:cubicBezTo>
                            <a:pt x="96" y="55"/>
                            <a:pt x="96" y="55"/>
                            <a:pt x="96" y="55"/>
                          </a:cubicBezTo>
                          <a:cubicBezTo>
                            <a:pt x="97" y="55"/>
                            <a:pt x="97" y="55"/>
                            <a:pt x="97" y="54"/>
                          </a:cubicBezTo>
                          <a:cubicBezTo>
                            <a:pt x="97" y="54"/>
                            <a:pt x="97" y="55"/>
                            <a:pt x="97" y="55"/>
                          </a:cubicBezTo>
                          <a:cubicBezTo>
                            <a:pt x="97" y="55"/>
                            <a:pt x="97" y="55"/>
                            <a:pt x="97" y="55"/>
                          </a:cubicBezTo>
                          <a:cubicBezTo>
                            <a:pt x="97" y="55"/>
                            <a:pt x="97" y="55"/>
                            <a:pt x="97" y="54"/>
                          </a:cubicBezTo>
                          <a:cubicBezTo>
                            <a:pt x="97" y="54"/>
                            <a:pt x="97" y="54"/>
                            <a:pt x="98" y="54"/>
                          </a:cubicBezTo>
                          <a:cubicBezTo>
                            <a:pt x="98" y="54"/>
                            <a:pt x="97" y="55"/>
                            <a:pt x="97" y="55"/>
                          </a:cubicBezTo>
                          <a:cubicBezTo>
                            <a:pt x="97" y="55"/>
                            <a:pt x="97" y="55"/>
                            <a:pt x="97" y="55"/>
                          </a:cubicBezTo>
                          <a:cubicBezTo>
                            <a:pt x="97" y="55"/>
                            <a:pt x="98" y="54"/>
                            <a:pt x="98" y="54"/>
                          </a:cubicBezTo>
                          <a:cubicBezTo>
                            <a:pt x="98" y="54"/>
                            <a:pt x="98" y="54"/>
                            <a:pt x="98" y="54"/>
                          </a:cubicBezTo>
                          <a:cubicBezTo>
                            <a:pt x="98" y="54"/>
                            <a:pt x="98" y="54"/>
                            <a:pt x="99" y="53"/>
                          </a:cubicBezTo>
                          <a:cubicBezTo>
                            <a:pt x="99" y="54"/>
                            <a:pt x="99" y="54"/>
                            <a:pt x="99" y="54"/>
                          </a:cubicBezTo>
                          <a:cubicBezTo>
                            <a:pt x="99" y="54"/>
                            <a:pt x="100" y="53"/>
                            <a:pt x="101" y="53"/>
                          </a:cubicBezTo>
                          <a:cubicBezTo>
                            <a:pt x="101" y="53"/>
                            <a:pt x="100" y="53"/>
                            <a:pt x="100" y="53"/>
                          </a:cubicBezTo>
                          <a:cubicBezTo>
                            <a:pt x="100" y="54"/>
                            <a:pt x="99" y="54"/>
                            <a:pt x="99" y="53"/>
                          </a:cubicBezTo>
                          <a:cubicBezTo>
                            <a:pt x="99" y="54"/>
                            <a:pt x="99" y="54"/>
                            <a:pt x="99" y="54"/>
                          </a:cubicBezTo>
                          <a:cubicBezTo>
                            <a:pt x="99" y="54"/>
                            <a:pt x="98" y="54"/>
                            <a:pt x="98" y="55"/>
                          </a:cubicBezTo>
                          <a:cubicBezTo>
                            <a:pt x="97" y="55"/>
                            <a:pt x="97" y="55"/>
                            <a:pt x="97" y="55"/>
                          </a:cubicBezTo>
                          <a:cubicBezTo>
                            <a:pt x="97" y="55"/>
                            <a:pt x="97" y="55"/>
                            <a:pt x="97" y="55"/>
                          </a:cubicBezTo>
                          <a:cubicBezTo>
                            <a:pt x="98" y="55"/>
                            <a:pt x="97" y="55"/>
                            <a:pt x="98" y="55"/>
                          </a:cubicBezTo>
                          <a:cubicBezTo>
                            <a:pt x="98" y="55"/>
                            <a:pt x="98" y="55"/>
                            <a:pt x="99" y="55"/>
                          </a:cubicBezTo>
                          <a:cubicBezTo>
                            <a:pt x="99" y="55"/>
                            <a:pt x="99" y="54"/>
                            <a:pt x="99" y="54"/>
                          </a:cubicBezTo>
                          <a:cubicBezTo>
                            <a:pt x="99" y="55"/>
                            <a:pt x="99" y="54"/>
                            <a:pt x="99" y="55"/>
                          </a:cubicBezTo>
                          <a:close/>
                          <a:moveTo>
                            <a:pt x="97" y="56"/>
                          </a:moveTo>
                          <a:cubicBezTo>
                            <a:pt x="97" y="56"/>
                            <a:pt x="97" y="57"/>
                            <a:pt x="97" y="57"/>
                          </a:cubicBezTo>
                          <a:cubicBezTo>
                            <a:pt x="97" y="57"/>
                            <a:pt x="97" y="57"/>
                            <a:pt x="97" y="57"/>
                          </a:cubicBezTo>
                          <a:cubicBezTo>
                            <a:pt x="97" y="57"/>
                            <a:pt x="97" y="57"/>
                            <a:pt x="97" y="57"/>
                          </a:cubicBezTo>
                          <a:cubicBezTo>
                            <a:pt x="97" y="57"/>
                            <a:pt x="97" y="57"/>
                            <a:pt x="97" y="57"/>
                          </a:cubicBezTo>
                          <a:cubicBezTo>
                            <a:pt x="97" y="57"/>
                            <a:pt x="96" y="57"/>
                            <a:pt x="96" y="57"/>
                          </a:cubicBezTo>
                          <a:cubicBezTo>
                            <a:pt x="96" y="57"/>
                            <a:pt x="96" y="57"/>
                            <a:pt x="96" y="57"/>
                          </a:cubicBezTo>
                          <a:cubicBezTo>
                            <a:pt x="97" y="57"/>
                            <a:pt x="96" y="57"/>
                            <a:pt x="96" y="57"/>
                          </a:cubicBezTo>
                          <a:cubicBezTo>
                            <a:pt x="96" y="57"/>
                            <a:pt x="97" y="57"/>
                            <a:pt x="97" y="56"/>
                          </a:cubicBezTo>
                          <a:close/>
                          <a:moveTo>
                            <a:pt x="98" y="54"/>
                          </a:moveTo>
                          <a:cubicBezTo>
                            <a:pt x="98" y="54"/>
                            <a:pt x="97" y="54"/>
                            <a:pt x="97" y="54"/>
                          </a:cubicBezTo>
                          <a:cubicBezTo>
                            <a:pt x="97" y="54"/>
                            <a:pt x="98" y="54"/>
                            <a:pt x="97" y="54"/>
                          </a:cubicBezTo>
                          <a:cubicBezTo>
                            <a:pt x="98" y="54"/>
                            <a:pt x="98" y="53"/>
                            <a:pt x="99" y="53"/>
                          </a:cubicBezTo>
                          <a:cubicBezTo>
                            <a:pt x="98" y="54"/>
                            <a:pt x="98" y="54"/>
                            <a:pt x="98" y="54"/>
                          </a:cubicBezTo>
                          <a:close/>
                          <a:moveTo>
                            <a:pt x="100" y="49"/>
                          </a:moveTo>
                          <a:cubicBezTo>
                            <a:pt x="100" y="49"/>
                            <a:pt x="100" y="49"/>
                            <a:pt x="100" y="48"/>
                          </a:cubicBezTo>
                          <a:cubicBezTo>
                            <a:pt x="100" y="49"/>
                            <a:pt x="100" y="49"/>
                            <a:pt x="100" y="49"/>
                          </a:cubicBezTo>
                          <a:cubicBezTo>
                            <a:pt x="100" y="49"/>
                            <a:pt x="100" y="49"/>
                            <a:pt x="100" y="49"/>
                          </a:cubicBezTo>
                          <a:close/>
                          <a:moveTo>
                            <a:pt x="105" y="52"/>
                          </a:moveTo>
                          <a:cubicBezTo>
                            <a:pt x="105" y="52"/>
                            <a:pt x="104" y="52"/>
                            <a:pt x="104" y="53"/>
                          </a:cubicBezTo>
                          <a:cubicBezTo>
                            <a:pt x="104" y="53"/>
                            <a:pt x="105" y="52"/>
                            <a:pt x="105" y="52"/>
                          </a:cubicBezTo>
                          <a:cubicBezTo>
                            <a:pt x="105" y="53"/>
                            <a:pt x="106" y="52"/>
                            <a:pt x="106" y="52"/>
                          </a:cubicBezTo>
                          <a:cubicBezTo>
                            <a:pt x="106" y="52"/>
                            <a:pt x="106" y="52"/>
                            <a:pt x="106" y="52"/>
                          </a:cubicBezTo>
                          <a:cubicBezTo>
                            <a:pt x="106" y="52"/>
                            <a:pt x="105" y="53"/>
                            <a:pt x="104" y="53"/>
                          </a:cubicBezTo>
                          <a:cubicBezTo>
                            <a:pt x="104" y="53"/>
                            <a:pt x="104" y="53"/>
                            <a:pt x="104" y="53"/>
                          </a:cubicBezTo>
                          <a:cubicBezTo>
                            <a:pt x="104" y="53"/>
                            <a:pt x="104" y="53"/>
                            <a:pt x="104" y="53"/>
                          </a:cubicBezTo>
                          <a:cubicBezTo>
                            <a:pt x="104" y="53"/>
                            <a:pt x="104" y="53"/>
                            <a:pt x="105" y="53"/>
                          </a:cubicBezTo>
                          <a:cubicBezTo>
                            <a:pt x="104" y="53"/>
                            <a:pt x="104" y="53"/>
                            <a:pt x="104" y="53"/>
                          </a:cubicBezTo>
                          <a:cubicBezTo>
                            <a:pt x="104" y="53"/>
                            <a:pt x="104" y="53"/>
                            <a:pt x="104" y="53"/>
                          </a:cubicBezTo>
                          <a:cubicBezTo>
                            <a:pt x="104" y="53"/>
                            <a:pt x="104" y="53"/>
                            <a:pt x="103" y="53"/>
                          </a:cubicBezTo>
                          <a:cubicBezTo>
                            <a:pt x="103" y="53"/>
                            <a:pt x="104" y="53"/>
                            <a:pt x="103" y="53"/>
                          </a:cubicBezTo>
                          <a:cubicBezTo>
                            <a:pt x="104" y="53"/>
                            <a:pt x="104" y="52"/>
                            <a:pt x="105" y="52"/>
                          </a:cubicBezTo>
                          <a:close/>
                          <a:moveTo>
                            <a:pt x="105" y="53"/>
                          </a:moveTo>
                          <a:cubicBezTo>
                            <a:pt x="105" y="52"/>
                            <a:pt x="104" y="53"/>
                            <a:pt x="105" y="53"/>
                          </a:cubicBezTo>
                          <a:cubicBezTo>
                            <a:pt x="105" y="53"/>
                            <a:pt x="105" y="52"/>
                            <a:pt x="105" y="52"/>
                          </a:cubicBezTo>
                          <a:cubicBezTo>
                            <a:pt x="105" y="52"/>
                            <a:pt x="105" y="52"/>
                            <a:pt x="105" y="53"/>
                          </a:cubicBezTo>
                          <a:close/>
                          <a:moveTo>
                            <a:pt x="101" y="44"/>
                          </a:moveTo>
                          <a:cubicBezTo>
                            <a:pt x="101" y="44"/>
                            <a:pt x="101" y="44"/>
                            <a:pt x="101" y="44"/>
                          </a:cubicBezTo>
                          <a:cubicBezTo>
                            <a:pt x="101" y="44"/>
                            <a:pt x="101" y="44"/>
                            <a:pt x="101" y="44"/>
                          </a:cubicBezTo>
                          <a:close/>
                          <a:moveTo>
                            <a:pt x="105" y="48"/>
                          </a:moveTo>
                          <a:cubicBezTo>
                            <a:pt x="106" y="48"/>
                            <a:pt x="105" y="48"/>
                            <a:pt x="105" y="48"/>
                          </a:cubicBezTo>
                          <a:cubicBezTo>
                            <a:pt x="105" y="48"/>
                            <a:pt x="106" y="47"/>
                            <a:pt x="106" y="47"/>
                          </a:cubicBezTo>
                          <a:cubicBezTo>
                            <a:pt x="105" y="47"/>
                            <a:pt x="104" y="48"/>
                            <a:pt x="105" y="48"/>
                          </a:cubicBezTo>
                          <a:cubicBezTo>
                            <a:pt x="104" y="48"/>
                            <a:pt x="104" y="48"/>
                            <a:pt x="105" y="48"/>
                          </a:cubicBezTo>
                          <a:cubicBezTo>
                            <a:pt x="105" y="48"/>
                            <a:pt x="105" y="47"/>
                            <a:pt x="105" y="47"/>
                          </a:cubicBezTo>
                          <a:cubicBezTo>
                            <a:pt x="105" y="47"/>
                            <a:pt x="106" y="47"/>
                            <a:pt x="106" y="47"/>
                          </a:cubicBezTo>
                          <a:cubicBezTo>
                            <a:pt x="106" y="47"/>
                            <a:pt x="106" y="47"/>
                            <a:pt x="106" y="47"/>
                          </a:cubicBezTo>
                          <a:cubicBezTo>
                            <a:pt x="106" y="47"/>
                            <a:pt x="106" y="47"/>
                            <a:pt x="106" y="47"/>
                          </a:cubicBezTo>
                          <a:cubicBezTo>
                            <a:pt x="106" y="47"/>
                            <a:pt x="106" y="47"/>
                            <a:pt x="106" y="47"/>
                          </a:cubicBezTo>
                          <a:cubicBezTo>
                            <a:pt x="106" y="47"/>
                            <a:pt x="107" y="47"/>
                            <a:pt x="108" y="46"/>
                          </a:cubicBezTo>
                          <a:cubicBezTo>
                            <a:pt x="107" y="47"/>
                            <a:pt x="107" y="47"/>
                            <a:pt x="107" y="47"/>
                          </a:cubicBezTo>
                          <a:cubicBezTo>
                            <a:pt x="107" y="47"/>
                            <a:pt x="106" y="47"/>
                            <a:pt x="105" y="48"/>
                          </a:cubicBezTo>
                          <a:close/>
                          <a:moveTo>
                            <a:pt x="103" y="48"/>
                          </a:moveTo>
                          <a:cubicBezTo>
                            <a:pt x="103" y="48"/>
                            <a:pt x="103" y="48"/>
                            <a:pt x="104" y="48"/>
                          </a:cubicBezTo>
                          <a:cubicBezTo>
                            <a:pt x="104" y="48"/>
                            <a:pt x="104" y="48"/>
                            <a:pt x="103" y="48"/>
                          </a:cubicBezTo>
                          <a:cubicBezTo>
                            <a:pt x="103" y="48"/>
                            <a:pt x="104" y="48"/>
                            <a:pt x="104" y="48"/>
                          </a:cubicBezTo>
                          <a:cubicBezTo>
                            <a:pt x="104" y="48"/>
                            <a:pt x="104" y="48"/>
                            <a:pt x="104" y="48"/>
                          </a:cubicBezTo>
                          <a:cubicBezTo>
                            <a:pt x="104" y="48"/>
                            <a:pt x="104" y="48"/>
                            <a:pt x="104" y="48"/>
                          </a:cubicBezTo>
                          <a:cubicBezTo>
                            <a:pt x="104" y="48"/>
                            <a:pt x="104" y="48"/>
                            <a:pt x="103" y="48"/>
                          </a:cubicBezTo>
                          <a:close/>
                          <a:moveTo>
                            <a:pt x="103" y="44"/>
                          </a:moveTo>
                          <a:cubicBezTo>
                            <a:pt x="102" y="44"/>
                            <a:pt x="102" y="44"/>
                            <a:pt x="102" y="44"/>
                          </a:cubicBezTo>
                          <a:cubicBezTo>
                            <a:pt x="102" y="44"/>
                            <a:pt x="102" y="44"/>
                            <a:pt x="102" y="44"/>
                          </a:cubicBezTo>
                          <a:cubicBezTo>
                            <a:pt x="102" y="44"/>
                            <a:pt x="102" y="44"/>
                            <a:pt x="102" y="44"/>
                          </a:cubicBezTo>
                          <a:cubicBezTo>
                            <a:pt x="102" y="44"/>
                            <a:pt x="102" y="43"/>
                            <a:pt x="102" y="44"/>
                          </a:cubicBezTo>
                          <a:cubicBezTo>
                            <a:pt x="103" y="43"/>
                            <a:pt x="103" y="43"/>
                            <a:pt x="103" y="43"/>
                          </a:cubicBezTo>
                          <a:cubicBezTo>
                            <a:pt x="103" y="43"/>
                            <a:pt x="103" y="43"/>
                            <a:pt x="104" y="43"/>
                          </a:cubicBezTo>
                          <a:cubicBezTo>
                            <a:pt x="103" y="43"/>
                            <a:pt x="103" y="43"/>
                            <a:pt x="103" y="44"/>
                          </a:cubicBezTo>
                          <a:close/>
                          <a:moveTo>
                            <a:pt x="107" y="51"/>
                          </a:moveTo>
                          <a:cubicBezTo>
                            <a:pt x="107" y="51"/>
                            <a:pt x="108" y="51"/>
                            <a:pt x="108" y="50"/>
                          </a:cubicBezTo>
                          <a:cubicBezTo>
                            <a:pt x="108" y="50"/>
                            <a:pt x="108" y="51"/>
                            <a:pt x="108" y="51"/>
                          </a:cubicBezTo>
                          <a:cubicBezTo>
                            <a:pt x="108" y="51"/>
                            <a:pt x="108" y="51"/>
                            <a:pt x="108" y="51"/>
                          </a:cubicBezTo>
                          <a:cubicBezTo>
                            <a:pt x="108" y="51"/>
                            <a:pt x="108" y="51"/>
                            <a:pt x="108" y="51"/>
                          </a:cubicBezTo>
                          <a:cubicBezTo>
                            <a:pt x="109" y="51"/>
                            <a:pt x="109" y="51"/>
                            <a:pt x="109" y="51"/>
                          </a:cubicBezTo>
                          <a:cubicBezTo>
                            <a:pt x="109" y="51"/>
                            <a:pt x="108" y="51"/>
                            <a:pt x="108" y="51"/>
                          </a:cubicBezTo>
                          <a:cubicBezTo>
                            <a:pt x="108" y="51"/>
                            <a:pt x="108" y="51"/>
                            <a:pt x="107" y="51"/>
                          </a:cubicBezTo>
                          <a:cubicBezTo>
                            <a:pt x="107" y="52"/>
                            <a:pt x="107" y="51"/>
                            <a:pt x="108" y="51"/>
                          </a:cubicBezTo>
                          <a:cubicBezTo>
                            <a:pt x="107" y="52"/>
                            <a:pt x="107" y="51"/>
                            <a:pt x="107" y="52"/>
                          </a:cubicBezTo>
                          <a:cubicBezTo>
                            <a:pt x="107" y="52"/>
                            <a:pt x="107" y="51"/>
                            <a:pt x="108" y="51"/>
                          </a:cubicBezTo>
                          <a:cubicBezTo>
                            <a:pt x="108" y="51"/>
                            <a:pt x="107" y="51"/>
                            <a:pt x="107" y="51"/>
                          </a:cubicBezTo>
                          <a:close/>
                          <a:moveTo>
                            <a:pt x="103" y="42"/>
                          </a:moveTo>
                          <a:cubicBezTo>
                            <a:pt x="103" y="42"/>
                            <a:pt x="103" y="42"/>
                            <a:pt x="103" y="42"/>
                          </a:cubicBezTo>
                          <a:cubicBezTo>
                            <a:pt x="102" y="42"/>
                            <a:pt x="102" y="42"/>
                            <a:pt x="102" y="43"/>
                          </a:cubicBezTo>
                          <a:cubicBezTo>
                            <a:pt x="102" y="42"/>
                            <a:pt x="103" y="42"/>
                            <a:pt x="103" y="42"/>
                          </a:cubicBezTo>
                          <a:close/>
                          <a:moveTo>
                            <a:pt x="110" y="40"/>
                          </a:moveTo>
                          <a:cubicBezTo>
                            <a:pt x="110" y="40"/>
                            <a:pt x="110" y="40"/>
                            <a:pt x="111" y="40"/>
                          </a:cubicBezTo>
                          <a:cubicBezTo>
                            <a:pt x="111" y="40"/>
                            <a:pt x="111" y="40"/>
                            <a:pt x="111" y="40"/>
                          </a:cubicBezTo>
                          <a:cubicBezTo>
                            <a:pt x="111" y="40"/>
                            <a:pt x="110" y="41"/>
                            <a:pt x="110" y="41"/>
                          </a:cubicBezTo>
                          <a:cubicBezTo>
                            <a:pt x="110" y="41"/>
                            <a:pt x="110" y="41"/>
                            <a:pt x="110" y="41"/>
                          </a:cubicBezTo>
                          <a:cubicBezTo>
                            <a:pt x="109" y="41"/>
                            <a:pt x="109" y="41"/>
                            <a:pt x="109" y="41"/>
                          </a:cubicBezTo>
                          <a:cubicBezTo>
                            <a:pt x="110" y="41"/>
                            <a:pt x="109" y="41"/>
                            <a:pt x="109" y="41"/>
                          </a:cubicBezTo>
                          <a:cubicBezTo>
                            <a:pt x="109" y="41"/>
                            <a:pt x="110" y="41"/>
                            <a:pt x="110" y="40"/>
                          </a:cubicBezTo>
                          <a:close/>
                          <a:moveTo>
                            <a:pt x="115" y="39"/>
                          </a:moveTo>
                          <a:cubicBezTo>
                            <a:pt x="115" y="39"/>
                            <a:pt x="115" y="39"/>
                            <a:pt x="115" y="39"/>
                          </a:cubicBezTo>
                          <a:cubicBezTo>
                            <a:pt x="115" y="39"/>
                            <a:pt x="114" y="39"/>
                            <a:pt x="114" y="39"/>
                          </a:cubicBezTo>
                          <a:cubicBezTo>
                            <a:pt x="113" y="39"/>
                            <a:pt x="114" y="39"/>
                            <a:pt x="114" y="39"/>
                          </a:cubicBezTo>
                          <a:cubicBezTo>
                            <a:pt x="114" y="39"/>
                            <a:pt x="114" y="39"/>
                            <a:pt x="114" y="39"/>
                          </a:cubicBezTo>
                          <a:cubicBezTo>
                            <a:pt x="114" y="39"/>
                            <a:pt x="115" y="38"/>
                            <a:pt x="116" y="38"/>
                          </a:cubicBezTo>
                          <a:cubicBezTo>
                            <a:pt x="115" y="38"/>
                            <a:pt x="115" y="38"/>
                            <a:pt x="115" y="39"/>
                          </a:cubicBezTo>
                          <a:close/>
                          <a:moveTo>
                            <a:pt x="111" y="40"/>
                          </a:moveTo>
                          <a:cubicBezTo>
                            <a:pt x="111" y="39"/>
                            <a:pt x="111" y="40"/>
                            <a:pt x="111" y="39"/>
                          </a:cubicBezTo>
                          <a:cubicBezTo>
                            <a:pt x="111" y="40"/>
                            <a:pt x="111" y="40"/>
                            <a:pt x="111" y="40"/>
                          </a:cubicBezTo>
                          <a:cubicBezTo>
                            <a:pt x="111" y="40"/>
                            <a:pt x="111" y="40"/>
                            <a:pt x="111" y="40"/>
                          </a:cubicBezTo>
                          <a:cubicBezTo>
                            <a:pt x="111" y="40"/>
                            <a:pt x="111" y="40"/>
                            <a:pt x="111" y="40"/>
                          </a:cubicBezTo>
                          <a:close/>
                          <a:moveTo>
                            <a:pt x="115" y="40"/>
                          </a:moveTo>
                          <a:cubicBezTo>
                            <a:pt x="115" y="40"/>
                            <a:pt x="115" y="40"/>
                            <a:pt x="114" y="40"/>
                          </a:cubicBezTo>
                          <a:cubicBezTo>
                            <a:pt x="114" y="40"/>
                            <a:pt x="115" y="40"/>
                            <a:pt x="115" y="40"/>
                          </a:cubicBezTo>
                          <a:cubicBezTo>
                            <a:pt x="115" y="40"/>
                            <a:pt x="115" y="40"/>
                            <a:pt x="114" y="40"/>
                          </a:cubicBezTo>
                          <a:cubicBezTo>
                            <a:pt x="114" y="40"/>
                            <a:pt x="115" y="40"/>
                            <a:pt x="115" y="40"/>
                          </a:cubicBezTo>
                          <a:close/>
                          <a:moveTo>
                            <a:pt x="117" y="38"/>
                          </a:moveTo>
                          <a:cubicBezTo>
                            <a:pt x="117" y="38"/>
                            <a:pt x="117" y="38"/>
                            <a:pt x="117" y="38"/>
                          </a:cubicBezTo>
                          <a:cubicBezTo>
                            <a:pt x="117" y="38"/>
                            <a:pt x="117" y="38"/>
                            <a:pt x="117" y="38"/>
                          </a:cubicBezTo>
                          <a:cubicBezTo>
                            <a:pt x="117" y="38"/>
                            <a:pt x="117" y="38"/>
                            <a:pt x="117" y="38"/>
                          </a:cubicBezTo>
                          <a:cubicBezTo>
                            <a:pt x="117" y="38"/>
                            <a:pt x="117" y="38"/>
                            <a:pt x="117" y="38"/>
                          </a:cubicBezTo>
                          <a:cubicBezTo>
                            <a:pt x="117" y="38"/>
                            <a:pt x="117" y="38"/>
                            <a:pt x="117" y="39"/>
                          </a:cubicBezTo>
                          <a:cubicBezTo>
                            <a:pt x="117" y="38"/>
                            <a:pt x="118" y="38"/>
                            <a:pt x="118" y="38"/>
                          </a:cubicBezTo>
                          <a:cubicBezTo>
                            <a:pt x="118" y="38"/>
                            <a:pt x="118" y="38"/>
                            <a:pt x="117" y="39"/>
                          </a:cubicBezTo>
                          <a:cubicBezTo>
                            <a:pt x="117" y="39"/>
                            <a:pt x="117" y="39"/>
                            <a:pt x="118" y="38"/>
                          </a:cubicBezTo>
                          <a:cubicBezTo>
                            <a:pt x="117" y="39"/>
                            <a:pt x="117" y="39"/>
                            <a:pt x="116" y="39"/>
                          </a:cubicBezTo>
                          <a:cubicBezTo>
                            <a:pt x="116" y="39"/>
                            <a:pt x="117" y="39"/>
                            <a:pt x="117" y="39"/>
                          </a:cubicBezTo>
                          <a:cubicBezTo>
                            <a:pt x="116" y="39"/>
                            <a:pt x="116" y="39"/>
                            <a:pt x="116" y="39"/>
                          </a:cubicBezTo>
                          <a:cubicBezTo>
                            <a:pt x="116" y="39"/>
                            <a:pt x="117" y="39"/>
                            <a:pt x="117" y="39"/>
                          </a:cubicBezTo>
                          <a:cubicBezTo>
                            <a:pt x="116" y="39"/>
                            <a:pt x="116" y="39"/>
                            <a:pt x="116" y="39"/>
                          </a:cubicBezTo>
                          <a:cubicBezTo>
                            <a:pt x="116" y="39"/>
                            <a:pt x="116" y="39"/>
                            <a:pt x="116" y="39"/>
                          </a:cubicBezTo>
                          <a:cubicBezTo>
                            <a:pt x="115" y="39"/>
                            <a:pt x="115" y="39"/>
                            <a:pt x="115" y="39"/>
                          </a:cubicBezTo>
                          <a:cubicBezTo>
                            <a:pt x="115" y="39"/>
                            <a:pt x="115" y="39"/>
                            <a:pt x="115" y="39"/>
                          </a:cubicBezTo>
                          <a:cubicBezTo>
                            <a:pt x="115" y="40"/>
                            <a:pt x="115" y="40"/>
                            <a:pt x="115" y="40"/>
                          </a:cubicBezTo>
                          <a:cubicBezTo>
                            <a:pt x="115" y="40"/>
                            <a:pt x="116" y="39"/>
                            <a:pt x="116" y="39"/>
                          </a:cubicBezTo>
                          <a:cubicBezTo>
                            <a:pt x="116" y="39"/>
                            <a:pt x="116" y="39"/>
                            <a:pt x="116" y="39"/>
                          </a:cubicBezTo>
                          <a:cubicBezTo>
                            <a:pt x="116" y="39"/>
                            <a:pt x="116" y="40"/>
                            <a:pt x="115" y="40"/>
                          </a:cubicBezTo>
                          <a:cubicBezTo>
                            <a:pt x="115" y="40"/>
                            <a:pt x="115" y="40"/>
                            <a:pt x="115" y="40"/>
                          </a:cubicBezTo>
                          <a:cubicBezTo>
                            <a:pt x="115" y="40"/>
                            <a:pt x="115" y="40"/>
                            <a:pt x="115" y="40"/>
                          </a:cubicBezTo>
                          <a:cubicBezTo>
                            <a:pt x="115" y="39"/>
                            <a:pt x="115" y="40"/>
                            <a:pt x="114" y="40"/>
                          </a:cubicBezTo>
                          <a:cubicBezTo>
                            <a:pt x="114" y="40"/>
                            <a:pt x="115" y="40"/>
                            <a:pt x="114" y="40"/>
                          </a:cubicBezTo>
                          <a:cubicBezTo>
                            <a:pt x="114" y="40"/>
                            <a:pt x="114" y="40"/>
                            <a:pt x="114" y="40"/>
                          </a:cubicBezTo>
                          <a:cubicBezTo>
                            <a:pt x="114" y="40"/>
                            <a:pt x="114" y="40"/>
                            <a:pt x="114" y="40"/>
                          </a:cubicBezTo>
                          <a:cubicBezTo>
                            <a:pt x="114" y="40"/>
                            <a:pt x="113" y="40"/>
                            <a:pt x="113" y="40"/>
                          </a:cubicBezTo>
                          <a:cubicBezTo>
                            <a:pt x="113" y="41"/>
                            <a:pt x="113" y="41"/>
                            <a:pt x="113" y="41"/>
                          </a:cubicBezTo>
                          <a:cubicBezTo>
                            <a:pt x="113" y="41"/>
                            <a:pt x="112" y="41"/>
                            <a:pt x="112" y="41"/>
                          </a:cubicBezTo>
                          <a:cubicBezTo>
                            <a:pt x="112" y="41"/>
                            <a:pt x="112" y="41"/>
                            <a:pt x="112" y="41"/>
                          </a:cubicBezTo>
                          <a:cubicBezTo>
                            <a:pt x="112" y="41"/>
                            <a:pt x="112" y="41"/>
                            <a:pt x="113" y="41"/>
                          </a:cubicBezTo>
                          <a:cubicBezTo>
                            <a:pt x="112" y="41"/>
                            <a:pt x="112" y="41"/>
                            <a:pt x="112" y="41"/>
                          </a:cubicBezTo>
                          <a:cubicBezTo>
                            <a:pt x="112" y="40"/>
                            <a:pt x="112" y="40"/>
                            <a:pt x="113" y="40"/>
                          </a:cubicBezTo>
                          <a:cubicBezTo>
                            <a:pt x="113" y="40"/>
                            <a:pt x="113" y="40"/>
                            <a:pt x="113" y="40"/>
                          </a:cubicBezTo>
                          <a:cubicBezTo>
                            <a:pt x="113" y="40"/>
                            <a:pt x="113" y="40"/>
                            <a:pt x="113" y="40"/>
                          </a:cubicBezTo>
                          <a:cubicBezTo>
                            <a:pt x="113" y="40"/>
                            <a:pt x="113" y="40"/>
                            <a:pt x="114" y="40"/>
                          </a:cubicBezTo>
                          <a:cubicBezTo>
                            <a:pt x="114" y="40"/>
                            <a:pt x="114" y="40"/>
                            <a:pt x="114" y="40"/>
                          </a:cubicBezTo>
                          <a:cubicBezTo>
                            <a:pt x="114" y="39"/>
                            <a:pt x="114" y="39"/>
                            <a:pt x="114" y="40"/>
                          </a:cubicBezTo>
                          <a:cubicBezTo>
                            <a:pt x="114" y="40"/>
                            <a:pt x="114" y="39"/>
                            <a:pt x="114" y="39"/>
                          </a:cubicBezTo>
                          <a:cubicBezTo>
                            <a:pt x="114" y="39"/>
                            <a:pt x="114" y="39"/>
                            <a:pt x="114" y="39"/>
                          </a:cubicBezTo>
                          <a:cubicBezTo>
                            <a:pt x="114" y="39"/>
                            <a:pt x="115" y="39"/>
                            <a:pt x="115" y="39"/>
                          </a:cubicBezTo>
                          <a:cubicBezTo>
                            <a:pt x="115" y="39"/>
                            <a:pt x="115" y="39"/>
                            <a:pt x="115" y="39"/>
                          </a:cubicBezTo>
                          <a:cubicBezTo>
                            <a:pt x="115" y="39"/>
                            <a:pt x="115" y="39"/>
                            <a:pt x="115" y="39"/>
                          </a:cubicBezTo>
                          <a:cubicBezTo>
                            <a:pt x="115" y="39"/>
                            <a:pt x="115" y="39"/>
                            <a:pt x="115" y="39"/>
                          </a:cubicBezTo>
                          <a:cubicBezTo>
                            <a:pt x="115" y="39"/>
                            <a:pt x="116" y="39"/>
                            <a:pt x="116" y="39"/>
                          </a:cubicBezTo>
                          <a:cubicBezTo>
                            <a:pt x="116" y="39"/>
                            <a:pt x="116" y="38"/>
                            <a:pt x="117" y="38"/>
                          </a:cubicBezTo>
                          <a:close/>
                          <a:moveTo>
                            <a:pt x="114" y="39"/>
                          </a:moveTo>
                          <a:cubicBezTo>
                            <a:pt x="114" y="39"/>
                            <a:pt x="114" y="40"/>
                            <a:pt x="114" y="40"/>
                          </a:cubicBezTo>
                          <a:cubicBezTo>
                            <a:pt x="114" y="40"/>
                            <a:pt x="114" y="40"/>
                            <a:pt x="114" y="40"/>
                          </a:cubicBezTo>
                          <a:cubicBezTo>
                            <a:pt x="114" y="40"/>
                            <a:pt x="114" y="40"/>
                            <a:pt x="114" y="39"/>
                          </a:cubicBezTo>
                          <a:close/>
                          <a:moveTo>
                            <a:pt x="111" y="40"/>
                          </a:moveTo>
                          <a:cubicBezTo>
                            <a:pt x="111" y="40"/>
                            <a:pt x="111" y="40"/>
                            <a:pt x="111" y="40"/>
                          </a:cubicBezTo>
                          <a:cubicBezTo>
                            <a:pt x="111" y="40"/>
                            <a:pt x="111" y="40"/>
                            <a:pt x="111" y="40"/>
                          </a:cubicBezTo>
                          <a:close/>
                          <a:moveTo>
                            <a:pt x="113" y="41"/>
                          </a:moveTo>
                          <a:cubicBezTo>
                            <a:pt x="113" y="41"/>
                            <a:pt x="114" y="41"/>
                            <a:pt x="114" y="41"/>
                          </a:cubicBezTo>
                          <a:cubicBezTo>
                            <a:pt x="114" y="41"/>
                            <a:pt x="114" y="41"/>
                            <a:pt x="114" y="41"/>
                          </a:cubicBezTo>
                          <a:cubicBezTo>
                            <a:pt x="115" y="41"/>
                            <a:pt x="114" y="41"/>
                            <a:pt x="114" y="41"/>
                          </a:cubicBezTo>
                          <a:cubicBezTo>
                            <a:pt x="114" y="41"/>
                            <a:pt x="113" y="41"/>
                            <a:pt x="113" y="41"/>
                          </a:cubicBezTo>
                          <a:cubicBezTo>
                            <a:pt x="113" y="41"/>
                            <a:pt x="113" y="41"/>
                            <a:pt x="113" y="41"/>
                          </a:cubicBezTo>
                          <a:cubicBezTo>
                            <a:pt x="113" y="41"/>
                            <a:pt x="113" y="41"/>
                            <a:pt x="113" y="41"/>
                          </a:cubicBezTo>
                          <a:close/>
                          <a:moveTo>
                            <a:pt x="112" y="38"/>
                          </a:moveTo>
                          <a:cubicBezTo>
                            <a:pt x="112" y="38"/>
                            <a:pt x="112" y="38"/>
                            <a:pt x="112" y="38"/>
                          </a:cubicBezTo>
                          <a:cubicBezTo>
                            <a:pt x="112" y="38"/>
                            <a:pt x="112" y="38"/>
                            <a:pt x="112" y="38"/>
                          </a:cubicBezTo>
                          <a:cubicBezTo>
                            <a:pt x="112" y="38"/>
                            <a:pt x="112" y="38"/>
                            <a:pt x="112" y="38"/>
                          </a:cubicBezTo>
                          <a:cubicBezTo>
                            <a:pt x="112" y="38"/>
                            <a:pt x="112" y="38"/>
                            <a:pt x="112" y="38"/>
                          </a:cubicBezTo>
                          <a:cubicBezTo>
                            <a:pt x="112" y="38"/>
                            <a:pt x="112" y="38"/>
                            <a:pt x="112" y="38"/>
                          </a:cubicBezTo>
                          <a:cubicBezTo>
                            <a:pt x="112" y="38"/>
                            <a:pt x="112" y="38"/>
                            <a:pt x="112" y="38"/>
                          </a:cubicBezTo>
                          <a:cubicBezTo>
                            <a:pt x="112" y="38"/>
                            <a:pt x="112" y="38"/>
                            <a:pt x="112" y="38"/>
                          </a:cubicBezTo>
                          <a:close/>
                          <a:moveTo>
                            <a:pt x="116" y="43"/>
                          </a:moveTo>
                          <a:cubicBezTo>
                            <a:pt x="116" y="43"/>
                            <a:pt x="116" y="43"/>
                            <a:pt x="116" y="43"/>
                          </a:cubicBezTo>
                          <a:cubicBezTo>
                            <a:pt x="115" y="43"/>
                            <a:pt x="115" y="43"/>
                            <a:pt x="115" y="43"/>
                          </a:cubicBezTo>
                          <a:cubicBezTo>
                            <a:pt x="115" y="43"/>
                            <a:pt x="116" y="42"/>
                            <a:pt x="116" y="43"/>
                          </a:cubicBezTo>
                          <a:close/>
                          <a:moveTo>
                            <a:pt x="112" y="38"/>
                          </a:moveTo>
                          <a:cubicBezTo>
                            <a:pt x="112" y="38"/>
                            <a:pt x="112" y="38"/>
                            <a:pt x="112" y="38"/>
                          </a:cubicBezTo>
                          <a:cubicBezTo>
                            <a:pt x="112" y="38"/>
                            <a:pt x="112" y="37"/>
                            <a:pt x="113" y="37"/>
                          </a:cubicBezTo>
                          <a:cubicBezTo>
                            <a:pt x="113" y="38"/>
                            <a:pt x="113" y="38"/>
                            <a:pt x="112" y="38"/>
                          </a:cubicBezTo>
                          <a:cubicBezTo>
                            <a:pt x="112" y="38"/>
                            <a:pt x="112" y="38"/>
                            <a:pt x="112" y="38"/>
                          </a:cubicBezTo>
                          <a:cubicBezTo>
                            <a:pt x="112" y="38"/>
                            <a:pt x="112" y="38"/>
                            <a:pt x="112" y="38"/>
                          </a:cubicBezTo>
                          <a:close/>
                          <a:moveTo>
                            <a:pt x="114" y="38"/>
                          </a:moveTo>
                          <a:cubicBezTo>
                            <a:pt x="114" y="38"/>
                            <a:pt x="114" y="38"/>
                            <a:pt x="114" y="38"/>
                          </a:cubicBezTo>
                          <a:cubicBezTo>
                            <a:pt x="114" y="38"/>
                            <a:pt x="114" y="38"/>
                            <a:pt x="114" y="38"/>
                          </a:cubicBezTo>
                          <a:cubicBezTo>
                            <a:pt x="114" y="38"/>
                            <a:pt x="114" y="38"/>
                            <a:pt x="114" y="38"/>
                          </a:cubicBezTo>
                          <a:cubicBezTo>
                            <a:pt x="114" y="38"/>
                            <a:pt x="114" y="38"/>
                            <a:pt x="114" y="38"/>
                          </a:cubicBezTo>
                          <a:cubicBezTo>
                            <a:pt x="114" y="38"/>
                            <a:pt x="114" y="38"/>
                            <a:pt x="114" y="38"/>
                          </a:cubicBezTo>
                          <a:cubicBezTo>
                            <a:pt x="114" y="38"/>
                            <a:pt x="114" y="38"/>
                            <a:pt x="113" y="38"/>
                          </a:cubicBezTo>
                          <a:cubicBezTo>
                            <a:pt x="113" y="38"/>
                            <a:pt x="113" y="38"/>
                            <a:pt x="114" y="38"/>
                          </a:cubicBezTo>
                          <a:close/>
                          <a:moveTo>
                            <a:pt x="117" y="36"/>
                          </a:moveTo>
                          <a:cubicBezTo>
                            <a:pt x="117" y="36"/>
                            <a:pt x="117" y="36"/>
                            <a:pt x="117" y="36"/>
                          </a:cubicBezTo>
                          <a:cubicBezTo>
                            <a:pt x="116" y="36"/>
                            <a:pt x="116" y="37"/>
                            <a:pt x="115" y="37"/>
                          </a:cubicBezTo>
                          <a:cubicBezTo>
                            <a:pt x="115" y="37"/>
                            <a:pt x="114" y="38"/>
                            <a:pt x="114" y="37"/>
                          </a:cubicBezTo>
                          <a:cubicBezTo>
                            <a:pt x="114" y="37"/>
                            <a:pt x="115" y="37"/>
                            <a:pt x="115" y="37"/>
                          </a:cubicBezTo>
                          <a:cubicBezTo>
                            <a:pt x="115" y="37"/>
                            <a:pt x="116" y="37"/>
                            <a:pt x="116" y="36"/>
                          </a:cubicBezTo>
                          <a:cubicBezTo>
                            <a:pt x="116" y="36"/>
                            <a:pt x="116" y="36"/>
                            <a:pt x="117" y="36"/>
                          </a:cubicBezTo>
                          <a:cubicBezTo>
                            <a:pt x="117" y="36"/>
                            <a:pt x="117" y="36"/>
                            <a:pt x="117" y="36"/>
                          </a:cubicBezTo>
                          <a:cubicBezTo>
                            <a:pt x="117" y="36"/>
                            <a:pt x="116" y="36"/>
                            <a:pt x="116" y="36"/>
                          </a:cubicBezTo>
                          <a:cubicBezTo>
                            <a:pt x="116" y="36"/>
                            <a:pt x="117" y="36"/>
                            <a:pt x="117" y="35"/>
                          </a:cubicBezTo>
                          <a:cubicBezTo>
                            <a:pt x="117" y="35"/>
                            <a:pt x="118" y="35"/>
                            <a:pt x="118" y="35"/>
                          </a:cubicBezTo>
                          <a:cubicBezTo>
                            <a:pt x="118" y="35"/>
                            <a:pt x="119" y="35"/>
                            <a:pt x="119" y="35"/>
                          </a:cubicBezTo>
                          <a:cubicBezTo>
                            <a:pt x="118" y="35"/>
                            <a:pt x="117" y="35"/>
                            <a:pt x="117" y="36"/>
                          </a:cubicBezTo>
                          <a:cubicBezTo>
                            <a:pt x="117" y="36"/>
                            <a:pt x="117" y="36"/>
                            <a:pt x="117" y="36"/>
                          </a:cubicBezTo>
                          <a:cubicBezTo>
                            <a:pt x="117" y="36"/>
                            <a:pt x="117" y="36"/>
                            <a:pt x="117" y="36"/>
                          </a:cubicBezTo>
                          <a:cubicBezTo>
                            <a:pt x="117" y="36"/>
                            <a:pt x="117" y="36"/>
                            <a:pt x="117" y="36"/>
                          </a:cubicBezTo>
                          <a:cubicBezTo>
                            <a:pt x="117" y="36"/>
                            <a:pt x="117" y="36"/>
                            <a:pt x="117" y="36"/>
                          </a:cubicBezTo>
                          <a:cubicBezTo>
                            <a:pt x="117" y="36"/>
                            <a:pt x="117" y="36"/>
                            <a:pt x="117" y="36"/>
                          </a:cubicBezTo>
                          <a:cubicBezTo>
                            <a:pt x="118" y="35"/>
                            <a:pt x="118" y="36"/>
                            <a:pt x="118" y="35"/>
                          </a:cubicBezTo>
                          <a:cubicBezTo>
                            <a:pt x="118" y="36"/>
                            <a:pt x="117" y="36"/>
                            <a:pt x="117" y="36"/>
                          </a:cubicBezTo>
                          <a:close/>
                          <a:moveTo>
                            <a:pt x="118" y="37"/>
                          </a:moveTo>
                          <a:cubicBezTo>
                            <a:pt x="118" y="37"/>
                            <a:pt x="118" y="37"/>
                            <a:pt x="118" y="36"/>
                          </a:cubicBezTo>
                          <a:cubicBezTo>
                            <a:pt x="118" y="36"/>
                            <a:pt x="118" y="36"/>
                            <a:pt x="118" y="36"/>
                          </a:cubicBezTo>
                          <a:cubicBezTo>
                            <a:pt x="118" y="36"/>
                            <a:pt x="118" y="36"/>
                            <a:pt x="118" y="36"/>
                          </a:cubicBezTo>
                          <a:cubicBezTo>
                            <a:pt x="118" y="36"/>
                            <a:pt x="118" y="36"/>
                            <a:pt x="118" y="36"/>
                          </a:cubicBezTo>
                          <a:cubicBezTo>
                            <a:pt x="118" y="36"/>
                            <a:pt x="118" y="36"/>
                            <a:pt x="118" y="36"/>
                          </a:cubicBezTo>
                          <a:cubicBezTo>
                            <a:pt x="118" y="36"/>
                            <a:pt x="118" y="36"/>
                            <a:pt x="118" y="36"/>
                          </a:cubicBezTo>
                          <a:cubicBezTo>
                            <a:pt x="118" y="36"/>
                            <a:pt x="118" y="36"/>
                            <a:pt x="118" y="36"/>
                          </a:cubicBezTo>
                          <a:cubicBezTo>
                            <a:pt x="118" y="37"/>
                            <a:pt x="118" y="37"/>
                            <a:pt x="118" y="37"/>
                          </a:cubicBezTo>
                          <a:close/>
                          <a:moveTo>
                            <a:pt x="116" y="38"/>
                          </a:moveTo>
                          <a:cubicBezTo>
                            <a:pt x="116" y="38"/>
                            <a:pt x="116" y="38"/>
                            <a:pt x="116" y="37"/>
                          </a:cubicBezTo>
                          <a:cubicBezTo>
                            <a:pt x="117" y="37"/>
                            <a:pt x="116" y="38"/>
                            <a:pt x="117" y="38"/>
                          </a:cubicBezTo>
                          <a:cubicBezTo>
                            <a:pt x="117" y="38"/>
                            <a:pt x="116" y="38"/>
                            <a:pt x="116" y="38"/>
                          </a:cubicBezTo>
                          <a:close/>
                          <a:moveTo>
                            <a:pt x="118" y="37"/>
                          </a:moveTo>
                          <a:cubicBezTo>
                            <a:pt x="118" y="37"/>
                            <a:pt x="117" y="37"/>
                            <a:pt x="117" y="37"/>
                          </a:cubicBezTo>
                          <a:cubicBezTo>
                            <a:pt x="117" y="37"/>
                            <a:pt x="117" y="37"/>
                            <a:pt x="117" y="37"/>
                          </a:cubicBezTo>
                          <a:cubicBezTo>
                            <a:pt x="117" y="37"/>
                            <a:pt x="117" y="37"/>
                            <a:pt x="118" y="37"/>
                          </a:cubicBezTo>
                          <a:close/>
                          <a:moveTo>
                            <a:pt x="117" y="38"/>
                          </a:moveTo>
                          <a:cubicBezTo>
                            <a:pt x="117" y="38"/>
                            <a:pt x="117" y="38"/>
                            <a:pt x="117" y="37"/>
                          </a:cubicBezTo>
                          <a:cubicBezTo>
                            <a:pt x="117" y="37"/>
                            <a:pt x="117" y="38"/>
                            <a:pt x="117" y="37"/>
                          </a:cubicBezTo>
                          <a:cubicBezTo>
                            <a:pt x="117" y="38"/>
                            <a:pt x="117" y="38"/>
                            <a:pt x="117" y="38"/>
                          </a:cubicBezTo>
                          <a:cubicBezTo>
                            <a:pt x="117" y="38"/>
                            <a:pt x="117" y="38"/>
                            <a:pt x="117" y="38"/>
                          </a:cubicBezTo>
                          <a:close/>
                          <a:moveTo>
                            <a:pt x="117" y="37"/>
                          </a:moveTo>
                          <a:cubicBezTo>
                            <a:pt x="117" y="37"/>
                            <a:pt x="116" y="37"/>
                            <a:pt x="116" y="37"/>
                          </a:cubicBezTo>
                          <a:cubicBezTo>
                            <a:pt x="116" y="37"/>
                            <a:pt x="117" y="37"/>
                            <a:pt x="117" y="37"/>
                          </a:cubicBezTo>
                          <a:close/>
                          <a:moveTo>
                            <a:pt x="119" y="37"/>
                          </a:moveTo>
                          <a:cubicBezTo>
                            <a:pt x="119" y="37"/>
                            <a:pt x="119" y="36"/>
                            <a:pt x="120" y="36"/>
                          </a:cubicBezTo>
                          <a:cubicBezTo>
                            <a:pt x="120" y="36"/>
                            <a:pt x="119" y="37"/>
                            <a:pt x="119" y="37"/>
                          </a:cubicBezTo>
                          <a:cubicBezTo>
                            <a:pt x="119" y="37"/>
                            <a:pt x="119" y="37"/>
                            <a:pt x="119" y="37"/>
                          </a:cubicBezTo>
                          <a:cubicBezTo>
                            <a:pt x="118" y="37"/>
                            <a:pt x="119" y="37"/>
                            <a:pt x="119" y="37"/>
                          </a:cubicBezTo>
                          <a:close/>
                          <a:moveTo>
                            <a:pt x="120" y="34"/>
                          </a:moveTo>
                          <a:cubicBezTo>
                            <a:pt x="120" y="34"/>
                            <a:pt x="120" y="34"/>
                            <a:pt x="120" y="34"/>
                          </a:cubicBezTo>
                          <a:cubicBezTo>
                            <a:pt x="120" y="34"/>
                            <a:pt x="120" y="34"/>
                            <a:pt x="120" y="34"/>
                          </a:cubicBezTo>
                          <a:cubicBezTo>
                            <a:pt x="120" y="34"/>
                            <a:pt x="120" y="34"/>
                            <a:pt x="120" y="34"/>
                          </a:cubicBezTo>
                          <a:cubicBezTo>
                            <a:pt x="120" y="34"/>
                            <a:pt x="120" y="34"/>
                            <a:pt x="120" y="34"/>
                          </a:cubicBezTo>
                          <a:close/>
                          <a:moveTo>
                            <a:pt x="120" y="33"/>
                          </a:moveTo>
                          <a:cubicBezTo>
                            <a:pt x="120" y="33"/>
                            <a:pt x="120" y="33"/>
                            <a:pt x="119" y="33"/>
                          </a:cubicBezTo>
                          <a:cubicBezTo>
                            <a:pt x="120" y="33"/>
                            <a:pt x="120" y="33"/>
                            <a:pt x="120" y="33"/>
                          </a:cubicBezTo>
                          <a:close/>
                          <a:moveTo>
                            <a:pt x="125" y="34"/>
                          </a:moveTo>
                          <a:cubicBezTo>
                            <a:pt x="125" y="34"/>
                            <a:pt x="125" y="34"/>
                            <a:pt x="125" y="34"/>
                          </a:cubicBezTo>
                          <a:cubicBezTo>
                            <a:pt x="125" y="34"/>
                            <a:pt x="125" y="34"/>
                            <a:pt x="125" y="34"/>
                          </a:cubicBezTo>
                          <a:cubicBezTo>
                            <a:pt x="125" y="35"/>
                            <a:pt x="125" y="34"/>
                            <a:pt x="124" y="34"/>
                          </a:cubicBezTo>
                          <a:cubicBezTo>
                            <a:pt x="124" y="34"/>
                            <a:pt x="125" y="34"/>
                            <a:pt x="125" y="34"/>
                          </a:cubicBezTo>
                          <a:close/>
                          <a:moveTo>
                            <a:pt x="125" y="34"/>
                          </a:moveTo>
                          <a:cubicBezTo>
                            <a:pt x="125" y="34"/>
                            <a:pt x="126" y="34"/>
                            <a:pt x="126" y="34"/>
                          </a:cubicBezTo>
                          <a:cubicBezTo>
                            <a:pt x="126" y="34"/>
                            <a:pt x="126" y="34"/>
                            <a:pt x="126" y="33"/>
                          </a:cubicBezTo>
                          <a:cubicBezTo>
                            <a:pt x="126" y="34"/>
                            <a:pt x="126" y="34"/>
                            <a:pt x="126" y="34"/>
                          </a:cubicBezTo>
                          <a:cubicBezTo>
                            <a:pt x="126" y="34"/>
                            <a:pt x="125" y="34"/>
                            <a:pt x="125" y="34"/>
                          </a:cubicBezTo>
                          <a:cubicBezTo>
                            <a:pt x="125" y="34"/>
                            <a:pt x="126" y="34"/>
                            <a:pt x="125" y="34"/>
                          </a:cubicBezTo>
                          <a:cubicBezTo>
                            <a:pt x="125" y="34"/>
                            <a:pt x="125" y="34"/>
                            <a:pt x="125" y="34"/>
                          </a:cubicBezTo>
                          <a:cubicBezTo>
                            <a:pt x="125" y="34"/>
                            <a:pt x="125" y="34"/>
                            <a:pt x="125" y="34"/>
                          </a:cubicBezTo>
                          <a:cubicBezTo>
                            <a:pt x="125" y="34"/>
                            <a:pt x="125" y="34"/>
                            <a:pt x="125" y="34"/>
                          </a:cubicBezTo>
                          <a:cubicBezTo>
                            <a:pt x="125" y="34"/>
                            <a:pt x="125" y="34"/>
                            <a:pt x="125" y="34"/>
                          </a:cubicBezTo>
                          <a:cubicBezTo>
                            <a:pt x="125" y="34"/>
                            <a:pt x="125" y="34"/>
                            <a:pt x="125" y="34"/>
                          </a:cubicBezTo>
                          <a:close/>
                          <a:moveTo>
                            <a:pt x="129" y="30"/>
                          </a:moveTo>
                          <a:cubicBezTo>
                            <a:pt x="129" y="30"/>
                            <a:pt x="129" y="30"/>
                            <a:pt x="130" y="29"/>
                          </a:cubicBezTo>
                          <a:cubicBezTo>
                            <a:pt x="130" y="29"/>
                            <a:pt x="131" y="28"/>
                            <a:pt x="130" y="29"/>
                          </a:cubicBezTo>
                          <a:cubicBezTo>
                            <a:pt x="130" y="29"/>
                            <a:pt x="130" y="29"/>
                            <a:pt x="130" y="29"/>
                          </a:cubicBezTo>
                          <a:cubicBezTo>
                            <a:pt x="130" y="29"/>
                            <a:pt x="129" y="30"/>
                            <a:pt x="129" y="30"/>
                          </a:cubicBezTo>
                          <a:cubicBezTo>
                            <a:pt x="129" y="30"/>
                            <a:pt x="129" y="30"/>
                            <a:pt x="129" y="30"/>
                          </a:cubicBezTo>
                          <a:cubicBezTo>
                            <a:pt x="129" y="30"/>
                            <a:pt x="129" y="30"/>
                            <a:pt x="129" y="30"/>
                          </a:cubicBezTo>
                          <a:cubicBezTo>
                            <a:pt x="129" y="30"/>
                            <a:pt x="129" y="30"/>
                            <a:pt x="129" y="30"/>
                          </a:cubicBezTo>
                          <a:close/>
                          <a:moveTo>
                            <a:pt x="129" y="30"/>
                          </a:moveTo>
                          <a:cubicBezTo>
                            <a:pt x="130" y="30"/>
                            <a:pt x="130" y="29"/>
                            <a:pt x="130" y="29"/>
                          </a:cubicBezTo>
                          <a:cubicBezTo>
                            <a:pt x="130" y="29"/>
                            <a:pt x="129" y="30"/>
                            <a:pt x="129" y="30"/>
                          </a:cubicBezTo>
                          <a:close/>
                          <a:moveTo>
                            <a:pt x="130" y="29"/>
                          </a:moveTo>
                          <a:cubicBezTo>
                            <a:pt x="129" y="29"/>
                            <a:pt x="129" y="29"/>
                            <a:pt x="128" y="29"/>
                          </a:cubicBezTo>
                          <a:cubicBezTo>
                            <a:pt x="128" y="29"/>
                            <a:pt x="129" y="29"/>
                            <a:pt x="129" y="29"/>
                          </a:cubicBezTo>
                          <a:cubicBezTo>
                            <a:pt x="129" y="29"/>
                            <a:pt x="129" y="29"/>
                            <a:pt x="129" y="29"/>
                          </a:cubicBezTo>
                          <a:cubicBezTo>
                            <a:pt x="129" y="29"/>
                            <a:pt x="129" y="29"/>
                            <a:pt x="129" y="29"/>
                          </a:cubicBezTo>
                          <a:cubicBezTo>
                            <a:pt x="129" y="29"/>
                            <a:pt x="130" y="29"/>
                            <a:pt x="130" y="29"/>
                          </a:cubicBezTo>
                          <a:close/>
                          <a:moveTo>
                            <a:pt x="130" y="28"/>
                          </a:moveTo>
                          <a:cubicBezTo>
                            <a:pt x="131" y="28"/>
                            <a:pt x="130" y="28"/>
                            <a:pt x="130" y="29"/>
                          </a:cubicBezTo>
                          <a:cubicBezTo>
                            <a:pt x="130" y="28"/>
                            <a:pt x="131" y="28"/>
                            <a:pt x="131" y="28"/>
                          </a:cubicBezTo>
                          <a:cubicBezTo>
                            <a:pt x="131" y="28"/>
                            <a:pt x="131" y="28"/>
                            <a:pt x="131" y="28"/>
                          </a:cubicBezTo>
                          <a:cubicBezTo>
                            <a:pt x="131" y="28"/>
                            <a:pt x="131" y="28"/>
                            <a:pt x="130" y="28"/>
                          </a:cubicBezTo>
                          <a:close/>
                          <a:moveTo>
                            <a:pt x="135" y="26"/>
                          </a:moveTo>
                          <a:cubicBezTo>
                            <a:pt x="135" y="26"/>
                            <a:pt x="136" y="26"/>
                            <a:pt x="136" y="25"/>
                          </a:cubicBezTo>
                          <a:cubicBezTo>
                            <a:pt x="136" y="26"/>
                            <a:pt x="136" y="26"/>
                            <a:pt x="136" y="26"/>
                          </a:cubicBezTo>
                          <a:cubicBezTo>
                            <a:pt x="137" y="25"/>
                            <a:pt x="138" y="25"/>
                            <a:pt x="139" y="24"/>
                          </a:cubicBezTo>
                          <a:cubicBezTo>
                            <a:pt x="139" y="24"/>
                            <a:pt x="139" y="24"/>
                            <a:pt x="139" y="24"/>
                          </a:cubicBezTo>
                          <a:cubicBezTo>
                            <a:pt x="139" y="24"/>
                            <a:pt x="139" y="24"/>
                            <a:pt x="139" y="24"/>
                          </a:cubicBezTo>
                          <a:cubicBezTo>
                            <a:pt x="139" y="24"/>
                            <a:pt x="139" y="24"/>
                            <a:pt x="139" y="24"/>
                          </a:cubicBezTo>
                          <a:cubicBezTo>
                            <a:pt x="139" y="24"/>
                            <a:pt x="139" y="24"/>
                            <a:pt x="140" y="24"/>
                          </a:cubicBezTo>
                          <a:cubicBezTo>
                            <a:pt x="140" y="24"/>
                            <a:pt x="140" y="24"/>
                            <a:pt x="140" y="23"/>
                          </a:cubicBezTo>
                          <a:cubicBezTo>
                            <a:pt x="140" y="23"/>
                            <a:pt x="140" y="23"/>
                            <a:pt x="140" y="23"/>
                          </a:cubicBezTo>
                          <a:cubicBezTo>
                            <a:pt x="140" y="23"/>
                            <a:pt x="141" y="23"/>
                            <a:pt x="141" y="23"/>
                          </a:cubicBezTo>
                          <a:cubicBezTo>
                            <a:pt x="140" y="23"/>
                            <a:pt x="140" y="24"/>
                            <a:pt x="140" y="24"/>
                          </a:cubicBezTo>
                          <a:cubicBezTo>
                            <a:pt x="140" y="24"/>
                            <a:pt x="140" y="24"/>
                            <a:pt x="140" y="24"/>
                          </a:cubicBezTo>
                          <a:cubicBezTo>
                            <a:pt x="139" y="24"/>
                            <a:pt x="139" y="24"/>
                            <a:pt x="138" y="25"/>
                          </a:cubicBezTo>
                          <a:cubicBezTo>
                            <a:pt x="138" y="25"/>
                            <a:pt x="138" y="25"/>
                            <a:pt x="138" y="25"/>
                          </a:cubicBezTo>
                          <a:cubicBezTo>
                            <a:pt x="138" y="25"/>
                            <a:pt x="138" y="25"/>
                            <a:pt x="138" y="25"/>
                          </a:cubicBezTo>
                          <a:cubicBezTo>
                            <a:pt x="138" y="25"/>
                            <a:pt x="138" y="25"/>
                            <a:pt x="138" y="25"/>
                          </a:cubicBezTo>
                          <a:cubicBezTo>
                            <a:pt x="138" y="25"/>
                            <a:pt x="137" y="25"/>
                            <a:pt x="137" y="25"/>
                          </a:cubicBezTo>
                          <a:cubicBezTo>
                            <a:pt x="136" y="26"/>
                            <a:pt x="135" y="26"/>
                            <a:pt x="135" y="27"/>
                          </a:cubicBezTo>
                          <a:cubicBezTo>
                            <a:pt x="134" y="27"/>
                            <a:pt x="134" y="27"/>
                            <a:pt x="133" y="27"/>
                          </a:cubicBezTo>
                          <a:cubicBezTo>
                            <a:pt x="133" y="27"/>
                            <a:pt x="133" y="27"/>
                            <a:pt x="133" y="27"/>
                          </a:cubicBezTo>
                          <a:cubicBezTo>
                            <a:pt x="132" y="28"/>
                            <a:pt x="131" y="28"/>
                            <a:pt x="130" y="29"/>
                          </a:cubicBezTo>
                          <a:cubicBezTo>
                            <a:pt x="131" y="28"/>
                            <a:pt x="134" y="27"/>
                            <a:pt x="135" y="26"/>
                          </a:cubicBezTo>
                          <a:cubicBezTo>
                            <a:pt x="135" y="26"/>
                            <a:pt x="135" y="26"/>
                            <a:pt x="135" y="26"/>
                          </a:cubicBezTo>
                          <a:close/>
                          <a:moveTo>
                            <a:pt x="131" y="29"/>
                          </a:moveTo>
                          <a:cubicBezTo>
                            <a:pt x="131" y="29"/>
                            <a:pt x="131" y="29"/>
                            <a:pt x="131" y="29"/>
                          </a:cubicBezTo>
                          <a:cubicBezTo>
                            <a:pt x="131" y="29"/>
                            <a:pt x="131" y="29"/>
                            <a:pt x="131" y="29"/>
                          </a:cubicBezTo>
                          <a:cubicBezTo>
                            <a:pt x="131" y="29"/>
                            <a:pt x="131" y="29"/>
                            <a:pt x="131" y="29"/>
                          </a:cubicBezTo>
                          <a:cubicBezTo>
                            <a:pt x="131" y="29"/>
                            <a:pt x="131" y="29"/>
                            <a:pt x="131" y="29"/>
                          </a:cubicBezTo>
                          <a:close/>
                          <a:moveTo>
                            <a:pt x="142" y="22"/>
                          </a:moveTo>
                          <a:cubicBezTo>
                            <a:pt x="141" y="23"/>
                            <a:pt x="139" y="23"/>
                            <a:pt x="138" y="24"/>
                          </a:cubicBezTo>
                          <a:cubicBezTo>
                            <a:pt x="139" y="23"/>
                            <a:pt x="141" y="22"/>
                            <a:pt x="142" y="22"/>
                          </a:cubicBezTo>
                          <a:close/>
                          <a:moveTo>
                            <a:pt x="147" y="20"/>
                          </a:moveTo>
                          <a:cubicBezTo>
                            <a:pt x="147" y="20"/>
                            <a:pt x="147" y="20"/>
                            <a:pt x="147" y="20"/>
                          </a:cubicBezTo>
                          <a:cubicBezTo>
                            <a:pt x="146" y="21"/>
                            <a:pt x="146" y="21"/>
                            <a:pt x="146" y="21"/>
                          </a:cubicBezTo>
                          <a:cubicBezTo>
                            <a:pt x="146" y="20"/>
                            <a:pt x="147" y="20"/>
                            <a:pt x="147" y="20"/>
                          </a:cubicBezTo>
                          <a:cubicBezTo>
                            <a:pt x="147" y="20"/>
                            <a:pt x="146" y="20"/>
                            <a:pt x="146" y="20"/>
                          </a:cubicBezTo>
                          <a:cubicBezTo>
                            <a:pt x="146" y="20"/>
                            <a:pt x="146" y="20"/>
                            <a:pt x="146" y="20"/>
                          </a:cubicBezTo>
                          <a:cubicBezTo>
                            <a:pt x="146" y="21"/>
                            <a:pt x="146" y="20"/>
                            <a:pt x="146" y="20"/>
                          </a:cubicBezTo>
                          <a:cubicBezTo>
                            <a:pt x="147" y="20"/>
                            <a:pt x="147" y="20"/>
                            <a:pt x="147" y="20"/>
                          </a:cubicBezTo>
                          <a:close/>
                          <a:moveTo>
                            <a:pt x="152" y="16"/>
                          </a:moveTo>
                          <a:cubicBezTo>
                            <a:pt x="152" y="15"/>
                            <a:pt x="153" y="15"/>
                            <a:pt x="153" y="15"/>
                          </a:cubicBezTo>
                          <a:cubicBezTo>
                            <a:pt x="153" y="15"/>
                            <a:pt x="153" y="15"/>
                            <a:pt x="153" y="15"/>
                          </a:cubicBezTo>
                          <a:cubicBezTo>
                            <a:pt x="153" y="15"/>
                            <a:pt x="153" y="16"/>
                            <a:pt x="152" y="16"/>
                          </a:cubicBezTo>
                          <a:cubicBezTo>
                            <a:pt x="152" y="16"/>
                            <a:pt x="152" y="16"/>
                            <a:pt x="152" y="16"/>
                          </a:cubicBezTo>
                          <a:cubicBezTo>
                            <a:pt x="152" y="16"/>
                            <a:pt x="152" y="16"/>
                            <a:pt x="152" y="16"/>
                          </a:cubicBezTo>
                          <a:cubicBezTo>
                            <a:pt x="152" y="16"/>
                            <a:pt x="152" y="16"/>
                            <a:pt x="152" y="16"/>
                          </a:cubicBezTo>
                          <a:cubicBezTo>
                            <a:pt x="152" y="16"/>
                            <a:pt x="152" y="16"/>
                            <a:pt x="151" y="16"/>
                          </a:cubicBezTo>
                          <a:cubicBezTo>
                            <a:pt x="152" y="16"/>
                            <a:pt x="152" y="16"/>
                            <a:pt x="152" y="16"/>
                          </a:cubicBezTo>
                          <a:cubicBezTo>
                            <a:pt x="152" y="15"/>
                            <a:pt x="152" y="16"/>
                            <a:pt x="152" y="16"/>
                          </a:cubicBezTo>
                          <a:close/>
                          <a:moveTo>
                            <a:pt x="163" y="10"/>
                          </a:moveTo>
                          <a:cubicBezTo>
                            <a:pt x="162" y="10"/>
                            <a:pt x="161" y="10"/>
                            <a:pt x="161" y="10"/>
                          </a:cubicBezTo>
                          <a:cubicBezTo>
                            <a:pt x="161" y="10"/>
                            <a:pt x="161" y="10"/>
                            <a:pt x="161" y="10"/>
                          </a:cubicBezTo>
                          <a:cubicBezTo>
                            <a:pt x="161" y="11"/>
                            <a:pt x="161" y="11"/>
                            <a:pt x="161" y="11"/>
                          </a:cubicBezTo>
                          <a:cubicBezTo>
                            <a:pt x="161" y="11"/>
                            <a:pt x="161" y="11"/>
                            <a:pt x="161" y="11"/>
                          </a:cubicBezTo>
                          <a:cubicBezTo>
                            <a:pt x="160" y="11"/>
                            <a:pt x="160" y="11"/>
                            <a:pt x="160" y="11"/>
                          </a:cubicBezTo>
                          <a:cubicBezTo>
                            <a:pt x="160" y="11"/>
                            <a:pt x="161" y="11"/>
                            <a:pt x="161" y="11"/>
                          </a:cubicBezTo>
                          <a:cubicBezTo>
                            <a:pt x="159" y="11"/>
                            <a:pt x="159" y="12"/>
                            <a:pt x="158" y="13"/>
                          </a:cubicBezTo>
                          <a:cubicBezTo>
                            <a:pt x="158" y="13"/>
                            <a:pt x="158" y="12"/>
                            <a:pt x="158" y="12"/>
                          </a:cubicBezTo>
                          <a:cubicBezTo>
                            <a:pt x="159" y="12"/>
                            <a:pt x="158" y="12"/>
                            <a:pt x="159" y="12"/>
                          </a:cubicBezTo>
                          <a:cubicBezTo>
                            <a:pt x="158" y="12"/>
                            <a:pt x="158" y="13"/>
                            <a:pt x="157" y="12"/>
                          </a:cubicBezTo>
                          <a:cubicBezTo>
                            <a:pt x="157" y="13"/>
                            <a:pt x="157" y="13"/>
                            <a:pt x="157" y="13"/>
                          </a:cubicBezTo>
                          <a:cubicBezTo>
                            <a:pt x="157" y="13"/>
                            <a:pt x="157" y="13"/>
                            <a:pt x="157" y="13"/>
                          </a:cubicBezTo>
                          <a:cubicBezTo>
                            <a:pt x="156" y="13"/>
                            <a:pt x="157" y="13"/>
                            <a:pt x="157" y="12"/>
                          </a:cubicBezTo>
                          <a:cubicBezTo>
                            <a:pt x="157" y="12"/>
                            <a:pt x="157" y="12"/>
                            <a:pt x="157" y="12"/>
                          </a:cubicBezTo>
                          <a:cubicBezTo>
                            <a:pt x="158" y="12"/>
                            <a:pt x="158" y="12"/>
                            <a:pt x="158" y="12"/>
                          </a:cubicBezTo>
                          <a:cubicBezTo>
                            <a:pt x="158" y="12"/>
                            <a:pt x="158" y="12"/>
                            <a:pt x="158" y="12"/>
                          </a:cubicBezTo>
                          <a:cubicBezTo>
                            <a:pt x="159" y="12"/>
                            <a:pt x="158" y="12"/>
                            <a:pt x="158" y="12"/>
                          </a:cubicBezTo>
                          <a:cubicBezTo>
                            <a:pt x="159" y="11"/>
                            <a:pt x="159" y="11"/>
                            <a:pt x="159" y="11"/>
                          </a:cubicBezTo>
                          <a:cubicBezTo>
                            <a:pt x="159" y="12"/>
                            <a:pt x="159" y="12"/>
                            <a:pt x="159" y="12"/>
                          </a:cubicBezTo>
                          <a:cubicBezTo>
                            <a:pt x="159" y="11"/>
                            <a:pt x="159" y="12"/>
                            <a:pt x="159" y="12"/>
                          </a:cubicBezTo>
                          <a:cubicBezTo>
                            <a:pt x="159" y="12"/>
                            <a:pt x="159" y="11"/>
                            <a:pt x="159" y="11"/>
                          </a:cubicBezTo>
                          <a:cubicBezTo>
                            <a:pt x="159" y="12"/>
                            <a:pt x="159" y="11"/>
                            <a:pt x="160" y="11"/>
                          </a:cubicBezTo>
                          <a:cubicBezTo>
                            <a:pt x="160" y="11"/>
                            <a:pt x="159" y="11"/>
                            <a:pt x="159" y="11"/>
                          </a:cubicBezTo>
                          <a:cubicBezTo>
                            <a:pt x="160" y="11"/>
                            <a:pt x="160" y="11"/>
                            <a:pt x="160" y="11"/>
                          </a:cubicBezTo>
                          <a:cubicBezTo>
                            <a:pt x="160" y="11"/>
                            <a:pt x="160" y="11"/>
                            <a:pt x="160" y="11"/>
                          </a:cubicBezTo>
                          <a:cubicBezTo>
                            <a:pt x="160" y="10"/>
                            <a:pt x="160" y="10"/>
                            <a:pt x="161" y="10"/>
                          </a:cubicBezTo>
                          <a:cubicBezTo>
                            <a:pt x="161" y="10"/>
                            <a:pt x="161" y="10"/>
                            <a:pt x="161" y="10"/>
                          </a:cubicBezTo>
                          <a:cubicBezTo>
                            <a:pt x="161" y="10"/>
                            <a:pt x="162" y="10"/>
                            <a:pt x="162" y="10"/>
                          </a:cubicBezTo>
                          <a:cubicBezTo>
                            <a:pt x="162" y="10"/>
                            <a:pt x="161" y="10"/>
                            <a:pt x="161" y="10"/>
                          </a:cubicBezTo>
                          <a:cubicBezTo>
                            <a:pt x="161" y="10"/>
                            <a:pt x="162" y="10"/>
                            <a:pt x="162" y="10"/>
                          </a:cubicBezTo>
                          <a:cubicBezTo>
                            <a:pt x="162" y="9"/>
                            <a:pt x="161" y="10"/>
                            <a:pt x="161" y="10"/>
                          </a:cubicBezTo>
                          <a:cubicBezTo>
                            <a:pt x="162" y="9"/>
                            <a:pt x="163" y="9"/>
                            <a:pt x="163" y="9"/>
                          </a:cubicBezTo>
                          <a:cubicBezTo>
                            <a:pt x="163" y="9"/>
                            <a:pt x="163" y="9"/>
                            <a:pt x="163" y="9"/>
                          </a:cubicBezTo>
                          <a:cubicBezTo>
                            <a:pt x="163" y="9"/>
                            <a:pt x="162" y="9"/>
                            <a:pt x="162" y="9"/>
                          </a:cubicBezTo>
                          <a:cubicBezTo>
                            <a:pt x="163" y="9"/>
                            <a:pt x="163" y="9"/>
                            <a:pt x="163" y="9"/>
                          </a:cubicBezTo>
                          <a:cubicBezTo>
                            <a:pt x="163" y="9"/>
                            <a:pt x="163" y="9"/>
                            <a:pt x="163" y="9"/>
                          </a:cubicBezTo>
                          <a:cubicBezTo>
                            <a:pt x="163" y="10"/>
                            <a:pt x="162" y="9"/>
                            <a:pt x="162" y="10"/>
                          </a:cubicBezTo>
                          <a:cubicBezTo>
                            <a:pt x="162" y="10"/>
                            <a:pt x="163" y="9"/>
                            <a:pt x="163" y="10"/>
                          </a:cubicBezTo>
                          <a:close/>
                          <a:moveTo>
                            <a:pt x="157" y="14"/>
                          </a:moveTo>
                          <a:cubicBezTo>
                            <a:pt x="158" y="13"/>
                            <a:pt x="158" y="13"/>
                            <a:pt x="158" y="13"/>
                          </a:cubicBezTo>
                          <a:cubicBezTo>
                            <a:pt x="158" y="13"/>
                            <a:pt x="158" y="13"/>
                            <a:pt x="157" y="14"/>
                          </a:cubicBezTo>
                          <a:close/>
                          <a:moveTo>
                            <a:pt x="159" y="13"/>
                          </a:moveTo>
                          <a:cubicBezTo>
                            <a:pt x="159" y="13"/>
                            <a:pt x="159" y="13"/>
                            <a:pt x="159" y="12"/>
                          </a:cubicBezTo>
                          <a:cubicBezTo>
                            <a:pt x="159" y="13"/>
                            <a:pt x="158" y="13"/>
                            <a:pt x="159" y="13"/>
                          </a:cubicBezTo>
                          <a:close/>
                          <a:moveTo>
                            <a:pt x="159" y="13"/>
                          </a:moveTo>
                          <a:cubicBezTo>
                            <a:pt x="160" y="13"/>
                            <a:pt x="160" y="12"/>
                            <a:pt x="160" y="12"/>
                          </a:cubicBezTo>
                          <a:cubicBezTo>
                            <a:pt x="160" y="12"/>
                            <a:pt x="159" y="13"/>
                            <a:pt x="159" y="13"/>
                          </a:cubicBezTo>
                          <a:close/>
                          <a:moveTo>
                            <a:pt x="166" y="7"/>
                          </a:moveTo>
                          <a:cubicBezTo>
                            <a:pt x="166" y="7"/>
                            <a:pt x="166" y="7"/>
                            <a:pt x="166" y="7"/>
                          </a:cubicBezTo>
                          <a:cubicBezTo>
                            <a:pt x="166" y="7"/>
                            <a:pt x="166" y="7"/>
                            <a:pt x="166" y="7"/>
                          </a:cubicBezTo>
                          <a:close/>
                          <a:moveTo>
                            <a:pt x="169" y="8"/>
                          </a:moveTo>
                          <a:cubicBezTo>
                            <a:pt x="169" y="8"/>
                            <a:pt x="169" y="8"/>
                            <a:pt x="169" y="8"/>
                          </a:cubicBezTo>
                          <a:cubicBezTo>
                            <a:pt x="169" y="8"/>
                            <a:pt x="169" y="8"/>
                            <a:pt x="168" y="8"/>
                          </a:cubicBezTo>
                          <a:cubicBezTo>
                            <a:pt x="168" y="8"/>
                            <a:pt x="168" y="8"/>
                            <a:pt x="168" y="8"/>
                          </a:cubicBezTo>
                          <a:cubicBezTo>
                            <a:pt x="168" y="8"/>
                            <a:pt x="169" y="8"/>
                            <a:pt x="169" y="8"/>
                          </a:cubicBezTo>
                          <a:close/>
                          <a:moveTo>
                            <a:pt x="169" y="7"/>
                          </a:moveTo>
                          <a:cubicBezTo>
                            <a:pt x="169" y="7"/>
                            <a:pt x="169" y="7"/>
                            <a:pt x="169" y="7"/>
                          </a:cubicBezTo>
                          <a:cubicBezTo>
                            <a:pt x="169" y="8"/>
                            <a:pt x="169" y="7"/>
                            <a:pt x="170" y="7"/>
                          </a:cubicBezTo>
                          <a:cubicBezTo>
                            <a:pt x="170" y="7"/>
                            <a:pt x="169" y="8"/>
                            <a:pt x="169" y="8"/>
                          </a:cubicBezTo>
                          <a:cubicBezTo>
                            <a:pt x="169" y="8"/>
                            <a:pt x="169" y="7"/>
                            <a:pt x="169" y="7"/>
                          </a:cubicBezTo>
                          <a:close/>
                          <a:moveTo>
                            <a:pt x="178" y="5"/>
                          </a:moveTo>
                          <a:cubicBezTo>
                            <a:pt x="178" y="5"/>
                            <a:pt x="178" y="5"/>
                            <a:pt x="178" y="5"/>
                          </a:cubicBezTo>
                          <a:cubicBezTo>
                            <a:pt x="178" y="5"/>
                            <a:pt x="178" y="5"/>
                            <a:pt x="179" y="5"/>
                          </a:cubicBezTo>
                          <a:cubicBezTo>
                            <a:pt x="179" y="5"/>
                            <a:pt x="178" y="5"/>
                            <a:pt x="178" y="5"/>
                          </a:cubicBezTo>
                          <a:close/>
                          <a:moveTo>
                            <a:pt x="179" y="1"/>
                          </a:moveTo>
                          <a:cubicBezTo>
                            <a:pt x="179" y="1"/>
                            <a:pt x="179" y="1"/>
                            <a:pt x="180" y="1"/>
                          </a:cubicBezTo>
                          <a:cubicBezTo>
                            <a:pt x="179" y="1"/>
                            <a:pt x="179" y="1"/>
                            <a:pt x="179" y="1"/>
                          </a:cubicBezTo>
                          <a:close/>
                          <a:moveTo>
                            <a:pt x="22" y="103"/>
                          </a:moveTo>
                          <a:cubicBezTo>
                            <a:pt x="22" y="103"/>
                            <a:pt x="21" y="103"/>
                            <a:pt x="21" y="103"/>
                          </a:cubicBezTo>
                          <a:cubicBezTo>
                            <a:pt x="21" y="103"/>
                            <a:pt x="21" y="103"/>
                            <a:pt x="22" y="103"/>
                          </a:cubicBezTo>
                          <a:cubicBezTo>
                            <a:pt x="22" y="103"/>
                            <a:pt x="22" y="103"/>
                            <a:pt x="22" y="103"/>
                          </a:cubicBezTo>
                          <a:close/>
                          <a:moveTo>
                            <a:pt x="44" y="87"/>
                          </a:moveTo>
                          <a:cubicBezTo>
                            <a:pt x="44" y="87"/>
                            <a:pt x="44" y="87"/>
                            <a:pt x="44" y="87"/>
                          </a:cubicBezTo>
                          <a:cubicBezTo>
                            <a:pt x="44" y="87"/>
                            <a:pt x="44" y="87"/>
                            <a:pt x="44" y="87"/>
                          </a:cubicBezTo>
                          <a:cubicBezTo>
                            <a:pt x="44" y="87"/>
                            <a:pt x="44" y="87"/>
                            <a:pt x="44" y="87"/>
                          </a:cubicBezTo>
                          <a:close/>
                          <a:moveTo>
                            <a:pt x="43" y="86"/>
                          </a:moveTo>
                          <a:cubicBezTo>
                            <a:pt x="43" y="86"/>
                            <a:pt x="43" y="86"/>
                            <a:pt x="43" y="85"/>
                          </a:cubicBezTo>
                          <a:cubicBezTo>
                            <a:pt x="43" y="85"/>
                            <a:pt x="43" y="85"/>
                            <a:pt x="43" y="85"/>
                          </a:cubicBezTo>
                          <a:cubicBezTo>
                            <a:pt x="43" y="85"/>
                            <a:pt x="43" y="86"/>
                            <a:pt x="43" y="86"/>
                          </a:cubicBezTo>
                          <a:close/>
                          <a:moveTo>
                            <a:pt x="45" y="85"/>
                          </a:moveTo>
                          <a:cubicBezTo>
                            <a:pt x="45" y="85"/>
                            <a:pt x="45" y="85"/>
                            <a:pt x="46" y="84"/>
                          </a:cubicBezTo>
                          <a:cubicBezTo>
                            <a:pt x="46" y="85"/>
                            <a:pt x="46" y="85"/>
                            <a:pt x="46" y="85"/>
                          </a:cubicBezTo>
                          <a:cubicBezTo>
                            <a:pt x="46" y="85"/>
                            <a:pt x="45" y="85"/>
                            <a:pt x="46" y="85"/>
                          </a:cubicBezTo>
                          <a:cubicBezTo>
                            <a:pt x="45" y="85"/>
                            <a:pt x="45" y="85"/>
                            <a:pt x="45" y="85"/>
                          </a:cubicBezTo>
                          <a:cubicBezTo>
                            <a:pt x="45" y="85"/>
                            <a:pt x="45" y="85"/>
                            <a:pt x="45" y="85"/>
                          </a:cubicBezTo>
                          <a:close/>
                          <a:moveTo>
                            <a:pt x="44" y="82"/>
                          </a:moveTo>
                          <a:cubicBezTo>
                            <a:pt x="44" y="82"/>
                            <a:pt x="44" y="82"/>
                            <a:pt x="44" y="82"/>
                          </a:cubicBezTo>
                          <a:cubicBezTo>
                            <a:pt x="44" y="81"/>
                            <a:pt x="44" y="81"/>
                            <a:pt x="44" y="81"/>
                          </a:cubicBezTo>
                          <a:cubicBezTo>
                            <a:pt x="44" y="81"/>
                            <a:pt x="44" y="82"/>
                            <a:pt x="44" y="82"/>
                          </a:cubicBezTo>
                          <a:cubicBezTo>
                            <a:pt x="44" y="82"/>
                            <a:pt x="45" y="81"/>
                            <a:pt x="45" y="81"/>
                          </a:cubicBezTo>
                          <a:cubicBezTo>
                            <a:pt x="45" y="82"/>
                            <a:pt x="44" y="82"/>
                            <a:pt x="44" y="82"/>
                          </a:cubicBezTo>
                          <a:cubicBezTo>
                            <a:pt x="44" y="82"/>
                            <a:pt x="44" y="82"/>
                            <a:pt x="44" y="82"/>
                          </a:cubicBezTo>
                          <a:cubicBezTo>
                            <a:pt x="44" y="82"/>
                            <a:pt x="44" y="82"/>
                            <a:pt x="44" y="82"/>
                          </a:cubicBezTo>
                          <a:close/>
                          <a:moveTo>
                            <a:pt x="50" y="74"/>
                          </a:moveTo>
                          <a:cubicBezTo>
                            <a:pt x="50" y="74"/>
                            <a:pt x="50" y="74"/>
                            <a:pt x="50" y="74"/>
                          </a:cubicBezTo>
                          <a:cubicBezTo>
                            <a:pt x="50" y="74"/>
                            <a:pt x="50" y="74"/>
                            <a:pt x="50" y="74"/>
                          </a:cubicBezTo>
                          <a:cubicBezTo>
                            <a:pt x="50" y="75"/>
                            <a:pt x="50" y="75"/>
                            <a:pt x="49" y="75"/>
                          </a:cubicBezTo>
                          <a:cubicBezTo>
                            <a:pt x="49" y="75"/>
                            <a:pt x="49" y="75"/>
                            <a:pt x="49" y="75"/>
                          </a:cubicBezTo>
                          <a:cubicBezTo>
                            <a:pt x="49" y="75"/>
                            <a:pt x="50" y="75"/>
                            <a:pt x="50" y="74"/>
                          </a:cubicBezTo>
                          <a:close/>
                          <a:moveTo>
                            <a:pt x="55" y="79"/>
                          </a:moveTo>
                          <a:cubicBezTo>
                            <a:pt x="56" y="78"/>
                            <a:pt x="56" y="78"/>
                            <a:pt x="57" y="78"/>
                          </a:cubicBezTo>
                          <a:cubicBezTo>
                            <a:pt x="56" y="78"/>
                            <a:pt x="56" y="78"/>
                            <a:pt x="55" y="79"/>
                          </a:cubicBezTo>
                          <a:cubicBezTo>
                            <a:pt x="55" y="79"/>
                            <a:pt x="56" y="79"/>
                            <a:pt x="55" y="79"/>
                          </a:cubicBezTo>
                          <a:close/>
                          <a:moveTo>
                            <a:pt x="62" y="67"/>
                          </a:moveTo>
                          <a:cubicBezTo>
                            <a:pt x="62" y="67"/>
                            <a:pt x="62" y="67"/>
                            <a:pt x="62" y="67"/>
                          </a:cubicBezTo>
                          <a:cubicBezTo>
                            <a:pt x="62" y="67"/>
                            <a:pt x="62" y="67"/>
                            <a:pt x="62" y="67"/>
                          </a:cubicBezTo>
                          <a:cubicBezTo>
                            <a:pt x="62" y="67"/>
                            <a:pt x="62" y="67"/>
                            <a:pt x="61" y="67"/>
                          </a:cubicBezTo>
                          <a:cubicBezTo>
                            <a:pt x="61" y="67"/>
                            <a:pt x="62" y="67"/>
                            <a:pt x="62" y="67"/>
                          </a:cubicBezTo>
                          <a:close/>
                          <a:moveTo>
                            <a:pt x="67" y="63"/>
                          </a:moveTo>
                          <a:cubicBezTo>
                            <a:pt x="67" y="63"/>
                            <a:pt x="67" y="63"/>
                            <a:pt x="67" y="63"/>
                          </a:cubicBezTo>
                          <a:cubicBezTo>
                            <a:pt x="67" y="63"/>
                            <a:pt x="68" y="63"/>
                            <a:pt x="68" y="63"/>
                          </a:cubicBezTo>
                          <a:cubicBezTo>
                            <a:pt x="68" y="63"/>
                            <a:pt x="68" y="62"/>
                            <a:pt x="69" y="62"/>
                          </a:cubicBezTo>
                          <a:cubicBezTo>
                            <a:pt x="68" y="63"/>
                            <a:pt x="67" y="63"/>
                            <a:pt x="67" y="63"/>
                          </a:cubicBezTo>
                          <a:close/>
                          <a:moveTo>
                            <a:pt x="71" y="68"/>
                          </a:moveTo>
                          <a:cubicBezTo>
                            <a:pt x="71" y="68"/>
                            <a:pt x="71" y="67"/>
                            <a:pt x="71" y="68"/>
                          </a:cubicBezTo>
                          <a:cubicBezTo>
                            <a:pt x="71" y="67"/>
                            <a:pt x="71" y="67"/>
                            <a:pt x="71" y="67"/>
                          </a:cubicBezTo>
                          <a:cubicBezTo>
                            <a:pt x="71" y="67"/>
                            <a:pt x="71" y="67"/>
                            <a:pt x="71" y="67"/>
                          </a:cubicBezTo>
                          <a:cubicBezTo>
                            <a:pt x="71" y="67"/>
                            <a:pt x="71" y="67"/>
                            <a:pt x="71" y="68"/>
                          </a:cubicBezTo>
                          <a:close/>
                          <a:moveTo>
                            <a:pt x="76" y="63"/>
                          </a:moveTo>
                          <a:cubicBezTo>
                            <a:pt x="76" y="63"/>
                            <a:pt x="76" y="63"/>
                            <a:pt x="76" y="64"/>
                          </a:cubicBezTo>
                          <a:cubicBezTo>
                            <a:pt x="76" y="63"/>
                            <a:pt x="76" y="63"/>
                            <a:pt x="76" y="63"/>
                          </a:cubicBezTo>
                          <a:cubicBezTo>
                            <a:pt x="75" y="63"/>
                            <a:pt x="76" y="63"/>
                            <a:pt x="76" y="63"/>
                          </a:cubicBezTo>
                          <a:close/>
                          <a:moveTo>
                            <a:pt x="83" y="65"/>
                          </a:moveTo>
                          <a:cubicBezTo>
                            <a:pt x="83" y="65"/>
                            <a:pt x="82" y="65"/>
                            <a:pt x="82" y="66"/>
                          </a:cubicBezTo>
                          <a:cubicBezTo>
                            <a:pt x="82" y="66"/>
                            <a:pt x="82" y="66"/>
                            <a:pt x="82" y="65"/>
                          </a:cubicBezTo>
                          <a:cubicBezTo>
                            <a:pt x="82" y="66"/>
                            <a:pt x="82" y="66"/>
                            <a:pt x="81" y="66"/>
                          </a:cubicBezTo>
                          <a:cubicBezTo>
                            <a:pt x="82" y="65"/>
                            <a:pt x="82" y="65"/>
                            <a:pt x="83" y="65"/>
                          </a:cubicBezTo>
                          <a:close/>
                          <a:moveTo>
                            <a:pt x="84" y="59"/>
                          </a:moveTo>
                          <a:cubicBezTo>
                            <a:pt x="83" y="60"/>
                            <a:pt x="83" y="60"/>
                            <a:pt x="82" y="60"/>
                          </a:cubicBezTo>
                          <a:cubicBezTo>
                            <a:pt x="82" y="60"/>
                            <a:pt x="82" y="60"/>
                            <a:pt x="82" y="61"/>
                          </a:cubicBezTo>
                          <a:cubicBezTo>
                            <a:pt x="82" y="61"/>
                            <a:pt x="82" y="60"/>
                            <a:pt x="82" y="60"/>
                          </a:cubicBezTo>
                          <a:cubicBezTo>
                            <a:pt x="82" y="61"/>
                            <a:pt x="82" y="61"/>
                            <a:pt x="82" y="61"/>
                          </a:cubicBezTo>
                          <a:cubicBezTo>
                            <a:pt x="82" y="61"/>
                            <a:pt x="82" y="61"/>
                            <a:pt x="82" y="61"/>
                          </a:cubicBezTo>
                          <a:cubicBezTo>
                            <a:pt x="82" y="61"/>
                            <a:pt x="81" y="61"/>
                            <a:pt x="81" y="61"/>
                          </a:cubicBezTo>
                          <a:cubicBezTo>
                            <a:pt x="81" y="61"/>
                            <a:pt x="81" y="61"/>
                            <a:pt x="81" y="61"/>
                          </a:cubicBezTo>
                          <a:cubicBezTo>
                            <a:pt x="81" y="61"/>
                            <a:pt x="81" y="61"/>
                            <a:pt x="82" y="61"/>
                          </a:cubicBezTo>
                          <a:cubicBezTo>
                            <a:pt x="81" y="61"/>
                            <a:pt x="81" y="61"/>
                            <a:pt x="81" y="61"/>
                          </a:cubicBezTo>
                          <a:cubicBezTo>
                            <a:pt x="80" y="61"/>
                            <a:pt x="81" y="61"/>
                            <a:pt x="80" y="61"/>
                          </a:cubicBezTo>
                          <a:cubicBezTo>
                            <a:pt x="81" y="61"/>
                            <a:pt x="81" y="61"/>
                            <a:pt x="81" y="61"/>
                          </a:cubicBezTo>
                          <a:cubicBezTo>
                            <a:pt x="82" y="60"/>
                            <a:pt x="81" y="61"/>
                            <a:pt x="82" y="60"/>
                          </a:cubicBezTo>
                          <a:cubicBezTo>
                            <a:pt x="81" y="60"/>
                            <a:pt x="81" y="60"/>
                            <a:pt x="81" y="61"/>
                          </a:cubicBezTo>
                          <a:cubicBezTo>
                            <a:pt x="81" y="60"/>
                            <a:pt x="81" y="60"/>
                            <a:pt x="81" y="60"/>
                          </a:cubicBezTo>
                          <a:cubicBezTo>
                            <a:pt x="81" y="60"/>
                            <a:pt x="82" y="60"/>
                            <a:pt x="82" y="59"/>
                          </a:cubicBezTo>
                          <a:cubicBezTo>
                            <a:pt x="82" y="59"/>
                            <a:pt x="83" y="59"/>
                            <a:pt x="83" y="59"/>
                          </a:cubicBezTo>
                          <a:cubicBezTo>
                            <a:pt x="83" y="59"/>
                            <a:pt x="83" y="59"/>
                            <a:pt x="83" y="59"/>
                          </a:cubicBezTo>
                          <a:cubicBezTo>
                            <a:pt x="83" y="59"/>
                            <a:pt x="83" y="59"/>
                            <a:pt x="84" y="59"/>
                          </a:cubicBezTo>
                          <a:close/>
                          <a:moveTo>
                            <a:pt x="84" y="59"/>
                          </a:moveTo>
                          <a:cubicBezTo>
                            <a:pt x="85" y="59"/>
                            <a:pt x="85" y="59"/>
                            <a:pt x="85" y="59"/>
                          </a:cubicBezTo>
                          <a:cubicBezTo>
                            <a:pt x="85" y="59"/>
                            <a:pt x="85" y="59"/>
                            <a:pt x="85" y="59"/>
                          </a:cubicBezTo>
                          <a:cubicBezTo>
                            <a:pt x="85" y="59"/>
                            <a:pt x="85" y="59"/>
                            <a:pt x="85" y="59"/>
                          </a:cubicBezTo>
                          <a:cubicBezTo>
                            <a:pt x="85" y="59"/>
                            <a:pt x="85" y="59"/>
                            <a:pt x="85" y="59"/>
                          </a:cubicBezTo>
                          <a:cubicBezTo>
                            <a:pt x="84" y="59"/>
                            <a:pt x="84" y="59"/>
                            <a:pt x="84" y="60"/>
                          </a:cubicBezTo>
                          <a:cubicBezTo>
                            <a:pt x="84" y="59"/>
                            <a:pt x="84" y="59"/>
                            <a:pt x="84" y="59"/>
                          </a:cubicBezTo>
                          <a:cubicBezTo>
                            <a:pt x="84" y="59"/>
                            <a:pt x="84" y="59"/>
                            <a:pt x="84" y="59"/>
                          </a:cubicBezTo>
                          <a:close/>
                          <a:moveTo>
                            <a:pt x="89" y="58"/>
                          </a:moveTo>
                          <a:cubicBezTo>
                            <a:pt x="88" y="58"/>
                            <a:pt x="89" y="58"/>
                            <a:pt x="88" y="58"/>
                          </a:cubicBezTo>
                          <a:cubicBezTo>
                            <a:pt x="88" y="58"/>
                            <a:pt x="88" y="58"/>
                            <a:pt x="88" y="58"/>
                          </a:cubicBezTo>
                          <a:cubicBezTo>
                            <a:pt x="88" y="58"/>
                            <a:pt x="88" y="58"/>
                            <a:pt x="88" y="59"/>
                          </a:cubicBezTo>
                          <a:cubicBezTo>
                            <a:pt x="88" y="59"/>
                            <a:pt x="88" y="59"/>
                            <a:pt x="88" y="59"/>
                          </a:cubicBezTo>
                          <a:cubicBezTo>
                            <a:pt x="88" y="59"/>
                            <a:pt x="87" y="59"/>
                            <a:pt x="87" y="59"/>
                          </a:cubicBezTo>
                          <a:cubicBezTo>
                            <a:pt x="87" y="59"/>
                            <a:pt x="87" y="59"/>
                            <a:pt x="87" y="59"/>
                          </a:cubicBezTo>
                          <a:cubicBezTo>
                            <a:pt x="87" y="59"/>
                            <a:pt x="87" y="59"/>
                            <a:pt x="87" y="59"/>
                          </a:cubicBezTo>
                          <a:cubicBezTo>
                            <a:pt x="87" y="59"/>
                            <a:pt x="87" y="59"/>
                            <a:pt x="87" y="59"/>
                          </a:cubicBezTo>
                          <a:cubicBezTo>
                            <a:pt x="87" y="59"/>
                            <a:pt x="87" y="59"/>
                            <a:pt x="87" y="58"/>
                          </a:cubicBezTo>
                          <a:cubicBezTo>
                            <a:pt x="87" y="59"/>
                            <a:pt x="88" y="58"/>
                            <a:pt x="89" y="58"/>
                          </a:cubicBezTo>
                          <a:cubicBezTo>
                            <a:pt x="89" y="58"/>
                            <a:pt x="89" y="58"/>
                            <a:pt x="89" y="58"/>
                          </a:cubicBezTo>
                          <a:close/>
                          <a:moveTo>
                            <a:pt x="92" y="60"/>
                          </a:moveTo>
                          <a:cubicBezTo>
                            <a:pt x="92" y="61"/>
                            <a:pt x="91" y="61"/>
                            <a:pt x="90" y="61"/>
                          </a:cubicBezTo>
                          <a:cubicBezTo>
                            <a:pt x="90" y="61"/>
                            <a:pt x="90" y="61"/>
                            <a:pt x="90" y="61"/>
                          </a:cubicBezTo>
                          <a:cubicBezTo>
                            <a:pt x="90" y="61"/>
                            <a:pt x="90" y="61"/>
                            <a:pt x="91" y="60"/>
                          </a:cubicBezTo>
                          <a:cubicBezTo>
                            <a:pt x="91" y="61"/>
                            <a:pt x="91" y="61"/>
                            <a:pt x="91" y="61"/>
                          </a:cubicBezTo>
                          <a:cubicBezTo>
                            <a:pt x="91" y="61"/>
                            <a:pt x="92" y="60"/>
                            <a:pt x="92" y="60"/>
                          </a:cubicBezTo>
                          <a:cubicBezTo>
                            <a:pt x="92" y="60"/>
                            <a:pt x="92" y="60"/>
                            <a:pt x="92" y="60"/>
                          </a:cubicBezTo>
                          <a:close/>
                          <a:moveTo>
                            <a:pt x="90" y="55"/>
                          </a:moveTo>
                          <a:cubicBezTo>
                            <a:pt x="90" y="55"/>
                            <a:pt x="90" y="55"/>
                            <a:pt x="90" y="55"/>
                          </a:cubicBezTo>
                          <a:cubicBezTo>
                            <a:pt x="91" y="55"/>
                            <a:pt x="90" y="55"/>
                            <a:pt x="90" y="55"/>
                          </a:cubicBezTo>
                          <a:cubicBezTo>
                            <a:pt x="90" y="55"/>
                            <a:pt x="90" y="55"/>
                            <a:pt x="90" y="56"/>
                          </a:cubicBezTo>
                          <a:cubicBezTo>
                            <a:pt x="90" y="55"/>
                            <a:pt x="90" y="55"/>
                            <a:pt x="90" y="55"/>
                          </a:cubicBezTo>
                          <a:close/>
                          <a:moveTo>
                            <a:pt x="112" y="42"/>
                          </a:moveTo>
                          <a:cubicBezTo>
                            <a:pt x="112" y="42"/>
                            <a:pt x="112" y="42"/>
                            <a:pt x="111" y="42"/>
                          </a:cubicBezTo>
                          <a:cubicBezTo>
                            <a:pt x="111" y="42"/>
                            <a:pt x="111" y="42"/>
                            <a:pt x="111" y="42"/>
                          </a:cubicBezTo>
                          <a:cubicBezTo>
                            <a:pt x="111" y="42"/>
                            <a:pt x="111" y="42"/>
                            <a:pt x="112" y="42"/>
                          </a:cubicBezTo>
                          <a:cubicBezTo>
                            <a:pt x="112" y="42"/>
                            <a:pt x="112" y="42"/>
                            <a:pt x="112" y="42"/>
                          </a:cubicBezTo>
                          <a:cubicBezTo>
                            <a:pt x="111" y="42"/>
                            <a:pt x="111" y="42"/>
                            <a:pt x="111" y="42"/>
                          </a:cubicBezTo>
                          <a:cubicBezTo>
                            <a:pt x="111" y="42"/>
                            <a:pt x="112" y="42"/>
                            <a:pt x="112" y="42"/>
                          </a:cubicBezTo>
                          <a:cubicBezTo>
                            <a:pt x="112" y="42"/>
                            <a:pt x="112" y="42"/>
                            <a:pt x="112" y="42"/>
                          </a:cubicBezTo>
                          <a:cubicBezTo>
                            <a:pt x="112" y="42"/>
                            <a:pt x="112" y="42"/>
                            <a:pt x="112" y="42"/>
                          </a:cubicBezTo>
                          <a:cubicBezTo>
                            <a:pt x="112" y="42"/>
                            <a:pt x="112" y="42"/>
                            <a:pt x="112" y="42"/>
                          </a:cubicBezTo>
                          <a:cubicBezTo>
                            <a:pt x="112" y="41"/>
                            <a:pt x="112" y="41"/>
                            <a:pt x="113" y="41"/>
                          </a:cubicBezTo>
                          <a:cubicBezTo>
                            <a:pt x="113" y="41"/>
                            <a:pt x="112" y="41"/>
                            <a:pt x="113" y="41"/>
                          </a:cubicBezTo>
                          <a:cubicBezTo>
                            <a:pt x="112" y="42"/>
                            <a:pt x="112" y="42"/>
                            <a:pt x="112" y="42"/>
                          </a:cubicBezTo>
                          <a:close/>
                          <a:moveTo>
                            <a:pt x="119" y="36"/>
                          </a:moveTo>
                          <a:cubicBezTo>
                            <a:pt x="119" y="36"/>
                            <a:pt x="119" y="36"/>
                            <a:pt x="119" y="36"/>
                          </a:cubicBezTo>
                          <a:cubicBezTo>
                            <a:pt x="119" y="36"/>
                            <a:pt x="119" y="36"/>
                            <a:pt x="119" y="36"/>
                          </a:cubicBezTo>
                          <a:cubicBezTo>
                            <a:pt x="119" y="36"/>
                            <a:pt x="119" y="36"/>
                            <a:pt x="119" y="36"/>
                          </a:cubicBezTo>
                          <a:cubicBezTo>
                            <a:pt x="119" y="36"/>
                            <a:pt x="118" y="36"/>
                            <a:pt x="118" y="36"/>
                          </a:cubicBezTo>
                          <a:cubicBezTo>
                            <a:pt x="118" y="36"/>
                            <a:pt x="118" y="36"/>
                            <a:pt x="119" y="36"/>
                          </a:cubicBezTo>
                          <a:cubicBezTo>
                            <a:pt x="119" y="36"/>
                            <a:pt x="119" y="36"/>
                            <a:pt x="119" y="36"/>
                          </a:cubicBezTo>
                          <a:cubicBezTo>
                            <a:pt x="119" y="36"/>
                            <a:pt x="119" y="36"/>
                            <a:pt x="120" y="36"/>
                          </a:cubicBezTo>
                          <a:cubicBezTo>
                            <a:pt x="120" y="36"/>
                            <a:pt x="119" y="36"/>
                            <a:pt x="119" y="36"/>
                          </a:cubicBezTo>
                          <a:cubicBezTo>
                            <a:pt x="119" y="36"/>
                            <a:pt x="119" y="36"/>
                            <a:pt x="119" y="36"/>
                          </a:cubicBezTo>
                          <a:close/>
                        </a:path>
                      </a:pathLst>
                    </a:custGeom>
                    <a:gradFill flip="none" rotWithShape="1">
                      <a:gsLst>
                        <a:gs pos="84000">
                          <a:schemeClr val="accent2">
                            <a:lumMod val="40000"/>
                            <a:lumOff val="60000"/>
                          </a:schemeClr>
                        </a:gs>
                        <a:gs pos="0">
                          <a:schemeClr val="accent2"/>
                        </a:gs>
                        <a:gs pos="55000">
                          <a:schemeClr val="accent2"/>
                        </a:gs>
                      </a:gsLst>
                      <a:lin ang="13500000" scaled="1"/>
                      <a:tileRect/>
                    </a:gra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/>
                      <a:endParaRPr/>
                    </a:p>
                  </p:txBody>
                </p:sp>
              </p:grpSp>
              <p:sp>
                <p:nvSpPr>
                  <p:cNvPr id="244" name="任意多边形: 形状 243">
                    <a:extLst>
                      <a:ext uri="{FF2B5EF4-FFF2-40B4-BE49-F238E27FC236}">
                        <a16:creationId xmlns:a16="http://schemas.microsoft.com/office/drawing/2014/main" id="{07D32FEA-B975-4DAD-89FB-FF1A56404813}"/>
                      </a:ext>
                    </a:extLst>
                  </p:cNvPr>
                  <p:cNvSpPr/>
                  <p:nvPr/>
                </p:nvSpPr>
                <p:spPr bwMode="auto">
                  <a:xfrm rot="20288524" flipH="1">
                    <a:off x="6966078" y="2369833"/>
                    <a:ext cx="680166" cy="555407"/>
                  </a:xfrm>
                  <a:custGeom>
                    <a:avLst/>
                    <a:gdLst>
                      <a:gd name="connsiteX0" fmla="*/ 1084317 w 2051014"/>
                      <a:gd name="connsiteY0" fmla="*/ 1449027 h 1674813"/>
                      <a:gd name="connsiteX1" fmla="*/ 1106021 w 2051014"/>
                      <a:gd name="connsiteY1" fmla="*/ 1452707 h 1674813"/>
                      <a:gd name="connsiteX2" fmla="*/ 1083697 w 2051014"/>
                      <a:gd name="connsiteY2" fmla="*/ 1464974 h 1674813"/>
                      <a:gd name="connsiteX3" fmla="*/ 1066333 w 2051014"/>
                      <a:gd name="connsiteY3" fmla="*/ 1452707 h 1674813"/>
                      <a:gd name="connsiteX4" fmla="*/ 1084317 w 2051014"/>
                      <a:gd name="connsiteY4" fmla="*/ 1449027 h 1674813"/>
                      <a:gd name="connsiteX5" fmla="*/ 1105026 w 2051014"/>
                      <a:gd name="connsiteY5" fmla="*/ 1235113 h 1674813"/>
                      <a:gd name="connsiteX6" fmla="*/ 1057882 w 2051014"/>
                      <a:gd name="connsiteY6" fmla="*/ 1250172 h 1674813"/>
                      <a:gd name="connsiteX7" fmla="*/ 1059197 w 2051014"/>
                      <a:gd name="connsiteY7" fmla="*/ 1259916 h 1674813"/>
                      <a:gd name="connsiteX8" fmla="*/ 1057943 w 2051014"/>
                      <a:gd name="connsiteY8" fmla="*/ 1264099 h 1674813"/>
                      <a:gd name="connsiteX9" fmla="*/ 1062955 w 2051014"/>
                      <a:gd name="connsiteY9" fmla="*/ 1267226 h 1674813"/>
                      <a:gd name="connsiteX10" fmla="*/ 1102551 w 2051014"/>
                      <a:gd name="connsiteY10" fmla="*/ 1279577 h 1674813"/>
                      <a:gd name="connsiteX11" fmla="*/ 1105026 w 2051014"/>
                      <a:gd name="connsiteY11" fmla="*/ 1235113 h 1674813"/>
                      <a:gd name="connsiteX12" fmla="*/ 879820 w 2051014"/>
                      <a:gd name="connsiteY12" fmla="*/ 1148655 h 1674813"/>
                      <a:gd name="connsiteX13" fmla="*/ 892194 w 2051014"/>
                      <a:gd name="connsiteY13" fmla="*/ 1195589 h 1674813"/>
                      <a:gd name="connsiteX14" fmla="*/ 907043 w 2051014"/>
                      <a:gd name="connsiteY14" fmla="*/ 1183238 h 1674813"/>
                      <a:gd name="connsiteX15" fmla="*/ 879820 w 2051014"/>
                      <a:gd name="connsiteY15" fmla="*/ 1148655 h 1674813"/>
                      <a:gd name="connsiteX16" fmla="*/ 1540589 w 2051014"/>
                      <a:gd name="connsiteY16" fmla="*/ 1106661 h 1674813"/>
                      <a:gd name="connsiteX17" fmla="*/ 1508417 w 2051014"/>
                      <a:gd name="connsiteY17" fmla="*/ 1116542 h 1674813"/>
                      <a:gd name="connsiteX18" fmla="*/ 1406950 w 2051014"/>
                      <a:gd name="connsiteY18" fmla="*/ 1148655 h 1674813"/>
                      <a:gd name="connsiteX19" fmla="*/ 1340131 w 2051014"/>
                      <a:gd name="connsiteY19" fmla="*/ 1173357 h 1674813"/>
                      <a:gd name="connsiteX20" fmla="*/ 1330232 w 2051014"/>
                      <a:gd name="connsiteY20" fmla="*/ 1188179 h 1674813"/>
                      <a:gd name="connsiteX21" fmla="*/ 1332707 w 2051014"/>
                      <a:gd name="connsiteY21" fmla="*/ 1249934 h 1674813"/>
                      <a:gd name="connsiteX22" fmla="*/ 1337656 w 2051014"/>
                      <a:gd name="connsiteY22" fmla="*/ 1284518 h 1674813"/>
                      <a:gd name="connsiteX23" fmla="*/ 1345081 w 2051014"/>
                      <a:gd name="connsiteY23" fmla="*/ 1343803 h 1674813"/>
                      <a:gd name="connsiteX24" fmla="*/ 1540589 w 2051014"/>
                      <a:gd name="connsiteY24" fmla="*/ 1106661 h 1674813"/>
                      <a:gd name="connsiteX25" fmla="*/ 371323 w 2051014"/>
                      <a:gd name="connsiteY25" fmla="*/ 983024 h 1674813"/>
                      <a:gd name="connsiteX26" fmla="*/ 467817 w 2051014"/>
                      <a:gd name="connsiteY26" fmla="*/ 1074471 h 1674813"/>
                      <a:gd name="connsiteX27" fmla="*/ 217922 w 2051014"/>
                      <a:gd name="connsiteY27" fmla="*/ 1353753 h 1674813"/>
                      <a:gd name="connsiteX28" fmla="*/ 517301 w 2051014"/>
                      <a:gd name="connsiteY28" fmla="*/ 1198047 h 1674813"/>
                      <a:gd name="connsiteX29" fmla="*/ 490085 w 2051014"/>
                      <a:gd name="connsiteY29" fmla="*/ 1566303 h 1674813"/>
                      <a:gd name="connsiteX30" fmla="*/ 282251 w 2051014"/>
                      <a:gd name="connsiteY30" fmla="*/ 1450142 h 1674813"/>
                      <a:gd name="connsiteX31" fmla="*/ 262458 w 2051014"/>
                      <a:gd name="connsiteY31" fmla="*/ 1603376 h 1674813"/>
                      <a:gd name="connsiteX32" fmla="*/ 86789 w 2051014"/>
                      <a:gd name="connsiteY32" fmla="*/ 1413069 h 1674813"/>
                      <a:gd name="connsiteX33" fmla="*/ 257509 w 2051014"/>
                      <a:gd name="connsiteY33" fmla="*/ 1153559 h 1674813"/>
                      <a:gd name="connsiteX34" fmla="*/ 101634 w 2051014"/>
                      <a:gd name="connsiteY34" fmla="*/ 1254892 h 1674813"/>
                      <a:gd name="connsiteX35" fmla="*/ 39779 w 2051014"/>
                      <a:gd name="connsiteY35" fmla="*/ 1205461 h 1674813"/>
                      <a:gd name="connsiteX36" fmla="*/ 106582 w 2051014"/>
                      <a:gd name="connsiteY36" fmla="*/ 1111543 h 1674813"/>
                      <a:gd name="connsiteX37" fmla="*/ 371323 w 2051014"/>
                      <a:gd name="connsiteY37" fmla="*/ 983024 h 1674813"/>
                      <a:gd name="connsiteX38" fmla="*/ 1072854 w 2051014"/>
                      <a:gd name="connsiteY38" fmla="*/ 958448 h 1674813"/>
                      <a:gd name="connsiteX39" fmla="*/ 872396 w 2051014"/>
                      <a:gd name="connsiteY39" fmla="*/ 1094310 h 1674813"/>
                      <a:gd name="connsiteX40" fmla="*/ 902093 w 2051014"/>
                      <a:gd name="connsiteY40" fmla="*/ 1148655 h 1674813"/>
                      <a:gd name="connsiteX41" fmla="*/ 909518 w 2051014"/>
                      <a:gd name="connsiteY41" fmla="*/ 1156066 h 1674813"/>
                      <a:gd name="connsiteX42" fmla="*/ 951589 w 2051014"/>
                      <a:gd name="connsiteY42" fmla="*/ 1156066 h 1674813"/>
                      <a:gd name="connsiteX43" fmla="*/ 1020883 w 2051014"/>
                      <a:gd name="connsiteY43" fmla="*/ 1116542 h 1674813"/>
                      <a:gd name="connsiteX44" fmla="*/ 1087703 w 2051014"/>
                      <a:gd name="connsiteY44" fmla="*/ 1079489 h 1674813"/>
                      <a:gd name="connsiteX45" fmla="*/ 1072854 w 2051014"/>
                      <a:gd name="connsiteY45" fmla="*/ 958448 h 1674813"/>
                      <a:gd name="connsiteX46" fmla="*/ 294376 w 2051014"/>
                      <a:gd name="connsiteY46" fmla="*/ 654981 h 1674813"/>
                      <a:gd name="connsiteX47" fmla="*/ 385303 w 2051014"/>
                      <a:gd name="connsiteY47" fmla="*/ 692078 h 1674813"/>
                      <a:gd name="connsiteX48" fmla="*/ 516603 w 2051014"/>
                      <a:gd name="connsiteY48" fmla="*/ 805488 h 1674813"/>
                      <a:gd name="connsiteX49" fmla="*/ 541376 w 2051014"/>
                      <a:gd name="connsiteY49" fmla="*/ 840004 h 1674813"/>
                      <a:gd name="connsiteX50" fmla="*/ 526512 w 2051014"/>
                      <a:gd name="connsiteY50" fmla="*/ 869590 h 1674813"/>
                      <a:gd name="connsiteX51" fmla="*/ 496784 w 2051014"/>
                      <a:gd name="connsiteY51" fmla="*/ 879451 h 1674813"/>
                      <a:gd name="connsiteX52" fmla="*/ 372916 w 2051014"/>
                      <a:gd name="connsiteY52" fmla="*/ 911502 h 1674813"/>
                      <a:gd name="connsiteX53" fmla="*/ 338233 w 2051014"/>
                      <a:gd name="connsiteY53" fmla="*/ 936157 h 1674813"/>
                      <a:gd name="connsiteX54" fmla="*/ 382825 w 2051014"/>
                      <a:gd name="connsiteY54" fmla="*/ 946018 h 1674813"/>
                      <a:gd name="connsiteX55" fmla="*/ 360529 w 2051014"/>
                      <a:gd name="connsiteY55" fmla="*/ 963276 h 1674813"/>
                      <a:gd name="connsiteX56" fmla="*/ 251526 w 2051014"/>
                      <a:gd name="connsiteY56" fmla="*/ 943553 h 1674813"/>
                      <a:gd name="connsiteX57" fmla="*/ 73156 w 2051014"/>
                      <a:gd name="connsiteY57" fmla="*/ 807954 h 1674813"/>
                      <a:gd name="connsiteX58" fmla="*/ 6268 w 2051014"/>
                      <a:gd name="connsiteY58" fmla="*/ 729060 h 1674813"/>
                      <a:gd name="connsiteX59" fmla="*/ 3790 w 2051014"/>
                      <a:gd name="connsiteY59" fmla="*/ 699474 h 1674813"/>
                      <a:gd name="connsiteX60" fmla="*/ 21132 w 2051014"/>
                      <a:gd name="connsiteY60" fmla="*/ 692078 h 1674813"/>
                      <a:gd name="connsiteX61" fmla="*/ 157386 w 2051014"/>
                      <a:gd name="connsiteY61" fmla="*/ 664958 h 1674813"/>
                      <a:gd name="connsiteX62" fmla="*/ 236662 w 2051014"/>
                      <a:gd name="connsiteY62" fmla="*/ 660027 h 1674813"/>
                      <a:gd name="connsiteX63" fmla="*/ 258958 w 2051014"/>
                      <a:gd name="connsiteY63" fmla="*/ 657562 h 1674813"/>
                      <a:gd name="connsiteX64" fmla="*/ 294376 w 2051014"/>
                      <a:gd name="connsiteY64" fmla="*/ 654981 h 1674813"/>
                      <a:gd name="connsiteX65" fmla="*/ 1033257 w 2051014"/>
                      <a:gd name="connsiteY65" fmla="*/ 195148 h 1674813"/>
                      <a:gd name="connsiteX66" fmla="*/ 1038207 w 2051014"/>
                      <a:gd name="connsiteY66" fmla="*/ 402647 h 1674813"/>
                      <a:gd name="connsiteX67" fmla="*/ 1050581 w 2051014"/>
                      <a:gd name="connsiteY67" fmla="*/ 343361 h 1674813"/>
                      <a:gd name="connsiteX68" fmla="*/ 1050581 w 2051014"/>
                      <a:gd name="connsiteY68" fmla="*/ 335951 h 1674813"/>
                      <a:gd name="connsiteX69" fmla="*/ 1040682 w 2051014"/>
                      <a:gd name="connsiteY69" fmla="*/ 212439 h 1674813"/>
                      <a:gd name="connsiteX70" fmla="*/ 1033257 w 2051014"/>
                      <a:gd name="connsiteY70" fmla="*/ 195148 h 1674813"/>
                      <a:gd name="connsiteX71" fmla="*/ 1040682 w 2051014"/>
                      <a:gd name="connsiteY71" fmla="*/ 0 h 1674813"/>
                      <a:gd name="connsiteX72" fmla="*/ 1053055 w 2051014"/>
                      <a:gd name="connsiteY72" fmla="*/ 2470 h 1674813"/>
                      <a:gd name="connsiteX73" fmla="*/ 1152047 w 2051014"/>
                      <a:gd name="connsiteY73" fmla="*/ 61756 h 1674813"/>
                      <a:gd name="connsiteX74" fmla="*/ 1278261 w 2051014"/>
                      <a:gd name="connsiteY74" fmla="*/ 153154 h 1674813"/>
                      <a:gd name="connsiteX75" fmla="*/ 1332707 w 2051014"/>
                      <a:gd name="connsiteY75" fmla="*/ 182797 h 1674813"/>
                      <a:gd name="connsiteX76" fmla="*/ 1476244 w 2051014"/>
                      <a:gd name="connsiteY76" fmla="*/ 293957 h 1674813"/>
                      <a:gd name="connsiteX77" fmla="*/ 1491093 w 2051014"/>
                      <a:gd name="connsiteY77" fmla="*/ 316189 h 1674813"/>
                      <a:gd name="connsiteX78" fmla="*/ 1488618 w 2051014"/>
                      <a:gd name="connsiteY78" fmla="*/ 321129 h 1674813"/>
                      <a:gd name="connsiteX79" fmla="*/ 1444072 w 2051014"/>
                      <a:gd name="connsiteY79" fmla="*/ 306308 h 1674813"/>
                      <a:gd name="connsiteX80" fmla="*/ 1421799 w 2051014"/>
                      <a:gd name="connsiteY80" fmla="*/ 345831 h 1674813"/>
                      <a:gd name="connsiteX81" fmla="*/ 1409425 w 2051014"/>
                      <a:gd name="connsiteY81" fmla="*/ 370534 h 1674813"/>
                      <a:gd name="connsiteX82" fmla="*/ 1394576 w 2051014"/>
                      <a:gd name="connsiteY82" fmla="*/ 419938 h 1674813"/>
                      <a:gd name="connsiteX83" fmla="*/ 1392102 w 2051014"/>
                      <a:gd name="connsiteY83" fmla="*/ 429819 h 1674813"/>
                      <a:gd name="connsiteX84" fmla="*/ 1382202 w 2051014"/>
                      <a:gd name="connsiteY84" fmla="*/ 489105 h 1674813"/>
                      <a:gd name="connsiteX85" fmla="*/ 1374778 w 2051014"/>
                      <a:gd name="connsiteY85" fmla="*/ 543449 h 1674813"/>
                      <a:gd name="connsiteX86" fmla="*/ 1503467 w 2051014"/>
                      <a:gd name="connsiteY86" fmla="*/ 595324 h 1674813"/>
                      <a:gd name="connsiteX87" fmla="*/ 1788068 w 2051014"/>
                      <a:gd name="connsiteY87" fmla="*/ 758359 h 1674813"/>
                      <a:gd name="connsiteX88" fmla="*/ 1983576 w 2051014"/>
                      <a:gd name="connsiteY88" fmla="*/ 943626 h 1674813"/>
                      <a:gd name="connsiteX89" fmla="*/ 2040496 w 2051014"/>
                      <a:gd name="connsiteY89" fmla="*/ 1025144 h 1674813"/>
                      <a:gd name="connsiteX90" fmla="*/ 2042971 w 2051014"/>
                      <a:gd name="connsiteY90" fmla="*/ 1096780 h 1674813"/>
                      <a:gd name="connsiteX91" fmla="*/ 2045446 w 2051014"/>
                      <a:gd name="connsiteY91" fmla="*/ 1114072 h 1674813"/>
                      <a:gd name="connsiteX92" fmla="*/ 2042971 w 2051014"/>
                      <a:gd name="connsiteY92" fmla="*/ 1126423 h 1674813"/>
                      <a:gd name="connsiteX93" fmla="*/ 1934080 w 2051014"/>
                      <a:gd name="connsiteY93" fmla="*/ 1353684 h 1674813"/>
                      <a:gd name="connsiteX94" fmla="*/ 1815291 w 2051014"/>
                      <a:gd name="connsiteY94" fmla="*/ 1551302 h 1674813"/>
                      <a:gd name="connsiteX95" fmla="*/ 1721249 w 2051014"/>
                      <a:gd name="connsiteY95" fmla="*/ 1669873 h 1674813"/>
                      <a:gd name="connsiteX96" fmla="*/ 1713824 w 2051014"/>
                      <a:gd name="connsiteY96" fmla="*/ 1674813 h 1674813"/>
                      <a:gd name="connsiteX97" fmla="*/ 1763320 w 2051014"/>
                      <a:gd name="connsiteY97" fmla="*/ 1578474 h 1674813"/>
                      <a:gd name="connsiteX98" fmla="*/ 1708875 w 2051014"/>
                      <a:gd name="connsiteY98" fmla="*/ 1650111 h 1674813"/>
                      <a:gd name="connsiteX99" fmla="*/ 1731148 w 2051014"/>
                      <a:gd name="connsiteY99" fmla="*/ 1561183 h 1674813"/>
                      <a:gd name="connsiteX100" fmla="*/ 1671753 w 2051014"/>
                      <a:gd name="connsiteY100" fmla="*/ 1613058 h 1674813"/>
                      <a:gd name="connsiteX101" fmla="*/ 1686602 w 2051014"/>
                      <a:gd name="connsiteY101" fmla="*/ 1524129 h 1674813"/>
                      <a:gd name="connsiteX102" fmla="*/ 1671753 w 2051014"/>
                      <a:gd name="connsiteY102" fmla="*/ 1536481 h 1674813"/>
                      <a:gd name="connsiteX103" fmla="*/ 1595034 w 2051014"/>
                      <a:gd name="connsiteY103" fmla="*/ 1620468 h 1674813"/>
                      <a:gd name="connsiteX104" fmla="*/ 1548013 w 2051014"/>
                      <a:gd name="connsiteY104" fmla="*/ 1642700 h 1674813"/>
                      <a:gd name="connsiteX105" fmla="*/ 1471295 w 2051014"/>
                      <a:gd name="connsiteY105" fmla="*/ 1640230 h 1674813"/>
                      <a:gd name="connsiteX106" fmla="*/ 1426749 w 2051014"/>
                      <a:gd name="connsiteY106" fmla="*/ 1632819 h 1674813"/>
                      <a:gd name="connsiteX107" fmla="*/ 1354980 w 2051014"/>
                      <a:gd name="connsiteY107" fmla="*/ 1610587 h 1674813"/>
                      <a:gd name="connsiteX108" fmla="*/ 1295585 w 2051014"/>
                      <a:gd name="connsiteY108" fmla="*/ 1583415 h 1674813"/>
                      <a:gd name="connsiteX109" fmla="*/ 1288160 w 2051014"/>
                      <a:gd name="connsiteY109" fmla="*/ 1561183 h 1674813"/>
                      <a:gd name="connsiteX110" fmla="*/ 1305484 w 2051014"/>
                      <a:gd name="connsiteY110" fmla="*/ 1536481 h 1674813"/>
                      <a:gd name="connsiteX111" fmla="*/ 1342606 w 2051014"/>
                      <a:gd name="connsiteY111" fmla="*/ 1457433 h 1674813"/>
                      <a:gd name="connsiteX112" fmla="*/ 1340131 w 2051014"/>
                      <a:gd name="connsiteY112" fmla="*/ 1447552 h 1674813"/>
                      <a:gd name="connsiteX113" fmla="*/ 1295585 w 2051014"/>
                      <a:gd name="connsiteY113" fmla="*/ 1477195 h 1674813"/>
                      <a:gd name="connsiteX114" fmla="*/ 1260938 w 2051014"/>
                      <a:gd name="connsiteY114" fmla="*/ 1487076 h 1674813"/>
                      <a:gd name="connsiteX115" fmla="*/ 1196593 w 2051014"/>
                      <a:gd name="connsiteY115" fmla="*/ 1496957 h 1674813"/>
                      <a:gd name="connsiteX116" fmla="*/ 1152047 w 2051014"/>
                      <a:gd name="connsiteY116" fmla="*/ 1501897 h 1674813"/>
                      <a:gd name="connsiteX117" fmla="*/ 1137198 w 2051014"/>
                      <a:gd name="connsiteY117" fmla="*/ 1484606 h 1674813"/>
                      <a:gd name="connsiteX118" fmla="*/ 1142148 w 2051014"/>
                      <a:gd name="connsiteY118" fmla="*/ 1447552 h 1674813"/>
                      <a:gd name="connsiteX119" fmla="*/ 1186694 w 2051014"/>
                      <a:gd name="connsiteY119" fmla="*/ 1435201 h 1674813"/>
                      <a:gd name="connsiteX120" fmla="*/ 1154522 w 2051014"/>
                      <a:gd name="connsiteY120" fmla="*/ 1408029 h 1674813"/>
                      <a:gd name="connsiteX121" fmla="*/ 1010984 w 2051014"/>
                      <a:gd name="connsiteY121" fmla="*/ 1277107 h 1674813"/>
                      <a:gd name="connsiteX122" fmla="*/ 997992 w 2051014"/>
                      <a:gd name="connsiteY122" fmla="*/ 1261668 h 1674813"/>
                      <a:gd name="connsiteX123" fmla="*/ 997474 w 2051014"/>
                      <a:gd name="connsiteY123" fmla="*/ 1256324 h 1674813"/>
                      <a:gd name="connsiteX124" fmla="*/ 994895 w 2051014"/>
                      <a:gd name="connsiteY124" fmla="*/ 1254703 h 1674813"/>
                      <a:gd name="connsiteX125" fmla="*/ 997243 w 2051014"/>
                      <a:gd name="connsiteY125" fmla="*/ 1253947 h 1674813"/>
                      <a:gd name="connsiteX126" fmla="*/ 996135 w 2051014"/>
                      <a:gd name="connsiteY126" fmla="*/ 1242524 h 1674813"/>
                      <a:gd name="connsiteX127" fmla="*/ 996135 w 2051014"/>
                      <a:gd name="connsiteY127" fmla="*/ 1227702 h 1674813"/>
                      <a:gd name="connsiteX128" fmla="*/ 978812 w 2051014"/>
                      <a:gd name="connsiteY128" fmla="*/ 1207941 h 1674813"/>
                      <a:gd name="connsiteX129" fmla="*/ 956539 w 2051014"/>
                      <a:gd name="connsiteY129" fmla="*/ 1230173 h 1674813"/>
                      <a:gd name="connsiteX130" fmla="*/ 919417 w 2051014"/>
                      <a:gd name="connsiteY130" fmla="*/ 1264756 h 1674813"/>
                      <a:gd name="connsiteX131" fmla="*/ 902093 w 2051014"/>
                      <a:gd name="connsiteY131" fmla="*/ 1267226 h 1674813"/>
                      <a:gd name="connsiteX132" fmla="*/ 902093 w 2051014"/>
                      <a:gd name="connsiteY132" fmla="*/ 1316630 h 1674813"/>
                      <a:gd name="connsiteX133" fmla="*/ 897144 w 2051014"/>
                      <a:gd name="connsiteY133" fmla="*/ 1375916 h 1674813"/>
                      <a:gd name="connsiteX134" fmla="*/ 894669 w 2051014"/>
                      <a:gd name="connsiteY134" fmla="*/ 1405559 h 1674813"/>
                      <a:gd name="connsiteX135" fmla="*/ 889719 w 2051014"/>
                      <a:gd name="connsiteY135" fmla="*/ 1427791 h 1674813"/>
                      <a:gd name="connsiteX136" fmla="*/ 862497 w 2051014"/>
                      <a:gd name="connsiteY136" fmla="*/ 1452493 h 1674813"/>
                      <a:gd name="connsiteX137" fmla="*/ 845173 w 2051014"/>
                      <a:gd name="connsiteY137" fmla="*/ 1445082 h 1674813"/>
                      <a:gd name="connsiteX138" fmla="*/ 803102 w 2051014"/>
                      <a:gd name="connsiteY138" fmla="*/ 1417910 h 1674813"/>
                      <a:gd name="connsiteX139" fmla="*/ 778354 w 2051014"/>
                      <a:gd name="connsiteY139" fmla="*/ 1432731 h 1674813"/>
                      <a:gd name="connsiteX140" fmla="*/ 780829 w 2051014"/>
                      <a:gd name="connsiteY140" fmla="*/ 1454963 h 1674813"/>
                      <a:gd name="connsiteX141" fmla="*/ 785778 w 2051014"/>
                      <a:gd name="connsiteY141" fmla="*/ 1472255 h 1674813"/>
                      <a:gd name="connsiteX142" fmla="*/ 763505 w 2051014"/>
                      <a:gd name="connsiteY142" fmla="*/ 1487076 h 1674813"/>
                      <a:gd name="connsiteX143" fmla="*/ 716484 w 2051014"/>
                      <a:gd name="connsiteY143" fmla="*/ 1482136 h 1674813"/>
                      <a:gd name="connsiteX144" fmla="*/ 610068 w 2051014"/>
                      <a:gd name="connsiteY144" fmla="*/ 1361095 h 1674813"/>
                      <a:gd name="connsiteX145" fmla="*/ 590270 w 2051014"/>
                      <a:gd name="connsiteY145" fmla="*/ 1296869 h 1674813"/>
                      <a:gd name="connsiteX146" fmla="*/ 595219 w 2051014"/>
                      <a:gd name="connsiteY146" fmla="*/ 1175828 h 1674813"/>
                      <a:gd name="connsiteX147" fmla="*/ 607593 w 2051014"/>
                      <a:gd name="connsiteY147" fmla="*/ 1158536 h 1674813"/>
                      <a:gd name="connsiteX148" fmla="*/ 654614 w 2051014"/>
                      <a:gd name="connsiteY148" fmla="*/ 1131364 h 1674813"/>
                      <a:gd name="connsiteX149" fmla="*/ 669463 w 2051014"/>
                      <a:gd name="connsiteY149" fmla="*/ 1104191 h 1674813"/>
                      <a:gd name="connsiteX150" fmla="*/ 679362 w 2051014"/>
                      <a:gd name="connsiteY150" fmla="*/ 1010322 h 1674813"/>
                      <a:gd name="connsiteX151" fmla="*/ 681837 w 2051014"/>
                      <a:gd name="connsiteY151" fmla="*/ 886811 h 1674813"/>
                      <a:gd name="connsiteX152" fmla="*/ 679362 w 2051014"/>
                      <a:gd name="connsiteY152" fmla="*/ 847288 h 1674813"/>
                      <a:gd name="connsiteX153" fmla="*/ 674413 w 2051014"/>
                      <a:gd name="connsiteY153" fmla="*/ 800353 h 1674813"/>
                      <a:gd name="connsiteX154" fmla="*/ 657089 w 2051014"/>
                      <a:gd name="connsiteY154" fmla="*/ 681782 h 1674813"/>
                      <a:gd name="connsiteX155" fmla="*/ 639766 w 2051014"/>
                      <a:gd name="connsiteY155" fmla="*/ 560741 h 1674813"/>
                      <a:gd name="connsiteX156" fmla="*/ 644715 w 2051014"/>
                      <a:gd name="connsiteY156" fmla="*/ 518747 h 1674813"/>
                      <a:gd name="connsiteX157" fmla="*/ 676887 w 2051014"/>
                      <a:gd name="connsiteY157" fmla="*/ 526158 h 1674813"/>
                      <a:gd name="connsiteX158" fmla="*/ 822900 w 2051014"/>
                      <a:gd name="connsiteY158" fmla="*/ 644729 h 1674813"/>
                      <a:gd name="connsiteX159" fmla="*/ 872396 w 2051014"/>
                      <a:gd name="connsiteY159" fmla="*/ 706485 h 1674813"/>
                      <a:gd name="connsiteX160" fmla="*/ 882295 w 2051014"/>
                      <a:gd name="connsiteY160" fmla="*/ 743538 h 1674813"/>
                      <a:gd name="connsiteX161" fmla="*/ 862497 w 2051014"/>
                      <a:gd name="connsiteY161" fmla="*/ 748479 h 1674813"/>
                      <a:gd name="connsiteX162" fmla="*/ 867446 w 2051014"/>
                      <a:gd name="connsiteY162" fmla="*/ 768240 h 1674813"/>
                      <a:gd name="connsiteX163" fmla="*/ 864971 w 2051014"/>
                      <a:gd name="connsiteY163" fmla="*/ 770711 h 1674813"/>
                      <a:gd name="connsiteX164" fmla="*/ 850123 w 2051014"/>
                      <a:gd name="connsiteY164" fmla="*/ 750949 h 1674813"/>
                      <a:gd name="connsiteX165" fmla="*/ 845173 w 2051014"/>
                      <a:gd name="connsiteY165" fmla="*/ 753419 h 1674813"/>
                      <a:gd name="connsiteX166" fmla="*/ 850123 w 2051014"/>
                      <a:gd name="connsiteY166" fmla="*/ 785532 h 1674813"/>
                      <a:gd name="connsiteX167" fmla="*/ 860022 w 2051014"/>
                      <a:gd name="connsiteY167" fmla="*/ 891752 h 1674813"/>
                      <a:gd name="connsiteX168" fmla="*/ 852598 w 2051014"/>
                      <a:gd name="connsiteY168" fmla="*/ 936216 h 1674813"/>
                      <a:gd name="connsiteX169" fmla="*/ 867446 w 2051014"/>
                      <a:gd name="connsiteY169" fmla="*/ 928805 h 1674813"/>
                      <a:gd name="connsiteX170" fmla="*/ 941690 w 2051014"/>
                      <a:gd name="connsiteY170" fmla="*/ 874460 h 1674813"/>
                      <a:gd name="connsiteX171" fmla="*/ 1030782 w 2051014"/>
                      <a:gd name="connsiteY171" fmla="*/ 807764 h 1674813"/>
                      <a:gd name="connsiteX172" fmla="*/ 1045631 w 2051014"/>
                      <a:gd name="connsiteY172" fmla="*/ 775651 h 1674813"/>
                      <a:gd name="connsiteX173" fmla="*/ 1025833 w 2051014"/>
                      <a:gd name="connsiteY173" fmla="*/ 595324 h 1674813"/>
                      <a:gd name="connsiteX174" fmla="*/ 991186 w 2051014"/>
                      <a:gd name="connsiteY174" fmla="*/ 368063 h 1674813"/>
                      <a:gd name="connsiteX175" fmla="*/ 976337 w 2051014"/>
                      <a:gd name="connsiteY175" fmla="*/ 224790 h 1674813"/>
                      <a:gd name="connsiteX176" fmla="*/ 986236 w 2051014"/>
                      <a:gd name="connsiteY176" fmla="*/ 83988 h 1674813"/>
                      <a:gd name="connsiteX177" fmla="*/ 988711 w 2051014"/>
                      <a:gd name="connsiteY177" fmla="*/ 61756 h 1674813"/>
                      <a:gd name="connsiteX178" fmla="*/ 1035732 w 2051014"/>
                      <a:gd name="connsiteY178" fmla="*/ 12351 h 1674813"/>
                      <a:gd name="connsiteX179" fmla="*/ 1040682 w 2051014"/>
                      <a:gd name="connsiteY179" fmla="*/ 0 h 1674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</a:cxnLst>
                    <a:rect l="l" t="t" r="r" b="b"/>
                    <a:pathLst>
                      <a:path w="2051014" h="1674813">
                        <a:moveTo>
                          <a:pt x="1084317" y="1449027"/>
                        </a:moveTo>
                        <a:cubicBezTo>
                          <a:pt x="1089278" y="1449027"/>
                          <a:pt x="1094859" y="1450254"/>
                          <a:pt x="1106021" y="1452707"/>
                        </a:cubicBezTo>
                        <a:cubicBezTo>
                          <a:pt x="1101060" y="1469881"/>
                          <a:pt x="1098580" y="1474788"/>
                          <a:pt x="1083697" y="1464974"/>
                        </a:cubicBezTo>
                        <a:cubicBezTo>
                          <a:pt x="1078736" y="1462521"/>
                          <a:pt x="1073775" y="1457614"/>
                          <a:pt x="1066333" y="1452707"/>
                        </a:cubicBezTo>
                        <a:cubicBezTo>
                          <a:pt x="1075015" y="1450254"/>
                          <a:pt x="1079356" y="1449027"/>
                          <a:pt x="1084317" y="1449027"/>
                        </a:cubicBezTo>
                        <a:close/>
                        <a:moveTo>
                          <a:pt x="1105026" y="1235113"/>
                        </a:moveTo>
                        <a:lnTo>
                          <a:pt x="1057882" y="1250172"/>
                        </a:lnTo>
                        <a:lnTo>
                          <a:pt x="1059197" y="1259916"/>
                        </a:lnTo>
                        <a:lnTo>
                          <a:pt x="1057943" y="1264099"/>
                        </a:lnTo>
                        <a:lnTo>
                          <a:pt x="1062955" y="1267226"/>
                        </a:lnTo>
                        <a:cubicBezTo>
                          <a:pt x="1075329" y="1274637"/>
                          <a:pt x="1090177" y="1289458"/>
                          <a:pt x="1102551" y="1279577"/>
                        </a:cubicBezTo>
                        <a:cubicBezTo>
                          <a:pt x="1112450" y="1269696"/>
                          <a:pt x="1109976" y="1252405"/>
                          <a:pt x="1105026" y="1235113"/>
                        </a:cubicBezTo>
                        <a:close/>
                        <a:moveTo>
                          <a:pt x="879820" y="1148655"/>
                        </a:moveTo>
                        <a:cubicBezTo>
                          <a:pt x="877345" y="1170887"/>
                          <a:pt x="879820" y="1183238"/>
                          <a:pt x="892194" y="1195589"/>
                        </a:cubicBezTo>
                        <a:cubicBezTo>
                          <a:pt x="897144" y="1190649"/>
                          <a:pt x="904568" y="1185709"/>
                          <a:pt x="907043" y="1183238"/>
                        </a:cubicBezTo>
                        <a:cubicBezTo>
                          <a:pt x="897144" y="1170887"/>
                          <a:pt x="889719" y="1163476"/>
                          <a:pt x="879820" y="1148655"/>
                        </a:cubicBezTo>
                        <a:close/>
                        <a:moveTo>
                          <a:pt x="1540589" y="1106661"/>
                        </a:moveTo>
                        <a:cubicBezTo>
                          <a:pt x="1525740" y="1111602"/>
                          <a:pt x="1518316" y="1114072"/>
                          <a:pt x="1508417" y="1116542"/>
                        </a:cubicBezTo>
                        <a:cubicBezTo>
                          <a:pt x="1476244" y="1128893"/>
                          <a:pt x="1444072" y="1143715"/>
                          <a:pt x="1406950" y="1148655"/>
                        </a:cubicBezTo>
                        <a:cubicBezTo>
                          <a:pt x="1384677" y="1153596"/>
                          <a:pt x="1362404" y="1163476"/>
                          <a:pt x="1340131" y="1173357"/>
                        </a:cubicBezTo>
                        <a:cubicBezTo>
                          <a:pt x="1335181" y="1175828"/>
                          <a:pt x="1330232" y="1183238"/>
                          <a:pt x="1330232" y="1188179"/>
                        </a:cubicBezTo>
                        <a:cubicBezTo>
                          <a:pt x="1330232" y="1210411"/>
                          <a:pt x="1330232" y="1230173"/>
                          <a:pt x="1332707" y="1249934"/>
                        </a:cubicBezTo>
                        <a:cubicBezTo>
                          <a:pt x="1332707" y="1262286"/>
                          <a:pt x="1335181" y="1272166"/>
                          <a:pt x="1337656" y="1284518"/>
                        </a:cubicBezTo>
                        <a:cubicBezTo>
                          <a:pt x="1340131" y="1304279"/>
                          <a:pt x="1342606" y="1324041"/>
                          <a:pt x="1345081" y="1343803"/>
                        </a:cubicBezTo>
                        <a:cubicBezTo>
                          <a:pt x="1424274" y="1277107"/>
                          <a:pt x="1486144" y="1198060"/>
                          <a:pt x="1540589" y="1106661"/>
                        </a:cubicBezTo>
                        <a:close/>
                        <a:moveTo>
                          <a:pt x="371323" y="983024"/>
                        </a:moveTo>
                        <a:cubicBezTo>
                          <a:pt x="440601" y="973138"/>
                          <a:pt x="472766" y="1039869"/>
                          <a:pt x="467817" y="1074471"/>
                        </a:cubicBezTo>
                        <a:cubicBezTo>
                          <a:pt x="462869" y="1111543"/>
                          <a:pt x="212973" y="1309265"/>
                          <a:pt x="217922" y="1353753"/>
                        </a:cubicBezTo>
                        <a:cubicBezTo>
                          <a:pt x="225344" y="1400711"/>
                          <a:pt x="457920" y="1188161"/>
                          <a:pt x="517301" y="1198047"/>
                        </a:cubicBezTo>
                        <a:cubicBezTo>
                          <a:pt x="574208" y="1207933"/>
                          <a:pt x="544518" y="1541588"/>
                          <a:pt x="490085" y="1566303"/>
                        </a:cubicBezTo>
                        <a:cubicBezTo>
                          <a:pt x="438127" y="1588547"/>
                          <a:pt x="306993" y="1514401"/>
                          <a:pt x="282251" y="1450142"/>
                        </a:cubicBezTo>
                        <a:cubicBezTo>
                          <a:pt x="255035" y="1385882"/>
                          <a:pt x="262458" y="1603376"/>
                          <a:pt x="262458" y="1603376"/>
                        </a:cubicBezTo>
                        <a:cubicBezTo>
                          <a:pt x="262458" y="1603376"/>
                          <a:pt x="66995" y="1519344"/>
                          <a:pt x="86789" y="1413069"/>
                        </a:cubicBezTo>
                        <a:cubicBezTo>
                          <a:pt x="89263" y="1403183"/>
                          <a:pt x="158541" y="1262306"/>
                          <a:pt x="257509" y="1153559"/>
                        </a:cubicBezTo>
                        <a:cubicBezTo>
                          <a:pt x="257509" y="1153559"/>
                          <a:pt x="148644" y="1269721"/>
                          <a:pt x="101634" y="1254892"/>
                        </a:cubicBezTo>
                        <a:cubicBezTo>
                          <a:pt x="89263" y="1252420"/>
                          <a:pt x="54624" y="1254892"/>
                          <a:pt x="39779" y="1205461"/>
                        </a:cubicBezTo>
                        <a:cubicBezTo>
                          <a:pt x="24933" y="1158502"/>
                          <a:pt x="106582" y="1111543"/>
                          <a:pt x="106582" y="1111543"/>
                        </a:cubicBezTo>
                        <a:cubicBezTo>
                          <a:pt x="106582" y="1111543"/>
                          <a:pt x="299571" y="992910"/>
                          <a:pt x="371323" y="983024"/>
                        </a:cubicBezTo>
                        <a:close/>
                        <a:moveTo>
                          <a:pt x="1072854" y="958448"/>
                        </a:moveTo>
                        <a:cubicBezTo>
                          <a:pt x="1003560" y="1005382"/>
                          <a:pt x="936740" y="1049846"/>
                          <a:pt x="872396" y="1094310"/>
                        </a:cubicBezTo>
                        <a:cubicBezTo>
                          <a:pt x="869921" y="1121483"/>
                          <a:pt x="879820" y="1138774"/>
                          <a:pt x="902093" y="1148655"/>
                        </a:cubicBezTo>
                        <a:cubicBezTo>
                          <a:pt x="904568" y="1151125"/>
                          <a:pt x="907043" y="1153596"/>
                          <a:pt x="909518" y="1156066"/>
                        </a:cubicBezTo>
                        <a:cubicBezTo>
                          <a:pt x="929316" y="1168417"/>
                          <a:pt x="931791" y="1168417"/>
                          <a:pt x="951589" y="1156066"/>
                        </a:cubicBezTo>
                        <a:cubicBezTo>
                          <a:pt x="973862" y="1141244"/>
                          <a:pt x="993661" y="1123953"/>
                          <a:pt x="1020883" y="1116542"/>
                        </a:cubicBezTo>
                        <a:cubicBezTo>
                          <a:pt x="1045631" y="1106661"/>
                          <a:pt x="1062955" y="1089370"/>
                          <a:pt x="1087703" y="1079489"/>
                        </a:cubicBezTo>
                        <a:cubicBezTo>
                          <a:pt x="1082753" y="1039965"/>
                          <a:pt x="1080278" y="1002912"/>
                          <a:pt x="1072854" y="958448"/>
                        </a:cubicBezTo>
                        <a:close/>
                        <a:moveTo>
                          <a:pt x="294376" y="654981"/>
                        </a:moveTo>
                        <a:cubicBezTo>
                          <a:pt x="328169" y="656946"/>
                          <a:pt x="357433" y="671738"/>
                          <a:pt x="385303" y="692078"/>
                        </a:cubicBezTo>
                        <a:cubicBezTo>
                          <a:pt x="434850" y="724129"/>
                          <a:pt x="479442" y="761110"/>
                          <a:pt x="516603" y="805488"/>
                        </a:cubicBezTo>
                        <a:cubicBezTo>
                          <a:pt x="526512" y="815350"/>
                          <a:pt x="533944" y="827677"/>
                          <a:pt x="541376" y="840004"/>
                        </a:cubicBezTo>
                        <a:cubicBezTo>
                          <a:pt x="548808" y="857262"/>
                          <a:pt x="546331" y="864659"/>
                          <a:pt x="526512" y="869590"/>
                        </a:cubicBezTo>
                        <a:cubicBezTo>
                          <a:pt x="516603" y="874521"/>
                          <a:pt x="506693" y="876986"/>
                          <a:pt x="496784" y="879451"/>
                        </a:cubicBezTo>
                        <a:cubicBezTo>
                          <a:pt x="454669" y="889313"/>
                          <a:pt x="415031" y="899175"/>
                          <a:pt x="372916" y="911502"/>
                        </a:cubicBezTo>
                        <a:cubicBezTo>
                          <a:pt x="358052" y="913968"/>
                          <a:pt x="348143" y="923829"/>
                          <a:pt x="338233" y="936157"/>
                        </a:cubicBezTo>
                        <a:cubicBezTo>
                          <a:pt x="355575" y="941087"/>
                          <a:pt x="367961" y="943553"/>
                          <a:pt x="382825" y="946018"/>
                        </a:cubicBezTo>
                        <a:cubicBezTo>
                          <a:pt x="377871" y="958346"/>
                          <a:pt x="370439" y="960811"/>
                          <a:pt x="360529" y="963276"/>
                        </a:cubicBezTo>
                        <a:cubicBezTo>
                          <a:pt x="323369" y="973138"/>
                          <a:pt x="286209" y="960811"/>
                          <a:pt x="251526" y="943553"/>
                        </a:cubicBezTo>
                        <a:cubicBezTo>
                          <a:pt x="184637" y="909037"/>
                          <a:pt x="127658" y="859728"/>
                          <a:pt x="73156" y="807954"/>
                        </a:cubicBezTo>
                        <a:cubicBezTo>
                          <a:pt x="48383" y="783299"/>
                          <a:pt x="23609" y="758645"/>
                          <a:pt x="6268" y="729060"/>
                        </a:cubicBezTo>
                        <a:cubicBezTo>
                          <a:pt x="1313" y="719198"/>
                          <a:pt x="-3642" y="711802"/>
                          <a:pt x="3790" y="699474"/>
                        </a:cubicBezTo>
                        <a:cubicBezTo>
                          <a:pt x="8745" y="697009"/>
                          <a:pt x="13700" y="692078"/>
                          <a:pt x="21132" y="692078"/>
                        </a:cubicBezTo>
                        <a:cubicBezTo>
                          <a:pt x="65724" y="682216"/>
                          <a:pt x="112794" y="672355"/>
                          <a:pt x="157386" y="664958"/>
                        </a:cubicBezTo>
                        <a:cubicBezTo>
                          <a:pt x="184637" y="660027"/>
                          <a:pt x="209411" y="662493"/>
                          <a:pt x="236662" y="660027"/>
                        </a:cubicBezTo>
                        <a:cubicBezTo>
                          <a:pt x="244094" y="660027"/>
                          <a:pt x="251526" y="660027"/>
                          <a:pt x="258958" y="657562"/>
                        </a:cubicBezTo>
                        <a:cubicBezTo>
                          <a:pt x="271345" y="655096"/>
                          <a:pt x="283112" y="654326"/>
                          <a:pt x="294376" y="654981"/>
                        </a:cubicBezTo>
                        <a:close/>
                        <a:moveTo>
                          <a:pt x="1033257" y="195148"/>
                        </a:moveTo>
                        <a:cubicBezTo>
                          <a:pt x="1028308" y="247022"/>
                          <a:pt x="1015934" y="370534"/>
                          <a:pt x="1038207" y="402647"/>
                        </a:cubicBezTo>
                        <a:cubicBezTo>
                          <a:pt x="1043156" y="382885"/>
                          <a:pt x="1048106" y="363123"/>
                          <a:pt x="1050581" y="343361"/>
                        </a:cubicBezTo>
                        <a:cubicBezTo>
                          <a:pt x="1050581" y="340891"/>
                          <a:pt x="1050581" y="338421"/>
                          <a:pt x="1050581" y="335951"/>
                        </a:cubicBezTo>
                        <a:cubicBezTo>
                          <a:pt x="1048106" y="293957"/>
                          <a:pt x="1043156" y="254433"/>
                          <a:pt x="1040682" y="212439"/>
                        </a:cubicBezTo>
                        <a:cubicBezTo>
                          <a:pt x="1040682" y="207499"/>
                          <a:pt x="1035732" y="205029"/>
                          <a:pt x="1033257" y="195148"/>
                        </a:cubicBezTo>
                        <a:close/>
                        <a:moveTo>
                          <a:pt x="1040682" y="0"/>
                        </a:moveTo>
                        <a:cubicBezTo>
                          <a:pt x="1045631" y="0"/>
                          <a:pt x="1050581" y="0"/>
                          <a:pt x="1053055" y="2470"/>
                        </a:cubicBezTo>
                        <a:cubicBezTo>
                          <a:pt x="1085228" y="22232"/>
                          <a:pt x="1119875" y="39523"/>
                          <a:pt x="1152047" y="61756"/>
                        </a:cubicBezTo>
                        <a:cubicBezTo>
                          <a:pt x="1194118" y="88928"/>
                          <a:pt x="1236190" y="123511"/>
                          <a:pt x="1278261" y="153154"/>
                        </a:cubicBezTo>
                        <a:cubicBezTo>
                          <a:pt x="1295585" y="165505"/>
                          <a:pt x="1315383" y="175386"/>
                          <a:pt x="1332707" y="182797"/>
                        </a:cubicBezTo>
                        <a:cubicBezTo>
                          <a:pt x="1389627" y="209969"/>
                          <a:pt x="1436648" y="247022"/>
                          <a:pt x="1476244" y="293957"/>
                        </a:cubicBezTo>
                        <a:cubicBezTo>
                          <a:pt x="1483669" y="301367"/>
                          <a:pt x="1486144" y="308778"/>
                          <a:pt x="1491093" y="316189"/>
                        </a:cubicBezTo>
                        <a:cubicBezTo>
                          <a:pt x="1491093" y="318659"/>
                          <a:pt x="1488618" y="321129"/>
                          <a:pt x="1488618" y="321129"/>
                        </a:cubicBezTo>
                        <a:cubicBezTo>
                          <a:pt x="1476244" y="316189"/>
                          <a:pt x="1461396" y="311248"/>
                          <a:pt x="1444072" y="306308"/>
                        </a:cubicBezTo>
                        <a:cubicBezTo>
                          <a:pt x="1436648" y="318659"/>
                          <a:pt x="1429223" y="331010"/>
                          <a:pt x="1421799" y="345831"/>
                        </a:cubicBezTo>
                        <a:cubicBezTo>
                          <a:pt x="1416850" y="353242"/>
                          <a:pt x="1414375" y="363123"/>
                          <a:pt x="1409425" y="370534"/>
                        </a:cubicBezTo>
                        <a:cubicBezTo>
                          <a:pt x="1397051" y="385355"/>
                          <a:pt x="1389627" y="400176"/>
                          <a:pt x="1394576" y="419938"/>
                        </a:cubicBezTo>
                        <a:cubicBezTo>
                          <a:pt x="1394576" y="422408"/>
                          <a:pt x="1394576" y="427349"/>
                          <a:pt x="1392102" y="429819"/>
                        </a:cubicBezTo>
                        <a:cubicBezTo>
                          <a:pt x="1382202" y="447111"/>
                          <a:pt x="1382202" y="469343"/>
                          <a:pt x="1382202" y="489105"/>
                        </a:cubicBezTo>
                        <a:cubicBezTo>
                          <a:pt x="1379728" y="508866"/>
                          <a:pt x="1377253" y="526158"/>
                          <a:pt x="1374778" y="543449"/>
                        </a:cubicBezTo>
                        <a:cubicBezTo>
                          <a:pt x="1419324" y="560741"/>
                          <a:pt x="1461396" y="578033"/>
                          <a:pt x="1503467" y="595324"/>
                        </a:cubicBezTo>
                        <a:cubicBezTo>
                          <a:pt x="1604934" y="634848"/>
                          <a:pt x="1701450" y="689193"/>
                          <a:pt x="1788068" y="758359"/>
                        </a:cubicBezTo>
                        <a:cubicBezTo>
                          <a:pt x="1857362" y="815175"/>
                          <a:pt x="1924181" y="874460"/>
                          <a:pt x="1983576" y="943626"/>
                        </a:cubicBezTo>
                        <a:cubicBezTo>
                          <a:pt x="2005849" y="968329"/>
                          <a:pt x="2023173" y="995501"/>
                          <a:pt x="2040496" y="1025144"/>
                        </a:cubicBezTo>
                        <a:cubicBezTo>
                          <a:pt x="2055345" y="1047376"/>
                          <a:pt x="2052870" y="1072078"/>
                          <a:pt x="2042971" y="1096780"/>
                        </a:cubicBezTo>
                        <a:cubicBezTo>
                          <a:pt x="2040496" y="1101721"/>
                          <a:pt x="2030597" y="1109132"/>
                          <a:pt x="2045446" y="1114072"/>
                        </a:cubicBezTo>
                        <a:cubicBezTo>
                          <a:pt x="2045446" y="1114072"/>
                          <a:pt x="2042971" y="1121483"/>
                          <a:pt x="2042971" y="1126423"/>
                        </a:cubicBezTo>
                        <a:cubicBezTo>
                          <a:pt x="2005849" y="1203000"/>
                          <a:pt x="1971202" y="1279577"/>
                          <a:pt x="1934080" y="1353684"/>
                        </a:cubicBezTo>
                        <a:cubicBezTo>
                          <a:pt x="1899433" y="1422850"/>
                          <a:pt x="1862312" y="1489546"/>
                          <a:pt x="1815291" y="1551302"/>
                        </a:cubicBezTo>
                        <a:cubicBezTo>
                          <a:pt x="1785593" y="1590826"/>
                          <a:pt x="1753421" y="1630349"/>
                          <a:pt x="1721249" y="1669873"/>
                        </a:cubicBezTo>
                        <a:cubicBezTo>
                          <a:pt x="1718774" y="1672343"/>
                          <a:pt x="1716299" y="1672343"/>
                          <a:pt x="1713824" y="1674813"/>
                        </a:cubicBezTo>
                        <a:cubicBezTo>
                          <a:pt x="1728673" y="1640230"/>
                          <a:pt x="1750946" y="1613058"/>
                          <a:pt x="1763320" y="1578474"/>
                        </a:cubicBezTo>
                        <a:cubicBezTo>
                          <a:pt x="1736097" y="1595766"/>
                          <a:pt x="1728673" y="1627879"/>
                          <a:pt x="1708875" y="1650111"/>
                        </a:cubicBezTo>
                        <a:cubicBezTo>
                          <a:pt x="1711349" y="1620468"/>
                          <a:pt x="1733623" y="1595766"/>
                          <a:pt x="1731148" y="1561183"/>
                        </a:cubicBezTo>
                        <a:cubicBezTo>
                          <a:pt x="1703925" y="1568593"/>
                          <a:pt x="1698975" y="1603177"/>
                          <a:pt x="1671753" y="1613058"/>
                        </a:cubicBezTo>
                        <a:cubicBezTo>
                          <a:pt x="1664328" y="1580945"/>
                          <a:pt x="1694026" y="1558713"/>
                          <a:pt x="1686602" y="1524129"/>
                        </a:cubicBezTo>
                        <a:cubicBezTo>
                          <a:pt x="1679177" y="1529070"/>
                          <a:pt x="1674228" y="1534010"/>
                          <a:pt x="1671753" y="1536481"/>
                        </a:cubicBezTo>
                        <a:cubicBezTo>
                          <a:pt x="1649480" y="1568593"/>
                          <a:pt x="1624732" y="1595766"/>
                          <a:pt x="1595034" y="1620468"/>
                        </a:cubicBezTo>
                        <a:cubicBezTo>
                          <a:pt x="1580186" y="1632819"/>
                          <a:pt x="1565337" y="1640230"/>
                          <a:pt x="1548013" y="1642700"/>
                        </a:cubicBezTo>
                        <a:cubicBezTo>
                          <a:pt x="1523265" y="1642700"/>
                          <a:pt x="1496043" y="1645170"/>
                          <a:pt x="1471295" y="1640230"/>
                        </a:cubicBezTo>
                        <a:cubicBezTo>
                          <a:pt x="1456446" y="1635290"/>
                          <a:pt x="1441597" y="1635290"/>
                          <a:pt x="1426749" y="1632819"/>
                        </a:cubicBezTo>
                        <a:cubicBezTo>
                          <a:pt x="1399526" y="1632819"/>
                          <a:pt x="1377253" y="1625409"/>
                          <a:pt x="1354980" y="1610587"/>
                        </a:cubicBezTo>
                        <a:cubicBezTo>
                          <a:pt x="1335181" y="1600706"/>
                          <a:pt x="1320333" y="1585885"/>
                          <a:pt x="1295585" y="1583415"/>
                        </a:cubicBezTo>
                        <a:cubicBezTo>
                          <a:pt x="1280736" y="1583415"/>
                          <a:pt x="1280736" y="1573534"/>
                          <a:pt x="1288160" y="1561183"/>
                        </a:cubicBezTo>
                        <a:cubicBezTo>
                          <a:pt x="1293110" y="1553772"/>
                          <a:pt x="1300534" y="1546361"/>
                          <a:pt x="1305484" y="1536481"/>
                        </a:cubicBezTo>
                        <a:cubicBezTo>
                          <a:pt x="1325282" y="1514249"/>
                          <a:pt x="1335181" y="1487076"/>
                          <a:pt x="1342606" y="1457433"/>
                        </a:cubicBezTo>
                        <a:cubicBezTo>
                          <a:pt x="1342606" y="1457433"/>
                          <a:pt x="1340131" y="1454963"/>
                          <a:pt x="1340131" y="1447552"/>
                        </a:cubicBezTo>
                        <a:cubicBezTo>
                          <a:pt x="1325282" y="1457433"/>
                          <a:pt x="1310434" y="1467314"/>
                          <a:pt x="1295585" y="1477195"/>
                        </a:cubicBezTo>
                        <a:cubicBezTo>
                          <a:pt x="1285686" y="1484606"/>
                          <a:pt x="1275787" y="1489546"/>
                          <a:pt x="1260938" y="1487076"/>
                        </a:cubicBezTo>
                        <a:cubicBezTo>
                          <a:pt x="1238665" y="1487076"/>
                          <a:pt x="1218866" y="1487076"/>
                          <a:pt x="1196593" y="1496957"/>
                        </a:cubicBezTo>
                        <a:cubicBezTo>
                          <a:pt x="1184219" y="1504368"/>
                          <a:pt x="1166896" y="1501897"/>
                          <a:pt x="1152047" y="1501897"/>
                        </a:cubicBezTo>
                        <a:cubicBezTo>
                          <a:pt x="1139673" y="1501897"/>
                          <a:pt x="1137198" y="1496957"/>
                          <a:pt x="1137198" y="1484606"/>
                        </a:cubicBezTo>
                        <a:cubicBezTo>
                          <a:pt x="1137198" y="1472255"/>
                          <a:pt x="1139673" y="1462374"/>
                          <a:pt x="1142148" y="1447552"/>
                        </a:cubicBezTo>
                        <a:cubicBezTo>
                          <a:pt x="1154522" y="1445082"/>
                          <a:pt x="1169371" y="1440142"/>
                          <a:pt x="1186694" y="1435201"/>
                        </a:cubicBezTo>
                        <a:cubicBezTo>
                          <a:pt x="1174320" y="1422850"/>
                          <a:pt x="1164421" y="1415439"/>
                          <a:pt x="1154522" y="1408029"/>
                        </a:cubicBezTo>
                        <a:cubicBezTo>
                          <a:pt x="1107501" y="1363565"/>
                          <a:pt x="1058005" y="1321571"/>
                          <a:pt x="1010984" y="1277107"/>
                        </a:cubicBezTo>
                        <a:cubicBezTo>
                          <a:pt x="1004797" y="1272167"/>
                          <a:pt x="1000467" y="1267226"/>
                          <a:pt x="997992" y="1261668"/>
                        </a:cubicBezTo>
                        <a:lnTo>
                          <a:pt x="997474" y="1256324"/>
                        </a:lnTo>
                        <a:lnTo>
                          <a:pt x="994895" y="1254703"/>
                        </a:lnTo>
                        <a:lnTo>
                          <a:pt x="997243" y="1253947"/>
                        </a:lnTo>
                        <a:lnTo>
                          <a:pt x="996135" y="1242524"/>
                        </a:lnTo>
                        <a:cubicBezTo>
                          <a:pt x="996135" y="1237583"/>
                          <a:pt x="996135" y="1232643"/>
                          <a:pt x="996135" y="1227702"/>
                        </a:cubicBezTo>
                        <a:cubicBezTo>
                          <a:pt x="993661" y="1220292"/>
                          <a:pt x="991186" y="1207941"/>
                          <a:pt x="978812" y="1207941"/>
                        </a:cubicBezTo>
                        <a:cubicBezTo>
                          <a:pt x="966438" y="1210411"/>
                          <a:pt x="956539" y="1217821"/>
                          <a:pt x="956539" y="1230173"/>
                        </a:cubicBezTo>
                        <a:cubicBezTo>
                          <a:pt x="951589" y="1264756"/>
                          <a:pt x="951589" y="1264756"/>
                          <a:pt x="919417" y="1264756"/>
                        </a:cubicBezTo>
                        <a:cubicBezTo>
                          <a:pt x="914467" y="1264756"/>
                          <a:pt x="907043" y="1264756"/>
                          <a:pt x="902093" y="1267226"/>
                        </a:cubicBezTo>
                        <a:cubicBezTo>
                          <a:pt x="892194" y="1284518"/>
                          <a:pt x="897144" y="1301809"/>
                          <a:pt x="902093" y="1316630"/>
                        </a:cubicBezTo>
                        <a:cubicBezTo>
                          <a:pt x="907043" y="1338862"/>
                          <a:pt x="911992" y="1356154"/>
                          <a:pt x="897144" y="1375916"/>
                        </a:cubicBezTo>
                        <a:cubicBezTo>
                          <a:pt x="892194" y="1383327"/>
                          <a:pt x="894669" y="1395678"/>
                          <a:pt x="894669" y="1405559"/>
                        </a:cubicBezTo>
                        <a:cubicBezTo>
                          <a:pt x="892194" y="1412969"/>
                          <a:pt x="894669" y="1422850"/>
                          <a:pt x="889719" y="1427791"/>
                        </a:cubicBezTo>
                        <a:cubicBezTo>
                          <a:pt x="882295" y="1437672"/>
                          <a:pt x="872396" y="1445082"/>
                          <a:pt x="862497" y="1452493"/>
                        </a:cubicBezTo>
                        <a:cubicBezTo>
                          <a:pt x="857547" y="1452493"/>
                          <a:pt x="850123" y="1447552"/>
                          <a:pt x="845173" y="1445082"/>
                        </a:cubicBezTo>
                        <a:cubicBezTo>
                          <a:pt x="830324" y="1435201"/>
                          <a:pt x="817950" y="1425320"/>
                          <a:pt x="803102" y="1417910"/>
                        </a:cubicBezTo>
                        <a:cubicBezTo>
                          <a:pt x="788253" y="1410499"/>
                          <a:pt x="778354" y="1415439"/>
                          <a:pt x="778354" y="1432731"/>
                        </a:cubicBezTo>
                        <a:cubicBezTo>
                          <a:pt x="778354" y="1440142"/>
                          <a:pt x="778354" y="1447552"/>
                          <a:pt x="780829" y="1454963"/>
                        </a:cubicBezTo>
                        <a:cubicBezTo>
                          <a:pt x="780829" y="1459904"/>
                          <a:pt x="783303" y="1464844"/>
                          <a:pt x="785778" y="1472255"/>
                        </a:cubicBezTo>
                        <a:cubicBezTo>
                          <a:pt x="778354" y="1477195"/>
                          <a:pt x="770929" y="1484606"/>
                          <a:pt x="763505" y="1487076"/>
                        </a:cubicBezTo>
                        <a:cubicBezTo>
                          <a:pt x="741232" y="1499427"/>
                          <a:pt x="736282" y="1499427"/>
                          <a:pt x="716484" y="1482136"/>
                        </a:cubicBezTo>
                        <a:cubicBezTo>
                          <a:pt x="676887" y="1445082"/>
                          <a:pt x="642240" y="1405559"/>
                          <a:pt x="610068" y="1361095"/>
                        </a:cubicBezTo>
                        <a:cubicBezTo>
                          <a:pt x="595219" y="1341333"/>
                          <a:pt x="595219" y="1319101"/>
                          <a:pt x="590270" y="1296869"/>
                        </a:cubicBezTo>
                        <a:cubicBezTo>
                          <a:pt x="585320" y="1254875"/>
                          <a:pt x="587795" y="1215351"/>
                          <a:pt x="595219" y="1175828"/>
                        </a:cubicBezTo>
                        <a:cubicBezTo>
                          <a:pt x="597694" y="1168417"/>
                          <a:pt x="602644" y="1163476"/>
                          <a:pt x="607593" y="1158536"/>
                        </a:cubicBezTo>
                        <a:cubicBezTo>
                          <a:pt x="622442" y="1148655"/>
                          <a:pt x="637291" y="1138774"/>
                          <a:pt x="654614" y="1131364"/>
                        </a:cubicBezTo>
                        <a:cubicBezTo>
                          <a:pt x="664514" y="1123953"/>
                          <a:pt x="669463" y="1116542"/>
                          <a:pt x="669463" y="1104191"/>
                        </a:cubicBezTo>
                        <a:cubicBezTo>
                          <a:pt x="671938" y="1072078"/>
                          <a:pt x="676887" y="1039965"/>
                          <a:pt x="679362" y="1010322"/>
                        </a:cubicBezTo>
                        <a:cubicBezTo>
                          <a:pt x="681837" y="968329"/>
                          <a:pt x="681837" y="928805"/>
                          <a:pt x="681837" y="886811"/>
                        </a:cubicBezTo>
                        <a:cubicBezTo>
                          <a:pt x="681837" y="874460"/>
                          <a:pt x="681837" y="859639"/>
                          <a:pt x="679362" y="847288"/>
                        </a:cubicBezTo>
                        <a:cubicBezTo>
                          <a:pt x="679362" y="832466"/>
                          <a:pt x="674413" y="815175"/>
                          <a:pt x="674413" y="800353"/>
                        </a:cubicBezTo>
                        <a:cubicBezTo>
                          <a:pt x="666988" y="760830"/>
                          <a:pt x="662039" y="721306"/>
                          <a:pt x="657089" y="681782"/>
                        </a:cubicBezTo>
                        <a:cubicBezTo>
                          <a:pt x="652140" y="639788"/>
                          <a:pt x="644715" y="600265"/>
                          <a:pt x="639766" y="560741"/>
                        </a:cubicBezTo>
                        <a:cubicBezTo>
                          <a:pt x="637291" y="545920"/>
                          <a:pt x="634816" y="531098"/>
                          <a:pt x="644715" y="518747"/>
                        </a:cubicBezTo>
                        <a:cubicBezTo>
                          <a:pt x="657089" y="513807"/>
                          <a:pt x="666988" y="521217"/>
                          <a:pt x="676887" y="526158"/>
                        </a:cubicBezTo>
                        <a:cubicBezTo>
                          <a:pt x="731333" y="558271"/>
                          <a:pt x="780829" y="597794"/>
                          <a:pt x="822900" y="644729"/>
                        </a:cubicBezTo>
                        <a:cubicBezTo>
                          <a:pt x="840224" y="664491"/>
                          <a:pt x="852598" y="686723"/>
                          <a:pt x="872396" y="706485"/>
                        </a:cubicBezTo>
                        <a:cubicBezTo>
                          <a:pt x="882295" y="718836"/>
                          <a:pt x="877345" y="733657"/>
                          <a:pt x="882295" y="743538"/>
                        </a:cubicBezTo>
                        <a:cubicBezTo>
                          <a:pt x="877345" y="746008"/>
                          <a:pt x="869921" y="748479"/>
                          <a:pt x="862497" y="748479"/>
                        </a:cubicBezTo>
                        <a:cubicBezTo>
                          <a:pt x="862497" y="755889"/>
                          <a:pt x="864971" y="760830"/>
                          <a:pt x="867446" y="768240"/>
                        </a:cubicBezTo>
                        <a:cubicBezTo>
                          <a:pt x="867446" y="768240"/>
                          <a:pt x="867446" y="768240"/>
                          <a:pt x="864971" y="770711"/>
                        </a:cubicBezTo>
                        <a:cubicBezTo>
                          <a:pt x="860022" y="763300"/>
                          <a:pt x="855072" y="758359"/>
                          <a:pt x="850123" y="750949"/>
                        </a:cubicBezTo>
                        <a:cubicBezTo>
                          <a:pt x="847648" y="750949"/>
                          <a:pt x="847648" y="750949"/>
                          <a:pt x="845173" y="753419"/>
                        </a:cubicBezTo>
                        <a:cubicBezTo>
                          <a:pt x="847648" y="763300"/>
                          <a:pt x="850123" y="775651"/>
                          <a:pt x="850123" y="785532"/>
                        </a:cubicBezTo>
                        <a:cubicBezTo>
                          <a:pt x="855072" y="820115"/>
                          <a:pt x="857547" y="857168"/>
                          <a:pt x="860022" y="891752"/>
                        </a:cubicBezTo>
                        <a:cubicBezTo>
                          <a:pt x="860022" y="904103"/>
                          <a:pt x="855072" y="918924"/>
                          <a:pt x="852598" y="936216"/>
                        </a:cubicBezTo>
                        <a:cubicBezTo>
                          <a:pt x="860022" y="933745"/>
                          <a:pt x="864971" y="931275"/>
                          <a:pt x="867446" y="928805"/>
                        </a:cubicBezTo>
                        <a:cubicBezTo>
                          <a:pt x="892194" y="911513"/>
                          <a:pt x="916942" y="891752"/>
                          <a:pt x="941690" y="874460"/>
                        </a:cubicBezTo>
                        <a:cubicBezTo>
                          <a:pt x="971387" y="852228"/>
                          <a:pt x="1001085" y="829996"/>
                          <a:pt x="1030782" y="807764"/>
                        </a:cubicBezTo>
                        <a:cubicBezTo>
                          <a:pt x="1045631" y="800353"/>
                          <a:pt x="1048106" y="790472"/>
                          <a:pt x="1045631" y="775651"/>
                        </a:cubicBezTo>
                        <a:cubicBezTo>
                          <a:pt x="1040682" y="716366"/>
                          <a:pt x="1033257" y="654610"/>
                          <a:pt x="1025833" y="595324"/>
                        </a:cubicBezTo>
                        <a:cubicBezTo>
                          <a:pt x="1015934" y="521217"/>
                          <a:pt x="1001085" y="444640"/>
                          <a:pt x="991186" y="368063"/>
                        </a:cubicBezTo>
                        <a:cubicBezTo>
                          <a:pt x="983761" y="321129"/>
                          <a:pt x="973862" y="271725"/>
                          <a:pt x="976337" y="224790"/>
                        </a:cubicBezTo>
                        <a:cubicBezTo>
                          <a:pt x="978812" y="177856"/>
                          <a:pt x="976337" y="130922"/>
                          <a:pt x="986236" y="83988"/>
                        </a:cubicBezTo>
                        <a:cubicBezTo>
                          <a:pt x="988711" y="76577"/>
                          <a:pt x="988711" y="69166"/>
                          <a:pt x="988711" y="61756"/>
                        </a:cubicBezTo>
                        <a:cubicBezTo>
                          <a:pt x="991186" y="32113"/>
                          <a:pt x="1003560" y="17291"/>
                          <a:pt x="1035732" y="12351"/>
                        </a:cubicBezTo>
                        <a:cubicBezTo>
                          <a:pt x="1035732" y="9881"/>
                          <a:pt x="1038207" y="4940"/>
                          <a:pt x="1040682" y="0"/>
                        </a:cubicBezTo>
                        <a:close/>
                      </a:path>
                    </a:pathLst>
                  </a:custGeom>
                  <a:gradFill flip="none" rotWithShape="1">
                    <a:gsLst>
                      <a:gs pos="84000">
                        <a:schemeClr val="accent2">
                          <a:lumMod val="40000"/>
                          <a:lumOff val="60000"/>
                        </a:schemeClr>
                      </a:gs>
                      <a:gs pos="0">
                        <a:schemeClr val="accent2"/>
                      </a:gs>
                    </a:gsLst>
                    <a:lin ang="135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lvl="0" algn="ctr"/>
                    <a:endParaRPr>
                      <a:gradFill flip="none" rotWithShape="1">
                        <a:gsLst>
                          <a:gs pos="89000">
                            <a:schemeClr val="bg1"/>
                          </a:gs>
                          <a:gs pos="0">
                            <a:schemeClr val="accent2"/>
                          </a:gs>
                        </a:gsLst>
                        <a:lin ang="13500000" scaled="1"/>
                        <a:tileRect/>
                      </a:gradFill>
                    </a:endParaRPr>
                  </a:p>
                </p:txBody>
              </p:sp>
            </p:grpSp>
          </p:grpSp>
          <p:grpSp>
            <p:nvGrpSpPr>
              <p:cNvPr id="210" name="组合 20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<p:cNvGrpSpPr>
                <a:grpSpLocks noChangeAspect="1"/>
              </p:cNvGrpSpPr>
              <p:nvPr userDrawn="1">
                <p:custDataLst>
                  <p:tags r:id="rId1"/>
                </p:custDataLst>
              </p:nvPr>
            </p:nvGrpSpPr>
            <p:grpSpPr>
              <a:xfrm>
                <a:off x="8163086" y="3661931"/>
                <a:ext cx="703258" cy="599510"/>
                <a:chOff x="3038763" y="1028700"/>
                <a:chExt cx="6114474" cy="5212444"/>
              </a:xfrm>
            </p:grpSpPr>
            <p:sp>
              <p:nvSpPr>
                <p:cNvPr id="222" name="任意多边形: 形状 221">
                  <a:extLst>
                    <a:ext uri="{FF2B5EF4-FFF2-40B4-BE49-F238E27FC236}">
                      <a16:creationId xmlns:a16="http://schemas.microsoft.com/office/drawing/2014/main" id="{F50F64CE-F66D-42A7-BBCB-C4A130B939CA}"/>
                    </a:ext>
                  </a:extLst>
                </p:cNvPr>
                <p:cNvSpPr/>
                <p:nvPr/>
              </p:nvSpPr>
              <p:spPr bwMode="auto">
                <a:xfrm>
                  <a:off x="3038763" y="1326692"/>
                  <a:ext cx="3931884" cy="3730538"/>
                </a:xfrm>
                <a:custGeom>
                  <a:avLst/>
                  <a:gdLst>
                    <a:gd name="T0" fmla="*/ 32 w 1175"/>
                    <a:gd name="T1" fmla="*/ 1103 h 1116"/>
                    <a:gd name="T2" fmla="*/ 29 w 1175"/>
                    <a:gd name="T3" fmla="*/ 1050 h 1116"/>
                    <a:gd name="T4" fmla="*/ 432 w 1175"/>
                    <a:gd name="T5" fmla="*/ 862 h 1116"/>
                    <a:gd name="T6" fmla="*/ 650 w 1175"/>
                    <a:gd name="T7" fmla="*/ 532 h 1116"/>
                    <a:gd name="T8" fmla="*/ 751 w 1175"/>
                    <a:gd name="T9" fmla="*/ 223 h 1116"/>
                    <a:gd name="T10" fmla="*/ 1079 w 1175"/>
                    <a:gd name="T11" fmla="*/ 132 h 1116"/>
                    <a:gd name="T12" fmla="*/ 1082 w 1175"/>
                    <a:gd name="T13" fmla="*/ 500 h 1116"/>
                    <a:gd name="T14" fmla="*/ 553 w 1175"/>
                    <a:gd name="T15" fmla="*/ 1048 h 1116"/>
                    <a:gd name="T16" fmla="*/ 32 w 1175"/>
                    <a:gd name="T17" fmla="*/ 1103 h 1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75" h="1116">
                      <a:moveTo>
                        <a:pt x="32" y="1103"/>
                      </a:moveTo>
                      <a:cubicBezTo>
                        <a:pt x="2" y="1100"/>
                        <a:pt x="0" y="1057"/>
                        <a:pt x="29" y="1050"/>
                      </a:cubicBezTo>
                      <a:cubicBezTo>
                        <a:pt x="173" y="1016"/>
                        <a:pt x="339" y="931"/>
                        <a:pt x="432" y="862"/>
                      </a:cubicBezTo>
                      <a:cubicBezTo>
                        <a:pt x="543" y="779"/>
                        <a:pt x="605" y="644"/>
                        <a:pt x="650" y="532"/>
                      </a:cubicBezTo>
                      <a:cubicBezTo>
                        <a:pt x="679" y="460"/>
                        <a:pt x="722" y="295"/>
                        <a:pt x="751" y="223"/>
                      </a:cubicBezTo>
                      <a:cubicBezTo>
                        <a:pt x="792" y="123"/>
                        <a:pt x="930" y="0"/>
                        <a:pt x="1079" y="132"/>
                      </a:cubicBezTo>
                      <a:cubicBezTo>
                        <a:pt x="1175" y="217"/>
                        <a:pt x="1116" y="420"/>
                        <a:pt x="1082" y="500"/>
                      </a:cubicBezTo>
                      <a:cubicBezTo>
                        <a:pt x="987" y="723"/>
                        <a:pt x="801" y="977"/>
                        <a:pt x="553" y="1048"/>
                      </a:cubicBezTo>
                      <a:cubicBezTo>
                        <a:pt x="325" y="1113"/>
                        <a:pt x="151" y="1116"/>
                        <a:pt x="32" y="1103"/>
                      </a:cubicBezTo>
                      <a:close/>
                    </a:path>
                  </a:pathLst>
                </a:custGeom>
                <a:solidFill>
                  <a:srgbClr val="E127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23" name="任意多边形: 形状 222">
                  <a:extLst>
                    <a:ext uri="{FF2B5EF4-FFF2-40B4-BE49-F238E27FC236}">
                      <a16:creationId xmlns:a16="http://schemas.microsoft.com/office/drawing/2014/main" id="{2153FFA2-5024-4857-A14D-8923CD426280}"/>
                    </a:ext>
                  </a:extLst>
                </p:cNvPr>
                <p:cNvSpPr/>
                <p:nvPr/>
              </p:nvSpPr>
              <p:spPr bwMode="auto">
                <a:xfrm>
                  <a:off x="3871530" y="1737438"/>
                  <a:ext cx="2356553" cy="2915489"/>
                </a:xfrm>
                <a:custGeom>
                  <a:avLst/>
                  <a:gdLst>
                    <a:gd name="T0" fmla="*/ 295 w 704"/>
                    <a:gd name="T1" fmla="*/ 743 h 872"/>
                    <a:gd name="T2" fmla="*/ 532 w 704"/>
                    <a:gd name="T3" fmla="*/ 412 h 872"/>
                    <a:gd name="T4" fmla="*/ 584 w 704"/>
                    <a:gd name="T5" fmla="*/ 255 h 872"/>
                    <a:gd name="T6" fmla="*/ 633 w 704"/>
                    <a:gd name="T7" fmla="*/ 104 h 872"/>
                    <a:gd name="T8" fmla="*/ 704 w 704"/>
                    <a:gd name="T9" fmla="*/ 5 h 872"/>
                    <a:gd name="T10" fmla="*/ 552 w 704"/>
                    <a:gd name="T11" fmla="*/ 120 h 872"/>
                    <a:gd name="T12" fmla="*/ 502 w 704"/>
                    <a:gd name="T13" fmla="*/ 272 h 872"/>
                    <a:gd name="T14" fmla="*/ 451 w 704"/>
                    <a:gd name="T15" fmla="*/ 429 h 872"/>
                    <a:gd name="T16" fmla="*/ 0 w 704"/>
                    <a:gd name="T17" fmla="*/ 872 h 872"/>
                    <a:gd name="T18" fmla="*/ 295 w 704"/>
                    <a:gd name="T19" fmla="*/ 743 h 8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04" h="872">
                      <a:moveTo>
                        <a:pt x="295" y="743"/>
                      </a:moveTo>
                      <a:cubicBezTo>
                        <a:pt x="392" y="665"/>
                        <a:pt x="477" y="548"/>
                        <a:pt x="532" y="412"/>
                      </a:cubicBezTo>
                      <a:cubicBezTo>
                        <a:pt x="547" y="374"/>
                        <a:pt x="565" y="316"/>
                        <a:pt x="584" y="255"/>
                      </a:cubicBezTo>
                      <a:cubicBezTo>
                        <a:pt x="601" y="197"/>
                        <a:pt x="618" y="137"/>
                        <a:pt x="633" y="104"/>
                      </a:cubicBezTo>
                      <a:cubicBezTo>
                        <a:pt x="671" y="18"/>
                        <a:pt x="704" y="5"/>
                        <a:pt x="704" y="5"/>
                      </a:cubicBezTo>
                      <a:cubicBezTo>
                        <a:pt x="629" y="0"/>
                        <a:pt x="571" y="73"/>
                        <a:pt x="552" y="120"/>
                      </a:cubicBezTo>
                      <a:cubicBezTo>
                        <a:pt x="538" y="155"/>
                        <a:pt x="520" y="214"/>
                        <a:pt x="502" y="272"/>
                      </a:cubicBezTo>
                      <a:cubicBezTo>
                        <a:pt x="483" y="333"/>
                        <a:pt x="465" y="391"/>
                        <a:pt x="451" y="429"/>
                      </a:cubicBezTo>
                      <a:cubicBezTo>
                        <a:pt x="332" y="750"/>
                        <a:pt x="66" y="855"/>
                        <a:pt x="0" y="872"/>
                      </a:cubicBezTo>
                      <a:cubicBezTo>
                        <a:pt x="99" y="857"/>
                        <a:pt x="207" y="815"/>
                        <a:pt x="295" y="743"/>
                      </a:cubicBezTo>
                      <a:close/>
                    </a:path>
                  </a:pathLst>
                </a:custGeom>
                <a:solidFill>
                  <a:srgbClr val="E65D4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24" name="任意多边形: 形状 223">
                  <a:extLst>
                    <a:ext uri="{FF2B5EF4-FFF2-40B4-BE49-F238E27FC236}">
                      <a16:creationId xmlns:a16="http://schemas.microsoft.com/office/drawing/2014/main" id="{1087E211-5003-41CF-B69F-C9C51167BB13}"/>
                    </a:ext>
                  </a:extLst>
                </p:cNvPr>
                <p:cNvSpPr/>
                <p:nvPr/>
              </p:nvSpPr>
              <p:spPr bwMode="auto">
                <a:xfrm>
                  <a:off x="3064535" y="1577972"/>
                  <a:ext cx="3906112" cy="3479258"/>
                </a:xfrm>
                <a:custGeom>
                  <a:avLst/>
                  <a:gdLst>
                    <a:gd name="T0" fmla="*/ 1074 w 1167"/>
                    <a:gd name="T1" fmla="*/ 425 h 1041"/>
                    <a:gd name="T2" fmla="*/ 1071 w 1167"/>
                    <a:gd name="T3" fmla="*/ 57 h 1041"/>
                    <a:gd name="T4" fmla="*/ 953 w 1167"/>
                    <a:gd name="T5" fmla="*/ 0 h 1041"/>
                    <a:gd name="T6" fmla="*/ 953 w 1167"/>
                    <a:gd name="T7" fmla="*/ 0 h 1041"/>
                    <a:gd name="T8" fmla="*/ 924 w 1167"/>
                    <a:gd name="T9" fmla="*/ 491 h 1041"/>
                    <a:gd name="T10" fmla="*/ 0 w 1167"/>
                    <a:gd name="T11" fmla="*/ 1004 h 1041"/>
                    <a:gd name="T12" fmla="*/ 24 w 1167"/>
                    <a:gd name="T13" fmla="*/ 1028 h 1041"/>
                    <a:gd name="T14" fmla="*/ 545 w 1167"/>
                    <a:gd name="T15" fmla="*/ 973 h 1041"/>
                    <a:gd name="T16" fmla="*/ 1074 w 1167"/>
                    <a:gd name="T17" fmla="*/ 425 h 10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67" h="1041">
                      <a:moveTo>
                        <a:pt x="1074" y="425"/>
                      </a:moveTo>
                      <a:cubicBezTo>
                        <a:pt x="1108" y="345"/>
                        <a:pt x="1167" y="142"/>
                        <a:pt x="1071" y="57"/>
                      </a:cubicBezTo>
                      <a:cubicBezTo>
                        <a:pt x="1031" y="21"/>
                        <a:pt x="991" y="4"/>
                        <a:pt x="953" y="0"/>
                      </a:cubicBezTo>
                      <a:cubicBezTo>
                        <a:pt x="953" y="0"/>
                        <a:pt x="953" y="0"/>
                        <a:pt x="953" y="0"/>
                      </a:cubicBezTo>
                      <a:cubicBezTo>
                        <a:pt x="1076" y="36"/>
                        <a:pt x="1022" y="292"/>
                        <a:pt x="924" y="491"/>
                      </a:cubicBezTo>
                      <a:cubicBezTo>
                        <a:pt x="759" y="828"/>
                        <a:pt x="371" y="1039"/>
                        <a:pt x="0" y="1004"/>
                      </a:cubicBezTo>
                      <a:cubicBezTo>
                        <a:pt x="2" y="1016"/>
                        <a:pt x="10" y="1026"/>
                        <a:pt x="24" y="1028"/>
                      </a:cubicBezTo>
                      <a:cubicBezTo>
                        <a:pt x="143" y="1041"/>
                        <a:pt x="317" y="1038"/>
                        <a:pt x="545" y="973"/>
                      </a:cubicBezTo>
                      <a:cubicBezTo>
                        <a:pt x="793" y="902"/>
                        <a:pt x="979" y="648"/>
                        <a:pt x="1074" y="425"/>
                      </a:cubicBezTo>
                      <a:close/>
                    </a:path>
                  </a:pathLst>
                </a:custGeom>
                <a:solidFill>
                  <a:srgbClr val="CC222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25" name="任意多边形: 形状 224">
                  <a:extLst>
                    <a:ext uri="{FF2B5EF4-FFF2-40B4-BE49-F238E27FC236}">
                      <a16:creationId xmlns:a16="http://schemas.microsoft.com/office/drawing/2014/main" id="{E9A93259-29C7-446A-9E33-1F28F9A6C90A}"/>
                    </a:ext>
                  </a:extLst>
                </p:cNvPr>
                <p:cNvSpPr/>
                <p:nvPr/>
              </p:nvSpPr>
              <p:spPr bwMode="auto">
                <a:xfrm>
                  <a:off x="5769014" y="1486158"/>
                  <a:ext cx="1030891" cy="512224"/>
                </a:xfrm>
                <a:custGeom>
                  <a:avLst/>
                  <a:gdLst>
                    <a:gd name="T0" fmla="*/ 229 w 308"/>
                    <a:gd name="T1" fmla="*/ 153 h 153"/>
                    <a:gd name="T2" fmla="*/ 197 w 308"/>
                    <a:gd name="T3" fmla="*/ 109 h 153"/>
                    <a:gd name="T4" fmla="*/ 166 w 308"/>
                    <a:gd name="T5" fmla="*/ 69 h 153"/>
                    <a:gd name="T6" fmla="*/ 77 w 308"/>
                    <a:gd name="T7" fmla="*/ 125 h 153"/>
                    <a:gd name="T8" fmla="*/ 87 w 308"/>
                    <a:gd name="T9" fmla="*/ 85 h 153"/>
                    <a:gd name="T10" fmla="*/ 96 w 308"/>
                    <a:gd name="T11" fmla="*/ 50 h 153"/>
                    <a:gd name="T12" fmla="*/ 59 w 308"/>
                    <a:gd name="T13" fmla="*/ 53 h 153"/>
                    <a:gd name="T14" fmla="*/ 0 w 308"/>
                    <a:gd name="T15" fmla="*/ 35 h 153"/>
                    <a:gd name="T16" fmla="*/ 45 w 308"/>
                    <a:gd name="T17" fmla="*/ 29 h 153"/>
                    <a:gd name="T18" fmla="*/ 171 w 308"/>
                    <a:gd name="T19" fmla="*/ 3 h 153"/>
                    <a:gd name="T20" fmla="*/ 308 w 308"/>
                    <a:gd name="T21" fmla="*/ 124 h 153"/>
                    <a:gd name="T22" fmla="*/ 261 w 308"/>
                    <a:gd name="T23" fmla="*/ 105 h 153"/>
                    <a:gd name="T24" fmla="*/ 234 w 308"/>
                    <a:gd name="T25" fmla="*/ 83 h 153"/>
                    <a:gd name="T26" fmla="*/ 229 w 308"/>
                    <a:gd name="T27" fmla="*/ 153 h 1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08" h="153">
                      <a:moveTo>
                        <a:pt x="229" y="153"/>
                      </a:moveTo>
                      <a:cubicBezTo>
                        <a:pt x="229" y="153"/>
                        <a:pt x="220" y="122"/>
                        <a:pt x="197" y="109"/>
                      </a:cubicBezTo>
                      <a:cubicBezTo>
                        <a:pt x="174" y="95"/>
                        <a:pt x="166" y="69"/>
                        <a:pt x="166" y="69"/>
                      </a:cubicBezTo>
                      <a:cubicBezTo>
                        <a:pt x="170" y="120"/>
                        <a:pt x="77" y="125"/>
                        <a:pt x="77" y="125"/>
                      </a:cubicBezTo>
                      <a:cubicBezTo>
                        <a:pt x="77" y="125"/>
                        <a:pt x="90" y="112"/>
                        <a:pt x="87" y="85"/>
                      </a:cubicBezTo>
                      <a:cubicBezTo>
                        <a:pt x="84" y="57"/>
                        <a:pt x="96" y="50"/>
                        <a:pt x="96" y="50"/>
                      </a:cubicBezTo>
                      <a:cubicBezTo>
                        <a:pt x="96" y="50"/>
                        <a:pt x="96" y="50"/>
                        <a:pt x="59" y="53"/>
                      </a:cubicBezTo>
                      <a:cubicBezTo>
                        <a:pt x="23" y="56"/>
                        <a:pt x="0" y="35"/>
                        <a:pt x="0" y="35"/>
                      </a:cubicBezTo>
                      <a:cubicBezTo>
                        <a:pt x="0" y="35"/>
                        <a:pt x="18" y="38"/>
                        <a:pt x="45" y="29"/>
                      </a:cubicBezTo>
                      <a:cubicBezTo>
                        <a:pt x="88" y="13"/>
                        <a:pt x="115" y="0"/>
                        <a:pt x="171" y="3"/>
                      </a:cubicBezTo>
                      <a:cubicBezTo>
                        <a:pt x="220" y="6"/>
                        <a:pt x="285" y="47"/>
                        <a:pt x="308" y="124"/>
                      </a:cubicBezTo>
                      <a:cubicBezTo>
                        <a:pt x="301" y="113"/>
                        <a:pt x="281" y="113"/>
                        <a:pt x="261" y="105"/>
                      </a:cubicBezTo>
                      <a:cubicBezTo>
                        <a:pt x="249" y="100"/>
                        <a:pt x="234" y="83"/>
                        <a:pt x="234" y="83"/>
                      </a:cubicBezTo>
                      <a:cubicBezTo>
                        <a:pt x="234" y="83"/>
                        <a:pt x="247" y="110"/>
                        <a:pt x="229" y="153"/>
                      </a:cubicBezTo>
                      <a:close/>
                    </a:path>
                  </a:pathLst>
                </a:custGeom>
                <a:solidFill>
                  <a:srgbClr val="38B5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26" name="任意多边形: 形状 225">
                  <a:extLst>
                    <a:ext uri="{FF2B5EF4-FFF2-40B4-BE49-F238E27FC236}">
                      <a16:creationId xmlns:a16="http://schemas.microsoft.com/office/drawing/2014/main" id="{6AD1CD86-2833-411F-A94D-1B13BCE5BC7E}"/>
                    </a:ext>
                  </a:extLst>
                </p:cNvPr>
                <p:cNvSpPr/>
                <p:nvPr/>
              </p:nvSpPr>
              <p:spPr bwMode="auto">
                <a:xfrm>
                  <a:off x="6026737" y="1028700"/>
                  <a:ext cx="773168" cy="969682"/>
                </a:xfrm>
                <a:custGeom>
                  <a:avLst/>
                  <a:gdLst>
                    <a:gd name="T0" fmla="*/ 231 w 231"/>
                    <a:gd name="T1" fmla="*/ 261 h 290"/>
                    <a:gd name="T2" fmla="*/ 106 w 231"/>
                    <a:gd name="T3" fmla="*/ 142 h 290"/>
                    <a:gd name="T4" fmla="*/ 106 w 231"/>
                    <a:gd name="T5" fmla="*/ 141 h 290"/>
                    <a:gd name="T6" fmla="*/ 130 w 231"/>
                    <a:gd name="T7" fmla="*/ 60 h 290"/>
                    <a:gd name="T8" fmla="*/ 176 w 231"/>
                    <a:gd name="T9" fmla="*/ 29 h 290"/>
                    <a:gd name="T10" fmla="*/ 159 w 231"/>
                    <a:gd name="T11" fmla="*/ 0 h 290"/>
                    <a:gd name="T12" fmla="*/ 82 w 231"/>
                    <a:gd name="T13" fmla="*/ 139 h 290"/>
                    <a:gd name="T14" fmla="*/ 82 w 231"/>
                    <a:gd name="T15" fmla="*/ 140 h 290"/>
                    <a:gd name="T16" fmla="*/ 29 w 231"/>
                    <a:gd name="T17" fmla="*/ 229 h 290"/>
                    <a:gd name="T18" fmla="*/ 19 w 231"/>
                    <a:gd name="T19" fmla="*/ 187 h 290"/>
                    <a:gd name="T20" fmla="*/ 14 w 231"/>
                    <a:gd name="T21" fmla="*/ 193 h 290"/>
                    <a:gd name="T22" fmla="*/ 10 w 231"/>
                    <a:gd name="T23" fmla="*/ 222 h 290"/>
                    <a:gd name="T24" fmla="*/ 0 w 231"/>
                    <a:gd name="T25" fmla="*/ 262 h 290"/>
                    <a:gd name="T26" fmla="*/ 89 w 231"/>
                    <a:gd name="T27" fmla="*/ 206 h 290"/>
                    <a:gd name="T28" fmla="*/ 120 w 231"/>
                    <a:gd name="T29" fmla="*/ 246 h 290"/>
                    <a:gd name="T30" fmla="*/ 152 w 231"/>
                    <a:gd name="T31" fmla="*/ 290 h 290"/>
                    <a:gd name="T32" fmla="*/ 157 w 231"/>
                    <a:gd name="T33" fmla="*/ 220 h 290"/>
                    <a:gd name="T34" fmla="*/ 184 w 231"/>
                    <a:gd name="T35" fmla="*/ 242 h 290"/>
                    <a:gd name="T36" fmla="*/ 231 w 231"/>
                    <a:gd name="T37" fmla="*/ 261 h 2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31" h="290">
                      <a:moveTo>
                        <a:pt x="231" y="261"/>
                      </a:moveTo>
                      <a:cubicBezTo>
                        <a:pt x="210" y="190"/>
                        <a:pt x="153" y="150"/>
                        <a:pt x="106" y="142"/>
                      </a:cubicBezTo>
                      <a:cubicBezTo>
                        <a:pt x="106" y="141"/>
                        <a:pt x="106" y="141"/>
                        <a:pt x="106" y="141"/>
                      </a:cubicBezTo>
                      <a:cubicBezTo>
                        <a:pt x="106" y="141"/>
                        <a:pt x="94" y="96"/>
                        <a:pt x="130" y="60"/>
                      </a:cubicBezTo>
                      <a:cubicBezTo>
                        <a:pt x="156" y="34"/>
                        <a:pt x="176" y="29"/>
                        <a:pt x="176" y="29"/>
                      </a:cubicBezTo>
                      <a:cubicBezTo>
                        <a:pt x="176" y="29"/>
                        <a:pt x="190" y="10"/>
                        <a:pt x="159" y="0"/>
                      </a:cubicBezTo>
                      <a:cubicBezTo>
                        <a:pt x="68" y="35"/>
                        <a:pt x="82" y="139"/>
                        <a:pt x="82" y="139"/>
                      </a:cubicBezTo>
                      <a:cubicBezTo>
                        <a:pt x="82" y="139"/>
                        <a:pt x="82" y="139"/>
                        <a:pt x="82" y="140"/>
                      </a:cubicBezTo>
                      <a:cubicBezTo>
                        <a:pt x="104" y="205"/>
                        <a:pt x="29" y="229"/>
                        <a:pt x="29" y="229"/>
                      </a:cubicBezTo>
                      <a:cubicBezTo>
                        <a:pt x="29" y="229"/>
                        <a:pt x="15" y="209"/>
                        <a:pt x="19" y="187"/>
                      </a:cubicBezTo>
                      <a:cubicBezTo>
                        <a:pt x="19" y="187"/>
                        <a:pt x="17" y="189"/>
                        <a:pt x="14" y="193"/>
                      </a:cubicBezTo>
                      <a:cubicBezTo>
                        <a:pt x="11" y="198"/>
                        <a:pt x="8" y="207"/>
                        <a:pt x="10" y="222"/>
                      </a:cubicBezTo>
                      <a:cubicBezTo>
                        <a:pt x="13" y="249"/>
                        <a:pt x="0" y="262"/>
                        <a:pt x="0" y="262"/>
                      </a:cubicBezTo>
                      <a:cubicBezTo>
                        <a:pt x="0" y="262"/>
                        <a:pt x="93" y="257"/>
                        <a:pt x="89" y="206"/>
                      </a:cubicBezTo>
                      <a:cubicBezTo>
                        <a:pt x="89" y="206"/>
                        <a:pt x="97" y="232"/>
                        <a:pt x="120" y="246"/>
                      </a:cubicBezTo>
                      <a:cubicBezTo>
                        <a:pt x="143" y="259"/>
                        <a:pt x="152" y="290"/>
                        <a:pt x="152" y="290"/>
                      </a:cubicBezTo>
                      <a:cubicBezTo>
                        <a:pt x="170" y="247"/>
                        <a:pt x="157" y="220"/>
                        <a:pt x="157" y="220"/>
                      </a:cubicBezTo>
                      <a:cubicBezTo>
                        <a:pt x="157" y="220"/>
                        <a:pt x="172" y="237"/>
                        <a:pt x="184" y="242"/>
                      </a:cubicBezTo>
                      <a:cubicBezTo>
                        <a:pt x="204" y="250"/>
                        <a:pt x="224" y="250"/>
                        <a:pt x="231" y="261"/>
                      </a:cubicBezTo>
                      <a:close/>
                    </a:path>
                  </a:pathLst>
                </a:custGeom>
                <a:solidFill>
                  <a:srgbClr val="32A54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27" name="任意多边形: 形状 226">
                  <a:extLst>
                    <a:ext uri="{FF2B5EF4-FFF2-40B4-BE49-F238E27FC236}">
                      <a16:creationId xmlns:a16="http://schemas.microsoft.com/office/drawing/2014/main" id="{BAEB5607-7303-4069-A830-67C69C5D9DAA}"/>
                    </a:ext>
                  </a:extLst>
                </p:cNvPr>
                <p:cNvSpPr/>
                <p:nvPr/>
              </p:nvSpPr>
              <p:spPr bwMode="auto">
                <a:xfrm>
                  <a:off x="3322257" y="1961335"/>
                  <a:ext cx="5830980" cy="4226650"/>
                </a:xfrm>
                <a:custGeom>
                  <a:avLst/>
                  <a:gdLst>
                    <a:gd name="T0" fmla="*/ 37 w 1742"/>
                    <a:gd name="T1" fmla="*/ 1172 h 1264"/>
                    <a:gd name="T2" fmla="*/ 47 w 1742"/>
                    <a:gd name="T3" fmla="*/ 1104 h 1264"/>
                    <a:gd name="T4" fmla="*/ 616 w 1742"/>
                    <a:gd name="T5" fmla="*/ 971 h 1264"/>
                    <a:gd name="T6" fmla="*/ 983 w 1742"/>
                    <a:gd name="T7" fmla="*/ 607 h 1264"/>
                    <a:gd name="T8" fmla="*/ 1196 w 1742"/>
                    <a:gd name="T9" fmla="*/ 239 h 1264"/>
                    <a:gd name="T10" fmla="*/ 1642 w 1742"/>
                    <a:gd name="T11" fmla="*/ 210 h 1264"/>
                    <a:gd name="T12" fmla="*/ 1546 w 1742"/>
                    <a:gd name="T13" fmla="*/ 683 h 1264"/>
                    <a:gd name="T14" fmla="*/ 720 w 1742"/>
                    <a:gd name="T15" fmla="*/ 1242 h 1264"/>
                    <a:gd name="T16" fmla="*/ 37 w 1742"/>
                    <a:gd name="T17" fmla="*/ 1172 h 12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42" h="1264">
                      <a:moveTo>
                        <a:pt x="37" y="1172"/>
                      </a:moveTo>
                      <a:cubicBezTo>
                        <a:pt x="0" y="1160"/>
                        <a:pt x="8" y="1105"/>
                        <a:pt x="47" y="1104"/>
                      </a:cubicBezTo>
                      <a:cubicBezTo>
                        <a:pt x="241" y="1099"/>
                        <a:pt x="477" y="1035"/>
                        <a:pt x="616" y="971"/>
                      </a:cubicBezTo>
                      <a:cubicBezTo>
                        <a:pt x="779" y="895"/>
                        <a:pt x="895" y="739"/>
                        <a:pt x="983" y="607"/>
                      </a:cubicBezTo>
                      <a:cubicBezTo>
                        <a:pt x="1040" y="523"/>
                        <a:pt x="1140" y="323"/>
                        <a:pt x="1196" y="239"/>
                      </a:cubicBezTo>
                      <a:cubicBezTo>
                        <a:pt x="1276" y="121"/>
                        <a:pt x="1486" y="0"/>
                        <a:pt x="1642" y="210"/>
                      </a:cubicBezTo>
                      <a:cubicBezTo>
                        <a:pt x="1742" y="345"/>
                        <a:pt x="1612" y="590"/>
                        <a:pt x="1546" y="683"/>
                      </a:cubicBezTo>
                      <a:cubicBezTo>
                        <a:pt x="1363" y="943"/>
                        <a:pt x="1057" y="1219"/>
                        <a:pt x="720" y="1242"/>
                      </a:cubicBezTo>
                      <a:cubicBezTo>
                        <a:pt x="410" y="1264"/>
                        <a:pt x="185" y="1221"/>
                        <a:pt x="37" y="1172"/>
                      </a:cubicBezTo>
                      <a:close/>
                    </a:path>
                  </a:pathLst>
                </a:custGeom>
                <a:solidFill>
                  <a:srgbClr val="E127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28" name="任意多边形: 形状 227">
                  <a:extLst>
                    <a:ext uri="{FF2B5EF4-FFF2-40B4-BE49-F238E27FC236}">
                      <a16:creationId xmlns:a16="http://schemas.microsoft.com/office/drawing/2014/main" id="{809A253E-529A-4E2D-8333-6D0E2BC97AF0}"/>
                    </a:ext>
                  </a:extLst>
                </p:cNvPr>
                <p:cNvSpPr/>
                <p:nvPr/>
              </p:nvSpPr>
              <p:spPr bwMode="auto">
                <a:xfrm>
                  <a:off x="4473957" y="2446176"/>
                  <a:ext cx="3803022" cy="3194152"/>
                </a:xfrm>
                <a:custGeom>
                  <a:avLst/>
                  <a:gdLst>
                    <a:gd name="T0" fmla="*/ 414 w 1136"/>
                    <a:gd name="T1" fmla="*/ 862 h 955"/>
                    <a:gd name="T2" fmla="*/ 807 w 1136"/>
                    <a:gd name="T3" fmla="*/ 501 h 955"/>
                    <a:gd name="T4" fmla="*/ 915 w 1136"/>
                    <a:gd name="T5" fmla="*/ 314 h 955"/>
                    <a:gd name="T6" fmla="*/ 1020 w 1136"/>
                    <a:gd name="T7" fmla="*/ 133 h 955"/>
                    <a:gd name="T8" fmla="*/ 1136 w 1136"/>
                    <a:gd name="T9" fmla="*/ 26 h 955"/>
                    <a:gd name="T10" fmla="*/ 911 w 1136"/>
                    <a:gd name="T11" fmla="*/ 133 h 955"/>
                    <a:gd name="T12" fmla="*/ 806 w 1136"/>
                    <a:gd name="T13" fmla="*/ 313 h 955"/>
                    <a:gd name="T14" fmla="*/ 698 w 1136"/>
                    <a:gd name="T15" fmla="*/ 501 h 955"/>
                    <a:gd name="T16" fmla="*/ 0 w 1136"/>
                    <a:gd name="T17" fmla="*/ 948 h 955"/>
                    <a:gd name="T18" fmla="*/ 414 w 1136"/>
                    <a:gd name="T19" fmla="*/ 862 h 9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36" h="955">
                      <a:moveTo>
                        <a:pt x="414" y="862"/>
                      </a:moveTo>
                      <a:cubicBezTo>
                        <a:pt x="558" y="788"/>
                        <a:pt x="700" y="661"/>
                        <a:pt x="807" y="501"/>
                      </a:cubicBezTo>
                      <a:cubicBezTo>
                        <a:pt x="836" y="457"/>
                        <a:pt x="875" y="387"/>
                        <a:pt x="915" y="314"/>
                      </a:cubicBezTo>
                      <a:cubicBezTo>
                        <a:pt x="953" y="245"/>
                        <a:pt x="992" y="172"/>
                        <a:pt x="1020" y="133"/>
                      </a:cubicBezTo>
                      <a:cubicBezTo>
                        <a:pt x="1091" y="34"/>
                        <a:pt x="1136" y="26"/>
                        <a:pt x="1136" y="26"/>
                      </a:cubicBezTo>
                      <a:cubicBezTo>
                        <a:pt x="1042" y="0"/>
                        <a:pt x="948" y="77"/>
                        <a:pt x="911" y="133"/>
                      </a:cubicBezTo>
                      <a:cubicBezTo>
                        <a:pt x="884" y="173"/>
                        <a:pt x="844" y="244"/>
                        <a:pt x="806" y="313"/>
                      </a:cubicBezTo>
                      <a:cubicBezTo>
                        <a:pt x="766" y="387"/>
                        <a:pt x="726" y="456"/>
                        <a:pt x="698" y="501"/>
                      </a:cubicBezTo>
                      <a:cubicBezTo>
                        <a:pt x="458" y="881"/>
                        <a:pt x="89" y="943"/>
                        <a:pt x="0" y="948"/>
                      </a:cubicBezTo>
                      <a:cubicBezTo>
                        <a:pt x="131" y="955"/>
                        <a:pt x="281" y="930"/>
                        <a:pt x="414" y="862"/>
                      </a:cubicBezTo>
                      <a:close/>
                    </a:path>
                  </a:pathLst>
                </a:custGeom>
                <a:solidFill>
                  <a:srgbClr val="E65D4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29" name="任意多边形: 形状 228">
                  <a:extLst>
                    <a:ext uri="{FF2B5EF4-FFF2-40B4-BE49-F238E27FC236}">
                      <a16:creationId xmlns:a16="http://schemas.microsoft.com/office/drawing/2014/main" id="{688C816A-C5A3-4371-A6F4-84D58A3DC2A7}"/>
                    </a:ext>
                  </a:extLst>
                </p:cNvPr>
                <p:cNvSpPr/>
                <p:nvPr/>
              </p:nvSpPr>
              <p:spPr bwMode="auto">
                <a:xfrm>
                  <a:off x="3362527" y="2315703"/>
                  <a:ext cx="5790710" cy="3925441"/>
                </a:xfrm>
                <a:custGeom>
                  <a:avLst/>
                  <a:gdLst>
                    <a:gd name="T0" fmla="*/ 1534 w 1730"/>
                    <a:gd name="T1" fmla="*/ 577 h 1174"/>
                    <a:gd name="T2" fmla="*/ 1630 w 1730"/>
                    <a:gd name="T3" fmla="*/ 104 h 1174"/>
                    <a:gd name="T4" fmla="*/ 1494 w 1730"/>
                    <a:gd name="T5" fmla="*/ 0 h 1174"/>
                    <a:gd name="T6" fmla="*/ 1494 w 1730"/>
                    <a:gd name="T7" fmla="*/ 0 h 1174"/>
                    <a:gd name="T8" fmla="*/ 1324 w 1730"/>
                    <a:gd name="T9" fmla="*/ 621 h 1174"/>
                    <a:gd name="T10" fmla="*/ 1 w 1730"/>
                    <a:gd name="T11" fmla="*/ 1030 h 1174"/>
                    <a:gd name="T12" fmla="*/ 25 w 1730"/>
                    <a:gd name="T13" fmla="*/ 1066 h 1174"/>
                    <a:gd name="T14" fmla="*/ 708 w 1730"/>
                    <a:gd name="T15" fmla="*/ 1136 h 1174"/>
                    <a:gd name="T16" fmla="*/ 1534 w 1730"/>
                    <a:gd name="T17" fmla="*/ 577 h 1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30" h="1174">
                      <a:moveTo>
                        <a:pt x="1534" y="577"/>
                      </a:moveTo>
                      <a:cubicBezTo>
                        <a:pt x="1600" y="484"/>
                        <a:pt x="1730" y="239"/>
                        <a:pt x="1630" y="104"/>
                      </a:cubicBezTo>
                      <a:cubicBezTo>
                        <a:pt x="1587" y="47"/>
                        <a:pt x="1541" y="14"/>
                        <a:pt x="1494" y="0"/>
                      </a:cubicBezTo>
                      <a:cubicBezTo>
                        <a:pt x="1494" y="0"/>
                        <a:pt x="1494" y="0"/>
                        <a:pt x="1494" y="0"/>
                      </a:cubicBezTo>
                      <a:cubicBezTo>
                        <a:pt x="1641" y="78"/>
                        <a:pt x="1503" y="392"/>
                        <a:pt x="1324" y="621"/>
                      </a:cubicBezTo>
                      <a:cubicBezTo>
                        <a:pt x="1021" y="1009"/>
                        <a:pt x="466" y="1174"/>
                        <a:pt x="1" y="1030"/>
                      </a:cubicBezTo>
                      <a:cubicBezTo>
                        <a:pt x="0" y="1045"/>
                        <a:pt x="7" y="1060"/>
                        <a:pt x="25" y="1066"/>
                      </a:cubicBezTo>
                      <a:cubicBezTo>
                        <a:pt x="173" y="1115"/>
                        <a:pt x="398" y="1158"/>
                        <a:pt x="708" y="1136"/>
                      </a:cubicBezTo>
                      <a:cubicBezTo>
                        <a:pt x="1045" y="1113"/>
                        <a:pt x="1351" y="837"/>
                        <a:pt x="1534" y="577"/>
                      </a:cubicBezTo>
                      <a:close/>
                    </a:path>
                  </a:pathLst>
                </a:custGeom>
                <a:solidFill>
                  <a:srgbClr val="CC222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30" name="任意多边形: 形状 229">
                  <a:extLst>
                    <a:ext uri="{FF2B5EF4-FFF2-40B4-BE49-F238E27FC236}">
                      <a16:creationId xmlns:a16="http://schemas.microsoft.com/office/drawing/2014/main" id="{0AD04D5B-4E38-4B82-90ED-5F080397CD12}"/>
                    </a:ext>
                  </a:extLst>
                </p:cNvPr>
                <p:cNvSpPr/>
                <p:nvPr/>
              </p:nvSpPr>
              <p:spPr bwMode="auto">
                <a:xfrm>
                  <a:off x="7734151" y="2169123"/>
                  <a:ext cx="1241902" cy="758672"/>
                </a:xfrm>
                <a:custGeom>
                  <a:avLst/>
                  <a:gdLst>
                    <a:gd name="T0" fmla="*/ 261 w 371"/>
                    <a:gd name="T1" fmla="*/ 227 h 227"/>
                    <a:gd name="T2" fmla="*/ 232 w 371"/>
                    <a:gd name="T3" fmla="*/ 162 h 227"/>
                    <a:gd name="T4" fmla="*/ 204 w 371"/>
                    <a:gd name="T5" fmla="*/ 102 h 227"/>
                    <a:gd name="T6" fmla="*/ 74 w 371"/>
                    <a:gd name="T7" fmla="*/ 150 h 227"/>
                    <a:gd name="T8" fmla="*/ 98 w 371"/>
                    <a:gd name="T9" fmla="*/ 101 h 227"/>
                    <a:gd name="T10" fmla="*/ 119 w 371"/>
                    <a:gd name="T11" fmla="*/ 60 h 227"/>
                    <a:gd name="T12" fmla="*/ 71 w 371"/>
                    <a:gd name="T13" fmla="*/ 53 h 227"/>
                    <a:gd name="T14" fmla="*/ 0 w 371"/>
                    <a:gd name="T15" fmla="*/ 14 h 227"/>
                    <a:gd name="T16" fmla="*/ 59 w 371"/>
                    <a:gd name="T17" fmla="*/ 18 h 227"/>
                    <a:gd name="T18" fmla="*/ 227 w 371"/>
                    <a:gd name="T19" fmla="*/ 19 h 227"/>
                    <a:gd name="T20" fmla="*/ 371 w 371"/>
                    <a:gd name="T21" fmla="*/ 211 h 227"/>
                    <a:gd name="T22" fmla="*/ 316 w 371"/>
                    <a:gd name="T23" fmla="*/ 174 h 227"/>
                    <a:gd name="T24" fmla="*/ 287 w 371"/>
                    <a:gd name="T25" fmla="*/ 139 h 227"/>
                    <a:gd name="T26" fmla="*/ 261 w 371"/>
                    <a:gd name="T27" fmla="*/ 227 h 2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71" h="227">
                      <a:moveTo>
                        <a:pt x="261" y="227"/>
                      </a:moveTo>
                      <a:cubicBezTo>
                        <a:pt x="261" y="227"/>
                        <a:pt x="258" y="186"/>
                        <a:pt x="232" y="162"/>
                      </a:cubicBezTo>
                      <a:cubicBezTo>
                        <a:pt x="206" y="138"/>
                        <a:pt x="204" y="102"/>
                        <a:pt x="204" y="102"/>
                      </a:cubicBezTo>
                      <a:cubicBezTo>
                        <a:pt x="195" y="170"/>
                        <a:pt x="74" y="150"/>
                        <a:pt x="74" y="150"/>
                      </a:cubicBezTo>
                      <a:cubicBezTo>
                        <a:pt x="74" y="150"/>
                        <a:pt x="94" y="137"/>
                        <a:pt x="98" y="101"/>
                      </a:cubicBezTo>
                      <a:cubicBezTo>
                        <a:pt x="101" y="65"/>
                        <a:pt x="119" y="60"/>
                        <a:pt x="119" y="60"/>
                      </a:cubicBezTo>
                      <a:cubicBezTo>
                        <a:pt x="119" y="60"/>
                        <a:pt x="119" y="60"/>
                        <a:pt x="71" y="53"/>
                      </a:cubicBezTo>
                      <a:cubicBezTo>
                        <a:pt x="23" y="47"/>
                        <a:pt x="0" y="14"/>
                        <a:pt x="0" y="14"/>
                      </a:cubicBezTo>
                      <a:cubicBezTo>
                        <a:pt x="0" y="14"/>
                        <a:pt x="21" y="23"/>
                        <a:pt x="59" y="18"/>
                      </a:cubicBezTo>
                      <a:cubicBezTo>
                        <a:pt x="118" y="10"/>
                        <a:pt x="156" y="0"/>
                        <a:pt x="227" y="19"/>
                      </a:cubicBezTo>
                      <a:cubicBezTo>
                        <a:pt x="289" y="36"/>
                        <a:pt x="362" y="107"/>
                        <a:pt x="371" y="211"/>
                      </a:cubicBezTo>
                      <a:cubicBezTo>
                        <a:pt x="365" y="196"/>
                        <a:pt x="338" y="190"/>
                        <a:pt x="316" y="174"/>
                      </a:cubicBezTo>
                      <a:cubicBezTo>
                        <a:pt x="302" y="164"/>
                        <a:pt x="287" y="139"/>
                        <a:pt x="287" y="139"/>
                      </a:cubicBezTo>
                      <a:cubicBezTo>
                        <a:pt x="287" y="139"/>
                        <a:pt x="296" y="177"/>
                        <a:pt x="261" y="227"/>
                      </a:cubicBezTo>
                      <a:close/>
                    </a:path>
                  </a:pathLst>
                </a:custGeom>
                <a:solidFill>
                  <a:srgbClr val="38B5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31" name="任意多边形: 形状 230">
                  <a:extLst>
                    <a:ext uri="{FF2B5EF4-FFF2-40B4-BE49-F238E27FC236}">
                      <a16:creationId xmlns:a16="http://schemas.microsoft.com/office/drawing/2014/main" id="{10A1BB08-4B02-445C-9F77-BB1B09909A82}"/>
                    </a:ext>
                  </a:extLst>
                </p:cNvPr>
                <p:cNvSpPr/>
                <p:nvPr/>
              </p:nvSpPr>
              <p:spPr bwMode="auto">
                <a:xfrm>
                  <a:off x="7982209" y="1690725"/>
                  <a:ext cx="1040556" cy="1237070"/>
                </a:xfrm>
                <a:custGeom>
                  <a:avLst/>
                  <a:gdLst>
                    <a:gd name="T0" fmla="*/ 297 w 311"/>
                    <a:gd name="T1" fmla="*/ 354 h 370"/>
                    <a:gd name="T2" fmla="*/ 168 w 311"/>
                    <a:gd name="T3" fmla="*/ 168 h 370"/>
                    <a:gd name="T4" fmla="*/ 168 w 311"/>
                    <a:gd name="T5" fmla="*/ 167 h 370"/>
                    <a:gd name="T6" fmla="*/ 221 w 311"/>
                    <a:gd name="T7" fmla="*/ 69 h 370"/>
                    <a:gd name="T8" fmla="*/ 288 w 311"/>
                    <a:gd name="T9" fmla="*/ 43 h 370"/>
                    <a:gd name="T10" fmla="*/ 275 w 311"/>
                    <a:gd name="T11" fmla="*/ 0 h 370"/>
                    <a:gd name="T12" fmla="*/ 139 w 311"/>
                    <a:gd name="T13" fmla="*/ 158 h 370"/>
                    <a:gd name="T14" fmla="*/ 139 w 311"/>
                    <a:gd name="T15" fmla="*/ 159 h 370"/>
                    <a:gd name="T16" fmla="*/ 46 w 311"/>
                    <a:gd name="T17" fmla="*/ 259 h 370"/>
                    <a:gd name="T18" fmla="*/ 45 w 311"/>
                    <a:gd name="T19" fmla="*/ 203 h 370"/>
                    <a:gd name="T20" fmla="*/ 37 w 311"/>
                    <a:gd name="T21" fmla="*/ 209 h 370"/>
                    <a:gd name="T22" fmla="*/ 24 w 311"/>
                    <a:gd name="T23" fmla="*/ 244 h 370"/>
                    <a:gd name="T24" fmla="*/ 0 w 311"/>
                    <a:gd name="T25" fmla="*/ 293 h 370"/>
                    <a:gd name="T26" fmla="*/ 130 w 311"/>
                    <a:gd name="T27" fmla="*/ 245 h 370"/>
                    <a:gd name="T28" fmla="*/ 158 w 311"/>
                    <a:gd name="T29" fmla="*/ 305 h 370"/>
                    <a:gd name="T30" fmla="*/ 187 w 311"/>
                    <a:gd name="T31" fmla="*/ 370 h 370"/>
                    <a:gd name="T32" fmla="*/ 213 w 311"/>
                    <a:gd name="T33" fmla="*/ 282 h 370"/>
                    <a:gd name="T34" fmla="*/ 242 w 311"/>
                    <a:gd name="T35" fmla="*/ 317 h 370"/>
                    <a:gd name="T36" fmla="*/ 297 w 311"/>
                    <a:gd name="T37" fmla="*/ 354 h 3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1" h="370">
                      <a:moveTo>
                        <a:pt x="297" y="354"/>
                      </a:moveTo>
                      <a:cubicBezTo>
                        <a:pt x="289" y="258"/>
                        <a:pt x="226" y="190"/>
                        <a:pt x="168" y="168"/>
                      </a:cubicBezTo>
                      <a:cubicBezTo>
                        <a:pt x="168" y="167"/>
                        <a:pt x="168" y="167"/>
                        <a:pt x="168" y="167"/>
                      </a:cubicBezTo>
                      <a:cubicBezTo>
                        <a:pt x="168" y="167"/>
                        <a:pt x="166" y="106"/>
                        <a:pt x="221" y="69"/>
                      </a:cubicBezTo>
                      <a:cubicBezTo>
                        <a:pt x="261" y="43"/>
                        <a:pt x="288" y="43"/>
                        <a:pt x="288" y="43"/>
                      </a:cubicBezTo>
                      <a:cubicBezTo>
                        <a:pt x="288" y="43"/>
                        <a:pt x="311" y="21"/>
                        <a:pt x="275" y="0"/>
                      </a:cubicBezTo>
                      <a:cubicBezTo>
                        <a:pt x="149" y="21"/>
                        <a:pt x="139" y="158"/>
                        <a:pt x="139" y="158"/>
                      </a:cubicBezTo>
                      <a:cubicBezTo>
                        <a:pt x="139" y="158"/>
                        <a:pt x="139" y="158"/>
                        <a:pt x="139" y="159"/>
                      </a:cubicBezTo>
                      <a:cubicBezTo>
                        <a:pt x="148" y="249"/>
                        <a:pt x="46" y="259"/>
                        <a:pt x="46" y="259"/>
                      </a:cubicBezTo>
                      <a:cubicBezTo>
                        <a:pt x="46" y="259"/>
                        <a:pt x="34" y="229"/>
                        <a:pt x="45" y="203"/>
                      </a:cubicBezTo>
                      <a:cubicBezTo>
                        <a:pt x="45" y="203"/>
                        <a:pt x="41" y="204"/>
                        <a:pt x="37" y="209"/>
                      </a:cubicBezTo>
                      <a:cubicBezTo>
                        <a:pt x="32" y="214"/>
                        <a:pt x="26" y="225"/>
                        <a:pt x="24" y="244"/>
                      </a:cubicBezTo>
                      <a:cubicBezTo>
                        <a:pt x="20" y="280"/>
                        <a:pt x="0" y="293"/>
                        <a:pt x="0" y="293"/>
                      </a:cubicBezTo>
                      <a:cubicBezTo>
                        <a:pt x="0" y="293"/>
                        <a:pt x="121" y="313"/>
                        <a:pt x="130" y="245"/>
                      </a:cubicBezTo>
                      <a:cubicBezTo>
                        <a:pt x="130" y="245"/>
                        <a:pt x="132" y="281"/>
                        <a:pt x="158" y="305"/>
                      </a:cubicBezTo>
                      <a:cubicBezTo>
                        <a:pt x="184" y="329"/>
                        <a:pt x="187" y="370"/>
                        <a:pt x="187" y="370"/>
                      </a:cubicBezTo>
                      <a:cubicBezTo>
                        <a:pt x="222" y="320"/>
                        <a:pt x="213" y="282"/>
                        <a:pt x="213" y="282"/>
                      </a:cubicBezTo>
                      <a:cubicBezTo>
                        <a:pt x="213" y="282"/>
                        <a:pt x="228" y="307"/>
                        <a:pt x="242" y="317"/>
                      </a:cubicBezTo>
                      <a:cubicBezTo>
                        <a:pt x="264" y="333"/>
                        <a:pt x="291" y="339"/>
                        <a:pt x="297" y="354"/>
                      </a:cubicBezTo>
                      <a:close/>
                    </a:path>
                  </a:pathLst>
                </a:custGeom>
                <a:solidFill>
                  <a:srgbClr val="32A54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211" name="组合 21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<p:cNvGrpSpPr>
                <a:grpSpLocks noChangeAspect="1"/>
              </p:cNvGrpSpPr>
              <p:nvPr userDrawn="1">
                <p:custDataLst>
                  <p:tags r:id="rId2"/>
                </p:custDataLst>
              </p:nvPr>
            </p:nvGrpSpPr>
            <p:grpSpPr>
              <a:xfrm>
                <a:off x="8970669" y="3530322"/>
                <a:ext cx="488306" cy="416269"/>
                <a:chOff x="3038763" y="1028700"/>
                <a:chExt cx="6114474" cy="5212444"/>
              </a:xfrm>
            </p:grpSpPr>
            <p:sp>
              <p:nvSpPr>
                <p:cNvPr id="212" name="任意多边形: 形状 211">
                  <a:extLst>
                    <a:ext uri="{FF2B5EF4-FFF2-40B4-BE49-F238E27FC236}">
                      <a16:creationId xmlns:a16="http://schemas.microsoft.com/office/drawing/2014/main" id="{F50F64CE-F66D-42A7-BBCB-C4A130B939CA}"/>
                    </a:ext>
                  </a:extLst>
                </p:cNvPr>
                <p:cNvSpPr/>
                <p:nvPr/>
              </p:nvSpPr>
              <p:spPr bwMode="auto">
                <a:xfrm>
                  <a:off x="3038763" y="1326692"/>
                  <a:ext cx="3931884" cy="3730538"/>
                </a:xfrm>
                <a:custGeom>
                  <a:avLst/>
                  <a:gdLst>
                    <a:gd name="T0" fmla="*/ 32 w 1175"/>
                    <a:gd name="T1" fmla="*/ 1103 h 1116"/>
                    <a:gd name="T2" fmla="*/ 29 w 1175"/>
                    <a:gd name="T3" fmla="*/ 1050 h 1116"/>
                    <a:gd name="T4" fmla="*/ 432 w 1175"/>
                    <a:gd name="T5" fmla="*/ 862 h 1116"/>
                    <a:gd name="T6" fmla="*/ 650 w 1175"/>
                    <a:gd name="T7" fmla="*/ 532 h 1116"/>
                    <a:gd name="T8" fmla="*/ 751 w 1175"/>
                    <a:gd name="T9" fmla="*/ 223 h 1116"/>
                    <a:gd name="T10" fmla="*/ 1079 w 1175"/>
                    <a:gd name="T11" fmla="*/ 132 h 1116"/>
                    <a:gd name="T12" fmla="*/ 1082 w 1175"/>
                    <a:gd name="T13" fmla="*/ 500 h 1116"/>
                    <a:gd name="T14" fmla="*/ 553 w 1175"/>
                    <a:gd name="T15" fmla="*/ 1048 h 1116"/>
                    <a:gd name="T16" fmla="*/ 32 w 1175"/>
                    <a:gd name="T17" fmla="*/ 1103 h 1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75" h="1116">
                      <a:moveTo>
                        <a:pt x="32" y="1103"/>
                      </a:moveTo>
                      <a:cubicBezTo>
                        <a:pt x="2" y="1100"/>
                        <a:pt x="0" y="1057"/>
                        <a:pt x="29" y="1050"/>
                      </a:cubicBezTo>
                      <a:cubicBezTo>
                        <a:pt x="173" y="1016"/>
                        <a:pt x="339" y="931"/>
                        <a:pt x="432" y="862"/>
                      </a:cubicBezTo>
                      <a:cubicBezTo>
                        <a:pt x="543" y="779"/>
                        <a:pt x="605" y="644"/>
                        <a:pt x="650" y="532"/>
                      </a:cubicBezTo>
                      <a:cubicBezTo>
                        <a:pt x="679" y="460"/>
                        <a:pt x="722" y="295"/>
                        <a:pt x="751" y="223"/>
                      </a:cubicBezTo>
                      <a:cubicBezTo>
                        <a:pt x="792" y="123"/>
                        <a:pt x="930" y="0"/>
                        <a:pt x="1079" y="132"/>
                      </a:cubicBezTo>
                      <a:cubicBezTo>
                        <a:pt x="1175" y="217"/>
                        <a:pt x="1116" y="420"/>
                        <a:pt x="1082" y="500"/>
                      </a:cubicBezTo>
                      <a:cubicBezTo>
                        <a:pt x="987" y="723"/>
                        <a:pt x="801" y="977"/>
                        <a:pt x="553" y="1048"/>
                      </a:cubicBezTo>
                      <a:cubicBezTo>
                        <a:pt x="325" y="1113"/>
                        <a:pt x="151" y="1116"/>
                        <a:pt x="32" y="1103"/>
                      </a:cubicBezTo>
                      <a:close/>
                    </a:path>
                  </a:pathLst>
                </a:custGeom>
                <a:solidFill>
                  <a:srgbClr val="E127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13" name="任意多边形: 形状 212">
                  <a:extLst>
                    <a:ext uri="{FF2B5EF4-FFF2-40B4-BE49-F238E27FC236}">
                      <a16:creationId xmlns:a16="http://schemas.microsoft.com/office/drawing/2014/main" id="{2153FFA2-5024-4857-A14D-8923CD426280}"/>
                    </a:ext>
                  </a:extLst>
                </p:cNvPr>
                <p:cNvSpPr/>
                <p:nvPr/>
              </p:nvSpPr>
              <p:spPr bwMode="auto">
                <a:xfrm>
                  <a:off x="3871530" y="1737438"/>
                  <a:ext cx="2356553" cy="2915489"/>
                </a:xfrm>
                <a:custGeom>
                  <a:avLst/>
                  <a:gdLst>
                    <a:gd name="T0" fmla="*/ 295 w 704"/>
                    <a:gd name="T1" fmla="*/ 743 h 872"/>
                    <a:gd name="T2" fmla="*/ 532 w 704"/>
                    <a:gd name="T3" fmla="*/ 412 h 872"/>
                    <a:gd name="T4" fmla="*/ 584 w 704"/>
                    <a:gd name="T5" fmla="*/ 255 h 872"/>
                    <a:gd name="T6" fmla="*/ 633 w 704"/>
                    <a:gd name="T7" fmla="*/ 104 h 872"/>
                    <a:gd name="T8" fmla="*/ 704 w 704"/>
                    <a:gd name="T9" fmla="*/ 5 h 872"/>
                    <a:gd name="T10" fmla="*/ 552 w 704"/>
                    <a:gd name="T11" fmla="*/ 120 h 872"/>
                    <a:gd name="T12" fmla="*/ 502 w 704"/>
                    <a:gd name="T13" fmla="*/ 272 h 872"/>
                    <a:gd name="T14" fmla="*/ 451 w 704"/>
                    <a:gd name="T15" fmla="*/ 429 h 872"/>
                    <a:gd name="T16" fmla="*/ 0 w 704"/>
                    <a:gd name="T17" fmla="*/ 872 h 872"/>
                    <a:gd name="T18" fmla="*/ 295 w 704"/>
                    <a:gd name="T19" fmla="*/ 743 h 8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04" h="872">
                      <a:moveTo>
                        <a:pt x="295" y="743"/>
                      </a:moveTo>
                      <a:cubicBezTo>
                        <a:pt x="392" y="665"/>
                        <a:pt x="477" y="548"/>
                        <a:pt x="532" y="412"/>
                      </a:cubicBezTo>
                      <a:cubicBezTo>
                        <a:pt x="547" y="374"/>
                        <a:pt x="565" y="316"/>
                        <a:pt x="584" y="255"/>
                      </a:cubicBezTo>
                      <a:cubicBezTo>
                        <a:pt x="601" y="197"/>
                        <a:pt x="618" y="137"/>
                        <a:pt x="633" y="104"/>
                      </a:cubicBezTo>
                      <a:cubicBezTo>
                        <a:pt x="671" y="18"/>
                        <a:pt x="704" y="5"/>
                        <a:pt x="704" y="5"/>
                      </a:cubicBezTo>
                      <a:cubicBezTo>
                        <a:pt x="629" y="0"/>
                        <a:pt x="571" y="73"/>
                        <a:pt x="552" y="120"/>
                      </a:cubicBezTo>
                      <a:cubicBezTo>
                        <a:pt x="538" y="155"/>
                        <a:pt x="520" y="214"/>
                        <a:pt x="502" y="272"/>
                      </a:cubicBezTo>
                      <a:cubicBezTo>
                        <a:pt x="483" y="333"/>
                        <a:pt x="465" y="391"/>
                        <a:pt x="451" y="429"/>
                      </a:cubicBezTo>
                      <a:cubicBezTo>
                        <a:pt x="332" y="750"/>
                        <a:pt x="66" y="855"/>
                        <a:pt x="0" y="872"/>
                      </a:cubicBezTo>
                      <a:cubicBezTo>
                        <a:pt x="99" y="857"/>
                        <a:pt x="207" y="815"/>
                        <a:pt x="295" y="743"/>
                      </a:cubicBezTo>
                      <a:close/>
                    </a:path>
                  </a:pathLst>
                </a:custGeom>
                <a:solidFill>
                  <a:srgbClr val="E65D4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14" name="任意多边形: 形状 213">
                  <a:extLst>
                    <a:ext uri="{FF2B5EF4-FFF2-40B4-BE49-F238E27FC236}">
                      <a16:creationId xmlns:a16="http://schemas.microsoft.com/office/drawing/2014/main" id="{1087E211-5003-41CF-B69F-C9C51167BB13}"/>
                    </a:ext>
                  </a:extLst>
                </p:cNvPr>
                <p:cNvSpPr/>
                <p:nvPr/>
              </p:nvSpPr>
              <p:spPr bwMode="auto">
                <a:xfrm>
                  <a:off x="3064535" y="1577972"/>
                  <a:ext cx="3906112" cy="3479258"/>
                </a:xfrm>
                <a:custGeom>
                  <a:avLst/>
                  <a:gdLst>
                    <a:gd name="T0" fmla="*/ 1074 w 1167"/>
                    <a:gd name="T1" fmla="*/ 425 h 1041"/>
                    <a:gd name="T2" fmla="*/ 1071 w 1167"/>
                    <a:gd name="T3" fmla="*/ 57 h 1041"/>
                    <a:gd name="T4" fmla="*/ 953 w 1167"/>
                    <a:gd name="T5" fmla="*/ 0 h 1041"/>
                    <a:gd name="T6" fmla="*/ 953 w 1167"/>
                    <a:gd name="T7" fmla="*/ 0 h 1041"/>
                    <a:gd name="T8" fmla="*/ 924 w 1167"/>
                    <a:gd name="T9" fmla="*/ 491 h 1041"/>
                    <a:gd name="T10" fmla="*/ 0 w 1167"/>
                    <a:gd name="T11" fmla="*/ 1004 h 1041"/>
                    <a:gd name="T12" fmla="*/ 24 w 1167"/>
                    <a:gd name="T13" fmla="*/ 1028 h 1041"/>
                    <a:gd name="T14" fmla="*/ 545 w 1167"/>
                    <a:gd name="T15" fmla="*/ 973 h 1041"/>
                    <a:gd name="T16" fmla="*/ 1074 w 1167"/>
                    <a:gd name="T17" fmla="*/ 425 h 10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67" h="1041">
                      <a:moveTo>
                        <a:pt x="1074" y="425"/>
                      </a:moveTo>
                      <a:cubicBezTo>
                        <a:pt x="1108" y="345"/>
                        <a:pt x="1167" y="142"/>
                        <a:pt x="1071" y="57"/>
                      </a:cubicBezTo>
                      <a:cubicBezTo>
                        <a:pt x="1031" y="21"/>
                        <a:pt x="991" y="4"/>
                        <a:pt x="953" y="0"/>
                      </a:cubicBezTo>
                      <a:cubicBezTo>
                        <a:pt x="953" y="0"/>
                        <a:pt x="953" y="0"/>
                        <a:pt x="953" y="0"/>
                      </a:cubicBezTo>
                      <a:cubicBezTo>
                        <a:pt x="1076" y="36"/>
                        <a:pt x="1022" y="292"/>
                        <a:pt x="924" y="491"/>
                      </a:cubicBezTo>
                      <a:cubicBezTo>
                        <a:pt x="759" y="828"/>
                        <a:pt x="371" y="1039"/>
                        <a:pt x="0" y="1004"/>
                      </a:cubicBezTo>
                      <a:cubicBezTo>
                        <a:pt x="2" y="1016"/>
                        <a:pt x="10" y="1026"/>
                        <a:pt x="24" y="1028"/>
                      </a:cubicBezTo>
                      <a:cubicBezTo>
                        <a:pt x="143" y="1041"/>
                        <a:pt x="317" y="1038"/>
                        <a:pt x="545" y="973"/>
                      </a:cubicBezTo>
                      <a:cubicBezTo>
                        <a:pt x="793" y="902"/>
                        <a:pt x="979" y="648"/>
                        <a:pt x="1074" y="425"/>
                      </a:cubicBezTo>
                      <a:close/>
                    </a:path>
                  </a:pathLst>
                </a:custGeom>
                <a:solidFill>
                  <a:srgbClr val="CC222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15" name="任意多边形: 形状 214">
                  <a:extLst>
                    <a:ext uri="{FF2B5EF4-FFF2-40B4-BE49-F238E27FC236}">
                      <a16:creationId xmlns:a16="http://schemas.microsoft.com/office/drawing/2014/main" id="{E9A93259-29C7-446A-9E33-1F28F9A6C90A}"/>
                    </a:ext>
                  </a:extLst>
                </p:cNvPr>
                <p:cNvSpPr/>
                <p:nvPr/>
              </p:nvSpPr>
              <p:spPr bwMode="auto">
                <a:xfrm>
                  <a:off x="5769014" y="1486158"/>
                  <a:ext cx="1030891" cy="512224"/>
                </a:xfrm>
                <a:custGeom>
                  <a:avLst/>
                  <a:gdLst>
                    <a:gd name="T0" fmla="*/ 229 w 308"/>
                    <a:gd name="T1" fmla="*/ 153 h 153"/>
                    <a:gd name="T2" fmla="*/ 197 w 308"/>
                    <a:gd name="T3" fmla="*/ 109 h 153"/>
                    <a:gd name="T4" fmla="*/ 166 w 308"/>
                    <a:gd name="T5" fmla="*/ 69 h 153"/>
                    <a:gd name="T6" fmla="*/ 77 w 308"/>
                    <a:gd name="T7" fmla="*/ 125 h 153"/>
                    <a:gd name="T8" fmla="*/ 87 w 308"/>
                    <a:gd name="T9" fmla="*/ 85 h 153"/>
                    <a:gd name="T10" fmla="*/ 96 w 308"/>
                    <a:gd name="T11" fmla="*/ 50 h 153"/>
                    <a:gd name="T12" fmla="*/ 59 w 308"/>
                    <a:gd name="T13" fmla="*/ 53 h 153"/>
                    <a:gd name="T14" fmla="*/ 0 w 308"/>
                    <a:gd name="T15" fmla="*/ 35 h 153"/>
                    <a:gd name="T16" fmla="*/ 45 w 308"/>
                    <a:gd name="T17" fmla="*/ 29 h 153"/>
                    <a:gd name="T18" fmla="*/ 171 w 308"/>
                    <a:gd name="T19" fmla="*/ 3 h 153"/>
                    <a:gd name="T20" fmla="*/ 308 w 308"/>
                    <a:gd name="T21" fmla="*/ 124 h 153"/>
                    <a:gd name="T22" fmla="*/ 261 w 308"/>
                    <a:gd name="T23" fmla="*/ 105 h 153"/>
                    <a:gd name="T24" fmla="*/ 234 w 308"/>
                    <a:gd name="T25" fmla="*/ 83 h 153"/>
                    <a:gd name="T26" fmla="*/ 229 w 308"/>
                    <a:gd name="T27" fmla="*/ 153 h 1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08" h="153">
                      <a:moveTo>
                        <a:pt x="229" y="153"/>
                      </a:moveTo>
                      <a:cubicBezTo>
                        <a:pt x="229" y="153"/>
                        <a:pt x="220" y="122"/>
                        <a:pt x="197" y="109"/>
                      </a:cubicBezTo>
                      <a:cubicBezTo>
                        <a:pt x="174" y="95"/>
                        <a:pt x="166" y="69"/>
                        <a:pt x="166" y="69"/>
                      </a:cubicBezTo>
                      <a:cubicBezTo>
                        <a:pt x="170" y="120"/>
                        <a:pt x="77" y="125"/>
                        <a:pt x="77" y="125"/>
                      </a:cubicBezTo>
                      <a:cubicBezTo>
                        <a:pt x="77" y="125"/>
                        <a:pt x="90" y="112"/>
                        <a:pt x="87" y="85"/>
                      </a:cubicBezTo>
                      <a:cubicBezTo>
                        <a:pt x="84" y="57"/>
                        <a:pt x="96" y="50"/>
                        <a:pt x="96" y="50"/>
                      </a:cubicBezTo>
                      <a:cubicBezTo>
                        <a:pt x="96" y="50"/>
                        <a:pt x="96" y="50"/>
                        <a:pt x="59" y="53"/>
                      </a:cubicBezTo>
                      <a:cubicBezTo>
                        <a:pt x="23" y="56"/>
                        <a:pt x="0" y="35"/>
                        <a:pt x="0" y="35"/>
                      </a:cubicBezTo>
                      <a:cubicBezTo>
                        <a:pt x="0" y="35"/>
                        <a:pt x="18" y="38"/>
                        <a:pt x="45" y="29"/>
                      </a:cubicBezTo>
                      <a:cubicBezTo>
                        <a:pt x="88" y="13"/>
                        <a:pt x="115" y="0"/>
                        <a:pt x="171" y="3"/>
                      </a:cubicBezTo>
                      <a:cubicBezTo>
                        <a:pt x="220" y="6"/>
                        <a:pt x="285" y="47"/>
                        <a:pt x="308" y="124"/>
                      </a:cubicBezTo>
                      <a:cubicBezTo>
                        <a:pt x="301" y="113"/>
                        <a:pt x="281" y="113"/>
                        <a:pt x="261" y="105"/>
                      </a:cubicBezTo>
                      <a:cubicBezTo>
                        <a:pt x="249" y="100"/>
                        <a:pt x="234" y="83"/>
                        <a:pt x="234" y="83"/>
                      </a:cubicBezTo>
                      <a:cubicBezTo>
                        <a:pt x="234" y="83"/>
                        <a:pt x="247" y="110"/>
                        <a:pt x="229" y="153"/>
                      </a:cubicBezTo>
                      <a:close/>
                    </a:path>
                  </a:pathLst>
                </a:custGeom>
                <a:solidFill>
                  <a:srgbClr val="38B5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16" name="任意多边形: 形状 215">
                  <a:extLst>
                    <a:ext uri="{FF2B5EF4-FFF2-40B4-BE49-F238E27FC236}">
                      <a16:creationId xmlns:a16="http://schemas.microsoft.com/office/drawing/2014/main" id="{6AD1CD86-2833-411F-A94D-1B13BCE5BC7E}"/>
                    </a:ext>
                  </a:extLst>
                </p:cNvPr>
                <p:cNvSpPr/>
                <p:nvPr/>
              </p:nvSpPr>
              <p:spPr bwMode="auto">
                <a:xfrm>
                  <a:off x="6026737" y="1028700"/>
                  <a:ext cx="773168" cy="969682"/>
                </a:xfrm>
                <a:custGeom>
                  <a:avLst/>
                  <a:gdLst>
                    <a:gd name="T0" fmla="*/ 231 w 231"/>
                    <a:gd name="T1" fmla="*/ 261 h 290"/>
                    <a:gd name="T2" fmla="*/ 106 w 231"/>
                    <a:gd name="T3" fmla="*/ 142 h 290"/>
                    <a:gd name="T4" fmla="*/ 106 w 231"/>
                    <a:gd name="T5" fmla="*/ 141 h 290"/>
                    <a:gd name="T6" fmla="*/ 130 w 231"/>
                    <a:gd name="T7" fmla="*/ 60 h 290"/>
                    <a:gd name="T8" fmla="*/ 176 w 231"/>
                    <a:gd name="T9" fmla="*/ 29 h 290"/>
                    <a:gd name="T10" fmla="*/ 159 w 231"/>
                    <a:gd name="T11" fmla="*/ 0 h 290"/>
                    <a:gd name="T12" fmla="*/ 82 w 231"/>
                    <a:gd name="T13" fmla="*/ 139 h 290"/>
                    <a:gd name="T14" fmla="*/ 82 w 231"/>
                    <a:gd name="T15" fmla="*/ 140 h 290"/>
                    <a:gd name="T16" fmla="*/ 29 w 231"/>
                    <a:gd name="T17" fmla="*/ 229 h 290"/>
                    <a:gd name="T18" fmla="*/ 19 w 231"/>
                    <a:gd name="T19" fmla="*/ 187 h 290"/>
                    <a:gd name="T20" fmla="*/ 14 w 231"/>
                    <a:gd name="T21" fmla="*/ 193 h 290"/>
                    <a:gd name="T22" fmla="*/ 10 w 231"/>
                    <a:gd name="T23" fmla="*/ 222 h 290"/>
                    <a:gd name="T24" fmla="*/ 0 w 231"/>
                    <a:gd name="T25" fmla="*/ 262 h 290"/>
                    <a:gd name="T26" fmla="*/ 89 w 231"/>
                    <a:gd name="T27" fmla="*/ 206 h 290"/>
                    <a:gd name="T28" fmla="*/ 120 w 231"/>
                    <a:gd name="T29" fmla="*/ 246 h 290"/>
                    <a:gd name="T30" fmla="*/ 152 w 231"/>
                    <a:gd name="T31" fmla="*/ 290 h 290"/>
                    <a:gd name="T32" fmla="*/ 157 w 231"/>
                    <a:gd name="T33" fmla="*/ 220 h 290"/>
                    <a:gd name="T34" fmla="*/ 184 w 231"/>
                    <a:gd name="T35" fmla="*/ 242 h 290"/>
                    <a:gd name="T36" fmla="*/ 231 w 231"/>
                    <a:gd name="T37" fmla="*/ 261 h 2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31" h="290">
                      <a:moveTo>
                        <a:pt x="231" y="261"/>
                      </a:moveTo>
                      <a:cubicBezTo>
                        <a:pt x="210" y="190"/>
                        <a:pt x="153" y="150"/>
                        <a:pt x="106" y="142"/>
                      </a:cubicBezTo>
                      <a:cubicBezTo>
                        <a:pt x="106" y="141"/>
                        <a:pt x="106" y="141"/>
                        <a:pt x="106" y="141"/>
                      </a:cubicBezTo>
                      <a:cubicBezTo>
                        <a:pt x="106" y="141"/>
                        <a:pt x="94" y="96"/>
                        <a:pt x="130" y="60"/>
                      </a:cubicBezTo>
                      <a:cubicBezTo>
                        <a:pt x="156" y="34"/>
                        <a:pt x="176" y="29"/>
                        <a:pt x="176" y="29"/>
                      </a:cubicBezTo>
                      <a:cubicBezTo>
                        <a:pt x="176" y="29"/>
                        <a:pt x="190" y="10"/>
                        <a:pt x="159" y="0"/>
                      </a:cubicBezTo>
                      <a:cubicBezTo>
                        <a:pt x="68" y="35"/>
                        <a:pt x="82" y="139"/>
                        <a:pt x="82" y="139"/>
                      </a:cubicBezTo>
                      <a:cubicBezTo>
                        <a:pt x="82" y="139"/>
                        <a:pt x="82" y="139"/>
                        <a:pt x="82" y="140"/>
                      </a:cubicBezTo>
                      <a:cubicBezTo>
                        <a:pt x="104" y="205"/>
                        <a:pt x="29" y="229"/>
                        <a:pt x="29" y="229"/>
                      </a:cubicBezTo>
                      <a:cubicBezTo>
                        <a:pt x="29" y="229"/>
                        <a:pt x="15" y="209"/>
                        <a:pt x="19" y="187"/>
                      </a:cubicBezTo>
                      <a:cubicBezTo>
                        <a:pt x="19" y="187"/>
                        <a:pt x="17" y="189"/>
                        <a:pt x="14" y="193"/>
                      </a:cubicBezTo>
                      <a:cubicBezTo>
                        <a:pt x="11" y="198"/>
                        <a:pt x="8" y="207"/>
                        <a:pt x="10" y="222"/>
                      </a:cubicBezTo>
                      <a:cubicBezTo>
                        <a:pt x="13" y="249"/>
                        <a:pt x="0" y="262"/>
                        <a:pt x="0" y="262"/>
                      </a:cubicBezTo>
                      <a:cubicBezTo>
                        <a:pt x="0" y="262"/>
                        <a:pt x="93" y="257"/>
                        <a:pt x="89" y="206"/>
                      </a:cubicBezTo>
                      <a:cubicBezTo>
                        <a:pt x="89" y="206"/>
                        <a:pt x="97" y="232"/>
                        <a:pt x="120" y="246"/>
                      </a:cubicBezTo>
                      <a:cubicBezTo>
                        <a:pt x="143" y="259"/>
                        <a:pt x="152" y="290"/>
                        <a:pt x="152" y="290"/>
                      </a:cubicBezTo>
                      <a:cubicBezTo>
                        <a:pt x="170" y="247"/>
                        <a:pt x="157" y="220"/>
                        <a:pt x="157" y="220"/>
                      </a:cubicBezTo>
                      <a:cubicBezTo>
                        <a:pt x="157" y="220"/>
                        <a:pt x="172" y="237"/>
                        <a:pt x="184" y="242"/>
                      </a:cubicBezTo>
                      <a:cubicBezTo>
                        <a:pt x="204" y="250"/>
                        <a:pt x="224" y="250"/>
                        <a:pt x="231" y="261"/>
                      </a:cubicBezTo>
                      <a:close/>
                    </a:path>
                  </a:pathLst>
                </a:custGeom>
                <a:solidFill>
                  <a:srgbClr val="32A54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17" name="任意多边形: 形状 216">
                  <a:extLst>
                    <a:ext uri="{FF2B5EF4-FFF2-40B4-BE49-F238E27FC236}">
                      <a16:creationId xmlns:a16="http://schemas.microsoft.com/office/drawing/2014/main" id="{BAEB5607-7303-4069-A830-67C69C5D9DAA}"/>
                    </a:ext>
                  </a:extLst>
                </p:cNvPr>
                <p:cNvSpPr/>
                <p:nvPr/>
              </p:nvSpPr>
              <p:spPr bwMode="auto">
                <a:xfrm>
                  <a:off x="3322258" y="1961334"/>
                  <a:ext cx="5830979" cy="4226654"/>
                </a:xfrm>
                <a:custGeom>
                  <a:avLst/>
                  <a:gdLst>
                    <a:gd name="T0" fmla="*/ 37 w 1742"/>
                    <a:gd name="T1" fmla="*/ 1172 h 1264"/>
                    <a:gd name="T2" fmla="*/ 47 w 1742"/>
                    <a:gd name="T3" fmla="*/ 1104 h 1264"/>
                    <a:gd name="T4" fmla="*/ 616 w 1742"/>
                    <a:gd name="T5" fmla="*/ 971 h 1264"/>
                    <a:gd name="T6" fmla="*/ 983 w 1742"/>
                    <a:gd name="T7" fmla="*/ 607 h 1264"/>
                    <a:gd name="T8" fmla="*/ 1196 w 1742"/>
                    <a:gd name="T9" fmla="*/ 239 h 1264"/>
                    <a:gd name="T10" fmla="*/ 1642 w 1742"/>
                    <a:gd name="T11" fmla="*/ 210 h 1264"/>
                    <a:gd name="T12" fmla="*/ 1546 w 1742"/>
                    <a:gd name="T13" fmla="*/ 683 h 1264"/>
                    <a:gd name="T14" fmla="*/ 720 w 1742"/>
                    <a:gd name="T15" fmla="*/ 1242 h 1264"/>
                    <a:gd name="T16" fmla="*/ 37 w 1742"/>
                    <a:gd name="T17" fmla="*/ 1172 h 12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42" h="1264">
                      <a:moveTo>
                        <a:pt x="37" y="1172"/>
                      </a:moveTo>
                      <a:cubicBezTo>
                        <a:pt x="0" y="1160"/>
                        <a:pt x="8" y="1105"/>
                        <a:pt x="47" y="1104"/>
                      </a:cubicBezTo>
                      <a:cubicBezTo>
                        <a:pt x="241" y="1099"/>
                        <a:pt x="477" y="1035"/>
                        <a:pt x="616" y="971"/>
                      </a:cubicBezTo>
                      <a:cubicBezTo>
                        <a:pt x="779" y="895"/>
                        <a:pt x="895" y="739"/>
                        <a:pt x="983" y="607"/>
                      </a:cubicBezTo>
                      <a:cubicBezTo>
                        <a:pt x="1040" y="523"/>
                        <a:pt x="1140" y="323"/>
                        <a:pt x="1196" y="239"/>
                      </a:cubicBezTo>
                      <a:cubicBezTo>
                        <a:pt x="1276" y="121"/>
                        <a:pt x="1486" y="0"/>
                        <a:pt x="1642" y="210"/>
                      </a:cubicBezTo>
                      <a:cubicBezTo>
                        <a:pt x="1742" y="345"/>
                        <a:pt x="1612" y="590"/>
                        <a:pt x="1546" y="683"/>
                      </a:cubicBezTo>
                      <a:cubicBezTo>
                        <a:pt x="1363" y="943"/>
                        <a:pt x="1057" y="1219"/>
                        <a:pt x="720" y="1242"/>
                      </a:cubicBezTo>
                      <a:cubicBezTo>
                        <a:pt x="410" y="1264"/>
                        <a:pt x="185" y="1221"/>
                        <a:pt x="37" y="1172"/>
                      </a:cubicBezTo>
                      <a:close/>
                    </a:path>
                  </a:pathLst>
                </a:custGeom>
                <a:solidFill>
                  <a:srgbClr val="E1272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18" name="任意多边形: 形状 217">
                  <a:extLst>
                    <a:ext uri="{FF2B5EF4-FFF2-40B4-BE49-F238E27FC236}">
                      <a16:creationId xmlns:a16="http://schemas.microsoft.com/office/drawing/2014/main" id="{809A253E-529A-4E2D-8333-6D0E2BC97AF0}"/>
                    </a:ext>
                  </a:extLst>
                </p:cNvPr>
                <p:cNvSpPr/>
                <p:nvPr/>
              </p:nvSpPr>
              <p:spPr bwMode="auto">
                <a:xfrm>
                  <a:off x="4473957" y="2446176"/>
                  <a:ext cx="3803022" cy="3194152"/>
                </a:xfrm>
                <a:custGeom>
                  <a:avLst/>
                  <a:gdLst>
                    <a:gd name="T0" fmla="*/ 414 w 1136"/>
                    <a:gd name="T1" fmla="*/ 862 h 955"/>
                    <a:gd name="T2" fmla="*/ 807 w 1136"/>
                    <a:gd name="T3" fmla="*/ 501 h 955"/>
                    <a:gd name="T4" fmla="*/ 915 w 1136"/>
                    <a:gd name="T5" fmla="*/ 314 h 955"/>
                    <a:gd name="T6" fmla="*/ 1020 w 1136"/>
                    <a:gd name="T7" fmla="*/ 133 h 955"/>
                    <a:gd name="T8" fmla="*/ 1136 w 1136"/>
                    <a:gd name="T9" fmla="*/ 26 h 955"/>
                    <a:gd name="T10" fmla="*/ 911 w 1136"/>
                    <a:gd name="T11" fmla="*/ 133 h 955"/>
                    <a:gd name="T12" fmla="*/ 806 w 1136"/>
                    <a:gd name="T13" fmla="*/ 313 h 955"/>
                    <a:gd name="T14" fmla="*/ 698 w 1136"/>
                    <a:gd name="T15" fmla="*/ 501 h 955"/>
                    <a:gd name="T16" fmla="*/ 0 w 1136"/>
                    <a:gd name="T17" fmla="*/ 948 h 955"/>
                    <a:gd name="T18" fmla="*/ 414 w 1136"/>
                    <a:gd name="T19" fmla="*/ 862 h 9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36" h="955">
                      <a:moveTo>
                        <a:pt x="414" y="862"/>
                      </a:moveTo>
                      <a:cubicBezTo>
                        <a:pt x="558" y="788"/>
                        <a:pt x="700" y="661"/>
                        <a:pt x="807" y="501"/>
                      </a:cubicBezTo>
                      <a:cubicBezTo>
                        <a:pt x="836" y="457"/>
                        <a:pt x="875" y="387"/>
                        <a:pt x="915" y="314"/>
                      </a:cubicBezTo>
                      <a:cubicBezTo>
                        <a:pt x="953" y="245"/>
                        <a:pt x="992" y="172"/>
                        <a:pt x="1020" y="133"/>
                      </a:cubicBezTo>
                      <a:cubicBezTo>
                        <a:pt x="1091" y="34"/>
                        <a:pt x="1136" y="26"/>
                        <a:pt x="1136" y="26"/>
                      </a:cubicBezTo>
                      <a:cubicBezTo>
                        <a:pt x="1042" y="0"/>
                        <a:pt x="948" y="77"/>
                        <a:pt x="911" y="133"/>
                      </a:cubicBezTo>
                      <a:cubicBezTo>
                        <a:pt x="884" y="173"/>
                        <a:pt x="844" y="244"/>
                        <a:pt x="806" y="313"/>
                      </a:cubicBezTo>
                      <a:cubicBezTo>
                        <a:pt x="766" y="387"/>
                        <a:pt x="726" y="456"/>
                        <a:pt x="698" y="501"/>
                      </a:cubicBezTo>
                      <a:cubicBezTo>
                        <a:pt x="458" y="881"/>
                        <a:pt x="89" y="943"/>
                        <a:pt x="0" y="948"/>
                      </a:cubicBezTo>
                      <a:cubicBezTo>
                        <a:pt x="131" y="955"/>
                        <a:pt x="281" y="930"/>
                        <a:pt x="414" y="862"/>
                      </a:cubicBezTo>
                      <a:close/>
                    </a:path>
                  </a:pathLst>
                </a:custGeom>
                <a:solidFill>
                  <a:srgbClr val="E65D4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19" name="任意多边形: 形状 218">
                  <a:extLst>
                    <a:ext uri="{FF2B5EF4-FFF2-40B4-BE49-F238E27FC236}">
                      <a16:creationId xmlns:a16="http://schemas.microsoft.com/office/drawing/2014/main" id="{688C816A-C5A3-4371-A6F4-84D58A3DC2A7}"/>
                    </a:ext>
                  </a:extLst>
                </p:cNvPr>
                <p:cNvSpPr/>
                <p:nvPr/>
              </p:nvSpPr>
              <p:spPr bwMode="auto">
                <a:xfrm>
                  <a:off x="3362527" y="2315703"/>
                  <a:ext cx="5790710" cy="3925441"/>
                </a:xfrm>
                <a:custGeom>
                  <a:avLst/>
                  <a:gdLst>
                    <a:gd name="T0" fmla="*/ 1534 w 1730"/>
                    <a:gd name="T1" fmla="*/ 577 h 1174"/>
                    <a:gd name="T2" fmla="*/ 1630 w 1730"/>
                    <a:gd name="T3" fmla="*/ 104 h 1174"/>
                    <a:gd name="T4" fmla="*/ 1494 w 1730"/>
                    <a:gd name="T5" fmla="*/ 0 h 1174"/>
                    <a:gd name="T6" fmla="*/ 1494 w 1730"/>
                    <a:gd name="T7" fmla="*/ 0 h 1174"/>
                    <a:gd name="T8" fmla="*/ 1324 w 1730"/>
                    <a:gd name="T9" fmla="*/ 621 h 1174"/>
                    <a:gd name="T10" fmla="*/ 1 w 1730"/>
                    <a:gd name="T11" fmla="*/ 1030 h 1174"/>
                    <a:gd name="T12" fmla="*/ 25 w 1730"/>
                    <a:gd name="T13" fmla="*/ 1066 h 1174"/>
                    <a:gd name="T14" fmla="*/ 708 w 1730"/>
                    <a:gd name="T15" fmla="*/ 1136 h 1174"/>
                    <a:gd name="T16" fmla="*/ 1534 w 1730"/>
                    <a:gd name="T17" fmla="*/ 577 h 1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30" h="1174">
                      <a:moveTo>
                        <a:pt x="1534" y="577"/>
                      </a:moveTo>
                      <a:cubicBezTo>
                        <a:pt x="1600" y="484"/>
                        <a:pt x="1730" y="239"/>
                        <a:pt x="1630" y="104"/>
                      </a:cubicBezTo>
                      <a:cubicBezTo>
                        <a:pt x="1587" y="47"/>
                        <a:pt x="1541" y="14"/>
                        <a:pt x="1494" y="0"/>
                      </a:cubicBezTo>
                      <a:cubicBezTo>
                        <a:pt x="1494" y="0"/>
                        <a:pt x="1494" y="0"/>
                        <a:pt x="1494" y="0"/>
                      </a:cubicBezTo>
                      <a:cubicBezTo>
                        <a:pt x="1641" y="78"/>
                        <a:pt x="1503" y="392"/>
                        <a:pt x="1324" y="621"/>
                      </a:cubicBezTo>
                      <a:cubicBezTo>
                        <a:pt x="1021" y="1009"/>
                        <a:pt x="466" y="1174"/>
                        <a:pt x="1" y="1030"/>
                      </a:cubicBezTo>
                      <a:cubicBezTo>
                        <a:pt x="0" y="1045"/>
                        <a:pt x="7" y="1060"/>
                        <a:pt x="25" y="1066"/>
                      </a:cubicBezTo>
                      <a:cubicBezTo>
                        <a:pt x="173" y="1115"/>
                        <a:pt x="398" y="1158"/>
                        <a:pt x="708" y="1136"/>
                      </a:cubicBezTo>
                      <a:cubicBezTo>
                        <a:pt x="1045" y="1113"/>
                        <a:pt x="1351" y="837"/>
                        <a:pt x="1534" y="577"/>
                      </a:cubicBezTo>
                      <a:close/>
                    </a:path>
                  </a:pathLst>
                </a:custGeom>
                <a:solidFill>
                  <a:srgbClr val="CC222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20" name="任意多边形: 形状 219">
                  <a:extLst>
                    <a:ext uri="{FF2B5EF4-FFF2-40B4-BE49-F238E27FC236}">
                      <a16:creationId xmlns:a16="http://schemas.microsoft.com/office/drawing/2014/main" id="{0AD04D5B-4E38-4B82-90ED-5F080397CD12}"/>
                    </a:ext>
                  </a:extLst>
                </p:cNvPr>
                <p:cNvSpPr/>
                <p:nvPr/>
              </p:nvSpPr>
              <p:spPr bwMode="auto">
                <a:xfrm>
                  <a:off x="7734151" y="2169123"/>
                  <a:ext cx="1241902" cy="758672"/>
                </a:xfrm>
                <a:custGeom>
                  <a:avLst/>
                  <a:gdLst>
                    <a:gd name="T0" fmla="*/ 261 w 371"/>
                    <a:gd name="T1" fmla="*/ 227 h 227"/>
                    <a:gd name="T2" fmla="*/ 232 w 371"/>
                    <a:gd name="T3" fmla="*/ 162 h 227"/>
                    <a:gd name="T4" fmla="*/ 204 w 371"/>
                    <a:gd name="T5" fmla="*/ 102 h 227"/>
                    <a:gd name="T6" fmla="*/ 74 w 371"/>
                    <a:gd name="T7" fmla="*/ 150 h 227"/>
                    <a:gd name="T8" fmla="*/ 98 w 371"/>
                    <a:gd name="T9" fmla="*/ 101 h 227"/>
                    <a:gd name="T10" fmla="*/ 119 w 371"/>
                    <a:gd name="T11" fmla="*/ 60 h 227"/>
                    <a:gd name="T12" fmla="*/ 71 w 371"/>
                    <a:gd name="T13" fmla="*/ 53 h 227"/>
                    <a:gd name="T14" fmla="*/ 0 w 371"/>
                    <a:gd name="T15" fmla="*/ 14 h 227"/>
                    <a:gd name="T16" fmla="*/ 59 w 371"/>
                    <a:gd name="T17" fmla="*/ 18 h 227"/>
                    <a:gd name="T18" fmla="*/ 227 w 371"/>
                    <a:gd name="T19" fmla="*/ 19 h 227"/>
                    <a:gd name="T20" fmla="*/ 371 w 371"/>
                    <a:gd name="T21" fmla="*/ 211 h 227"/>
                    <a:gd name="T22" fmla="*/ 316 w 371"/>
                    <a:gd name="T23" fmla="*/ 174 h 227"/>
                    <a:gd name="T24" fmla="*/ 287 w 371"/>
                    <a:gd name="T25" fmla="*/ 139 h 227"/>
                    <a:gd name="T26" fmla="*/ 261 w 371"/>
                    <a:gd name="T27" fmla="*/ 227 h 2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71" h="227">
                      <a:moveTo>
                        <a:pt x="261" y="227"/>
                      </a:moveTo>
                      <a:cubicBezTo>
                        <a:pt x="261" y="227"/>
                        <a:pt x="258" y="186"/>
                        <a:pt x="232" y="162"/>
                      </a:cubicBezTo>
                      <a:cubicBezTo>
                        <a:pt x="206" y="138"/>
                        <a:pt x="204" y="102"/>
                        <a:pt x="204" y="102"/>
                      </a:cubicBezTo>
                      <a:cubicBezTo>
                        <a:pt x="195" y="170"/>
                        <a:pt x="74" y="150"/>
                        <a:pt x="74" y="150"/>
                      </a:cubicBezTo>
                      <a:cubicBezTo>
                        <a:pt x="74" y="150"/>
                        <a:pt x="94" y="137"/>
                        <a:pt x="98" y="101"/>
                      </a:cubicBezTo>
                      <a:cubicBezTo>
                        <a:pt x="101" y="65"/>
                        <a:pt x="119" y="60"/>
                        <a:pt x="119" y="60"/>
                      </a:cubicBezTo>
                      <a:cubicBezTo>
                        <a:pt x="119" y="60"/>
                        <a:pt x="119" y="60"/>
                        <a:pt x="71" y="53"/>
                      </a:cubicBezTo>
                      <a:cubicBezTo>
                        <a:pt x="23" y="47"/>
                        <a:pt x="0" y="14"/>
                        <a:pt x="0" y="14"/>
                      </a:cubicBezTo>
                      <a:cubicBezTo>
                        <a:pt x="0" y="14"/>
                        <a:pt x="21" y="23"/>
                        <a:pt x="59" y="18"/>
                      </a:cubicBezTo>
                      <a:cubicBezTo>
                        <a:pt x="118" y="10"/>
                        <a:pt x="156" y="0"/>
                        <a:pt x="227" y="19"/>
                      </a:cubicBezTo>
                      <a:cubicBezTo>
                        <a:pt x="289" y="36"/>
                        <a:pt x="362" y="107"/>
                        <a:pt x="371" y="211"/>
                      </a:cubicBezTo>
                      <a:cubicBezTo>
                        <a:pt x="365" y="196"/>
                        <a:pt x="338" y="190"/>
                        <a:pt x="316" y="174"/>
                      </a:cubicBezTo>
                      <a:cubicBezTo>
                        <a:pt x="302" y="164"/>
                        <a:pt x="287" y="139"/>
                        <a:pt x="287" y="139"/>
                      </a:cubicBezTo>
                      <a:cubicBezTo>
                        <a:pt x="287" y="139"/>
                        <a:pt x="296" y="177"/>
                        <a:pt x="261" y="227"/>
                      </a:cubicBezTo>
                      <a:close/>
                    </a:path>
                  </a:pathLst>
                </a:custGeom>
                <a:solidFill>
                  <a:srgbClr val="38B5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221" name="任意多边形: 形状 220">
                  <a:extLst>
                    <a:ext uri="{FF2B5EF4-FFF2-40B4-BE49-F238E27FC236}">
                      <a16:creationId xmlns:a16="http://schemas.microsoft.com/office/drawing/2014/main" id="{10A1BB08-4B02-445C-9F77-BB1B09909A82}"/>
                    </a:ext>
                  </a:extLst>
                </p:cNvPr>
                <p:cNvSpPr/>
                <p:nvPr/>
              </p:nvSpPr>
              <p:spPr bwMode="auto">
                <a:xfrm>
                  <a:off x="7982209" y="1690725"/>
                  <a:ext cx="1040556" cy="1237070"/>
                </a:xfrm>
                <a:custGeom>
                  <a:avLst/>
                  <a:gdLst>
                    <a:gd name="T0" fmla="*/ 297 w 311"/>
                    <a:gd name="T1" fmla="*/ 354 h 370"/>
                    <a:gd name="T2" fmla="*/ 168 w 311"/>
                    <a:gd name="T3" fmla="*/ 168 h 370"/>
                    <a:gd name="T4" fmla="*/ 168 w 311"/>
                    <a:gd name="T5" fmla="*/ 167 h 370"/>
                    <a:gd name="T6" fmla="*/ 221 w 311"/>
                    <a:gd name="T7" fmla="*/ 69 h 370"/>
                    <a:gd name="T8" fmla="*/ 288 w 311"/>
                    <a:gd name="T9" fmla="*/ 43 h 370"/>
                    <a:gd name="T10" fmla="*/ 275 w 311"/>
                    <a:gd name="T11" fmla="*/ 0 h 370"/>
                    <a:gd name="T12" fmla="*/ 139 w 311"/>
                    <a:gd name="T13" fmla="*/ 158 h 370"/>
                    <a:gd name="T14" fmla="*/ 139 w 311"/>
                    <a:gd name="T15" fmla="*/ 159 h 370"/>
                    <a:gd name="T16" fmla="*/ 46 w 311"/>
                    <a:gd name="T17" fmla="*/ 259 h 370"/>
                    <a:gd name="T18" fmla="*/ 45 w 311"/>
                    <a:gd name="T19" fmla="*/ 203 h 370"/>
                    <a:gd name="T20" fmla="*/ 37 w 311"/>
                    <a:gd name="T21" fmla="*/ 209 h 370"/>
                    <a:gd name="T22" fmla="*/ 24 w 311"/>
                    <a:gd name="T23" fmla="*/ 244 h 370"/>
                    <a:gd name="T24" fmla="*/ 0 w 311"/>
                    <a:gd name="T25" fmla="*/ 293 h 370"/>
                    <a:gd name="T26" fmla="*/ 130 w 311"/>
                    <a:gd name="T27" fmla="*/ 245 h 370"/>
                    <a:gd name="T28" fmla="*/ 158 w 311"/>
                    <a:gd name="T29" fmla="*/ 305 h 370"/>
                    <a:gd name="T30" fmla="*/ 187 w 311"/>
                    <a:gd name="T31" fmla="*/ 370 h 370"/>
                    <a:gd name="T32" fmla="*/ 213 w 311"/>
                    <a:gd name="T33" fmla="*/ 282 h 370"/>
                    <a:gd name="T34" fmla="*/ 242 w 311"/>
                    <a:gd name="T35" fmla="*/ 317 h 370"/>
                    <a:gd name="T36" fmla="*/ 297 w 311"/>
                    <a:gd name="T37" fmla="*/ 354 h 3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1" h="370">
                      <a:moveTo>
                        <a:pt x="297" y="354"/>
                      </a:moveTo>
                      <a:cubicBezTo>
                        <a:pt x="289" y="258"/>
                        <a:pt x="226" y="190"/>
                        <a:pt x="168" y="168"/>
                      </a:cubicBezTo>
                      <a:cubicBezTo>
                        <a:pt x="168" y="167"/>
                        <a:pt x="168" y="167"/>
                        <a:pt x="168" y="167"/>
                      </a:cubicBezTo>
                      <a:cubicBezTo>
                        <a:pt x="168" y="167"/>
                        <a:pt x="166" y="106"/>
                        <a:pt x="221" y="69"/>
                      </a:cubicBezTo>
                      <a:cubicBezTo>
                        <a:pt x="261" y="43"/>
                        <a:pt x="288" y="43"/>
                        <a:pt x="288" y="43"/>
                      </a:cubicBezTo>
                      <a:cubicBezTo>
                        <a:pt x="288" y="43"/>
                        <a:pt x="311" y="21"/>
                        <a:pt x="275" y="0"/>
                      </a:cubicBezTo>
                      <a:cubicBezTo>
                        <a:pt x="149" y="21"/>
                        <a:pt x="139" y="158"/>
                        <a:pt x="139" y="158"/>
                      </a:cubicBezTo>
                      <a:cubicBezTo>
                        <a:pt x="139" y="158"/>
                        <a:pt x="139" y="158"/>
                        <a:pt x="139" y="159"/>
                      </a:cubicBezTo>
                      <a:cubicBezTo>
                        <a:pt x="148" y="249"/>
                        <a:pt x="46" y="259"/>
                        <a:pt x="46" y="259"/>
                      </a:cubicBezTo>
                      <a:cubicBezTo>
                        <a:pt x="46" y="259"/>
                        <a:pt x="34" y="229"/>
                        <a:pt x="45" y="203"/>
                      </a:cubicBezTo>
                      <a:cubicBezTo>
                        <a:pt x="45" y="203"/>
                        <a:pt x="41" y="204"/>
                        <a:pt x="37" y="209"/>
                      </a:cubicBezTo>
                      <a:cubicBezTo>
                        <a:pt x="32" y="214"/>
                        <a:pt x="26" y="225"/>
                        <a:pt x="24" y="244"/>
                      </a:cubicBezTo>
                      <a:cubicBezTo>
                        <a:pt x="20" y="280"/>
                        <a:pt x="0" y="293"/>
                        <a:pt x="0" y="293"/>
                      </a:cubicBezTo>
                      <a:cubicBezTo>
                        <a:pt x="0" y="293"/>
                        <a:pt x="121" y="313"/>
                        <a:pt x="130" y="245"/>
                      </a:cubicBezTo>
                      <a:cubicBezTo>
                        <a:pt x="130" y="245"/>
                        <a:pt x="132" y="281"/>
                        <a:pt x="158" y="305"/>
                      </a:cubicBezTo>
                      <a:cubicBezTo>
                        <a:pt x="184" y="329"/>
                        <a:pt x="187" y="370"/>
                        <a:pt x="187" y="370"/>
                      </a:cubicBezTo>
                      <a:cubicBezTo>
                        <a:pt x="222" y="320"/>
                        <a:pt x="213" y="282"/>
                        <a:pt x="213" y="282"/>
                      </a:cubicBezTo>
                      <a:cubicBezTo>
                        <a:pt x="213" y="282"/>
                        <a:pt x="228" y="307"/>
                        <a:pt x="242" y="317"/>
                      </a:cubicBezTo>
                      <a:cubicBezTo>
                        <a:pt x="264" y="333"/>
                        <a:pt x="291" y="339"/>
                        <a:pt x="297" y="354"/>
                      </a:cubicBezTo>
                      <a:close/>
                    </a:path>
                  </a:pathLst>
                </a:custGeom>
                <a:solidFill>
                  <a:srgbClr val="32A54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</p:grpSp>
        <p:sp>
          <p:nvSpPr>
            <p:cNvPr id="196" name="任意多边形: 形状 195"/>
            <p:cNvSpPr>
              <a:spLocks/>
            </p:cNvSpPr>
            <p:nvPr userDrawn="1"/>
          </p:nvSpPr>
          <p:spPr bwMode="auto">
            <a:xfrm flipH="1">
              <a:off x="3395492" y="3983190"/>
              <a:ext cx="73751" cy="106766"/>
            </a:xfrm>
            <a:custGeom>
              <a:avLst/>
              <a:gdLst>
                <a:gd name="connsiteX0" fmla="*/ 193001 w 608129"/>
                <a:gd name="connsiteY0" fmla="*/ 283182 h 343858"/>
                <a:gd name="connsiteX1" fmla="*/ 506699 w 608129"/>
                <a:gd name="connsiteY1" fmla="*/ 283182 h 343858"/>
                <a:gd name="connsiteX2" fmla="*/ 516573 w 608129"/>
                <a:gd name="connsiteY2" fmla="*/ 293038 h 343858"/>
                <a:gd name="connsiteX3" fmla="*/ 506699 w 608129"/>
                <a:gd name="connsiteY3" fmla="*/ 303651 h 343858"/>
                <a:gd name="connsiteX4" fmla="*/ 193001 w 608129"/>
                <a:gd name="connsiteY4" fmla="*/ 303651 h 343858"/>
                <a:gd name="connsiteX5" fmla="*/ 182367 w 608129"/>
                <a:gd name="connsiteY5" fmla="*/ 293038 h 343858"/>
                <a:gd name="connsiteX6" fmla="*/ 193001 w 608129"/>
                <a:gd name="connsiteY6" fmla="*/ 283182 h 343858"/>
                <a:gd name="connsiteX7" fmla="*/ 101866 w 608129"/>
                <a:gd name="connsiteY7" fmla="*/ 283182 h 343858"/>
                <a:gd name="connsiteX8" fmla="*/ 142885 w 608129"/>
                <a:gd name="connsiteY8" fmla="*/ 283182 h 343858"/>
                <a:gd name="connsiteX9" fmla="*/ 152760 w 608129"/>
                <a:gd name="connsiteY9" fmla="*/ 293038 h 343858"/>
                <a:gd name="connsiteX10" fmla="*/ 142885 w 608129"/>
                <a:gd name="connsiteY10" fmla="*/ 303651 h 343858"/>
                <a:gd name="connsiteX11" fmla="*/ 101866 w 608129"/>
                <a:gd name="connsiteY11" fmla="*/ 303651 h 343858"/>
                <a:gd name="connsiteX12" fmla="*/ 91231 w 608129"/>
                <a:gd name="connsiteY12" fmla="*/ 293038 h 343858"/>
                <a:gd name="connsiteX13" fmla="*/ 101866 w 608129"/>
                <a:gd name="connsiteY13" fmla="*/ 283182 h 343858"/>
                <a:gd name="connsiteX14" fmla="*/ 23697 w 608129"/>
                <a:gd name="connsiteY14" fmla="*/ 252861 h 343858"/>
                <a:gd name="connsiteX15" fmla="*/ 72307 w 608129"/>
                <a:gd name="connsiteY15" fmla="*/ 281677 h 343858"/>
                <a:gd name="connsiteX16" fmla="*/ 73826 w 608129"/>
                <a:gd name="connsiteY16" fmla="*/ 283952 h 343858"/>
                <a:gd name="connsiteX17" fmla="*/ 82941 w 608129"/>
                <a:gd name="connsiteY17" fmla="*/ 307460 h 343858"/>
                <a:gd name="connsiteX18" fmla="*/ 91295 w 608129"/>
                <a:gd name="connsiteY18" fmla="*/ 323384 h 343858"/>
                <a:gd name="connsiteX19" fmla="*/ 516631 w 608129"/>
                <a:gd name="connsiteY19" fmla="*/ 323384 h 343858"/>
                <a:gd name="connsiteX20" fmla="*/ 525745 w 608129"/>
                <a:gd name="connsiteY20" fmla="*/ 307460 h 343858"/>
                <a:gd name="connsiteX21" fmla="*/ 534859 w 608129"/>
                <a:gd name="connsiteY21" fmla="*/ 283952 h 343858"/>
                <a:gd name="connsiteX22" fmla="*/ 536378 w 608129"/>
                <a:gd name="connsiteY22" fmla="*/ 281677 h 343858"/>
                <a:gd name="connsiteX23" fmla="*/ 584229 w 608129"/>
                <a:gd name="connsiteY23" fmla="*/ 252861 h 343858"/>
                <a:gd name="connsiteX24" fmla="*/ 569798 w 608129"/>
                <a:gd name="connsiteY24" fmla="*/ 252861 h 343858"/>
                <a:gd name="connsiteX25" fmla="*/ 413335 w 608129"/>
                <a:gd name="connsiteY25" fmla="*/ 252861 h 343858"/>
                <a:gd name="connsiteX26" fmla="*/ 401942 w 608129"/>
                <a:gd name="connsiteY26" fmla="*/ 252861 h 343858"/>
                <a:gd name="connsiteX27" fmla="*/ 35850 w 608129"/>
                <a:gd name="connsiteY27" fmla="*/ 252861 h 343858"/>
                <a:gd name="connsiteX28" fmla="*/ 254526 w 608129"/>
                <a:gd name="connsiteY28" fmla="*/ 201295 h 343858"/>
                <a:gd name="connsiteX29" fmla="*/ 257557 w 608129"/>
                <a:gd name="connsiteY29" fmla="*/ 214952 h 343858"/>
                <a:gd name="connsiteX30" fmla="*/ 249221 w 608129"/>
                <a:gd name="connsiteY30" fmla="*/ 227091 h 343858"/>
                <a:gd name="connsiteX31" fmla="*/ 240886 w 608129"/>
                <a:gd name="connsiteY31" fmla="*/ 231644 h 343858"/>
                <a:gd name="connsiteX32" fmla="*/ 235581 w 608129"/>
                <a:gd name="connsiteY32" fmla="*/ 229368 h 343858"/>
                <a:gd name="connsiteX33" fmla="*/ 232550 w 608129"/>
                <a:gd name="connsiteY33" fmla="*/ 215710 h 343858"/>
                <a:gd name="connsiteX34" fmla="*/ 240886 w 608129"/>
                <a:gd name="connsiteY34" fmla="*/ 203571 h 343858"/>
                <a:gd name="connsiteX35" fmla="*/ 254526 w 608129"/>
                <a:gd name="connsiteY35" fmla="*/ 201295 h 343858"/>
                <a:gd name="connsiteX36" fmla="*/ 293998 w 608129"/>
                <a:gd name="connsiteY36" fmla="*/ 199043 h 343858"/>
                <a:gd name="connsiteX37" fmla="*/ 307670 w 608129"/>
                <a:gd name="connsiteY37" fmla="*/ 202827 h 343858"/>
                <a:gd name="connsiteX38" fmla="*/ 314506 w 608129"/>
                <a:gd name="connsiteY38" fmla="*/ 214937 h 343858"/>
                <a:gd name="connsiteX39" fmla="*/ 304632 w 608129"/>
                <a:gd name="connsiteY39" fmla="*/ 222506 h 343858"/>
                <a:gd name="connsiteX40" fmla="*/ 302353 w 608129"/>
                <a:gd name="connsiteY40" fmla="*/ 221749 h 343858"/>
                <a:gd name="connsiteX41" fmla="*/ 288681 w 608129"/>
                <a:gd name="connsiteY41" fmla="*/ 218721 h 343858"/>
                <a:gd name="connsiteX42" fmla="*/ 281845 w 608129"/>
                <a:gd name="connsiteY42" fmla="*/ 205854 h 343858"/>
                <a:gd name="connsiteX43" fmla="*/ 293998 w 608129"/>
                <a:gd name="connsiteY43" fmla="*/ 199043 h 343858"/>
                <a:gd name="connsiteX44" fmla="*/ 113257 w 608129"/>
                <a:gd name="connsiteY44" fmla="*/ 193732 h 343858"/>
                <a:gd name="connsiteX45" fmla="*/ 125378 w 608129"/>
                <a:gd name="connsiteY45" fmla="*/ 201299 h 343858"/>
                <a:gd name="connsiteX46" fmla="*/ 128408 w 608129"/>
                <a:gd name="connsiteY46" fmla="*/ 214920 h 343858"/>
                <a:gd name="connsiteX47" fmla="*/ 120075 w 608129"/>
                <a:gd name="connsiteY47" fmla="*/ 219460 h 343858"/>
                <a:gd name="connsiteX48" fmla="*/ 114773 w 608129"/>
                <a:gd name="connsiteY48" fmla="*/ 217946 h 343858"/>
                <a:gd name="connsiteX49" fmla="*/ 102652 w 608129"/>
                <a:gd name="connsiteY49" fmla="*/ 211136 h 343858"/>
                <a:gd name="connsiteX50" fmla="*/ 99622 w 608129"/>
                <a:gd name="connsiteY50" fmla="*/ 196759 h 343858"/>
                <a:gd name="connsiteX51" fmla="*/ 113257 w 608129"/>
                <a:gd name="connsiteY51" fmla="*/ 193732 h 343858"/>
                <a:gd name="connsiteX52" fmla="*/ 367752 w 608129"/>
                <a:gd name="connsiteY52" fmla="*/ 192974 h 343858"/>
                <a:gd name="connsiteX53" fmla="*/ 380665 w 608129"/>
                <a:gd name="connsiteY53" fmla="*/ 199023 h 343858"/>
                <a:gd name="connsiteX54" fmla="*/ 373829 w 608129"/>
                <a:gd name="connsiteY54" fmla="*/ 211877 h 343858"/>
                <a:gd name="connsiteX55" fmla="*/ 360917 w 608129"/>
                <a:gd name="connsiteY55" fmla="*/ 216414 h 343858"/>
                <a:gd name="connsiteX56" fmla="*/ 357119 w 608129"/>
                <a:gd name="connsiteY56" fmla="*/ 216414 h 343858"/>
                <a:gd name="connsiteX57" fmla="*/ 348004 w 608129"/>
                <a:gd name="connsiteY57" fmla="*/ 209609 h 343858"/>
                <a:gd name="connsiteX58" fmla="*/ 354081 w 608129"/>
                <a:gd name="connsiteY58" fmla="*/ 196755 h 343858"/>
                <a:gd name="connsiteX59" fmla="*/ 473099 w 608129"/>
                <a:gd name="connsiteY59" fmla="*/ 187878 h 343858"/>
                <a:gd name="connsiteX60" fmla="*/ 480904 w 608129"/>
                <a:gd name="connsiteY60" fmla="*/ 189869 h 343858"/>
                <a:gd name="connsiteX61" fmla="*/ 483189 w 608129"/>
                <a:gd name="connsiteY61" fmla="*/ 203526 h 343858"/>
                <a:gd name="connsiteX62" fmla="*/ 475574 w 608129"/>
                <a:gd name="connsiteY62" fmla="*/ 214907 h 343858"/>
                <a:gd name="connsiteX63" fmla="*/ 467198 w 608129"/>
                <a:gd name="connsiteY63" fmla="*/ 219460 h 343858"/>
                <a:gd name="connsiteX64" fmla="*/ 461106 w 608129"/>
                <a:gd name="connsiteY64" fmla="*/ 217942 h 343858"/>
                <a:gd name="connsiteX65" fmla="*/ 458821 w 608129"/>
                <a:gd name="connsiteY65" fmla="*/ 203526 h 343858"/>
                <a:gd name="connsiteX66" fmla="*/ 466436 w 608129"/>
                <a:gd name="connsiteY66" fmla="*/ 192146 h 343858"/>
                <a:gd name="connsiteX67" fmla="*/ 473099 w 608129"/>
                <a:gd name="connsiteY67" fmla="*/ 187878 h 343858"/>
                <a:gd name="connsiteX68" fmla="*/ 410279 w 608129"/>
                <a:gd name="connsiteY68" fmla="*/ 182352 h 343858"/>
                <a:gd name="connsiteX69" fmla="*/ 422434 w 608129"/>
                <a:gd name="connsiteY69" fmla="*/ 189169 h 343858"/>
                <a:gd name="connsiteX70" fmla="*/ 426233 w 608129"/>
                <a:gd name="connsiteY70" fmla="*/ 202805 h 343858"/>
                <a:gd name="connsiteX71" fmla="*/ 418636 w 608129"/>
                <a:gd name="connsiteY71" fmla="*/ 215683 h 343858"/>
                <a:gd name="connsiteX72" fmla="*/ 416356 w 608129"/>
                <a:gd name="connsiteY72" fmla="*/ 215683 h 343858"/>
                <a:gd name="connsiteX73" fmla="*/ 406480 w 608129"/>
                <a:gd name="connsiteY73" fmla="*/ 208108 h 343858"/>
                <a:gd name="connsiteX74" fmla="*/ 402682 w 608129"/>
                <a:gd name="connsiteY74" fmla="*/ 194472 h 343858"/>
                <a:gd name="connsiteX75" fmla="*/ 410279 w 608129"/>
                <a:gd name="connsiteY75" fmla="*/ 182352 h 343858"/>
                <a:gd name="connsiteX76" fmla="*/ 188501 w 608129"/>
                <a:gd name="connsiteY76" fmla="*/ 179282 h 343858"/>
                <a:gd name="connsiteX77" fmla="*/ 202945 w 608129"/>
                <a:gd name="connsiteY77" fmla="*/ 180043 h 343858"/>
                <a:gd name="connsiteX78" fmla="*/ 212067 w 608129"/>
                <a:gd name="connsiteY78" fmla="*/ 191449 h 343858"/>
                <a:gd name="connsiteX79" fmla="*/ 202185 w 608129"/>
                <a:gd name="connsiteY79" fmla="*/ 200575 h 343858"/>
                <a:gd name="connsiteX80" fmla="*/ 201424 w 608129"/>
                <a:gd name="connsiteY80" fmla="*/ 200575 h 343858"/>
                <a:gd name="connsiteX81" fmla="*/ 186981 w 608129"/>
                <a:gd name="connsiteY81" fmla="*/ 199814 h 343858"/>
                <a:gd name="connsiteX82" fmla="*/ 177859 w 608129"/>
                <a:gd name="connsiteY82" fmla="*/ 188408 h 343858"/>
                <a:gd name="connsiteX83" fmla="*/ 188501 w 608129"/>
                <a:gd name="connsiteY83" fmla="*/ 179282 h 343858"/>
                <a:gd name="connsiteX84" fmla="*/ 160344 w 608129"/>
                <a:gd name="connsiteY84" fmla="*/ 165596 h 343858"/>
                <a:gd name="connsiteX85" fmla="*/ 163375 w 608129"/>
                <a:gd name="connsiteY85" fmla="*/ 180011 h 343858"/>
                <a:gd name="connsiteX86" fmla="*/ 155797 w 608129"/>
                <a:gd name="connsiteY86" fmla="*/ 191392 h 343858"/>
                <a:gd name="connsiteX87" fmla="*/ 147461 w 608129"/>
                <a:gd name="connsiteY87" fmla="*/ 195945 h 343858"/>
                <a:gd name="connsiteX88" fmla="*/ 141399 w 608129"/>
                <a:gd name="connsiteY88" fmla="*/ 194427 h 343858"/>
                <a:gd name="connsiteX89" fmla="*/ 139126 w 608129"/>
                <a:gd name="connsiteY89" fmla="*/ 180011 h 343858"/>
                <a:gd name="connsiteX90" fmla="*/ 146704 w 608129"/>
                <a:gd name="connsiteY90" fmla="*/ 168631 h 343858"/>
                <a:gd name="connsiteX91" fmla="*/ 160344 w 608129"/>
                <a:gd name="connsiteY91" fmla="*/ 165596 h 343858"/>
                <a:gd name="connsiteX92" fmla="*/ 338113 w 608129"/>
                <a:gd name="connsiteY92" fmla="*/ 164888 h 343858"/>
                <a:gd name="connsiteX93" fmla="*/ 352554 w 608129"/>
                <a:gd name="connsiteY93" fmla="*/ 164888 h 343858"/>
                <a:gd name="connsiteX94" fmla="*/ 352554 w 608129"/>
                <a:gd name="connsiteY94" fmla="*/ 179285 h 343858"/>
                <a:gd name="connsiteX95" fmla="*/ 342673 w 608129"/>
                <a:gd name="connsiteY95" fmla="*/ 189137 h 343858"/>
                <a:gd name="connsiteX96" fmla="*/ 335073 w 608129"/>
                <a:gd name="connsiteY96" fmla="*/ 192168 h 343858"/>
                <a:gd name="connsiteX97" fmla="*/ 328232 w 608129"/>
                <a:gd name="connsiteY97" fmla="*/ 189137 h 343858"/>
                <a:gd name="connsiteX98" fmla="*/ 328232 w 608129"/>
                <a:gd name="connsiteY98" fmla="*/ 174739 h 343858"/>
                <a:gd name="connsiteX99" fmla="*/ 438352 w 608129"/>
                <a:gd name="connsiteY99" fmla="*/ 163394 h 343858"/>
                <a:gd name="connsiteX100" fmla="*/ 449715 w 608129"/>
                <a:gd name="connsiteY100" fmla="*/ 170961 h 343858"/>
                <a:gd name="connsiteX101" fmla="*/ 453502 w 608129"/>
                <a:gd name="connsiteY101" fmla="*/ 184582 h 343858"/>
                <a:gd name="connsiteX102" fmla="*/ 444412 w 608129"/>
                <a:gd name="connsiteY102" fmla="*/ 189122 h 343858"/>
                <a:gd name="connsiteX103" fmla="*/ 439110 w 608129"/>
                <a:gd name="connsiteY103" fmla="*/ 187608 h 343858"/>
                <a:gd name="connsiteX104" fmla="*/ 427747 w 608129"/>
                <a:gd name="connsiteY104" fmla="*/ 180798 h 343858"/>
                <a:gd name="connsiteX105" fmla="*/ 423959 w 608129"/>
                <a:gd name="connsiteY105" fmla="*/ 166421 h 343858"/>
                <a:gd name="connsiteX106" fmla="*/ 438352 w 608129"/>
                <a:gd name="connsiteY106" fmla="*/ 163394 h 343858"/>
                <a:gd name="connsiteX107" fmla="*/ 237851 w 608129"/>
                <a:gd name="connsiteY107" fmla="*/ 158043 h 343858"/>
                <a:gd name="connsiteX108" fmla="*/ 249244 w 608129"/>
                <a:gd name="connsiteY108" fmla="*/ 165635 h 343858"/>
                <a:gd name="connsiteX109" fmla="*/ 253042 w 608129"/>
                <a:gd name="connsiteY109" fmla="*/ 179300 h 343858"/>
                <a:gd name="connsiteX110" fmla="*/ 243927 w 608129"/>
                <a:gd name="connsiteY110" fmla="*/ 184614 h 343858"/>
                <a:gd name="connsiteX111" fmla="*/ 238610 w 608129"/>
                <a:gd name="connsiteY111" fmla="*/ 183095 h 343858"/>
                <a:gd name="connsiteX112" fmla="*/ 227217 w 608129"/>
                <a:gd name="connsiteY112" fmla="*/ 175504 h 343858"/>
                <a:gd name="connsiteX113" fmla="*/ 223419 w 608129"/>
                <a:gd name="connsiteY113" fmla="*/ 161839 h 343858"/>
                <a:gd name="connsiteX114" fmla="*/ 237851 w 608129"/>
                <a:gd name="connsiteY114" fmla="*/ 158043 h 343858"/>
                <a:gd name="connsiteX115" fmla="*/ 285637 w 608129"/>
                <a:gd name="connsiteY115" fmla="*/ 155767 h 343858"/>
                <a:gd name="connsiteX116" fmla="*/ 299320 w 608129"/>
                <a:gd name="connsiteY116" fmla="*/ 156528 h 343858"/>
                <a:gd name="connsiteX117" fmla="*/ 308442 w 608129"/>
                <a:gd name="connsiteY117" fmla="*/ 167174 h 343858"/>
                <a:gd name="connsiteX118" fmla="*/ 298560 w 608129"/>
                <a:gd name="connsiteY118" fmla="*/ 177060 h 343858"/>
                <a:gd name="connsiteX119" fmla="*/ 297799 w 608129"/>
                <a:gd name="connsiteY119" fmla="*/ 177060 h 343858"/>
                <a:gd name="connsiteX120" fmla="*/ 284116 w 608129"/>
                <a:gd name="connsiteY120" fmla="*/ 175539 h 343858"/>
                <a:gd name="connsiteX121" fmla="*/ 274234 w 608129"/>
                <a:gd name="connsiteY121" fmla="*/ 164893 h 343858"/>
                <a:gd name="connsiteX122" fmla="*/ 285637 w 608129"/>
                <a:gd name="connsiteY122" fmla="*/ 155767 h 343858"/>
                <a:gd name="connsiteX123" fmla="*/ 374580 w 608129"/>
                <a:gd name="connsiteY123" fmla="*/ 140655 h 343858"/>
                <a:gd name="connsiteX124" fmla="*/ 388263 w 608129"/>
                <a:gd name="connsiteY124" fmla="*/ 141411 h 343858"/>
                <a:gd name="connsiteX125" fmla="*/ 398145 w 608129"/>
                <a:gd name="connsiteY125" fmla="*/ 152755 h 343858"/>
                <a:gd name="connsiteX126" fmla="*/ 387503 w 608129"/>
                <a:gd name="connsiteY126" fmla="*/ 161830 h 343858"/>
                <a:gd name="connsiteX127" fmla="*/ 386742 w 608129"/>
                <a:gd name="connsiteY127" fmla="*/ 161830 h 343858"/>
                <a:gd name="connsiteX128" fmla="*/ 373059 w 608129"/>
                <a:gd name="connsiteY128" fmla="*/ 160317 h 343858"/>
                <a:gd name="connsiteX129" fmla="*/ 363937 w 608129"/>
                <a:gd name="connsiteY129" fmla="*/ 149730 h 343858"/>
                <a:gd name="connsiteX130" fmla="*/ 374580 w 608129"/>
                <a:gd name="connsiteY130" fmla="*/ 140655 h 343858"/>
                <a:gd name="connsiteX131" fmla="*/ 363206 w 608129"/>
                <a:gd name="connsiteY131" fmla="*/ 133808 h 343858"/>
                <a:gd name="connsiteX132" fmla="*/ 362447 w 608129"/>
                <a:gd name="connsiteY132" fmla="*/ 134566 h 343858"/>
                <a:gd name="connsiteX133" fmla="*/ 360168 w 608129"/>
                <a:gd name="connsiteY133" fmla="*/ 139874 h 343858"/>
                <a:gd name="connsiteX134" fmla="*/ 344218 w 608129"/>
                <a:gd name="connsiteY134" fmla="*/ 156557 h 343858"/>
                <a:gd name="connsiteX135" fmla="*/ 341939 w 608129"/>
                <a:gd name="connsiteY135" fmla="*/ 157315 h 343858"/>
                <a:gd name="connsiteX136" fmla="*/ 338142 w 608129"/>
                <a:gd name="connsiteY136" fmla="*/ 158832 h 343858"/>
                <a:gd name="connsiteX137" fmla="*/ 335104 w 608129"/>
                <a:gd name="connsiteY137" fmla="*/ 160348 h 343858"/>
                <a:gd name="connsiteX138" fmla="*/ 332066 w 608129"/>
                <a:gd name="connsiteY138" fmla="*/ 161107 h 343858"/>
                <a:gd name="connsiteX139" fmla="*/ 324470 w 608129"/>
                <a:gd name="connsiteY139" fmla="*/ 161865 h 343858"/>
                <a:gd name="connsiteX140" fmla="*/ 317634 w 608129"/>
                <a:gd name="connsiteY140" fmla="*/ 161107 h 343858"/>
                <a:gd name="connsiteX141" fmla="*/ 314596 w 608129"/>
                <a:gd name="connsiteY141" fmla="*/ 160348 h 343858"/>
                <a:gd name="connsiteX142" fmla="*/ 310799 w 608129"/>
                <a:gd name="connsiteY142" fmla="*/ 158832 h 343858"/>
                <a:gd name="connsiteX143" fmla="*/ 307761 w 608129"/>
                <a:gd name="connsiteY143" fmla="*/ 158073 h 343858"/>
                <a:gd name="connsiteX144" fmla="*/ 304723 w 608129"/>
                <a:gd name="connsiteY144" fmla="*/ 156557 h 343858"/>
                <a:gd name="connsiteX145" fmla="*/ 297887 w 608129"/>
                <a:gd name="connsiteY145" fmla="*/ 151249 h 343858"/>
                <a:gd name="connsiteX146" fmla="*/ 297127 w 608129"/>
                <a:gd name="connsiteY146" fmla="*/ 150490 h 343858"/>
                <a:gd name="connsiteX147" fmla="*/ 294089 w 608129"/>
                <a:gd name="connsiteY147" fmla="*/ 147457 h 343858"/>
                <a:gd name="connsiteX148" fmla="*/ 292570 w 608129"/>
                <a:gd name="connsiteY148" fmla="*/ 145941 h 343858"/>
                <a:gd name="connsiteX149" fmla="*/ 289532 w 608129"/>
                <a:gd name="connsiteY149" fmla="*/ 142149 h 343858"/>
                <a:gd name="connsiteX150" fmla="*/ 289532 w 608129"/>
                <a:gd name="connsiteY150" fmla="*/ 140633 h 343858"/>
                <a:gd name="connsiteX151" fmla="*/ 287253 w 608129"/>
                <a:gd name="connsiteY151" fmla="*/ 136083 h 343858"/>
                <a:gd name="connsiteX152" fmla="*/ 237125 w 608129"/>
                <a:gd name="connsiteY152" fmla="*/ 141391 h 343858"/>
                <a:gd name="connsiteX153" fmla="*/ 215098 w 608129"/>
                <a:gd name="connsiteY153" fmla="*/ 165657 h 343858"/>
                <a:gd name="connsiteX154" fmla="*/ 214339 w 608129"/>
                <a:gd name="connsiteY154" fmla="*/ 166415 h 343858"/>
                <a:gd name="connsiteX155" fmla="*/ 212060 w 608129"/>
                <a:gd name="connsiteY155" fmla="*/ 168690 h 343858"/>
                <a:gd name="connsiteX156" fmla="*/ 211301 w 608129"/>
                <a:gd name="connsiteY156" fmla="*/ 168690 h 343858"/>
                <a:gd name="connsiteX157" fmla="*/ 209022 w 608129"/>
                <a:gd name="connsiteY157" fmla="*/ 170206 h 343858"/>
                <a:gd name="connsiteX158" fmla="*/ 207503 w 608129"/>
                <a:gd name="connsiteY158" fmla="*/ 170965 h 343858"/>
                <a:gd name="connsiteX159" fmla="*/ 205224 w 608129"/>
                <a:gd name="connsiteY159" fmla="*/ 171723 h 343858"/>
                <a:gd name="connsiteX160" fmla="*/ 203705 w 608129"/>
                <a:gd name="connsiteY160" fmla="*/ 171723 h 343858"/>
                <a:gd name="connsiteX161" fmla="*/ 202186 w 608129"/>
                <a:gd name="connsiteY161" fmla="*/ 171723 h 343858"/>
                <a:gd name="connsiteX162" fmla="*/ 201427 w 608129"/>
                <a:gd name="connsiteY162" fmla="*/ 171723 h 343858"/>
                <a:gd name="connsiteX163" fmla="*/ 199148 w 608129"/>
                <a:gd name="connsiteY163" fmla="*/ 171723 h 343858"/>
                <a:gd name="connsiteX164" fmla="*/ 198389 w 608129"/>
                <a:gd name="connsiteY164" fmla="*/ 171723 h 343858"/>
                <a:gd name="connsiteX165" fmla="*/ 191553 w 608129"/>
                <a:gd name="connsiteY165" fmla="*/ 169448 h 343858"/>
                <a:gd name="connsiteX166" fmla="*/ 188515 w 608129"/>
                <a:gd name="connsiteY166" fmla="*/ 167173 h 343858"/>
                <a:gd name="connsiteX167" fmla="*/ 178641 w 608129"/>
                <a:gd name="connsiteY167" fmla="*/ 158073 h 343858"/>
                <a:gd name="connsiteX168" fmla="*/ 176362 w 608129"/>
                <a:gd name="connsiteY168" fmla="*/ 155040 h 343858"/>
                <a:gd name="connsiteX169" fmla="*/ 175603 w 608129"/>
                <a:gd name="connsiteY169" fmla="*/ 154282 h 343858"/>
                <a:gd name="connsiteX170" fmla="*/ 174084 w 608129"/>
                <a:gd name="connsiteY170" fmla="*/ 152007 h 343858"/>
                <a:gd name="connsiteX171" fmla="*/ 142943 w 608129"/>
                <a:gd name="connsiteY171" fmla="*/ 159590 h 343858"/>
                <a:gd name="connsiteX172" fmla="*/ 136107 w 608129"/>
                <a:gd name="connsiteY172" fmla="*/ 171723 h 343858"/>
                <a:gd name="connsiteX173" fmla="*/ 135348 w 608129"/>
                <a:gd name="connsiteY173" fmla="*/ 173998 h 343858"/>
                <a:gd name="connsiteX174" fmla="*/ 134588 w 608129"/>
                <a:gd name="connsiteY174" fmla="*/ 174756 h 343858"/>
                <a:gd name="connsiteX175" fmla="*/ 133069 w 608129"/>
                <a:gd name="connsiteY175" fmla="*/ 175514 h 343858"/>
                <a:gd name="connsiteX176" fmla="*/ 131550 w 608129"/>
                <a:gd name="connsiteY176" fmla="*/ 177789 h 343858"/>
                <a:gd name="connsiteX177" fmla="*/ 130791 w 608129"/>
                <a:gd name="connsiteY177" fmla="*/ 177789 h 343858"/>
                <a:gd name="connsiteX178" fmla="*/ 124715 w 608129"/>
                <a:gd name="connsiteY178" fmla="*/ 181581 h 343858"/>
                <a:gd name="connsiteX179" fmla="*/ 119398 w 608129"/>
                <a:gd name="connsiteY179" fmla="*/ 182339 h 343858"/>
                <a:gd name="connsiteX180" fmla="*/ 118638 w 608129"/>
                <a:gd name="connsiteY180" fmla="*/ 182339 h 343858"/>
                <a:gd name="connsiteX181" fmla="*/ 117879 w 608129"/>
                <a:gd name="connsiteY181" fmla="*/ 182339 h 343858"/>
                <a:gd name="connsiteX182" fmla="*/ 114841 w 608129"/>
                <a:gd name="connsiteY182" fmla="*/ 182339 h 343858"/>
                <a:gd name="connsiteX183" fmla="*/ 113322 w 608129"/>
                <a:gd name="connsiteY183" fmla="*/ 181581 h 343858"/>
                <a:gd name="connsiteX184" fmla="*/ 109524 w 608129"/>
                <a:gd name="connsiteY184" fmla="*/ 180064 h 343858"/>
                <a:gd name="connsiteX185" fmla="*/ 108764 w 608129"/>
                <a:gd name="connsiteY185" fmla="*/ 180064 h 343858"/>
                <a:gd name="connsiteX186" fmla="*/ 99650 w 608129"/>
                <a:gd name="connsiteY186" fmla="*/ 175514 h 343858"/>
                <a:gd name="connsiteX187" fmla="*/ 92814 w 608129"/>
                <a:gd name="connsiteY187" fmla="*/ 189922 h 343858"/>
                <a:gd name="connsiteX188" fmla="*/ 71548 w 608129"/>
                <a:gd name="connsiteY188" fmla="*/ 202813 h 343858"/>
                <a:gd name="connsiteX189" fmla="*/ 70029 w 608129"/>
                <a:gd name="connsiteY189" fmla="*/ 214188 h 343858"/>
                <a:gd name="connsiteX190" fmla="*/ 61674 w 608129"/>
                <a:gd name="connsiteY190" fmla="*/ 225562 h 343858"/>
                <a:gd name="connsiteX191" fmla="*/ 51800 w 608129"/>
                <a:gd name="connsiteY191" fmla="*/ 232387 h 343858"/>
                <a:gd name="connsiteX192" fmla="*/ 159653 w 608129"/>
                <a:gd name="connsiteY192" fmla="*/ 232387 h 343858"/>
                <a:gd name="connsiteX193" fmla="*/ 158134 w 608129"/>
                <a:gd name="connsiteY193" fmla="*/ 224804 h 343858"/>
                <a:gd name="connsiteX194" fmla="*/ 159653 w 608129"/>
                <a:gd name="connsiteY194" fmla="*/ 211155 h 343858"/>
                <a:gd name="connsiteX195" fmla="*/ 171046 w 608129"/>
                <a:gd name="connsiteY195" fmla="*/ 202813 h 343858"/>
                <a:gd name="connsiteX196" fmla="*/ 179401 w 608129"/>
                <a:gd name="connsiteY196" fmla="*/ 213430 h 343858"/>
                <a:gd name="connsiteX197" fmla="*/ 177881 w 608129"/>
                <a:gd name="connsiteY197" fmla="*/ 227837 h 343858"/>
                <a:gd name="connsiteX198" fmla="*/ 175603 w 608129"/>
                <a:gd name="connsiteY198" fmla="*/ 232387 h 343858"/>
                <a:gd name="connsiteX199" fmla="*/ 402702 w 608129"/>
                <a:gd name="connsiteY199" fmla="*/ 232387 h 343858"/>
                <a:gd name="connsiteX200" fmla="*/ 537897 w 608129"/>
                <a:gd name="connsiteY200" fmla="*/ 232387 h 343858"/>
                <a:gd name="connsiteX201" fmla="*/ 528783 w 608129"/>
                <a:gd name="connsiteY201" fmla="*/ 208880 h 343858"/>
                <a:gd name="connsiteX202" fmla="*/ 528783 w 608129"/>
                <a:gd name="connsiteY202" fmla="*/ 205847 h 343858"/>
                <a:gd name="connsiteX203" fmla="*/ 519669 w 608129"/>
                <a:gd name="connsiteY203" fmla="*/ 196747 h 343858"/>
                <a:gd name="connsiteX204" fmla="*/ 512833 w 608129"/>
                <a:gd name="connsiteY204" fmla="*/ 196747 h 343858"/>
                <a:gd name="connsiteX205" fmla="*/ 501440 w 608129"/>
                <a:gd name="connsiteY205" fmla="*/ 186131 h 343858"/>
                <a:gd name="connsiteX206" fmla="*/ 492326 w 608129"/>
                <a:gd name="connsiteY206" fmla="*/ 177789 h 343858"/>
                <a:gd name="connsiteX207" fmla="*/ 472578 w 608129"/>
                <a:gd name="connsiteY207" fmla="*/ 162623 h 343858"/>
                <a:gd name="connsiteX208" fmla="*/ 463464 w 608129"/>
                <a:gd name="connsiteY208" fmla="*/ 150490 h 343858"/>
                <a:gd name="connsiteX209" fmla="*/ 458907 w 608129"/>
                <a:gd name="connsiteY209" fmla="*/ 152765 h 343858"/>
                <a:gd name="connsiteX210" fmla="*/ 429285 w 608129"/>
                <a:gd name="connsiteY210" fmla="*/ 161107 h 343858"/>
                <a:gd name="connsiteX211" fmla="*/ 424728 w 608129"/>
                <a:gd name="connsiteY211" fmla="*/ 161865 h 343858"/>
                <a:gd name="connsiteX212" fmla="*/ 423968 w 608129"/>
                <a:gd name="connsiteY212" fmla="*/ 161865 h 343858"/>
                <a:gd name="connsiteX213" fmla="*/ 423209 w 608129"/>
                <a:gd name="connsiteY213" fmla="*/ 161865 h 343858"/>
                <a:gd name="connsiteX214" fmla="*/ 420171 w 608129"/>
                <a:gd name="connsiteY214" fmla="*/ 161107 h 343858"/>
                <a:gd name="connsiteX215" fmla="*/ 418652 w 608129"/>
                <a:gd name="connsiteY215" fmla="*/ 161107 h 343858"/>
                <a:gd name="connsiteX216" fmla="*/ 414094 w 608129"/>
                <a:gd name="connsiteY216" fmla="*/ 159590 h 343858"/>
                <a:gd name="connsiteX217" fmla="*/ 407259 w 608129"/>
                <a:gd name="connsiteY217" fmla="*/ 152765 h 343858"/>
                <a:gd name="connsiteX218" fmla="*/ 404221 w 608129"/>
                <a:gd name="connsiteY218" fmla="*/ 147457 h 343858"/>
                <a:gd name="connsiteX219" fmla="*/ 401182 w 608129"/>
                <a:gd name="connsiteY219" fmla="*/ 135324 h 343858"/>
                <a:gd name="connsiteX220" fmla="*/ 363206 w 608129"/>
                <a:gd name="connsiteY220" fmla="*/ 133808 h 343858"/>
                <a:gd name="connsiteX221" fmla="*/ 105726 w 608129"/>
                <a:gd name="connsiteY221" fmla="*/ 121675 h 343858"/>
                <a:gd name="connsiteX222" fmla="*/ 91295 w 608129"/>
                <a:gd name="connsiteY222" fmla="*/ 148216 h 343858"/>
                <a:gd name="connsiteX223" fmla="*/ 117119 w 608129"/>
                <a:gd name="connsiteY223" fmla="*/ 161865 h 343858"/>
                <a:gd name="connsiteX224" fmla="*/ 118638 w 608129"/>
                <a:gd name="connsiteY224" fmla="*/ 162623 h 343858"/>
                <a:gd name="connsiteX225" fmla="*/ 132310 w 608129"/>
                <a:gd name="connsiteY225" fmla="*/ 135324 h 343858"/>
                <a:gd name="connsiteX226" fmla="*/ 445235 w 608129"/>
                <a:gd name="connsiteY226" fmla="*/ 104234 h 343858"/>
                <a:gd name="connsiteX227" fmla="*/ 415614 w 608129"/>
                <a:gd name="connsiteY227" fmla="*/ 112575 h 343858"/>
                <a:gd name="connsiteX228" fmla="*/ 423968 w 608129"/>
                <a:gd name="connsiteY228" fmla="*/ 141391 h 343858"/>
                <a:gd name="connsiteX229" fmla="*/ 453590 w 608129"/>
                <a:gd name="connsiteY229" fmla="*/ 133049 h 343858"/>
                <a:gd name="connsiteX230" fmla="*/ 324470 w 608129"/>
                <a:gd name="connsiteY230" fmla="*/ 101201 h 343858"/>
                <a:gd name="connsiteX231" fmla="*/ 303963 w 608129"/>
                <a:gd name="connsiteY231" fmla="*/ 121675 h 343858"/>
                <a:gd name="connsiteX232" fmla="*/ 304723 w 608129"/>
                <a:gd name="connsiteY232" fmla="*/ 123192 h 343858"/>
                <a:gd name="connsiteX233" fmla="*/ 304723 w 608129"/>
                <a:gd name="connsiteY233" fmla="*/ 123950 h 343858"/>
                <a:gd name="connsiteX234" fmla="*/ 311558 w 608129"/>
                <a:gd name="connsiteY234" fmla="*/ 136841 h 343858"/>
                <a:gd name="connsiteX235" fmla="*/ 313837 w 608129"/>
                <a:gd name="connsiteY235" fmla="*/ 138358 h 343858"/>
                <a:gd name="connsiteX236" fmla="*/ 314596 w 608129"/>
                <a:gd name="connsiteY236" fmla="*/ 139116 h 343858"/>
                <a:gd name="connsiteX237" fmla="*/ 317634 w 608129"/>
                <a:gd name="connsiteY237" fmla="*/ 139874 h 343858"/>
                <a:gd name="connsiteX238" fmla="*/ 318394 w 608129"/>
                <a:gd name="connsiteY238" fmla="*/ 140633 h 343858"/>
                <a:gd name="connsiteX239" fmla="*/ 320673 w 608129"/>
                <a:gd name="connsiteY239" fmla="*/ 141391 h 343858"/>
                <a:gd name="connsiteX240" fmla="*/ 324470 w 608129"/>
                <a:gd name="connsiteY240" fmla="*/ 141391 h 343858"/>
                <a:gd name="connsiteX241" fmla="*/ 328268 w 608129"/>
                <a:gd name="connsiteY241" fmla="*/ 141391 h 343858"/>
                <a:gd name="connsiteX242" fmla="*/ 329787 w 608129"/>
                <a:gd name="connsiteY242" fmla="*/ 140633 h 343858"/>
                <a:gd name="connsiteX243" fmla="*/ 332066 w 608129"/>
                <a:gd name="connsiteY243" fmla="*/ 139874 h 343858"/>
                <a:gd name="connsiteX244" fmla="*/ 333585 w 608129"/>
                <a:gd name="connsiteY244" fmla="*/ 139116 h 343858"/>
                <a:gd name="connsiteX245" fmla="*/ 335863 w 608129"/>
                <a:gd name="connsiteY245" fmla="*/ 138358 h 343858"/>
                <a:gd name="connsiteX246" fmla="*/ 337382 w 608129"/>
                <a:gd name="connsiteY246" fmla="*/ 136841 h 343858"/>
                <a:gd name="connsiteX247" fmla="*/ 338142 w 608129"/>
                <a:gd name="connsiteY247" fmla="*/ 136083 h 343858"/>
                <a:gd name="connsiteX248" fmla="*/ 340420 w 608129"/>
                <a:gd name="connsiteY248" fmla="*/ 133808 h 343858"/>
                <a:gd name="connsiteX249" fmla="*/ 340420 w 608129"/>
                <a:gd name="connsiteY249" fmla="*/ 133049 h 343858"/>
                <a:gd name="connsiteX250" fmla="*/ 344218 w 608129"/>
                <a:gd name="connsiteY250" fmla="*/ 123192 h 343858"/>
                <a:gd name="connsiteX251" fmla="*/ 344977 w 608129"/>
                <a:gd name="connsiteY251" fmla="*/ 120917 h 343858"/>
                <a:gd name="connsiteX252" fmla="*/ 324470 w 608129"/>
                <a:gd name="connsiteY252" fmla="*/ 101201 h 343858"/>
                <a:gd name="connsiteX253" fmla="*/ 234086 w 608129"/>
                <a:gd name="connsiteY253" fmla="*/ 98926 h 343858"/>
                <a:gd name="connsiteX254" fmla="*/ 193832 w 608129"/>
                <a:gd name="connsiteY254" fmla="*/ 144424 h 343858"/>
                <a:gd name="connsiteX255" fmla="*/ 201427 w 608129"/>
                <a:gd name="connsiteY255" fmla="*/ 151249 h 343858"/>
                <a:gd name="connsiteX256" fmla="*/ 227251 w 608129"/>
                <a:gd name="connsiteY256" fmla="*/ 121675 h 343858"/>
                <a:gd name="connsiteX257" fmla="*/ 241682 w 608129"/>
                <a:gd name="connsiteY257" fmla="*/ 105751 h 343858"/>
                <a:gd name="connsiteX258" fmla="*/ 233042 w 608129"/>
                <a:gd name="connsiteY258" fmla="*/ 78357 h 343858"/>
                <a:gd name="connsiteX259" fmla="*/ 246239 w 608129"/>
                <a:gd name="connsiteY259" fmla="*/ 83001 h 343858"/>
                <a:gd name="connsiteX260" fmla="*/ 256872 w 608129"/>
                <a:gd name="connsiteY260" fmla="*/ 92101 h 343858"/>
                <a:gd name="connsiteX261" fmla="*/ 257632 w 608129"/>
                <a:gd name="connsiteY261" fmla="*/ 118642 h 343858"/>
                <a:gd name="connsiteX262" fmla="*/ 284215 w 608129"/>
                <a:gd name="connsiteY262" fmla="*/ 116367 h 343858"/>
                <a:gd name="connsiteX263" fmla="*/ 324470 w 608129"/>
                <a:gd name="connsiteY263" fmla="*/ 80727 h 343858"/>
                <a:gd name="connsiteX264" fmla="*/ 363966 w 608129"/>
                <a:gd name="connsiteY264" fmla="*/ 114092 h 343858"/>
                <a:gd name="connsiteX265" fmla="*/ 395866 w 608129"/>
                <a:gd name="connsiteY265" fmla="*/ 114850 h 343858"/>
                <a:gd name="connsiteX266" fmla="*/ 398144 w 608129"/>
                <a:gd name="connsiteY266" fmla="*/ 102717 h 343858"/>
                <a:gd name="connsiteX267" fmla="*/ 410297 w 608129"/>
                <a:gd name="connsiteY267" fmla="*/ 92859 h 343858"/>
                <a:gd name="connsiteX268" fmla="*/ 439159 w 608129"/>
                <a:gd name="connsiteY268" fmla="*/ 84518 h 343858"/>
                <a:gd name="connsiteX269" fmla="*/ 454349 w 608129"/>
                <a:gd name="connsiteY269" fmla="*/ 86035 h 343858"/>
                <a:gd name="connsiteX270" fmla="*/ 464223 w 608129"/>
                <a:gd name="connsiteY270" fmla="*/ 98168 h 343858"/>
                <a:gd name="connsiteX271" fmla="*/ 472578 w 608129"/>
                <a:gd name="connsiteY271" fmla="*/ 127741 h 343858"/>
                <a:gd name="connsiteX272" fmla="*/ 473338 w 608129"/>
                <a:gd name="connsiteY272" fmla="*/ 132291 h 343858"/>
                <a:gd name="connsiteX273" fmla="*/ 492326 w 608129"/>
                <a:gd name="connsiteY273" fmla="*/ 157315 h 343858"/>
                <a:gd name="connsiteX274" fmla="*/ 519669 w 608129"/>
                <a:gd name="connsiteY274" fmla="*/ 176273 h 343858"/>
                <a:gd name="connsiteX275" fmla="*/ 524226 w 608129"/>
                <a:gd name="connsiteY275" fmla="*/ 177031 h 343858"/>
                <a:gd name="connsiteX276" fmla="*/ 547771 w 608129"/>
                <a:gd name="connsiteY276" fmla="*/ 199780 h 343858"/>
                <a:gd name="connsiteX277" fmla="*/ 548531 w 608129"/>
                <a:gd name="connsiteY277" fmla="*/ 210396 h 343858"/>
                <a:gd name="connsiteX278" fmla="*/ 553848 w 608129"/>
                <a:gd name="connsiteY278" fmla="*/ 219496 h 343858"/>
                <a:gd name="connsiteX279" fmla="*/ 564481 w 608129"/>
                <a:gd name="connsiteY279" fmla="*/ 232387 h 343858"/>
                <a:gd name="connsiteX280" fmla="*/ 588786 w 608129"/>
                <a:gd name="connsiteY280" fmla="*/ 232387 h 343858"/>
                <a:gd name="connsiteX281" fmla="*/ 606255 w 608129"/>
                <a:gd name="connsiteY281" fmla="*/ 243003 h 343858"/>
                <a:gd name="connsiteX282" fmla="*/ 604736 w 608129"/>
                <a:gd name="connsiteY282" fmla="*/ 263478 h 343858"/>
                <a:gd name="connsiteX283" fmla="*/ 603217 w 608129"/>
                <a:gd name="connsiteY283" fmla="*/ 264994 h 343858"/>
                <a:gd name="connsiteX284" fmla="*/ 550809 w 608129"/>
                <a:gd name="connsiteY284" fmla="*/ 296843 h 343858"/>
                <a:gd name="connsiteX285" fmla="*/ 544733 w 608129"/>
                <a:gd name="connsiteY285" fmla="*/ 312768 h 343858"/>
                <a:gd name="connsiteX286" fmla="*/ 516631 w 608129"/>
                <a:gd name="connsiteY286" fmla="*/ 343858 h 343858"/>
                <a:gd name="connsiteX287" fmla="*/ 91295 w 608129"/>
                <a:gd name="connsiteY287" fmla="*/ 343858 h 343858"/>
                <a:gd name="connsiteX288" fmla="*/ 63952 w 608129"/>
                <a:gd name="connsiteY288" fmla="*/ 312768 h 343858"/>
                <a:gd name="connsiteX289" fmla="*/ 57876 w 608129"/>
                <a:gd name="connsiteY289" fmla="*/ 296843 h 343858"/>
                <a:gd name="connsiteX290" fmla="*/ 4709 w 608129"/>
                <a:gd name="connsiteY290" fmla="*/ 264994 h 343858"/>
                <a:gd name="connsiteX291" fmla="*/ 3950 w 608129"/>
                <a:gd name="connsiteY291" fmla="*/ 263478 h 343858"/>
                <a:gd name="connsiteX292" fmla="*/ 2431 w 608129"/>
                <a:gd name="connsiteY292" fmla="*/ 243003 h 343858"/>
                <a:gd name="connsiteX293" fmla="*/ 19900 w 608129"/>
                <a:gd name="connsiteY293" fmla="*/ 232387 h 343858"/>
                <a:gd name="connsiteX294" fmla="*/ 31293 w 608129"/>
                <a:gd name="connsiteY294" fmla="*/ 232387 h 343858"/>
                <a:gd name="connsiteX295" fmla="*/ 49521 w 608129"/>
                <a:gd name="connsiteY295" fmla="*/ 208880 h 343858"/>
                <a:gd name="connsiteX296" fmla="*/ 57117 w 608129"/>
                <a:gd name="connsiteY296" fmla="*/ 187647 h 343858"/>
                <a:gd name="connsiteX297" fmla="*/ 68510 w 608129"/>
                <a:gd name="connsiteY297" fmla="*/ 182339 h 343858"/>
                <a:gd name="connsiteX298" fmla="*/ 76864 w 608129"/>
                <a:gd name="connsiteY298" fmla="*/ 177031 h 343858"/>
                <a:gd name="connsiteX299" fmla="*/ 79902 w 608129"/>
                <a:gd name="connsiteY299" fmla="*/ 167931 h 343858"/>
                <a:gd name="connsiteX300" fmla="*/ 79902 w 608129"/>
                <a:gd name="connsiteY300" fmla="*/ 164140 h 343858"/>
                <a:gd name="connsiteX301" fmla="*/ 73826 w 608129"/>
                <a:gd name="connsiteY301" fmla="*/ 139116 h 343858"/>
                <a:gd name="connsiteX302" fmla="*/ 87498 w 608129"/>
                <a:gd name="connsiteY302" fmla="*/ 111817 h 343858"/>
                <a:gd name="connsiteX303" fmla="*/ 99650 w 608129"/>
                <a:gd name="connsiteY303" fmla="*/ 101959 h 343858"/>
                <a:gd name="connsiteX304" fmla="*/ 114841 w 608129"/>
                <a:gd name="connsiteY304" fmla="*/ 103476 h 343858"/>
                <a:gd name="connsiteX305" fmla="*/ 142184 w 608129"/>
                <a:gd name="connsiteY305" fmla="*/ 117125 h 343858"/>
                <a:gd name="connsiteX306" fmla="*/ 152058 w 608129"/>
                <a:gd name="connsiteY306" fmla="*/ 129258 h 343858"/>
                <a:gd name="connsiteX307" fmla="*/ 152817 w 608129"/>
                <a:gd name="connsiteY307" fmla="*/ 136083 h 343858"/>
                <a:gd name="connsiteX308" fmla="*/ 178641 w 608129"/>
                <a:gd name="connsiteY308" fmla="*/ 130016 h 343858"/>
                <a:gd name="connsiteX309" fmla="*/ 220415 w 608129"/>
                <a:gd name="connsiteY309" fmla="*/ 84518 h 343858"/>
                <a:gd name="connsiteX310" fmla="*/ 233042 w 608129"/>
                <a:gd name="connsiteY310" fmla="*/ 78357 h 343858"/>
                <a:gd name="connsiteX311" fmla="*/ 162582 w 608129"/>
                <a:gd name="connsiteY311" fmla="*/ 60954 h 343858"/>
                <a:gd name="connsiteX312" fmla="*/ 142076 w 608129"/>
                <a:gd name="connsiteY312" fmla="*/ 80671 h 343858"/>
                <a:gd name="connsiteX313" fmla="*/ 162582 w 608129"/>
                <a:gd name="connsiteY313" fmla="*/ 101147 h 343858"/>
                <a:gd name="connsiteX314" fmla="*/ 182329 w 608129"/>
                <a:gd name="connsiteY314" fmla="*/ 80671 h 343858"/>
                <a:gd name="connsiteX315" fmla="*/ 162582 w 608129"/>
                <a:gd name="connsiteY315" fmla="*/ 60954 h 343858"/>
                <a:gd name="connsiteX316" fmla="*/ 162582 w 608129"/>
                <a:gd name="connsiteY316" fmla="*/ 40478 h 343858"/>
                <a:gd name="connsiteX317" fmla="*/ 202836 w 608129"/>
                <a:gd name="connsiteY317" fmla="*/ 80671 h 343858"/>
                <a:gd name="connsiteX318" fmla="*/ 162582 w 608129"/>
                <a:gd name="connsiteY318" fmla="*/ 121623 h 343858"/>
                <a:gd name="connsiteX319" fmla="*/ 121569 w 608129"/>
                <a:gd name="connsiteY319" fmla="*/ 80671 h 343858"/>
                <a:gd name="connsiteX320" fmla="*/ 162582 w 608129"/>
                <a:gd name="connsiteY320" fmla="*/ 40478 h 343858"/>
                <a:gd name="connsiteX321" fmla="*/ 285697 w 608129"/>
                <a:gd name="connsiteY321" fmla="*/ 32920 h 343858"/>
                <a:gd name="connsiteX322" fmla="*/ 256860 w 608129"/>
                <a:gd name="connsiteY322" fmla="*/ 41258 h 343858"/>
                <a:gd name="connsiteX323" fmla="*/ 265208 w 608129"/>
                <a:gd name="connsiteY323" fmla="*/ 70819 h 343858"/>
                <a:gd name="connsiteX324" fmla="*/ 294045 w 608129"/>
                <a:gd name="connsiteY324" fmla="*/ 62481 h 343858"/>
                <a:gd name="connsiteX325" fmla="*/ 364659 w 608129"/>
                <a:gd name="connsiteY325" fmla="*/ 20767 h 343858"/>
                <a:gd name="connsiteX326" fmla="*/ 355552 w 608129"/>
                <a:gd name="connsiteY326" fmla="*/ 23799 h 343858"/>
                <a:gd name="connsiteX327" fmla="*/ 376044 w 608129"/>
                <a:gd name="connsiteY327" fmla="*/ 81416 h 343858"/>
                <a:gd name="connsiteX328" fmla="*/ 385910 w 608129"/>
                <a:gd name="connsiteY328" fmla="*/ 77625 h 343858"/>
                <a:gd name="connsiteX329" fmla="*/ 280385 w 608129"/>
                <a:gd name="connsiteY329" fmla="*/ 13971 h 343858"/>
                <a:gd name="connsiteX330" fmla="*/ 295563 w 608129"/>
                <a:gd name="connsiteY330" fmla="*/ 15487 h 343858"/>
                <a:gd name="connsiteX331" fmla="*/ 305428 w 608129"/>
                <a:gd name="connsiteY331" fmla="*/ 27614 h 343858"/>
                <a:gd name="connsiteX332" fmla="*/ 313776 w 608129"/>
                <a:gd name="connsiteY332" fmla="*/ 57176 h 343858"/>
                <a:gd name="connsiteX333" fmla="*/ 311500 w 608129"/>
                <a:gd name="connsiteY333" fmla="*/ 72335 h 343858"/>
                <a:gd name="connsiteX334" fmla="*/ 299357 w 608129"/>
                <a:gd name="connsiteY334" fmla="*/ 82189 h 343858"/>
                <a:gd name="connsiteX335" fmla="*/ 270520 w 608129"/>
                <a:gd name="connsiteY335" fmla="*/ 90527 h 343858"/>
                <a:gd name="connsiteX336" fmla="*/ 265208 w 608129"/>
                <a:gd name="connsiteY336" fmla="*/ 91285 h 343858"/>
                <a:gd name="connsiteX337" fmla="*/ 255342 w 608129"/>
                <a:gd name="connsiteY337" fmla="*/ 88253 h 343858"/>
                <a:gd name="connsiteX338" fmla="*/ 245477 w 608129"/>
                <a:gd name="connsiteY338" fmla="*/ 76125 h 343858"/>
                <a:gd name="connsiteX339" fmla="*/ 237129 w 608129"/>
                <a:gd name="connsiteY339" fmla="*/ 47322 h 343858"/>
                <a:gd name="connsiteX340" fmla="*/ 238647 w 608129"/>
                <a:gd name="connsiteY340" fmla="*/ 32162 h 343858"/>
                <a:gd name="connsiteX341" fmla="*/ 250789 w 608129"/>
                <a:gd name="connsiteY341" fmla="*/ 22309 h 343858"/>
                <a:gd name="connsiteX342" fmla="*/ 359347 w 608129"/>
                <a:gd name="connsiteY342" fmla="*/ 1056 h 343858"/>
                <a:gd name="connsiteX343" fmla="*/ 373767 w 608129"/>
                <a:gd name="connsiteY343" fmla="*/ 1814 h 343858"/>
                <a:gd name="connsiteX344" fmla="*/ 383633 w 608129"/>
                <a:gd name="connsiteY344" fmla="*/ 12428 h 343858"/>
                <a:gd name="connsiteX345" fmla="*/ 404884 w 608129"/>
                <a:gd name="connsiteY345" fmla="*/ 72318 h 343858"/>
                <a:gd name="connsiteX346" fmla="*/ 404884 w 608129"/>
                <a:gd name="connsiteY346" fmla="*/ 86723 h 343858"/>
                <a:gd name="connsiteX347" fmla="*/ 394259 w 608129"/>
                <a:gd name="connsiteY347" fmla="*/ 95820 h 343858"/>
                <a:gd name="connsiteX348" fmla="*/ 381356 w 608129"/>
                <a:gd name="connsiteY348" fmla="*/ 100369 h 343858"/>
                <a:gd name="connsiteX349" fmla="*/ 375285 w 608129"/>
                <a:gd name="connsiteY349" fmla="*/ 101885 h 343858"/>
                <a:gd name="connsiteX350" fmla="*/ 367695 w 608129"/>
                <a:gd name="connsiteY350" fmla="*/ 100369 h 343858"/>
                <a:gd name="connsiteX351" fmla="*/ 357829 w 608129"/>
                <a:gd name="connsiteY351" fmla="*/ 89755 h 343858"/>
                <a:gd name="connsiteX352" fmla="*/ 335819 w 608129"/>
                <a:gd name="connsiteY352" fmla="*/ 29864 h 343858"/>
                <a:gd name="connsiteX353" fmla="*/ 336578 w 608129"/>
                <a:gd name="connsiteY353" fmla="*/ 15460 h 343858"/>
                <a:gd name="connsiteX354" fmla="*/ 347203 w 608129"/>
                <a:gd name="connsiteY354" fmla="*/ 5605 h 34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</a:cxnLst>
              <a:rect l="l" t="t" r="r" b="b"/>
              <a:pathLst>
                <a:path w="41014" h="40190">
                  <a:moveTo>
                    <a:pt x="20507" y="0"/>
                  </a:moveTo>
                  <a:cubicBezTo>
                    <a:pt x="9114" y="0"/>
                    <a:pt x="0" y="9099"/>
                    <a:pt x="0" y="20474"/>
                  </a:cubicBezTo>
                  <a:cubicBezTo>
                    <a:pt x="0" y="20474"/>
                    <a:pt x="760" y="21232"/>
                    <a:pt x="760" y="21991"/>
                  </a:cubicBezTo>
                  <a:lnTo>
                    <a:pt x="760" y="22749"/>
                  </a:lnTo>
                  <a:cubicBezTo>
                    <a:pt x="1519" y="28057"/>
                    <a:pt x="3798" y="31848"/>
                    <a:pt x="7595" y="35640"/>
                  </a:cubicBezTo>
                  <a:cubicBezTo>
                    <a:pt x="8355" y="36398"/>
                    <a:pt x="9114" y="37157"/>
                    <a:pt x="9874" y="37157"/>
                  </a:cubicBezTo>
                  <a:cubicBezTo>
                    <a:pt x="10633" y="37157"/>
                    <a:pt x="10633" y="37915"/>
                    <a:pt x="10633" y="37915"/>
                  </a:cubicBezTo>
                  <a:cubicBezTo>
                    <a:pt x="11393" y="37915"/>
                    <a:pt x="12152" y="38673"/>
                    <a:pt x="13671" y="38673"/>
                  </a:cubicBezTo>
                  <a:cubicBezTo>
                    <a:pt x="13671" y="39432"/>
                    <a:pt x="14431" y="39432"/>
                    <a:pt x="14431" y="39432"/>
                  </a:cubicBezTo>
                  <a:cubicBezTo>
                    <a:pt x="15191" y="39432"/>
                    <a:pt x="15950" y="40190"/>
                    <a:pt x="16710" y="40190"/>
                  </a:cubicBezTo>
                  <a:cubicBezTo>
                    <a:pt x="18229" y="40190"/>
                    <a:pt x="18988" y="40190"/>
                    <a:pt x="20507" y="40190"/>
                  </a:cubicBezTo>
                  <a:cubicBezTo>
                    <a:pt x="22026" y="40190"/>
                    <a:pt x="23545" y="40190"/>
                    <a:pt x="24305" y="40190"/>
                  </a:cubicBezTo>
                  <a:cubicBezTo>
                    <a:pt x="25064" y="40190"/>
                    <a:pt x="25064" y="39432"/>
                    <a:pt x="25824" y="39432"/>
                  </a:cubicBezTo>
                  <a:cubicBezTo>
                    <a:pt x="26583" y="39432"/>
                    <a:pt x="27343" y="39432"/>
                    <a:pt x="28103" y="38673"/>
                  </a:cubicBezTo>
                  <a:cubicBezTo>
                    <a:pt x="28862" y="38673"/>
                    <a:pt x="28862" y="38673"/>
                    <a:pt x="29622" y="37915"/>
                  </a:cubicBezTo>
                  <a:cubicBezTo>
                    <a:pt x="30381" y="37915"/>
                    <a:pt x="31141" y="37157"/>
                    <a:pt x="31900" y="37157"/>
                  </a:cubicBezTo>
                  <a:cubicBezTo>
                    <a:pt x="31900" y="36398"/>
                    <a:pt x="32660" y="36398"/>
                    <a:pt x="33419" y="35640"/>
                  </a:cubicBezTo>
                  <a:cubicBezTo>
                    <a:pt x="33419" y="35640"/>
                    <a:pt x="34179" y="34882"/>
                    <a:pt x="34179" y="34882"/>
                  </a:cubicBezTo>
                  <a:cubicBezTo>
                    <a:pt x="34938" y="34123"/>
                    <a:pt x="35698" y="33365"/>
                    <a:pt x="36457" y="32607"/>
                  </a:cubicBezTo>
                  <a:cubicBezTo>
                    <a:pt x="36457" y="32607"/>
                    <a:pt x="36457" y="32607"/>
                    <a:pt x="36457" y="31848"/>
                  </a:cubicBezTo>
                  <a:cubicBezTo>
                    <a:pt x="38736" y="29574"/>
                    <a:pt x="40255" y="25782"/>
                    <a:pt x="40255" y="21991"/>
                  </a:cubicBezTo>
                  <a:lnTo>
                    <a:pt x="41014" y="19716"/>
                  </a:lnTo>
                  <a:cubicBezTo>
                    <a:pt x="40255" y="9099"/>
                    <a:pt x="31900" y="0"/>
                    <a:pt x="20507" y="0"/>
                  </a:cubicBezTo>
                </a:path>
              </a:pathLst>
            </a:custGeom>
            <a:noFill/>
            <a:ln w="44450">
              <a:gradFill>
                <a:gsLst>
                  <a:gs pos="0">
                    <a:schemeClr val="accent3"/>
                  </a:gs>
                  <a:gs pos="100000">
                    <a:schemeClr val="accent3">
                      <a:lumMod val="5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zh-CN" altLang="en-US">
                <a:gradFill flip="none" rotWithShape="1">
                  <a:gsLst>
                    <a:gs pos="89000">
                      <a:schemeClr val="bg1"/>
                    </a:gs>
                    <a:gs pos="0">
                      <a:schemeClr val="accent2"/>
                    </a:gs>
                  </a:gsLst>
                  <a:lin ang="13500000" scaled="1"/>
                  <a:tileRect/>
                </a:gradFill>
              </a:endParaRPr>
            </a:p>
          </p:txBody>
        </p:sp>
        <p:sp>
          <p:nvSpPr>
            <p:cNvPr id="197" name="任意多边形: 形状 196"/>
            <p:cNvSpPr>
              <a:spLocks/>
            </p:cNvSpPr>
            <p:nvPr userDrawn="1"/>
          </p:nvSpPr>
          <p:spPr bwMode="auto">
            <a:xfrm flipH="1" flipV="1">
              <a:off x="3281481" y="3676567"/>
              <a:ext cx="45719" cy="82647"/>
            </a:xfrm>
            <a:custGeom>
              <a:avLst/>
              <a:gdLst>
                <a:gd name="connsiteX0" fmla="*/ 193001 w 608129"/>
                <a:gd name="connsiteY0" fmla="*/ 283182 h 343858"/>
                <a:gd name="connsiteX1" fmla="*/ 506699 w 608129"/>
                <a:gd name="connsiteY1" fmla="*/ 283182 h 343858"/>
                <a:gd name="connsiteX2" fmla="*/ 516573 w 608129"/>
                <a:gd name="connsiteY2" fmla="*/ 293038 h 343858"/>
                <a:gd name="connsiteX3" fmla="*/ 506699 w 608129"/>
                <a:gd name="connsiteY3" fmla="*/ 303651 h 343858"/>
                <a:gd name="connsiteX4" fmla="*/ 193001 w 608129"/>
                <a:gd name="connsiteY4" fmla="*/ 303651 h 343858"/>
                <a:gd name="connsiteX5" fmla="*/ 182367 w 608129"/>
                <a:gd name="connsiteY5" fmla="*/ 293038 h 343858"/>
                <a:gd name="connsiteX6" fmla="*/ 193001 w 608129"/>
                <a:gd name="connsiteY6" fmla="*/ 283182 h 343858"/>
                <a:gd name="connsiteX7" fmla="*/ 101866 w 608129"/>
                <a:gd name="connsiteY7" fmla="*/ 283182 h 343858"/>
                <a:gd name="connsiteX8" fmla="*/ 142885 w 608129"/>
                <a:gd name="connsiteY8" fmla="*/ 283182 h 343858"/>
                <a:gd name="connsiteX9" fmla="*/ 152760 w 608129"/>
                <a:gd name="connsiteY9" fmla="*/ 293038 h 343858"/>
                <a:gd name="connsiteX10" fmla="*/ 142885 w 608129"/>
                <a:gd name="connsiteY10" fmla="*/ 303651 h 343858"/>
                <a:gd name="connsiteX11" fmla="*/ 101866 w 608129"/>
                <a:gd name="connsiteY11" fmla="*/ 303651 h 343858"/>
                <a:gd name="connsiteX12" fmla="*/ 91231 w 608129"/>
                <a:gd name="connsiteY12" fmla="*/ 293038 h 343858"/>
                <a:gd name="connsiteX13" fmla="*/ 101866 w 608129"/>
                <a:gd name="connsiteY13" fmla="*/ 283182 h 343858"/>
                <a:gd name="connsiteX14" fmla="*/ 23697 w 608129"/>
                <a:gd name="connsiteY14" fmla="*/ 252861 h 343858"/>
                <a:gd name="connsiteX15" fmla="*/ 72307 w 608129"/>
                <a:gd name="connsiteY15" fmla="*/ 281677 h 343858"/>
                <a:gd name="connsiteX16" fmla="*/ 73826 w 608129"/>
                <a:gd name="connsiteY16" fmla="*/ 283952 h 343858"/>
                <a:gd name="connsiteX17" fmla="*/ 82941 w 608129"/>
                <a:gd name="connsiteY17" fmla="*/ 307460 h 343858"/>
                <a:gd name="connsiteX18" fmla="*/ 91295 w 608129"/>
                <a:gd name="connsiteY18" fmla="*/ 323384 h 343858"/>
                <a:gd name="connsiteX19" fmla="*/ 516631 w 608129"/>
                <a:gd name="connsiteY19" fmla="*/ 323384 h 343858"/>
                <a:gd name="connsiteX20" fmla="*/ 525745 w 608129"/>
                <a:gd name="connsiteY20" fmla="*/ 307460 h 343858"/>
                <a:gd name="connsiteX21" fmla="*/ 534859 w 608129"/>
                <a:gd name="connsiteY21" fmla="*/ 283952 h 343858"/>
                <a:gd name="connsiteX22" fmla="*/ 536378 w 608129"/>
                <a:gd name="connsiteY22" fmla="*/ 281677 h 343858"/>
                <a:gd name="connsiteX23" fmla="*/ 584229 w 608129"/>
                <a:gd name="connsiteY23" fmla="*/ 252861 h 343858"/>
                <a:gd name="connsiteX24" fmla="*/ 569798 w 608129"/>
                <a:gd name="connsiteY24" fmla="*/ 252861 h 343858"/>
                <a:gd name="connsiteX25" fmla="*/ 413335 w 608129"/>
                <a:gd name="connsiteY25" fmla="*/ 252861 h 343858"/>
                <a:gd name="connsiteX26" fmla="*/ 401942 w 608129"/>
                <a:gd name="connsiteY26" fmla="*/ 252861 h 343858"/>
                <a:gd name="connsiteX27" fmla="*/ 35850 w 608129"/>
                <a:gd name="connsiteY27" fmla="*/ 252861 h 343858"/>
                <a:gd name="connsiteX28" fmla="*/ 254526 w 608129"/>
                <a:gd name="connsiteY28" fmla="*/ 201295 h 343858"/>
                <a:gd name="connsiteX29" fmla="*/ 257557 w 608129"/>
                <a:gd name="connsiteY29" fmla="*/ 214952 h 343858"/>
                <a:gd name="connsiteX30" fmla="*/ 249221 w 608129"/>
                <a:gd name="connsiteY30" fmla="*/ 227091 h 343858"/>
                <a:gd name="connsiteX31" fmla="*/ 240886 w 608129"/>
                <a:gd name="connsiteY31" fmla="*/ 231644 h 343858"/>
                <a:gd name="connsiteX32" fmla="*/ 235581 w 608129"/>
                <a:gd name="connsiteY32" fmla="*/ 229368 h 343858"/>
                <a:gd name="connsiteX33" fmla="*/ 232550 w 608129"/>
                <a:gd name="connsiteY33" fmla="*/ 215710 h 343858"/>
                <a:gd name="connsiteX34" fmla="*/ 240886 w 608129"/>
                <a:gd name="connsiteY34" fmla="*/ 203571 h 343858"/>
                <a:gd name="connsiteX35" fmla="*/ 254526 w 608129"/>
                <a:gd name="connsiteY35" fmla="*/ 201295 h 343858"/>
                <a:gd name="connsiteX36" fmla="*/ 293998 w 608129"/>
                <a:gd name="connsiteY36" fmla="*/ 199043 h 343858"/>
                <a:gd name="connsiteX37" fmla="*/ 307670 w 608129"/>
                <a:gd name="connsiteY37" fmla="*/ 202827 h 343858"/>
                <a:gd name="connsiteX38" fmla="*/ 314506 w 608129"/>
                <a:gd name="connsiteY38" fmla="*/ 214937 h 343858"/>
                <a:gd name="connsiteX39" fmla="*/ 304632 w 608129"/>
                <a:gd name="connsiteY39" fmla="*/ 222506 h 343858"/>
                <a:gd name="connsiteX40" fmla="*/ 302353 w 608129"/>
                <a:gd name="connsiteY40" fmla="*/ 221749 h 343858"/>
                <a:gd name="connsiteX41" fmla="*/ 288681 w 608129"/>
                <a:gd name="connsiteY41" fmla="*/ 218721 h 343858"/>
                <a:gd name="connsiteX42" fmla="*/ 281845 w 608129"/>
                <a:gd name="connsiteY42" fmla="*/ 205854 h 343858"/>
                <a:gd name="connsiteX43" fmla="*/ 293998 w 608129"/>
                <a:gd name="connsiteY43" fmla="*/ 199043 h 343858"/>
                <a:gd name="connsiteX44" fmla="*/ 113257 w 608129"/>
                <a:gd name="connsiteY44" fmla="*/ 193732 h 343858"/>
                <a:gd name="connsiteX45" fmla="*/ 125378 w 608129"/>
                <a:gd name="connsiteY45" fmla="*/ 201299 h 343858"/>
                <a:gd name="connsiteX46" fmla="*/ 128408 w 608129"/>
                <a:gd name="connsiteY46" fmla="*/ 214920 h 343858"/>
                <a:gd name="connsiteX47" fmla="*/ 120075 w 608129"/>
                <a:gd name="connsiteY47" fmla="*/ 219460 h 343858"/>
                <a:gd name="connsiteX48" fmla="*/ 114773 w 608129"/>
                <a:gd name="connsiteY48" fmla="*/ 217946 h 343858"/>
                <a:gd name="connsiteX49" fmla="*/ 102652 w 608129"/>
                <a:gd name="connsiteY49" fmla="*/ 211136 h 343858"/>
                <a:gd name="connsiteX50" fmla="*/ 99622 w 608129"/>
                <a:gd name="connsiteY50" fmla="*/ 196759 h 343858"/>
                <a:gd name="connsiteX51" fmla="*/ 113257 w 608129"/>
                <a:gd name="connsiteY51" fmla="*/ 193732 h 343858"/>
                <a:gd name="connsiteX52" fmla="*/ 367752 w 608129"/>
                <a:gd name="connsiteY52" fmla="*/ 192974 h 343858"/>
                <a:gd name="connsiteX53" fmla="*/ 380665 w 608129"/>
                <a:gd name="connsiteY53" fmla="*/ 199023 h 343858"/>
                <a:gd name="connsiteX54" fmla="*/ 373829 w 608129"/>
                <a:gd name="connsiteY54" fmla="*/ 211877 h 343858"/>
                <a:gd name="connsiteX55" fmla="*/ 360917 w 608129"/>
                <a:gd name="connsiteY55" fmla="*/ 216414 h 343858"/>
                <a:gd name="connsiteX56" fmla="*/ 357119 w 608129"/>
                <a:gd name="connsiteY56" fmla="*/ 216414 h 343858"/>
                <a:gd name="connsiteX57" fmla="*/ 348004 w 608129"/>
                <a:gd name="connsiteY57" fmla="*/ 209609 h 343858"/>
                <a:gd name="connsiteX58" fmla="*/ 354081 w 608129"/>
                <a:gd name="connsiteY58" fmla="*/ 196755 h 343858"/>
                <a:gd name="connsiteX59" fmla="*/ 473099 w 608129"/>
                <a:gd name="connsiteY59" fmla="*/ 187878 h 343858"/>
                <a:gd name="connsiteX60" fmla="*/ 480904 w 608129"/>
                <a:gd name="connsiteY60" fmla="*/ 189869 h 343858"/>
                <a:gd name="connsiteX61" fmla="*/ 483189 w 608129"/>
                <a:gd name="connsiteY61" fmla="*/ 203526 h 343858"/>
                <a:gd name="connsiteX62" fmla="*/ 475574 w 608129"/>
                <a:gd name="connsiteY62" fmla="*/ 214907 h 343858"/>
                <a:gd name="connsiteX63" fmla="*/ 467198 w 608129"/>
                <a:gd name="connsiteY63" fmla="*/ 219460 h 343858"/>
                <a:gd name="connsiteX64" fmla="*/ 461106 w 608129"/>
                <a:gd name="connsiteY64" fmla="*/ 217942 h 343858"/>
                <a:gd name="connsiteX65" fmla="*/ 458821 w 608129"/>
                <a:gd name="connsiteY65" fmla="*/ 203526 h 343858"/>
                <a:gd name="connsiteX66" fmla="*/ 466436 w 608129"/>
                <a:gd name="connsiteY66" fmla="*/ 192146 h 343858"/>
                <a:gd name="connsiteX67" fmla="*/ 473099 w 608129"/>
                <a:gd name="connsiteY67" fmla="*/ 187878 h 343858"/>
                <a:gd name="connsiteX68" fmla="*/ 410279 w 608129"/>
                <a:gd name="connsiteY68" fmla="*/ 182352 h 343858"/>
                <a:gd name="connsiteX69" fmla="*/ 422434 w 608129"/>
                <a:gd name="connsiteY69" fmla="*/ 189169 h 343858"/>
                <a:gd name="connsiteX70" fmla="*/ 426233 w 608129"/>
                <a:gd name="connsiteY70" fmla="*/ 202805 h 343858"/>
                <a:gd name="connsiteX71" fmla="*/ 418636 w 608129"/>
                <a:gd name="connsiteY71" fmla="*/ 215683 h 343858"/>
                <a:gd name="connsiteX72" fmla="*/ 416356 w 608129"/>
                <a:gd name="connsiteY72" fmla="*/ 215683 h 343858"/>
                <a:gd name="connsiteX73" fmla="*/ 406480 w 608129"/>
                <a:gd name="connsiteY73" fmla="*/ 208108 h 343858"/>
                <a:gd name="connsiteX74" fmla="*/ 402682 w 608129"/>
                <a:gd name="connsiteY74" fmla="*/ 194472 h 343858"/>
                <a:gd name="connsiteX75" fmla="*/ 410279 w 608129"/>
                <a:gd name="connsiteY75" fmla="*/ 182352 h 343858"/>
                <a:gd name="connsiteX76" fmla="*/ 188501 w 608129"/>
                <a:gd name="connsiteY76" fmla="*/ 179282 h 343858"/>
                <a:gd name="connsiteX77" fmla="*/ 202945 w 608129"/>
                <a:gd name="connsiteY77" fmla="*/ 180043 h 343858"/>
                <a:gd name="connsiteX78" fmla="*/ 212067 w 608129"/>
                <a:gd name="connsiteY78" fmla="*/ 191449 h 343858"/>
                <a:gd name="connsiteX79" fmla="*/ 202185 w 608129"/>
                <a:gd name="connsiteY79" fmla="*/ 200575 h 343858"/>
                <a:gd name="connsiteX80" fmla="*/ 201424 w 608129"/>
                <a:gd name="connsiteY80" fmla="*/ 200575 h 343858"/>
                <a:gd name="connsiteX81" fmla="*/ 186981 w 608129"/>
                <a:gd name="connsiteY81" fmla="*/ 199814 h 343858"/>
                <a:gd name="connsiteX82" fmla="*/ 177859 w 608129"/>
                <a:gd name="connsiteY82" fmla="*/ 188408 h 343858"/>
                <a:gd name="connsiteX83" fmla="*/ 188501 w 608129"/>
                <a:gd name="connsiteY83" fmla="*/ 179282 h 343858"/>
                <a:gd name="connsiteX84" fmla="*/ 160344 w 608129"/>
                <a:gd name="connsiteY84" fmla="*/ 165596 h 343858"/>
                <a:gd name="connsiteX85" fmla="*/ 163375 w 608129"/>
                <a:gd name="connsiteY85" fmla="*/ 180011 h 343858"/>
                <a:gd name="connsiteX86" fmla="*/ 155797 w 608129"/>
                <a:gd name="connsiteY86" fmla="*/ 191392 h 343858"/>
                <a:gd name="connsiteX87" fmla="*/ 147461 w 608129"/>
                <a:gd name="connsiteY87" fmla="*/ 195945 h 343858"/>
                <a:gd name="connsiteX88" fmla="*/ 141399 w 608129"/>
                <a:gd name="connsiteY88" fmla="*/ 194427 h 343858"/>
                <a:gd name="connsiteX89" fmla="*/ 139126 w 608129"/>
                <a:gd name="connsiteY89" fmla="*/ 180011 h 343858"/>
                <a:gd name="connsiteX90" fmla="*/ 146704 w 608129"/>
                <a:gd name="connsiteY90" fmla="*/ 168631 h 343858"/>
                <a:gd name="connsiteX91" fmla="*/ 160344 w 608129"/>
                <a:gd name="connsiteY91" fmla="*/ 165596 h 343858"/>
                <a:gd name="connsiteX92" fmla="*/ 338113 w 608129"/>
                <a:gd name="connsiteY92" fmla="*/ 164888 h 343858"/>
                <a:gd name="connsiteX93" fmla="*/ 352554 w 608129"/>
                <a:gd name="connsiteY93" fmla="*/ 164888 h 343858"/>
                <a:gd name="connsiteX94" fmla="*/ 352554 w 608129"/>
                <a:gd name="connsiteY94" fmla="*/ 179285 h 343858"/>
                <a:gd name="connsiteX95" fmla="*/ 342673 w 608129"/>
                <a:gd name="connsiteY95" fmla="*/ 189137 h 343858"/>
                <a:gd name="connsiteX96" fmla="*/ 335073 w 608129"/>
                <a:gd name="connsiteY96" fmla="*/ 192168 h 343858"/>
                <a:gd name="connsiteX97" fmla="*/ 328232 w 608129"/>
                <a:gd name="connsiteY97" fmla="*/ 189137 h 343858"/>
                <a:gd name="connsiteX98" fmla="*/ 328232 w 608129"/>
                <a:gd name="connsiteY98" fmla="*/ 174739 h 343858"/>
                <a:gd name="connsiteX99" fmla="*/ 438352 w 608129"/>
                <a:gd name="connsiteY99" fmla="*/ 163394 h 343858"/>
                <a:gd name="connsiteX100" fmla="*/ 449715 w 608129"/>
                <a:gd name="connsiteY100" fmla="*/ 170961 h 343858"/>
                <a:gd name="connsiteX101" fmla="*/ 453502 w 608129"/>
                <a:gd name="connsiteY101" fmla="*/ 184582 h 343858"/>
                <a:gd name="connsiteX102" fmla="*/ 444412 w 608129"/>
                <a:gd name="connsiteY102" fmla="*/ 189122 h 343858"/>
                <a:gd name="connsiteX103" fmla="*/ 439110 w 608129"/>
                <a:gd name="connsiteY103" fmla="*/ 187608 h 343858"/>
                <a:gd name="connsiteX104" fmla="*/ 427747 w 608129"/>
                <a:gd name="connsiteY104" fmla="*/ 180798 h 343858"/>
                <a:gd name="connsiteX105" fmla="*/ 423959 w 608129"/>
                <a:gd name="connsiteY105" fmla="*/ 166421 h 343858"/>
                <a:gd name="connsiteX106" fmla="*/ 438352 w 608129"/>
                <a:gd name="connsiteY106" fmla="*/ 163394 h 343858"/>
                <a:gd name="connsiteX107" fmla="*/ 237851 w 608129"/>
                <a:gd name="connsiteY107" fmla="*/ 158043 h 343858"/>
                <a:gd name="connsiteX108" fmla="*/ 249244 w 608129"/>
                <a:gd name="connsiteY108" fmla="*/ 165635 h 343858"/>
                <a:gd name="connsiteX109" fmla="*/ 253042 w 608129"/>
                <a:gd name="connsiteY109" fmla="*/ 179300 h 343858"/>
                <a:gd name="connsiteX110" fmla="*/ 243927 w 608129"/>
                <a:gd name="connsiteY110" fmla="*/ 184614 h 343858"/>
                <a:gd name="connsiteX111" fmla="*/ 238610 w 608129"/>
                <a:gd name="connsiteY111" fmla="*/ 183095 h 343858"/>
                <a:gd name="connsiteX112" fmla="*/ 227217 w 608129"/>
                <a:gd name="connsiteY112" fmla="*/ 175504 h 343858"/>
                <a:gd name="connsiteX113" fmla="*/ 223419 w 608129"/>
                <a:gd name="connsiteY113" fmla="*/ 161839 h 343858"/>
                <a:gd name="connsiteX114" fmla="*/ 237851 w 608129"/>
                <a:gd name="connsiteY114" fmla="*/ 158043 h 343858"/>
                <a:gd name="connsiteX115" fmla="*/ 285637 w 608129"/>
                <a:gd name="connsiteY115" fmla="*/ 155767 h 343858"/>
                <a:gd name="connsiteX116" fmla="*/ 299320 w 608129"/>
                <a:gd name="connsiteY116" fmla="*/ 156528 h 343858"/>
                <a:gd name="connsiteX117" fmla="*/ 308442 w 608129"/>
                <a:gd name="connsiteY117" fmla="*/ 167174 h 343858"/>
                <a:gd name="connsiteX118" fmla="*/ 298560 w 608129"/>
                <a:gd name="connsiteY118" fmla="*/ 177060 h 343858"/>
                <a:gd name="connsiteX119" fmla="*/ 297799 w 608129"/>
                <a:gd name="connsiteY119" fmla="*/ 177060 h 343858"/>
                <a:gd name="connsiteX120" fmla="*/ 284116 w 608129"/>
                <a:gd name="connsiteY120" fmla="*/ 175539 h 343858"/>
                <a:gd name="connsiteX121" fmla="*/ 274234 w 608129"/>
                <a:gd name="connsiteY121" fmla="*/ 164893 h 343858"/>
                <a:gd name="connsiteX122" fmla="*/ 285637 w 608129"/>
                <a:gd name="connsiteY122" fmla="*/ 155767 h 343858"/>
                <a:gd name="connsiteX123" fmla="*/ 374580 w 608129"/>
                <a:gd name="connsiteY123" fmla="*/ 140655 h 343858"/>
                <a:gd name="connsiteX124" fmla="*/ 388263 w 608129"/>
                <a:gd name="connsiteY124" fmla="*/ 141411 h 343858"/>
                <a:gd name="connsiteX125" fmla="*/ 398145 w 608129"/>
                <a:gd name="connsiteY125" fmla="*/ 152755 h 343858"/>
                <a:gd name="connsiteX126" fmla="*/ 387503 w 608129"/>
                <a:gd name="connsiteY126" fmla="*/ 161830 h 343858"/>
                <a:gd name="connsiteX127" fmla="*/ 386742 w 608129"/>
                <a:gd name="connsiteY127" fmla="*/ 161830 h 343858"/>
                <a:gd name="connsiteX128" fmla="*/ 373059 w 608129"/>
                <a:gd name="connsiteY128" fmla="*/ 160317 h 343858"/>
                <a:gd name="connsiteX129" fmla="*/ 363937 w 608129"/>
                <a:gd name="connsiteY129" fmla="*/ 149730 h 343858"/>
                <a:gd name="connsiteX130" fmla="*/ 374580 w 608129"/>
                <a:gd name="connsiteY130" fmla="*/ 140655 h 343858"/>
                <a:gd name="connsiteX131" fmla="*/ 363206 w 608129"/>
                <a:gd name="connsiteY131" fmla="*/ 133808 h 343858"/>
                <a:gd name="connsiteX132" fmla="*/ 362447 w 608129"/>
                <a:gd name="connsiteY132" fmla="*/ 134566 h 343858"/>
                <a:gd name="connsiteX133" fmla="*/ 360168 w 608129"/>
                <a:gd name="connsiteY133" fmla="*/ 139874 h 343858"/>
                <a:gd name="connsiteX134" fmla="*/ 344218 w 608129"/>
                <a:gd name="connsiteY134" fmla="*/ 156557 h 343858"/>
                <a:gd name="connsiteX135" fmla="*/ 341939 w 608129"/>
                <a:gd name="connsiteY135" fmla="*/ 157315 h 343858"/>
                <a:gd name="connsiteX136" fmla="*/ 338142 w 608129"/>
                <a:gd name="connsiteY136" fmla="*/ 158832 h 343858"/>
                <a:gd name="connsiteX137" fmla="*/ 335104 w 608129"/>
                <a:gd name="connsiteY137" fmla="*/ 160348 h 343858"/>
                <a:gd name="connsiteX138" fmla="*/ 332066 w 608129"/>
                <a:gd name="connsiteY138" fmla="*/ 161107 h 343858"/>
                <a:gd name="connsiteX139" fmla="*/ 324470 w 608129"/>
                <a:gd name="connsiteY139" fmla="*/ 161865 h 343858"/>
                <a:gd name="connsiteX140" fmla="*/ 317634 w 608129"/>
                <a:gd name="connsiteY140" fmla="*/ 161107 h 343858"/>
                <a:gd name="connsiteX141" fmla="*/ 314596 w 608129"/>
                <a:gd name="connsiteY141" fmla="*/ 160348 h 343858"/>
                <a:gd name="connsiteX142" fmla="*/ 310799 w 608129"/>
                <a:gd name="connsiteY142" fmla="*/ 158832 h 343858"/>
                <a:gd name="connsiteX143" fmla="*/ 307761 w 608129"/>
                <a:gd name="connsiteY143" fmla="*/ 158073 h 343858"/>
                <a:gd name="connsiteX144" fmla="*/ 304723 w 608129"/>
                <a:gd name="connsiteY144" fmla="*/ 156557 h 343858"/>
                <a:gd name="connsiteX145" fmla="*/ 297887 w 608129"/>
                <a:gd name="connsiteY145" fmla="*/ 151249 h 343858"/>
                <a:gd name="connsiteX146" fmla="*/ 297127 w 608129"/>
                <a:gd name="connsiteY146" fmla="*/ 150490 h 343858"/>
                <a:gd name="connsiteX147" fmla="*/ 294089 w 608129"/>
                <a:gd name="connsiteY147" fmla="*/ 147457 h 343858"/>
                <a:gd name="connsiteX148" fmla="*/ 292570 w 608129"/>
                <a:gd name="connsiteY148" fmla="*/ 145941 h 343858"/>
                <a:gd name="connsiteX149" fmla="*/ 289532 w 608129"/>
                <a:gd name="connsiteY149" fmla="*/ 142149 h 343858"/>
                <a:gd name="connsiteX150" fmla="*/ 289532 w 608129"/>
                <a:gd name="connsiteY150" fmla="*/ 140633 h 343858"/>
                <a:gd name="connsiteX151" fmla="*/ 287253 w 608129"/>
                <a:gd name="connsiteY151" fmla="*/ 136083 h 343858"/>
                <a:gd name="connsiteX152" fmla="*/ 237125 w 608129"/>
                <a:gd name="connsiteY152" fmla="*/ 141391 h 343858"/>
                <a:gd name="connsiteX153" fmla="*/ 215098 w 608129"/>
                <a:gd name="connsiteY153" fmla="*/ 165657 h 343858"/>
                <a:gd name="connsiteX154" fmla="*/ 214339 w 608129"/>
                <a:gd name="connsiteY154" fmla="*/ 166415 h 343858"/>
                <a:gd name="connsiteX155" fmla="*/ 212060 w 608129"/>
                <a:gd name="connsiteY155" fmla="*/ 168690 h 343858"/>
                <a:gd name="connsiteX156" fmla="*/ 211301 w 608129"/>
                <a:gd name="connsiteY156" fmla="*/ 168690 h 343858"/>
                <a:gd name="connsiteX157" fmla="*/ 209022 w 608129"/>
                <a:gd name="connsiteY157" fmla="*/ 170206 h 343858"/>
                <a:gd name="connsiteX158" fmla="*/ 207503 w 608129"/>
                <a:gd name="connsiteY158" fmla="*/ 170965 h 343858"/>
                <a:gd name="connsiteX159" fmla="*/ 205224 w 608129"/>
                <a:gd name="connsiteY159" fmla="*/ 171723 h 343858"/>
                <a:gd name="connsiteX160" fmla="*/ 203705 w 608129"/>
                <a:gd name="connsiteY160" fmla="*/ 171723 h 343858"/>
                <a:gd name="connsiteX161" fmla="*/ 202186 w 608129"/>
                <a:gd name="connsiteY161" fmla="*/ 171723 h 343858"/>
                <a:gd name="connsiteX162" fmla="*/ 201427 w 608129"/>
                <a:gd name="connsiteY162" fmla="*/ 171723 h 343858"/>
                <a:gd name="connsiteX163" fmla="*/ 199148 w 608129"/>
                <a:gd name="connsiteY163" fmla="*/ 171723 h 343858"/>
                <a:gd name="connsiteX164" fmla="*/ 198389 w 608129"/>
                <a:gd name="connsiteY164" fmla="*/ 171723 h 343858"/>
                <a:gd name="connsiteX165" fmla="*/ 191553 w 608129"/>
                <a:gd name="connsiteY165" fmla="*/ 169448 h 343858"/>
                <a:gd name="connsiteX166" fmla="*/ 188515 w 608129"/>
                <a:gd name="connsiteY166" fmla="*/ 167173 h 343858"/>
                <a:gd name="connsiteX167" fmla="*/ 178641 w 608129"/>
                <a:gd name="connsiteY167" fmla="*/ 158073 h 343858"/>
                <a:gd name="connsiteX168" fmla="*/ 176362 w 608129"/>
                <a:gd name="connsiteY168" fmla="*/ 155040 h 343858"/>
                <a:gd name="connsiteX169" fmla="*/ 175603 w 608129"/>
                <a:gd name="connsiteY169" fmla="*/ 154282 h 343858"/>
                <a:gd name="connsiteX170" fmla="*/ 174084 w 608129"/>
                <a:gd name="connsiteY170" fmla="*/ 152007 h 343858"/>
                <a:gd name="connsiteX171" fmla="*/ 142943 w 608129"/>
                <a:gd name="connsiteY171" fmla="*/ 159590 h 343858"/>
                <a:gd name="connsiteX172" fmla="*/ 136107 w 608129"/>
                <a:gd name="connsiteY172" fmla="*/ 171723 h 343858"/>
                <a:gd name="connsiteX173" fmla="*/ 135348 w 608129"/>
                <a:gd name="connsiteY173" fmla="*/ 173998 h 343858"/>
                <a:gd name="connsiteX174" fmla="*/ 134588 w 608129"/>
                <a:gd name="connsiteY174" fmla="*/ 174756 h 343858"/>
                <a:gd name="connsiteX175" fmla="*/ 133069 w 608129"/>
                <a:gd name="connsiteY175" fmla="*/ 175514 h 343858"/>
                <a:gd name="connsiteX176" fmla="*/ 131550 w 608129"/>
                <a:gd name="connsiteY176" fmla="*/ 177789 h 343858"/>
                <a:gd name="connsiteX177" fmla="*/ 130791 w 608129"/>
                <a:gd name="connsiteY177" fmla="*/ 177789 h 343858"/>
                <a:gd name="connsiteX178" fmla="*/ 124715 w 608129"/>
                <a:gd name="connsiteY178" fmla="*/ 181581 h 343858"/>
                <a:gd name="connsiteX179" fmla="*/ 119398 w 608129"/>
                <a:gd name="connsiteY179" fmla="*/ 182339 h 343858"/>
                <a:gd name="connsiteX180" fmla="*/ 118638 w 608129"/>
                <a:gd name="connsiteY180" fmla="*/ 182339 h 343858"/>
                <a:gd name="connsiteX181" fmla="*/ 117879 w 608129"/>
                <a:gd name="connsiteY181" fmla="*/ 182339 h 343858"/>
                <a:gd name="connsiteX182" fmla="*/ 114841 w 608129"/>
                <a:gd name="connsiteY182" fmla="*/ 182339 h 343858"/>
                <a:gd name="connsiteX183" fmla="*/ 113322 w 608129"/>
                <a:gd name="connsiteY183" fmla="*/ 181581 h 343858"/>
                <a:gd name="connsiteX184" fmla="*/ 109524 w 608129"/>
                <a:gd name="connsiteY184" fmla="*/ 180064 h 343858"/>
                <a:gd name="connsiteX185" fmla="*/ 108764 w 608129"/>
                <a:gd name="connsiteY185" fmla="*/ 180064 h 343858"/>
                <a:gd name="connsiteX186" fmla="*/ 99650 w 608129"/>
                <a:gd name="connsiteY186" fmla="*/ 175514 h 343858"/>
                <a:gd name="connsiteX187" fmla="*/ 92814 w 608129"/>
                <a:gd name="connsiteY187" fmla="*/ 189922 h 343858"/>
                <a:gd name="connsiteX188" fmla="*/ 71548 w 608129"/>
                <a:gd name="connsiteY188" fmla="*/ 202813 h 343858"/>
                <a:gd name="connsiteX189" fmla="*/ 70029 w 608129"/>
                <a:gd name="connsiteY189" fmla="*/ 214188 h 343858"/>
                <a:gd name="connsiteX190" fmla="*/ 61674 w 608129"/>
                <a:gd name="connsiteY190" fmla="*/ 225562 h 343858"/>
                <a:gd name="connsiteX191" fmla="*/ 51800 w 608129"/>
                <a:gd name="connsiteY191" fmla="*/ 232387 h 343858"/>
                <a:gd name="connsiteX192" fmla="*/ 159653 w 608129"/>
                <a:gd name="connsiteY192" fmla="*/ 232387 h 343858"/>
                <a:gd name="connsiteX193" fmla="*/ 158134 w 608129"/>
                <a:gd name="connsiteY193" fmla="*/ 224804 h 343858"/>
                <a:gd name="connsiteX194" fmla="*/ 159653 w 608129"/>
                <a:gd name="connsiteY194" fmla="*/ 211155 h 343858"/>
                <a:gd name="connsiteX195" fmla="*/ 171046 w 608129"/>
                <a:gd name="connsiteY195" fmla="*/ 202813 h 343858"/>
                <a:gd name="connsiteX196" fmla="*/ 179401 w 608129"/>
                <a:gd name="connsiteY196" fmla="*/ 213430 h 343858"/>
                <a:gd name="connsiteX197" fmla="*/ 177881 w 608129"/>
                <a:gd name="connsiteY197" fmla="*/ 227837 h 343858"/>
                <a:gd name="connsiteX198" fmla="*/ 175603 w 608129"/>
                <a:gd name="connsiteY198" fmla="*/ 232387 h 343858"/>
                <a:gd name="connsiteX199" fmla="*/ 402702 w 608129"/>
                <a:gd name="connsiteY199" fmla="*/ 232387 h 343858"/>
                <a:gd name="connsiteX200" fmla="*/ 537897 w 608129"/>
                <a:gd name="connsiteY200" fmla="*/ 232387 h 343858"/>
                <a:gd name="connsiteX201" fmla="*/ 528783 w 608129"/>
                <a:gd name="connsiteY201" fmla="*/ 208880 h 343858"/>
                <a:gd name="connsiteX202" fmla="*/ 528783 w 608129"/>
                <a:gd name="connsiteY202" fmla="*/ 205847 h 343858"/>
                <a:gd name="connsiteX203" fmla="*/ 519669 w 608129"/>
                <a:gd name="connsiteY203" fmla="*/ 196747 h 343858"/>
                <a:gd name="connsiteX204" fmla="*/ 512833 w 608129"/>
                <a:gd name="connsiteY204" fmla="*/ 196747 h 343858"/>
                <a:gd name="connsiteX205" fmla="*/ 501440 w 608129"/>
                <a:gd name="connsiteY205" fmla="*/ 186131 h 343858"/>
                <a:gd name="connsiteX206" fmla="*/ 492326 w 608129"/>
                <a:gd name="connsiteY206" fmla="*/ 177789 h 343858"/>
                <a:gd name="connsiteX207" fmla="*/ 472578 w 608129"/>
                <a:gd name="connsiteY207" fmla="*/ 162623 h 343858"/>
                <a:gd name="connsiteX208" fmla="*/ 463464 w 608129"/>
                <a:gd name="connsiteY208" fmla="*/ 150490 h 343858"/>
                <a:gd name="connsiteX209" fmla="*/ 458907 w 608129"/>
                <a:gd name="connsiteY209" fmla="*/ 152765 h 343858"/>
                <a:gd name="connsiteX210" fmla="*/ 429285 w 608129"/>
                <a:gd name="connsiteY210" fmla="*/ 161107 h 343858"/>
                <a:gd name="connsiteX211" fmla="*/ 424728 w 608129"/>
                <a:gd name="connsiteY211" fmla="*/ 161865 h 343858"/>
                <a:gd name="connsiteX212" fmla="*/ 423968 w 608129"/>
                <a:gd name="connsiteY212" fmla="*/ 161865 h 343858"/>
                <a:gd name="connsiteX213" fmla="*/ 423209 w 608129"/>
                <a:gd name="connsiteY213" fmla="*/ 161865 h 343858"/>
                <a:gd name="connsiteX214" fmla="*/ 420171 w 608129"/>
                <a:gd name="connsiteY214" fmla="*/ 161107 h 343858"/>
                <a:gd name="connsiteX215" fmla="*/ 418652 w 608129"/>
                <a:gd name="connsiteY215" fmla="*/ 161107 h 343858"/>
                <a:gd name="connsiteX216" fmla="*/ 414094 w 608129"/>
                <a:gd name="connsiteY216" fmla="*/ 159590 h 343858"/>
                <a:gd name="connsiteX217" fmla="*/ 407259 w 608129"/>
                <a:gd name="connsiteY217" fmla="*/ 152765 h 343858"/>
                <a:gd name="connsiteX218" fmla="*/ 404221 w 608129"/>
                <a:gd name="connsiteY218" fmla="*/ 147457 h 343858"/>
                <a:gd name="connsiteX219" fmla="*/ 401182 w 608129"/>
                <a:gd name="connsiteY219" fmla="*/ 135324 h 343858"/>
                <a:gd name="connsiteX220" fmla="*/ 363206 w 608129"/>
                <a:gd name="connsiteY220" fmla="*/ 133808 h 343858"/>
                <a:gd name="connsiteX221" fmla="*/ 105726 w 608129"/>
                <a:gd name="connsiteY221" fmla="*/ 121675 h 343858"/>
                <a:gd name="connsiteX222" fmla="*/ 91295 w 608129"/>
                <a:gd name="connsiteY222" fmla="*/ 148216 h 343858"/>
                <a:gd name="connsiteX223" fmla="*/ 117119 w 608129"/>
                <a:gd name="connsiteY223" fmla="*/ 161865 h 343858"/>
                <a:gd name="connsiteX224" fmla="*/ 118638 w 608129"/>
                <a:gd name="connsiteY224" fmla="*/ 162623 h 343858"/>
                <a:gd name="connsiteX225" fmla="*/ 132310 w 608129"/>
                <a:gd name="connsiteY225" fmla="*/ 135324 h 343858"/>
                <a:gd name="connsiteX226" fmla="*/ 445235 w 608129"/>
                <a:gd name="connsiteY226" fmla="*/ 104234 h 343858"/>
                <a:gd name="connsiteX227" fmla="*/ 415614 w 608129"/>
                <a:gd name="connsiteY227" fmla="*/ 112575 h 343858"/>
                <a:gd name="connsiteX228" fmla="*/ 423968 w 608129"/>
                <a:gd name="connsiteY228" fmla="*/ 141391 h 343858"/>
                <a:gd name="connsiteX229" fmla="*/ 453590 w 608129"/>
                <a:gd name="connsiteY229" fmla="*/ 133049 h 343858"/>
                <a:gd name="connsiteX230" fmla="*/ 324470 w 608129"/>
                <a:gd name="connsiteY230" fmla="*/ 101201 h 343858"/>
                <a:gd name="connsiteX231" fmla="*/ 303963 w 608129"/>
                <a:gd name="connsiteY231" fmla="*/ 121675 h 343858"/>
                <a:gd name="connsiteX232" fmla="*/ 304723 w 608129"/>
                <a:gd name="connsiteY232" fmla="*/ 123192 h 343858"/>
                <a:gd name="connsiteX233" fmla="*/ 304723 w 608129"/>
                <a:gd name="connsiteY233" fmla="*/ 123950 h 343858"/>
                <a:gd name="connsiteX234" fmla="*/ 311558 w 608129"/>
                <a:gd name="connsiteY234" fmla="*/ 136841 h 343858"/>
                <a:gd name="connsiteX235" fmla="*/ 313837 w 608129"/>
                <a:gd name="connsiteY235" fmla="*/ 138358 h 343858"/>
                <a:gd name="connsiteX236" fmla="*/ 314596 w 608129"/>
                <a:gd name="connsiteY236" fmla="*/ 139116 h 343858"/>
                <a:gd name="connsiteX237" fmla="*/ 317634 w 608129"/>
                <a:gd name="connsiteY237" fmla="*/ 139874 h 343858"/>
                <a:gd name="connsiteX238" fmla="*/ 318394 w 608129"/>
                <a:gd name="connsiteY238" fmla="*/ 140633 h 343858"/>
                <a:gd name="connsiteX239" fmla="*/ 320673 w 608129"/>
                <a:gd name="connsiteY239" fmla="*/ 141391 h 343858"/>
                <a:gd name="connsiteX240" fmla="*/ 324470 w 608129"/>
                <a:gd name="connsiteY240" fmla="*/ 141391 h 343858"/>
                <a:gd name="connsiteX241" fmla="*/ 328268 w 608129"/>
                <a:gd name="connsiteY241" fmla="*/ 141391 h 343858"/>
                <a:gd name="connsiteX242" fmla="*/ 329787 w 608129"/>
                <a:gd name="connsiteY242" fmla="*/ 140633 h 343858"/>
                <a:gd name="connsiteX243" fmla="*/ 332066 w 608129"/>
                <a:gd name="connsiteY243" fmla="*/ 139874 h 343858"/>
                <a:gd name="connsiteX244" fmla="*/ 333585 w 608129"/>
                <a:gd name="connsiteY244" fmla="*/ 139116 h 343858"/>
                <a:gd name="connsiteX245" fmla="*/ 335863 w 608129"/>
                <a:gd name="connsiteY245" fmla="*/ 138358 h 343858"/>
                <a:gd name="connsiteX246" fmla="*/ 337382 w 608129"/>
                <a:gd name="connsiteY246" fmla="*/ 136841 h 343858"/>
                <a:gd name="connsiteX247" fmla="*/ 338142 w 608129"/>
                <a:gd name="connsiteY247" fmla="*/ 136083 h 343858"/>
                <a:gd name="connsiteX248" fmla="*/ 340420 w 608129"/>
                <a:gd name="connsiteY248" fmla="*/ 133808 h 343858"/>
                <a:gd name="connsiteX249" fmla="*/ 340420 w 608129"/>
                <a:gd name="connsiteY249" fmla="*/ 133049 h 343858"/>
                <a:gd name="connsiteX250" fmla="*/ 344218 w 608129"/>
                <a:gd name="connsiteY250" fmla="*/ 123192 h 343858"/>
                <a:gd name="connsiteX251" fmla="*/ 344977 w 608129"/>
                <a:gd name="connsiteY251" fmla="*/ 120917 h 343858"/>
                <a:gd name="connsiteX252" fmla="*/ 324470 w 608129"/>
                <a:gd name="connsiteY252" fmla="*/ 101201 h 343858"/>
                <a:gd name="connsiteX253" fmla="*/ 234086 w 608129"/>
                <a:gd name="connsiteY253" fmla="*/ 98926 h 343858"/>
                <a:gd name="connsiteX254" fmla="*/ 193832 w 608129"/>
                <a:gd name="connsiteY254" fmla="*/ 144424 h 343858"/>
                <a:gd name="connsiteX255" fmla="*/ 201427 w 608129"/>
                <a:gd name="connsiteY255" fmla="*/ 151249 h 343858"/>
                <a:gd name="connsiteX256" fmla="*/ 227251 w 608129"/>
                <a:gd name="connsiteY256" fmla="*/ 121675 h 343858"/>
                <a:gd name="connsiteX257" fmla="*/ 241682 w 608129"/>
                <a:gd name="connsiteY257" fmla="*/ 105751 h 343858"/>
                <a:gd name="connsiteX258" fmla="*/ 233042 w 608129"/>
                <a:gd name="connsiteY258" fmla="*/ 78357 h 343858"/>
                <a:gd name="connsiteX259" fmla="*/ 246239 w 608129"/>
                <a:gd name="connsiteY259" fmla="*/ 83001 h 343858"/>
                <a:gd name="connsiteX260" fmla="*/ 256872 w 608129"/>
                <a:gd name="connsiteY260" fmla="*/ 92101 h 343858"/>
                <a:gd name="connsiteX261" fmla="*/ 257632 w 608129"/>
                <a:gd name="connsiteY261" fmla="*/ 118642 h 343858"/>
                <a:gd name="connsiteX262" fmla="*/ 284215 w 608129"/>
                <a:gd name="connsiteY262" fmla="*/ 116367 h 343858"/>
                <a:gd name="connsiteX263" fmla="*/ 324470 w 608129"/>
                <a:gd name="connsiteY263" fmla="*/ 80727 h 343858"/>
                <a:gd name="connsiteX264" fmla="*/ 363966 w 608129"/>
                <a:gd name="connsiteY264" fmla="*/ 114092 h 343858"/>
                <a:gd name="connsiteX265" fmla="*/ 395866 w 608129"/>
                <a:gd name="connsiteY265" fmla="*/ 114850 h 343858"/>
                <a:gd name="connsiteX266" fmla="*/ 398144 w 608129"/>
                <a:gd name="connsiteY266" fmla="*/ 102717 h 343858"/>
                <a:gd name="connsiteX267" fmla="*/ 410297 w 608129"/>
                <a:gd name="connsiteY267" fmla="*/ 92859 h 343858"/>
                <a:gd name="connsiteX268" fmla="*/ 439159 w 608129"/>
                <a:gd name="connsiteY268" fmla="*/ 84518 h 343858"/>
                <a:gd name="connsiteX269" fmla="*/ 454349 w 608129"/>
                <a:gd name="connsiteY269" fmla="*/ 86035 h 343858"/>
                <a:gd name="connsiteX270" fmla="*/ 464223 w 608129"/>
                <a:gd name="connsiteY270" fmla="*/ 98168 h 343858"/>
                <a:gd name="connsiteX271" fmla="*/ 472578 w 608129"/>
                <a:gd name="connsiteY271" fmla="*/ 127741 h 343858"/>
                <a:gd name="connsiteX272" fmla="*/ 473338 w 608129"/>
                <a:gd name="connsiteY272" fmla="*/ 132291 h 343858"/>
                <a:gd name="connsiteX273" fmla="*/ 492326 w 608129"/>
                <a:gd name="connsiteY273" fmla="*/ 157315 h 343858"/>
                <a:gd name="connsiteX274" fmla="*/ 519669 w 608129"/>
                <a:gd name="connsiteY274" fmla="*/ 176273 h 343858"/>
                <a:gd name="connsiteX275" fmla="*/ 524226 w 608129"/>
                <a:gd name="connsiteY275" fmla="*/ 177031 h 343858"/>
                <a:gd name="connsiteX276" fmla="*/ 547771 w 608129"/>
                <a:gd name="connsiteY276" fmla="*/ 199780 h 343858"/>
                <a:gd name="connsiteX277" fmla="*/ 548531 w 608129"/>
                <a:gd name="connsiteY277" fmla="*/ 210396 h 343858"/>
                <a:gd name="connsiteX278" fmla="*/ 553848 w 608129"/>
                <a:gd name="connsiteY278" fmla="*/ 219496 h 343858"/>
                <a:gd name="connsiteX279" fmla="*/ 564481 w 608129"/>
                <a:gd name="connsiteY279" fmla="*/ 232387 h 343858"/>
                <a:gd name="connsiteX280" fmla="*/ 588786 w 608129"/>
                <a:gd name="connsiteY280" fmla="*/ 232387 h 343858"/>
                <a:gd name="connsiteX281" fmla="*/ 606255 w 608129"/>
                <a:gd name="connsiteY281" fmla="*/ 243003 h 343858"/>
                <a:gd name="connsiteX282" fmla="*/ 604736 w 608129"/>
                <a:gd name="connsiteY282" fmla="*/ 263478 h 343858"/>
                <a:gd name="connsiteX283" fmla="*/ 603217 w 608129"/>
                <a:gd name="connsiteY283" fmla="*/ 264994 h 343858"/>
                <a:gd name="connsiteX284" fmla="*/ 550809 w 608129"/>
                <a:gd name="connsiteY284" fmla="*/ 296843 h 343858"/>
                <a:gd name="connsiteX285" fmla="*/ 544733 w 608129"/>
                <a:gd name="connsiteY285" fmla="*/ 312768 h 343858"/>
                <a:gd name="connsiteX286" fmla="*/ 516631 w 608129"/>
                <a:gd name="connsiteY286" fmla="*/ 343858 h 343858"/>
                <a:gd name="connsiteX287" fmla="*/ 91295 w 608129"/>
                <a:gd name="connsiteY287" fmla="*/ 343858 h 343858"/>
                <a:gd name="connsiteX288" fmla="*/ 63952 w 608129"/>
                <a:gd name="connsiteY288" fmla="*/ 312768 h 343858"/>
                <a:gd name="connsiteX289" fmla="*/ 57876 w 608129"/>
                <a:gd name="connsiteY289" fmla="*/ 296843 h 343858"/>
                <a:gd name="connsiteX290" fmla="*/ 4709 w 608129"/>
                <a:gd name="connsiteY290" fmla="*/ 264994 h 343858"/>
                <a:gd name="connsiteX291" fmla="*/ 3950 w 608129"/>
                <a:gd name="connsiteY291" fmla="*/ 263478 h 343858"/>
                <a:gd name="connsiteX292" fmla="*/ 2431 w 608129"/>
                <a:gd name="connsiteY292" fmla="*/ 243003 h 343858"/>
                <a:gd name="connsiteX293" fmla="*/ 19900 w 608129"/>
                <a:gd name="connsiteY293" fmla="*/ 232387 h 343858"/>
                <a:gd name="connsiteX294" fmla="*/ 31293 w 608129"/>
                <a:gd name="connsiteY294" fmla="*/ 232387 h 343858"/>
                <a:gd name="connsiteX295" fmla="*/ 49521 w 608129"/>
                <a:gd name="connsiteY295" fmla="*/ 208880 h 343858"/>
                <a:gd name="connsiteX296" fmla="*/ 57117 w 608129"/>
                <a:gd name="connsiteY296" fmla="*/ 187647 h 343858"/>
                <a:gd name="connsiteX297" fmla="*/ 68510 w 608129"/>
                <a:gd name="connsiteY297" fmla="*/ 182339 h 343858"/>
                <a:gd name="connsiteX298" fmla="*/ 76864 w 608129"/>
                <a:gd name="connsiteY298" fmla="*/ 177031 h 343858"/>
                <a:gd name="connsiteX299" fmla="*/ 79902 w 608129"/>
                <a:gd name="connsiteY299" fmla="*/ 167931 h 343858"/>
                <a:gd name="connsiteX300" fmla="*/ 79902 w 608129"/>
                <a:gd name="connsiteY300" fmla="*/ 164140 h 343858"/>
                <a:gd name="connsiteX301" fmla="*/ 73826 w 608129"/>
                <a:gd name="connsiteY301" fmla="*/ 139116 h 343858"/>
                <a:gd name="connsiteX302" fmla="*/ 87498 w 608129"/>
                <a:gd name="connsiteY302" fmla="*/ 111817 h 343858"/>
                <a:gd name="connsiteX303" fmla="*/ 99650 w 608129"/>
                <a:gd name="connsiteY303" fmla="*/ 101959 h 343858"/>
                <a:gd name="connsiteX304" fmla="*/ 114841 w 608129"/>
                <a:gd name="connsiteY304" fmla="*/ 103476 h 343858"/>
                <a:gd name="connsiteX305" fmla="*/ 142184 w 608129"/>
                <a:gd name="connsiteY305" fmla="*/ 117125 h 343858"/>
                <a:gd name="connsiteX306" fmla="*/ 152058 w 608129"/>
                <a:gd name="connsiteY306" fmla="*/ 129258 h 343858"/>
                <a:gd name="connsiteX307" fmla="*/ 152817 w 608129"/>
                <a:gd name="connsiteY307" fmla="*/ 136083 h 343858"/>
                <a:gd name="connsiteX308" fmla="*/ 178641 w 608129"/>
                <a:gd name="connsiteY308" fmla="*/ 130016 h 343858"/>
                <a:gd name="connsiteX309" fmla="*/ 220415 w 608129"/>
                <a:gd name="connsiteY309" fmla="*/ 84518 h 343858"/>
                <a:gd name="connsiteX310" fmla="*/ 233042 w 608129"/>
                <a:gd name="connsiteY310" fmla="*/ 78357 h 343858"/>
                <a:gd name="connsiteX311" fmla="*/ 162582 w 608129"/>
                <a:gd name="connsiteY311" fmla="*/ 60954 h 343858"/>
                <a:gd name="connsiteX312" fmla="*/ 142076 w 608129"/>
                <a:gd name="connsiteY312" fmla="*/ 80671 h 343858"/>
                <a:gd name="connsiteX313" fmla="*/ 162582 w 608129"/>
                <a:gd name="connsiteY313" fmla="*/ 101147 h 343858"/>
                <a:gd name="connsiteX314" fmla="*/ 182329 w 608129"/>
                <a:gd name="connsiteY314" fmla="*/ 80671 h 343858"/>
                <a:gd name="connsiteX315" fmla="*/ 162582 w 608129"/>
                <a:gd name="connsiteY315" fmla="*/ 60954 h 343858"/>
                <a:gd name="connsiteX316" fmla="*/ 162582 w 608129"/>
                <a:gd name="connsiteY316" fmla="*/ 40478 h 343858"/>
                <a:gd name="connsiteX317" fmla="*/ 202836 w 608129"/>
                <a:gd name="connsiteY317" fmla="*/ 80671 h 343858"/>
                <a:gd name="connsiteX318" fmla="*/ 162582 w 608129"/>
                <a:gd name="connsiteY318" fmla="*/ 121623 h 343858"/>
                <a:gd name="connsiteX319" fmla="*/ 121569 w 608129"/>
                <a:gd name="connsiteY319" fmla="*/ 80671 h 343858"/>
                <a:gd name="connsiteX320" fmla="*/ 162582 w 608129"/>
                <a:gd name="connsiteY320" fmla="*/ 40478 h 343858"/>
                <a:gd name="connsiteX321" fmla="*/ 285697 w 608129"/>
                <a:gd name="connsiteY321" fmla="*/ 32920 h 343858"/>
                <a:gd name="connsiteX322" fmla="*/ 256860 w 608129"/>
                <a:gd name="connsiteY322" fmla="*/ 41258 h 343858"/>
                <a:gd name="connsiteX323" fmla="*/ 265208 w 608129"/>
                <a:gd name="connsiteY323" fmla="*/ 70819 h 343858"/>
                <a:gd name="connsiteX324" fmla="*/ 294045 w 608129"/>
                <a:gd name="connsiteY324" fmla="*/ 62481 h 343858"/>
                <a:gd name="connsiteX325" fmla="*/ 364659 w 608129"/>
                <a:gd name="connsiteY325" fmla="*/ 20767 h 343858"/>
                <a:gd name="connsiteX326" fmla="*/ 355552 w 608129"/>
                <a:gd name="connsiteY326" fmla="*/ 23799 h 343858"/>
                <a:gd name="connsiteX327" fmla="*/ 376044 w 608129"/>
                <a:gd name="connsiteY327" fmla="*/ 81416 h 343858"/>
                <a:gd name="connsiteX328" fmla="*/ 385910 w 608129"/>
                <a:gd name="connsiteY328" fmla="*/ 77625 h 343858"/>
                <a:gd name="connsiteX329" fmla="*/ 280385 w 608129"/>
                <a:gd name="connsiteY329" fmla="*/ 13971 h 343858"/>
                <a:gd name="connsiteX330" fmla="*/ 295563 w 608129"/>
                <a:gd name="connsiteY330" fmla="*/ 15487 h 343858"/>
                <a:gd name="connsiteX331" fmla="*/ 305428 w 608129"/>
                <a:gd name="connsiteY331" fmla="*/ 27614 h 343858"/>
                <a:gd name="connsiteX332" fmla="*/ 313776 w 608129"/>
                <a:gd name="connsiteY332" fmla="*/ 57176 h 343858"/>
                <a:gd name="connsiteX333" fmla="*/ 311500 w 608129"/>
                <a:gd name="connsiteY333" fmla="*/ 72335 h 343858"/>
                <a:gd name="connsiteX334" fmla="*/ 299357 w 608129"/>
                <a:gd name="connsiteY334" fmla="*/ 82189 h 343858"/>
                <a:gd name="connsiteX335" fmla="*/ 270520 w 608129"/>
                <a:gd name="connsiteY335" fmla="*/ 90527 h 343858"/>
                <a:gd name="connsiteX336" fmla="*/ 265208 w 608129"/>
                <a:gd name="connsiteY336" fmla="*/ 91285 h 343858"/>
                <a:gd name="connsiteX337" fmla="*/ 255342 w 608129"/>
                <a:gd name="connsiteY337" fmla="*/ 88253 h 343858"/>
                <a:gd name="connsiteX338" fmla="*/ 245477 w 608129"/>
                <a:gd name="connsiteY338" fmla="*/ 76125 h 343858"/>
                <a:gd name="connsiteX339" fmla="*/ 237129 w 608129"/>
                <a:gd name="connsiteY339" fmla="*/ 47322 h 343858"/>
                <a:gd name="connsiteX340" fmla="*/ 238647 w 608129"/>
                <a:gd name="connsiteY340" fmla="*/ 32162 h 343858"/>
                <a:gd name="connsiteX341" fmla="*/ 250789 w 608129"/>
                <a:gd name="connsiteY341" fmla="*/ 22309 h 343858"/>
                <a:gd name="connsiteX342" fmla="*/ 359347 w 608129"/>
                <a:gd name="connsiteY342" fmla="*/ 1056 h 343858"/>
                <a:gd name="connsiteX343" fmla="*/ 373767 w 608129"/>
                <a:gd name="connsiteY343" fmla="*/ 1814 h 343858"/>
                <a:gd name="connsiteX344" fmla="*/ 383633 w 608129"/>
                <a:gd name="connsiteY344" fmla="*/ 12428 h 343858"/>
                <a:gd name="connsiteX345" fmla="*/ 404884 w 608129"/>
                <a:gd name="connsiteY345" fmla="*/ 72318 h 343858"/>
                <a:gd name="connsiteX346" fmla="*/ 404884 w 608129"/>
                <a:gd name="connsiteY346" fmla="*/ 86723 h 343858"/>
                <a:gd name="connsiteX347" fmla="*/ 394259 w 608129"/>
                <a:gd name="connsiteY347" fmla="*/ 95820 h 343858"/>
                <a:gd name="connsiteX348" fmla="*/ 381356 w 608129"/>
                <a:gd name="connsiteY348" fmla="*/ 100369 h 343858"/>
                <a:gd name="connsiteX349" fmla="*/ 375285 w 608129"/>
                <a:gd name="connsiteY349" fmla="*/ 101885 h 343858"/>
                <a:gd name="connsiteX350" fmla="*/ 367695 w 608129"/>
                <a:gd name="connsiteY350" fmla="*/ 100369 h 343858"/>
                <a:gd name="connsiteX351" fmla="*/ 357829 w 608129"/>
                <a:gd name="connsiteY351" fmla="*/ 89755 h 343858"/>
                <a:gd name="connsiteX352" fmla="*/ 335819 w 608129"/>
                <a:gd name="connsiteY352" fmla="*/ 29864 h 343858"/>
                <a:gd name="connsiteX353" fmla="*/ 336578 w 608129"/>
                <a:gd name="connsiteY353" fmla="*/ 15460 h 343858"/>
                <a:gd name="connsiteX354" fmla="*/ 347203 w 608129"/>
                <a:gd name="connsiteY354" fmla="*/ 5605 h 34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</a:cxnLst>
              <a:rect l="l" t="t" r="r" b="b"/>
              <a:pathLst>
                <a:path w="30358" h="60649">
                  <a:moveTo>
                    <a:pt x="9107" y="0"/>
                  </a:moveTo>
                  <a:lnTo>
                    <a:pt x="0" y="3032"/>
                  </a:lnTo>
                  <a:lnTo>
                    <a:pt x="20492" y="60649"/>
                  </a:lnTo>
                  <a:lnTo>
                    <a:pt x="30358" y="56858"/>
                  </a:lnTo>
                </a:path>
              </a:pathLst>
            </a:custGeom>
            <a:noFill/>
            <a:ln w="44450">
              <a:gradFill>
                <a:gsLst>
                  <a:gs pos="0">
                    <a:schemeClr val="accent3"/>
                  </a:gs>
                  <a:gs pos="100000">
                    <a:schemeClr val="accent3">
                      <a:lumMod val="5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zh-CN" altLang="en-US">
                <a:gradFill flip="none" rotWithShape="1">
                  <a:gsLst>
                    <a:gs pos="89000">
                      <a:schemeClr val="bg1"/>
                    </a:gs>
                    <a:gs pos="0">
                      <a:schemeClr val="accent2"/>
                    </a:gs>
                  </a:gsLst>
                  <a:lin ang="13500000" scaled="1"/>
                  <a:tileRect/>
                </a:gradFill>
              </a:endParaRPr>
            </a:p>
          </p:txBody>
        </p:sp>
        <p:sp>
          <p:nvSpPr>
            <p:cNvPr id="198" name="任意多边形: 形状 197"/>
            <p:cNvSpPr>
              <a:spLocks/>
            </p:cNvSpPr>
            <p:nvPr userDrawn="1"/>
          </p:nvSpPr>
          <p:spPr bwMode="auto">
            <a:xfrm flipH="1">
              <a:off x="3167022" y="3839947"/>
              <a:ext cx="98134" cy="138235"/>
            </a:xfrm>
            <a:custGeom>
              <a:avLst/>
              <a:gdLst>
                <a:gd name="connsiteX0" fmla="*/ 193001 w 608129"/>
                <a:gd name="connsiteY0" fmla="*/ 283182 h 343858"/>
                <a:gd name="connsiteX1" fmla="*/ 506699 w 608129"/>
                <a:gd name="connsiteY1" fmla="*/ 283182 h 343858"/>
                <a:gd name="connsiteX2" fmla="*/ 516573 w 608129"/>
                <a:gd name="connsiteY2" fmla="*/ 293038 h 343858"/>
                <a:gd name="connsiteX3" fmla="*/ 506699 w 608129"/>
                <a:gd name="connsiteY3" fmla="*/ 303651 h 343858"/>
                <a:gd name="connsiteX4" fmla="*/ 193001 w 608129"/>
                <a:gd name="connsiteY4" fmla="*/ 303651 h 343858"/>
                <a:gd name="connsiteX5" fmla="*/ 182367 w 608129"/>
                <a:gd name="connsiteY5" fmla="*/ 293038 h 343858"/>
                <a:gd name="connsiteX6" fmla="*/ 193001 w 608129"/>
                <a:gd name="connsiteY6" fmla="*/ 283182 h 343858"/>
                <a:gd name="connsiteX7" fmla="*/ 101866 w 608129"/>
                <a:gd name="connsiteY7" fmla="*/ 283182 h 343858"/>
                <a:gd name="connsiteX8" fmla="*/ 142885 w 608129"/>
                <a:gd name="connsiteY8" fmla="*/ 283182 h 343858"/>
                <a:gd name="connsiteX9" fmla="*/ 152760 w 608129"/>
                <a:gd name="connsiteY9" fmla="*/ 293038 h 343858"/>
                <a:gd name="connsiteX10" fmla="*/ 142885 w 608129"/>
                <a:gd name="connsiteY10" fmla="*/ 303651 h 343858"/>
                <a:gd name="connsiteX11" fmla="*/ 101866 w 608129"/>
                <a:gd name="connsiteY11" fmla="*/ 303651 h 343858"/>
                <a:gd name="connsiteX12" fmla="*/ 91231 w 608129"/>
                <a:gd name="connsiteY12" fmla="*/ 293038 h 343858"/>
                <a:gd name="connsiteX13" fmla="*/ 101866 w 608129"/>
                <a:gd name="connsiteY13" fmla="*/ 283182 h 343858"/>
                <a:gd name="connsiteX14" fmla="*/ 23697 w 608129"/>
                <a:gd name="connsiteY14" fmla="*/ 252861 h 343858"/>
                <a:gd name="connsiteX15" fmla="*/ 72307 w 608129"/>
                <a:gd name="connsiteY15" fmla="*/ 281677 h 343858"/>
                <a:gd name="connsiteX16" fmla="*/ 73826 w 608129"/>
                <a:gd name="connsiteY16" fmla="*/ 283952 h 343858"/>
                <a:gd name="connsiteX17" fmla="*/ 82941 w 608129"/>
                <a:gd name="connsiteY17" fmla="*/ 307460 h 343858"/>
                <a:gd name="connsiteX18" fmla="*/ 91295 w 608129"/>
                <a:gd name="connsiteY18" fmla="*/ 323384 h 343858"/>
                <a:gd name="connsiteX19" fmla="*/ 516631 w 608129"/>
                <a:gd name="connsiteY19" fmla="*/ 323384 h 343858"/>
                <a:gd name="connsiteX20" fmla="*/ 525745 w 608129"/>
                <a:gd name="connsiteY20" fmla="*/ 307460 h 343858"/>
                <a:gd name="connsiteX21" fmla="*/ 534859 w 608129"/>
                <a:gd name="connsiteY21" fmla="*/ 283952 h 343858"/>
                <a:gd name="connsiteX22" fmla="*/ 536378 w 608129"/>
                <a:gd name="connsiteY22" fmla="*/ 281677 h 343858"/>
                <a:gd name="connsiteX23" fmla="*/ 584229 w 608129"/>
                <a:gd name="connsiteY23" fmla="*/ 252861 h 343858"/>
                <a:gd name="connsiteX24" fmla="*/ 569798 w 608129"/>
                <a:gd name="connsiteY24" fmla="*/ 252861 h 343858"/>
                <a:gd name="connsiteX25" fmla="*/ 413335 w 608129"/>
                <a:gd name="connsiteY25" fmla="*/ 252861 h 343858"/>
                <a:gd name="connsiteX26" fmla="*/ 401942 w 608129"/>
                <a:gd name="connsiteY26" fmla="*/ 252861 h 343858"/>
                <a:gd name="connsiteX27" fmla="*/ 35850 w 608129"/>
                <a:gd name="connsiteY27" fmla="*/ 252861 h 343858"/>
                <a:gd name="connsiteX28" fmla="*/ 254526 w 608129"/>
                <a:gd name="connsiteY28" fmla="*/ 201295 h 343858"/>
                <a:gd name="connsiteX29" fmla="*/ 257557 w 608129"/>
                <a:gd name="connsiteY29" fmla="*/ 214952 h 343858"/>
                <a:gd name="connsiteX30" fmla="*/ 249221 w 608129"/>
                <a:gd name="connsiteY30" fmla="*/ 227091 h 343858"/>
                <a:gd name="connsiteX31" fmla="*/ 240886 w 608129"/>
                <a:gd name="connsiteY31" fmla="*/ 231644 h 343858"/>
                <a:gd name="connsiteX32" fmla="*/ 235581 w 608129"/>
                <a:gd name="connsiteY32" fmla="*/ 229368 h 343858"/>
                <a:gd name="connsiteX33" fmla="*/ 232550 w 608129"/>
                <a:gd name="connsiteY33" fmla="*/ 215710 h 343858"/>
                <a:gd name="connsiteX34" fmla="*/ 240886 w 608129"/>
                <a:gd name="connsiteY34" fmla="*/ 203571 h 343858"/>
                <a:gd name="connsiteX35" fmla="*/ 254526 w 608129"/>
                <a:gd name="connsiteY35" fmla="*/ 201295 h 343858"/>
                <a:gd name="connsiteX36" fmla="*/ 293998 w 608129"/>
                <a:gd name="connsiteY36" fmla="*/ 199043 h 343858"/>
                <a:gd name="connsiteX37" fmla="*/ 307670 w 608129"/>
                <a:gd name="connsiteY37" fmla="*/ 202827 h 343858"/>
                <a:gd name="connsiteX38" fmla="*/ 314506 w 608129"/>
                <a:gd name="connsiteY38" fmla="*/ 214937 h 343858"/>
                <a:gd name="connsiteX39" fmla="*/ 304632 w 608129"/>
                <a:gd name="connsiteY39" fmla="*/ 222506 h 343858"/>
                <a:gd name="connsiteX40" fmla="*/ 302353 w 608129"/>
                <a:gd name="connsiteY40" fmla="*/ 221749 h 343858"/>
                <a:gd name="connsiteX41" fmla="*/ 288681 w 608129"/>
                <a:gd name="connsiteY41" fmla="*/ 218721 h 343858"/>
                <a:gd name="connsiteX42" fmla="*/ 281845 w 608129"/>
                <a:gd name="connsiteY42" fmla="*/ 205854 h 343858"/>
                <a:gd name="connsiteX43" fmla="*/ 293998 w 608129"/>
                <a:gd name="connsiteY43" fmla="*/ 199043 h 343858"/>
                <a:gd name="connsiteX44" fmla="*/ 113257 w 608129"/>
                <a:gd name="connsiteY44" fmla="*/ 193732 h 343858"/>
                <a:gd name="connsiteX45" fmla="*/ 125378 w 608129"/>
                <a:gd name="connsiteY45" fmla="*/ 201299 h 343858"/>
                <a:gd name="connsiteX46" fmla="*/ 128408 w 608129"/>
                <a:gd name="connsiteY46" fmla="*/ 214920 h 343858"/>
                <a:gd name="connsiteX47" fmla="*/ 120075 w 608129"/>
                <a:gd name="connsiteY47" fmla="*/ 219460 h 343858"/>
                <a:gd name="connsiteX48" fmla="*/ 114773 w 608129"/>
                <a:gd name="connsiteY48" fmla="*/ 217946 h 343858"/>
                <a:gd name="connsiteX49" fmla="*/ 102652 w 608129"/>
                <a:gd name="connsiteY49" fmla="*/ 211136 h 343858"/>
                <a:gd name="connsiteX50" fmla="*/ 99622 w 608129"/>
                <a:gd name="connsiteY50" fmla="*/ 196759 h 343858"/>
                <a:gd name="connsiteX51" fmla="*/ 113257 w 608129"/>
                <a:gd name="connsiteY51" fmla="*/ 193732 h 343858"/>
                <a:gd name="connsiteX52" fmla="*/ 367752 w 608129"/>
                <a:gd name="connsiteY52" fmla="*/ 192974 h 343858"/>
                <a:gd name="connsiteX53" fmla="*/ 380665 w 608129"/>
                <a:gd name="connsiteY53" fmla="*/ 199023 h 343858"/>
                <a:gd name="connsiteX54" fmla="*/ 373829 w 608129"/>
                <a:gd name="connsiteY54" fmla="*/ 211877 h 343858"/>
                <a:gd name="connsiteX55" fmla="*/ 360917 w 608129"/>
                <a:gd name="connsiteY55" fmla="*/ 216414 h 343858"/>
                <a:gd name="connsiteX56" fmla="*/ 357119 w 608129"/>
                <a:gd name="connsiteY56" fmla="*/ 216414 h 343858"/>
                <a:gd name="connsiteX57" fmla="*/ 348004 w 608129"/>
                <a:gd name="connsiteY57" fmla="*/ 209609 h 343858"/>
                <a:gd name="connsiteX58" fmla="*/ 354081 w 608129"/>
                <a:gd name="connsiteY58" fmla="*/ 196755 h 343858"/>
                <a:gd name="connsiteX59" fmla="*/ 473099 w 608129"/>
                <a:gd name="connsiteY59" fmla="*/ 187878 h 343858"/>
                <a:gd name="connsiteX60" fmla="*/ 480904 w 608129"/>
                <a:gd name="connsiteY60" fmla="*/ 189869 h 343858"/>
                <a:gd name="connsiteX61" fmla="*/ 483189 w 608129"/>
                <a:gd name="connsiteY61" fmla="*/ 203526 h 343858"/>
                <a:gd name="connsiteX62" fmla="*/ 475574 w 608129"/>
                <a:gd name="connsiteY62" fmla="*/ 214907 h 343858"/>
                <a:gd name="connsiteX63" fmla="*/ 467198 w 608129"/>
                <a:gd name="connsiteY63" fmla="*/ 219460 h 343858"/>
                <a:gd name="connsiteX64" fmla="*/ 461106 w 608129"/>
                <a:gd name="connsiteY64" fmla="*/ 217942 h 343858"/>
                <a:gd name="connsiteX65" fmla="*/ 458821 w 608129"/>
                <a:gd name="connsiteY65" fmla="*/ 203526 h 343858"/>
                <a:gd name="connsiteX66" fmla="*/ 466436 w 608129"/>
                <a:gd name="connsiteY66" fmla="*/ 192146 h 343858"/>
                <a:gd name="connsiteX67" fmla="*/ 473099 w 608129"/>
                <a:gd name="connsiteY67" fmla="*/ 187878 h 343858"/>
                <a:gd name="connsiteX68" fmla="*/ 410279 w 608129"/>
                <a:gd name="connsiteY68" fmla="*/ 182352 h 343858"/>
                <a:gd name="connsiteX69" fmla="*/ 422434 w 608129"/>
                <a:gd name="connsiteY69" fmla="*/ 189169 h 343858"/>
                <a:gd name="connsiteX70" fmla="*/ 426233 w 608129"/>
                <a:gd name="connsiteY70" fmla="*/ 202805 h 343858"/>
                <a:gd name="connsiteX71" fmla="*/ 418636 w 608129"/>
                <a:gd name="connsiteY71" fmla="*/ 215683 h 343858"/>
                <a:gd name="connsiteX72" fmla="*/ 416356 w 608129"/>
                <a:gd name="connsiteY72" fmla="*/ 215683 h 343858"/>
                <a:gd name="connsiteX73" fmla="*/ 406480 w 608129"/>
                <a:gd name="connsiteY73" fmla="*/ 208108 h 343858"/>
                <a:gd name="connsiteX74" fmla="*/ 402682 w 608129"/>
                <a:gd name="connsiteY74" fmla="*/ 194472 h 343858"/>
                <a:gd name="connsiteX75" fmla="*/ 410279 w 608129"/>
                <a:gd name="connsiteY75" fmla="*/ 182352 h 343858"/>
                <a:gd name="connsiteX76" fmla="*/ 188501 w 608129"/>
                <a:gd name="connsiteY76" fmla="*/ 179282 h 343858"/>
                <a:gd name="connsiteX77" fmla="*/ 202945 w 608129"/>
                <a:gd name="connsiteY77" fmla="*/ 180043 h 343858"/>
                <a:gd name="connsiteX78" fmla="*/ 212067 w 608129"/>
                <a:gd name="connsiteY78" fmla="*/ 191449 h 343858"/>
                <a:gd name="connsiteX79" fmla="*/ 202185 w 608129"/>
                <a:gd name="connsiteY79" fmla="*/ 200575 h 343858"/>
                <a:gd name="connsiteX80" fmla="*/ 201424 w 608129"/>
                <a:gd name="connsiteY80" fmla="*/ 200575 h 343858"/>
                <a:gd name="connsiteX81" fmla="*/ 186981 w 608129"/>
                <a:gd name="connsiteY81" fmla="*/ 199814 h 343858"/>
                <a:gd name="connsiteX82" fmla="*/ 177859 w 608129"/>
                <a:gd name="connsiteY82" fmla="*/ 188408 h 343858"/>
                <a:gd name="connsiteX83" fmla="*/ 188501 w 608129"/>
                <a:gd name="connsiteY83" fmla="*/ 179282 h 343858"/>
                <a:gd name="connsiteX84" fmla="*/ 160344 w 608129"/>
                <a:gd name="connsiteY84" fmla="*/ 165596 h 343858"/>
                <a:gd name="connsiteX85" fmla="*/ 163375 w 608129"/>
                <a:gd name="connsiteY85" fmla="*/ 180011 h 343858"/>
                <a:gd name="connsiteX86" fmla="*/ 155797 w 608129"/>
                <a:gd name="connsiteY86" fmla="*/ 191392 h 343858"/>
                <a:gd name="connsiteX87" fmla="*/ 147461 w 608129"/>
                <a:gd name="connsiteY87" fmla="*/ 195945 h 343858"/>
                <a:gd name="connsiteX88" fmla="*/ 141399 w 608129"/>
                <a:gd name="connsiteY88" fmla="*/ 194427 h 343858"/>
                <a:gd name="connsiteX89" fmla="*/ 139126 w 608129"/>
                <a:gd name="connsiteY89" fmla="*/ 180011 h 343858"/>
                <a:gd name="connsiteX90" fmla="*/ 146704 w 608129"/>
                <a:gd name="connsiteY90" fmla="*/ 168631 h 343858"/>
                <a:gd name="connsiteX91" fmla="*/ 160344 w 608129"/>
                <a:gd name="connsiteY91" fmla="*/ 165596 h 343858"/>
                <a:gd name="connsiteX92" fmla="*/ 338113 w 608129"/>
                <a:gd name="connsiteY92" fmla="*/ 164888 h 343858"/>
                <a:gd name="connsiteX93" fmla="*/ 352554 w 608129"/>
                <a:gd name="connsiteY93" fmla="*/ 164888 h 343858"/>
                <a:gd name="connsiteX94" fmla="*/ 352554 w 608129"/>
                <a:gd name="connsiteY94" fmla="*/ 179285 h 343858"/>
                <a:gd name="connsiteX95" fmla="*/ 342673 w 608129"/>
                <a:gd name="connsiteY95" fmla="*/ 189137 h 343858"/>
                <a:gd name="connsiteX96" fmla="*/ 335073 w 608129"/>
                <a:gd name="connsiteY96" fmla="*/ 192168 h 343858"/>
                <a:gd name="connsiteX97" fmla="*/ 328232 w 608129"/>
                <a:gd name="connsiteY97" fmla="*/ 189137 h 343858"/>
                <a:gd name="connsiteX98" fmla="*/ 328232 w 608129"/>
                <a:gd name="connsiteY98" fmla="*/ 174739 h 343858"/>
                <a:gd name="connsiteX99" fmla="*/ 438352 w 608129"/>
                <a:gd name="connsiteY99" fmla="*/ 163394 h 343858"/>
                <a:gd name="connsiteX100" fmla="*/ 449715 w 608129"/>
                <a:gd name="connsiteY100" fmla="*/ 170961 h 343858"/>
                <a:gd name="connsiteX101" fmla="*/ 453502 w 608129"/>
                <a:gd name="connsiteY101" fmla="*/ 184582 h 343858"/>
                <a:gd name="connsiteX102" fmla="*/ 444412 w 608129"/>
                <a:gd name="connsiteY102" fmla="*/ 189122 h 343858"/>
                <a:gd name="connsiteX103" fmla="*/ 439110 w 608129"/>
                <a:gd name="connsiteY103" fmla="*/ 187608 h 343858"/>
                <a:gd name="connsiteX104" fmla="*/ 427747 w 608129"/>
                <a:gd name="connsiteY104" fmla="*/ 180798 h 343858"/>
                <a:gd name="connsiteX105" fmla="*/ 423959 w 608129"/>
                <a:gd name="connsiteY105" fmla="*/ 166421 h 343858"/>
                <a:gd name="connsiteX106" fmla="*/ 438352 w 608129"/>
                <a:gd name="connsiteY106" fmla="*/ 163394 h 343858"/>
                <a:gd name="connsiteX107" fmla="*/ 237851 w 608129"/>
                <a:gd name="connsiteY107" fmla="*/ 158043 h 343858"/>
                <a:gd name="connsiteX108" fmla="*/ 249244 w 608129"/>
                <a:gd name="connsiteY108" fmla="*/ 165635 h 343858"/>
                <a:gd name="connsiteX109" fmla="*/ 253042 w 608129"/>
                <a:gd name="connsiteY109" fmla="*/ 179300 h 343858"/>
                <a:gd name="connsiteX110" fmla="*/ 243927 w 608129"/>
                <a:gd name="connsiteY110" fmla="*/ 184614 h 343858"/>
                <a:gd name="connsiteX111" fmla="*/ 238610 w 608129"/>
                <a:gd name="connsiteY111" fmla="*/ 183095 h 343858"/>
                <a:gd name="connsiteX112" fmla="*/ 227217 w 608129"/>
                <a:gd name="connsiteY112" fmla="*/ 175504 h 343858"/>
                <a:gd name="connsiteX113" fmla="*/ 223419 w 608129"/>
                <a:gd name="connsiteY113" fmla="*/ 161839 h 343858"/>
                <a:gd name="connsiteX114" fmla="*/ 237851 w 608129"/>
                <a:gd name="connsiteY114" fmla="*/ 158043 h 343858"/>
                <a:gd name="connsiteX115" fmla="*/ 285637 w 608129"/>
                <a:gd name="connsiteY115" fmla="*/ 155767 h 343858"/>
                <a:gd name="connsiteX116" fmla="*/ 299320 w 608129"/>
                <a:gd name="connsiteY116" fmla="*/ 156528 h 343858"/>
                <a:gd name="connsiteX117" fmla="*/ 308442 w 608129"/>
                <a:gd name="connsiteY117" fmla="*/ 167174 h 343858"/>
                <a:gd name="connsiteX118" fmla="*/ 298560 w 608129"/>
                <a:gd name="connsiteY118" fmla="*/ 177060 h 343858"/>
                <a:gd name="connsiteX119" fmla="*/ 297799 w 608129"/>
                <a:gd name="connsiteY119" fmla="*/ 177060 h 343858"/>
                <a:gd name="connsiteX120" fmla="*/ 284116 w 608129"/>
                <a:gd name="connsiteY120" fmla="*/ 175539 h 343858"/>
                <a:gd name="connsiteX121" fmla="*/ 274234 w 608129"/>
                <a:gd name="connsiteY121" fmla="*/ 164893 h 343858"/>
                <a:gd name="connsiteX122" fmla="*/ 285637 w 608129"/>
                <a:gd name="connsiteY122" fmla="*/ 155767 h 343858"/>
                <a:gd name="connsiteX123" fmla="*/ 374580 w 608129"/>
                <a:gd name="connsiteY123" fmla="*/ 140655 h 343858"/>
                <a:gd name="connsiteX124" fmla="*/ 388263 w 608129"/>
                <a:gd name="connsiteY124" fmla="*/ 141411 h 343858"/>
                <a:gd name="connsiteX125" fmla="*/ 398145 w 608129"/>
                <a:gd name="connsiteY125" fmla="*/ 152755 h 343858"/>
                <a:gd name="connsiteX126" fmla="*/ 387503 w 608129"/>
                <a:gd name="connsiteY126" fmla="*/ 161830 h 343858"/>
                <a:gd name="connsiteX127" fmla="*/ 386742 w 608129"/>
                <a:gd name="connsiteY127" fmla="*/ 161830 h 343858"/>
                <a:gd name="connsiteX128" fmla="*/ 373059 w 608129"/>
                <a:gd name="connsiteY128" fmla="*/ 160317 h 343858"/>
                <a:gd name="connsiteX129" fmla="*/ 363937 w 608129"/>
                <a:gd name="connsiteY129" fmla="*/ 149730 h 343858"/>
                <a:gd name="connsiteX130" fmla="*/ 374580 w 608129"/>
                <a:gd name="connsiteY130" fmla="*/ 140655 h 343858"/>
                <a:gd name="connsiteX131" fmla="*/ 363206 w 608129"/>
                <a:gd name="connsiteY131" fmla="*/ 133808 h 343858"/>
                <a:gd name="connsiteX132" fmla="*/ 362447 w 608129"/>
                <a:gd name="connsiteY132" fmla="*/ 134566 h 343858"/>
                <a:gd name="connsiteX133" fmla="*/ 360168 w 608129"/>
                <a:gd name="connsiteY133" fmla="*/ 139874 h 343858"/>
                <a:gd name="connsiteX134" fmla="*/ 344218 w 608129"/>
                <a:gd name="connsiteY134" fmla="*/ 156557 h 343858"/>
                <a:gd name="connsiteX135" fmla="*/ 341939 w 608129"/>
                <a:gd name="connsiteY135" fmla="*/ 157315 h 343858"/>
                <a:gd name="connsiteX136" fmla="*/ 338142 w 608129"/>
                <a:gd name="connsiteY136" fmla="*/ 158832 h 343858"/>
                <a:gd name="connsiteX137" fmla="*/ 335104 w 608129"/>
                <a:gd name="connsiteY137" fmla="*/ 160348 h 343858"/>
                <a:gd name="connsiteX138" fmla="*/ 332066 w 608129"/>
                <a:gd name="connsiteY138" fmla="*/ 161107 h 343858"/>
                <a:gd name="connsiteX139" fmla="*/ 324470 w 608129"/>
                <a:gd name="connsiteY139" fmla="*/ 161865 h 343858"/>
                <a:gd name="connsiteX140" fmla="*/ 317634 w 608129"/>
                <a:gd name="connsiteY140" fmla="*/ 161107 h 343858"/>
                <a:gd name="connsiteX141" fmla="*/ 314596 w 608129"/>
                <a:gd name="connsiteY141" fmla="*/ 160348 h 343858"/>
                <a:gd name="connsiteX142" fmla="*/ 310799 w 608129"/>
                <a:gd name="connsiteY142" fmla="*/ 158832 h 343858"/>
                <a:gd name="connsiteX143" fmla="*/ 307761 w 608129"/>
                <a:gd name="connsiteY143" fmla="*/ 158073 h 343858"/>
                <a:gd name="connsiteX144" fmla="*/ 304723 w 608129"/>
                <a:gd name="connsiteY144" fmla="*/ 156557 h 343858"/>
                <a:gd name="connsiteX145" fmla="*/ 297887 w 608129"/>
                <a:gd name="connsiteY145" fmla="*/ 151249 h 343858"/>
                <a:gd name="connsiteX146" fmla="*/ 297127 w 608129"/>
                <a:gd name="connsiteY146" fmla="*/ 150490 h 343858"/>
                <a:gd name="connsiteX147" fmla="*/ 294089 w 608129"/>
                <a:gd name="connsiteY147" fmla="*/ 147457 h 343858"/>
                <a:gd name="connsiteX148" fmla="*/ 292570 w 608129"/>
                <a:gd name="connsiteY148" fmla="*/ 145941 h 343858"/>
                <a:gd name="connsiteX149" fmla="*/ 289532 w 608129"/>
                <a:gd name="connsiteY149" fmla="*/ 142149 h 343858"/>
                <a:gd name="connsiteX150" fmla="*/ 289532 w 608129"/>
                <a:gd name="connsiteY150" fmla="*/ 140633 h 343858"/>
                <a:gd name="connsiteX151" fmla="*/ 287253 w 608129"/>
                <a:gd name="connsiteY151" fmla="*/ 136083 h 343858"/>
                <a:gd name="connsiteX152" fmla="*/ 237125 w 608129"/>
                <a:gd name="connsiteY152" fmla="*/ 141391 h 343858"/>
                <a:gd name="connsiteX153" fmla="*/ 215098 w 608129"/>
                <a:gd name="connsiteY153" fmla="*/ 165657 h 343858"/>
                <a:gd name="connsiteX154" fmla="*/ 214339 w 608129"/>
                <a:gd name="connsiteY154" fmla="*/ 166415 h 343858"/>
                <a:gd name="connsiteX155" fmla="*/ 212060 w 608129"/>
                <a:gd name="connsiteY155" fmla="*/ 168690 h 343858"/>
                <a:gd name="connsiteX156" fmla="*/ 211301 w 608129"/>
                <a:gd name="connsiteY156" fmla="*/ 168690 h 343858"/>
                <a:gd name="connsiteX157" fmla="*/ 209022 w 608129"/>
                <a:gd name="connsiteY157" fmla="*/ 170206 h 343858"/>
                <a:gd name="connsiteX158" fmla="*/ 207503 w 608129"/>
                <a:gd name="connsiteY158" fmla="*/ 170965 h 343858"/>
                <a:gd name="connsiteX159" fmla="*/ 205224 w 608129"/>
                <a:gd name="connsiteY159" fmla="*/ 171723 h 343858"/>
                <a:gd name="connsiteX160" fmla="*/ 203705 w 608129"/>
                <a:gd name="connsiteY160" fmla="*/ 171723 h 343858"/>
                <a:gd name="connsiteX161" fmla="*/ 202186 w 608129"/>
                <a:gd name="connsiteY161" fmla="*/ 171723 h 343858"/>
                <a:gd name="connsiteX162" fmla="*/ 201427 w 608129"/>
                <a:gd name="connsiteY162" fmla="*/ 171723 h 343858"/>
                <a:gd name="connsiteX163" fmla="*/ 199148 w 608129"/>
                <a:gd name="connsiteY163" fmla="*/ 171723 h 343858"/>
                <a:gd name="connsiteX164" fmla="*/ 198389 w 608129"/>
                <a:gd name="connsiteY164" fmla="*/ 171723 h 343858"/>
                <a:gd name="connsiteX165" fmla="*/ 191553 w 608129"/>
                <a:gd name="connsiteY165" fmla="*/ 169448 h 343858"/>
                <a:gd name="connsiteX166" fmla="*/ 188515 w 608129"/>
                <a:gd name="connsiteY166" fmla="*/ 167173 h 343858"/>
                <a:gd name="connsiteX167" fmla="*/ 178641 w 608129"/>
                <a:gd name="connsiteY167" fmla="*/ 158073 h 343858"/>
                <a:gd name="connsiteX168" fmla="*/ 176362 w 608129"/>
                <a:gd name="connsiteY168" fmla="*/ 155040 h 343858"/>
                <a:gd name="connsiteX169" fmla="*/ 175603 w 608129"/>
                <a:gd name="connsiteY169" fmla="*/ 154282 h 343858"/>
                <a:gd name="connsiteX170" fmla="*/ 174084 w 608129"/>
                <a:gd name="connsiteY170" fmla="*/ 152007 h 343858"/>
                <a:gd name="connsiteX171" fmla="*/ 142943 w 608129"/>
                <a:gd name="connsiteY171" fmla="*/ 159590 h 343858"/>
                <a:gd name="connsiteX172" fmla="*/ 136107 w 608129"/>
                <a:gd name="connsiteY172" fmla="*/ 171723 h 343858"/>
                <a:gd name="connsiteX173" fmla="*/ 135348 w 608129"/>
                <a:gd name="connsiteY173" fmla="*/ 173998 h 343858"/>
                <a:gd name="connsiteX174" fmla="*/ 134588 w 608129"/>
                <a:gd name="connsiteY174" fmla="*/ 174756 h 343858"/>
                <a:gd name="connsiteX175" fmla="*/ 133069 w 608129"/>
                <a:gd name="connsiteY175" fmla="*/ 175514 h 343858"/>
                <a:gd name="connsiteX176" fmla="*/ 131550 w 608129"/>
                <a:gd name="connsiteY176" fmla="*/ 177789 h 343858"/>
                <a:gd name="connsiteX177" fmla="*/ 130791 w 608129"/>
                <a:gd name="connsiteY177" fmla="*/ 177789 h 343858"/>
                <a:gd name="connsiteX178" fmla="*/ 124715 w 608129"/>
                <a:gd name="connsiteY178" fmla="*/ 181581 h 343858"/>
                <a:gd name="connsiteX179" fmla="*/ 119398 w 608129"/>
                <a:gd name="connsiteY179" fmla="*/ 182339 h 343858"/>
                <a:gd name="connsiteX180" fmla="*/ 118638 w 608129"/>
                <a:gd name="connsiteY180" fmla="*/ 182339 h 343858"/>
                <a:gd name="connsiteX181" fmla="*/ 117879 w 608129"/>
                <a:gd name="connsiteY181" fmla="*/ 182339 h 343858"/>
                <a:gd name="connsiteX182" fmla="*/ 114841 w 608129"/>
                <a:gd name="connsiteY182" fmla="*/ 182339 h 343858"/>
                <a:gd name="connsiteX183" fmla="*/ 113322 w 608129"/>
                <a:gd name="connsiteY183" fmla="*/ 181581 h 343858"/>
                <a:gd name="connsiteX184" fmla="*/ 109524 w 608129"/>
                <a:gd name="connsiteY184" fmla="*/ 180064 h 343858"/>
                <a:gd name="connsiteX185" fmla="*/ 108764 w 608129"/>
                <a:gd name="connsiteY185" fmla="*/ 180064 h 343858"/>
                <a:gd name="connsiteX186" fmla="*/ 99650 w 608129"/>
                <a:gd name="connsiteY186" fmla="*/ 175514 h 343858"/>
                <a:gd name="connsiteX187" fmla="*/ 92814 w 608129"/>
                <a:gd name="connsiteY187" fmla="*/ 189922 h 343858"/>
                <a:gd name="connsiteX188" fmla="*/ 71548 w 608129"/>
                <a:gd name="connsiteY188" fmla="*/ 202813 h 343858"/>
                <a:gd name="connsiteX189" fmla="*/ 70029 w 608129"/>
                <a:gd name="connsiteY189" fmla="*/ 214188 h 343858"/>
                <a:gd name="connsiteX190" fmla="*/ 61674 w 608129"/>
                <a:gd name="connsiteY190" fmla="*/ 225562 h 343858"/>
                <a:gd name="connsiteX191" fmla="*/ 51800 w 608129"/>
                <a:gd name="connsiteY191" fmla="*/ 232387 h 343858"/>
                <a:gd name="connsiteX192" fmla="*/ 159653 w 608129"/>
                <a:gd name="connsiteY192" fmla="*/ 232387 h 343858"/>
                <a:gd name="connsiteX193" fmla="*/ 158134 w 608129"/>
                <a:gd name="connsiteY193" fmla="*/ 224804 h 343858"/>
                <a:gd name="connsiteX194" fmla="*/ 159653 w 608129"/>
                <a:gd name="connsiteY194" fmla="*/ 211155 h 343858"/>
                <a:gd name="connsiteX195" fmla="*/ 171046 w 608129"/>
                <a:gd name="connsiteY195" fmla="*/ 202813 h 343858"/>
                <a:gd name="connsiteX196" fmla="*/ 179401 w 608129"/>
                <a:gd name="connsiteY196" fmla="*/ 213430 h 343858"/>
                <a:gd name="connsiteX197" fmla="*/ 177881 w 608129"/>
                <a:gd name="connsiteY197" fmla="*/ 227837 h 343858"/>
                <a:gd name="connsiteX198" fmla="*/ 175603 w 608129"/>
                <a:gd name="connsiteY198" fmla="*/ 232387 h 343858"/>
                <a:gd name="connsiteX199" fmla="*/ 402702 w 608129"/>
                <a:gd name="connsiteY199" fmla="*/ 232387 h 343858"/>
                <a:gd name="connsiteX200" fmla="*/ 537897 w 608129"/>
                <a:gd name="connsiteY200" fmla="*/ 232387 h 343858"/>
                <a:gd name="connsiteX201" fmla="*/ 528783 w 608129"/>
                <a:gd name="connsiteY201" fmla="*/ 208880 h 343858"/>
                <a:gd name="connsiteX202" fmla="*/ 528783 w 608129"/>
                <a:gd name="connsiteY202" fmla="*/ 205847 h 343858"/>
                <a:gd name="connsiteX203" fmla="*/ 519669 w 608129"/>
                <a:gd name="connsiteY203" fmla="*/ 196747 h 343858"/>
                <a:gd name="connsiteX204" fmla="*/ 512833 w 608129"/>
                <a:gd name="connsiteY204" fmla="*/ 196747 h 343858"/>
                <a:gd name="connsiteX205" fmla="*/ 501440 w 608129"/>
                <a:gd name="connsiteY205" fmla="*/ 186131 h 343858"/>
                <a:gd name="connsiteX206" fmla="*/ 492326 w 608129"/>
                <a:gd name="connsiteY206" fmla="*/ 177789 h 343858"/>
                <a:gd name="connsiteX207" fmla="*/ 472578 w 608129"/>
                <a:gd name="connsiteY207" fmla="*/ 162623 h 343858"/>
                <a:gd name="connsiteX208" fmla="*/ 463464 w 608129"/>
                <a:gd name="connsiteY208" fmla="*/ 150490 h 343858"/>
                <a:gd name="connsiteX209" fmla="*/ 458907 w 608129"/>
                <a:gd name="connsiteY209" fmla="*/ 152765 h 343858"/>
                <a:gd name="connsiteX210" fmla="*/ 429285 w 608129"/>
                <a:gd name="connsiteY210" fmla="*/ 161107 h 343858"/>
                <a:gd name="connsiteX211" fmla="*/ 424728 w 608129"/>
                <a:gd name="connsiteY211" fmla="*/ 161865 h 343858"/>
                <a:gd name="connsiteX212" fmla="*/ 423968 w 608129"/>
                <a:gd name="connsiteY212" fmla="*/ 161865 h 343858"/>
                <a:gd name="connsiteX213" fmla="*/ 423209 w 608129"/>
                <a:gd name="connsiteY213" fmla="*/ 161865 h 343858"/>
                <a:gd name="connsiteX214" fmla="*/ 420171 w 608129"/>
                <a:gd name="connsiteY214" fmla="*/ 161107 h 343858"/>
                <a:gd name="connsiteX215" fmla="*/ 418652 w 608129"/>
                <a:gd name="connsiteY215" fmla="*/ 161107 h 343858"/>
                <a:gd name="connsiteX216" fmla="*/ 414094 w 608129"/>
                <a:gd name="connsiteY216" fmla="*/ 159590 h 343858"/>
                <a:gd name="connsiteX217" fmla="*/ 407259 w 608129"/>
                <a:gd name="connsiteY217" fmla="*/ 152765 h 343858"/>
                <a:gd name="connsiteX218" fmla="*/ 404221 w 608129"/>
                <a:gd name="connsiteY218" fmla="*/ 147457 h 343858"/>
                <a:gd name="connsiteX219" fmla="*/ 401182 w 608129"/>
                <a:gd name="connsiteY219" fmla="*/ 135324 h 343858"/>
                <a:gd name="connsiteX220" fmla="*/ 363206 w 608129"/>
                <a:gd name="connsiteY220" fmla="*/ 133808 h 343858"/>
                <a:gd name="connsiteX221" fmla="*/ 105726 w 608129"/>
                <a:gd name="connsiteY221" fmla="*/ 121675 h 343858"/>
                <a:gd name="connsiteX222" fmla="*/ 91295 w 608129"/>
                <a:gd name="connsiteY222" fmla="*/ 148216 h 343858"/>
                <a:gd name="connsiteX223" fmla="*/ 117119 w 608129"/>
                <a:gd name="connsiteY223" fmla="*/ 161865 h 343858"/>
                <a:gd name="connsiteX224" fmla="*/ 118638 w 608129"/>
                <a:gd name="connsiteY224" fmla="*/ 162623 h 343858"/>
                <a:gd name="connsiteX225" fmla="*/ 132310 w 608129"/>
                <a:gd name="connsiteY225" fmla="*/ 135324 h 343858"/>
                <a:gd name="connsiteX226" fmla="*/ 445235 w 608129"/>
                <a:gd name="connsiteY226" fmla="*/ 104234 h 343858"/>
                <a:gd name="connsiteX227" fmla="*/ 415614 w 608129"/>
                <a:gd name="connsiteY227" fmla="*/ 112575 h 343858"/>
                <a:gd name="connsiteX228" fmla="*/ 423968 w 608129"/>
                <a:gd name="connsiteY228" fmla="*/ 141391 h 343858"/>
                <a:gd name="connsiteX229" fmla="*/ 453590 w 608129"/>
                <a:gd name="connsiteY229" fmla="*/ 133049 h 343858"/>
                <a:gd name="connsiteX230" fmla="*/ 324470 w 608129"/>
                <a:gd name="connsiteY230" fmla="*/ 101201 h 343858"/>
                <a:gd name="connsiteX231" fmla="*/ 303963 w 608129"/>
                <a:gd name="connsiteY231" fmla="*/ 121675 h 343858"/>
                <a:gd name="connsiteX232" fmla="*/ 304723 w 608129"/>
                <a:gd name="connsiteY232" fmla="*/ 123192 h 343858"/>
                <a:gd name="connsiteX233" fmla="*/ 304723 w 608129"/>
                <a:gd name="connsiteY233" fmla="*/ 123950 h 343858"/>
                <a:gd name="connsiteX234" fmla="*/ 311558 w 608129"/>
                <a:gd name="connsiteY234" fmla="*/ 136841 h 343858"/>
                <a:gd name="connsiteX235" fmla="*/ 313837 w 608129"/>
                <a:gd name="connsiteY235" fmla="*/ 138358 h 343858"/>
                <a:gd name="connsiteX236" fmla="*/ 314596 w 608129"/>
                <a:gd name="connsiteY236" fmla="*/ 139116 h 343858"/>
                <a:gd name="connsiteX237" fmla="*/ 317634 w 608129"/>
                <a:gd name="connsiteY237" fmla="*/ 139874 h 343858"/>
                <a:gd name="connsiteX238" fmla="*/ 318394 w 608129"/>
                <a:gd name="connsiteY238" fmla="*/ 140633 h 343858"/>
                <a:gd name="connsiteX239" fmla="*/ 320673 w 608129"/>
                <a:gd name="connsiteY239" fmla="*/ 141391 h 343858"/>
                <a:gd name="connsiteX240" fmla="*/ 324470 w 608129"/>
                <a:gd name="connsiteY240" fmla="*/ 141391 h 343858"/>
                <a:gd name="connsiteX241" fmla="*/ 328268 w 608129"/>
                <a:gd name="connsiteY241" fmla="*/ 141391 h 343858"/>
                <a:gd name="connsiteX242" fmla="*/ 329787 w 608129"/>
                <a:gd name="connsiteY242" fmla="*/ 140633 h 343858"/>
                <a:gd name="connsiteX243" fmla="*/ 332066 w 608129"/>
                <a:gd name="connsiteY243" fmla="*/ 139874 h 343858"/>
                <a:gd name="connsiteX244" fmla="*/ 333585 w 608129"/>
                <a:gd name="connsiteY244" fmla="*/ 139116 h 343858"/>
                <a:gd name="connsiteX245" fmla="*/ 335863 w 608129"/>
                <a:gd name="connsiteY245" fmla="*/ 138358 h 343858"/>
                <a:gd name="connsiteX246" fmla="*/ 337382 w 608129"/>
                <a:gd name="connsiteY246" fmla="*/ 136841 h 343858"/>
                <a:gd name="connsiteX247" fmla="*/ 338142 w 608129"/>
                <a:gd name="connsiteY247" fmla="*/ 136083 h 343858"/>
                <a:gd name="connsiteX248" fmla="*/ 340420 w 608129"/>
                <a:gd name="connsiteY248" fmla="*/ 133808 h 343858"/>
                <a:gd name="connsiteX249" fmla="*/ 340420 w 608129"/>
                <a:gd name="connsiteY249" fmla="*/ 133049 h 343858"/>
                <a:gd name="connsiteX250" fmla="*/ 344218 w 608129"/>
                <a:gd name="connsiteY250" fmla="*/ 123192 h 343858"/>
                <a:gd name="connsiteX251" fmla="*/ 344977 w 608129"/>
                <a:gd name="connsiteY251" fmla="*/ 120917 h 343858"/>
                <a:gd name="connsiteX252" fmla="*/ 324470 w 608129"/>
                <a:gd name="connsiteY252" fmla="*/ 101201 h 343858"/>
                <a:gd name="connsiteX253" fmla="*/ 234086 w 608129"/>
                <a:gd name="connsiteY253" fmla="*/ 98926 h 343858"/>
                <a:gd name="connsiteX254" fmla="*/ 193832 w 608129"/>
                <a:gd name="connsiteY254" fmla="*/ 144424 h 343858"/>
                <a:gd name="connsiteX255" fmla="*/ 201427 w 608129"/>
                <a:gd name="connsiteY255" fmla="*/ 151249 h 343858"/>
                <a:gd name="connsiteX256" fmla="*/ 227251 w 608129"/>
                <a:gd name="connsiteY256" fmla="*/ 121675 h 343858"/>
                <a:gd name="connsiteX257" fmla="*/ 241682 w 608129"/>
                <a:gd name="connsiteY257" fmla="*/ 105751 h 343858"/>
                <a:gd name="connsiteX258" fmla="*/ 233042 w 608129"/>
                <a:gd name="connsiteY258" fmla="*/ 78357 h 343858"/>
                <a:gd name="connsiteX259" fmla="*/ 246239 w 608129"/>
                <a:gd name="connsiteY259" fmla="*/ 83001 h 343858"/>
                <a:gd name="connsiteX260" fmla="*/ 256872 w 608129"/>
                <a:gd name="connsiteY260" fmla="*/ 92101 h 343858"/>
                <a:gd name="connsiteX261" fmla="*/ 257632 w 608129"/>
                <a:gd name="connsiteY261" fmla="*/ 118642 h 343858"/>
                <a:gd name="connsiteX262" fmla="*/ 284215 w 608129"/>
                <a:gd name="connsiteY262" fmla="*/ 116367 h 343858"/>
                <a:gd name="connsiteX263" fmla="*/ 324470 w 608129"/>
                <a:gd name="connsiteY263" fmla="*/ 80727 h 343858"/>
                <a:gd name="connsiteX264" fmla="*/ 363966 w 608129"/>
                <a:gd name="connsiteY264" fmla="*/ 114092 h 343858"/>
                <a:gd name="connsiteX265" fmla="*/ 395866 w 608129"/>
                <a:gd name="connsiteY265" fmla="*/ 114850 h 343858"/>
                <a:gd name="connsiteX266" fmla="*/ 398144 w 608129"/>
                <a:gd name="connsiteY266" fmla="*/ 102717 h 343858"/>
                <a:gd name="connsiteX267" fmla="*/ 410297 w 608129"/>
                <a:gd name="connsiteY267" fmla="*/ 92859 h 343858"/>
                <a:gd name="connsiteX268" fmla="*/ 439159 w 608129"/>
                <a:gd name="connsiteY268" fmla="*/ 84518 h 343858"/>
                <a:gd name="connsiteX269" fmla="*/ 454349 w 608129"/>
                <a:gd name="connsiteY269" fmla="*/ 86035 h 343858"/>
                <a:gd name="connsiteX270" fmla="*/ 464223 w 608129"/>
                <a:gd name="connsiteY270" fmla="*/ 98168 h 343858"/>
                <a:gd name="connsiteX271" fmla="*/ 472578 w 608129"/>
                <a:gd name="connsiteY271" fmla="*/ 127741 h 343858"/>
                <a:gd name="connsiteX272" fmla="*/ 473338 w 608129"/>
                <a:gd name="connsiteY272" fmla="*/ 132291 h 343858"/>
                <a:gd name="connsiteX273" fmla="*/ 492326 w 608129"/>
                <a:gd name="connsiteY273" fmla="*/ 157315 h 343858"/>
                <a:gd name="connsiteX274" fmla="*/ 519669 w 608129"/>
                <a:gd name="connsiteY274" fmla="*/ 176273 h 343858"/>
                <a:gd name="connsiteX275" fmla="*/ 524226 w 608129"/>
                <a:gd name="connsiteY275" fmla="*/ 177031 h 343858"/>
                <a:gd name="connsiteX276" fmla="*/ 547771 w 608129"/>
                <a:gd name="connsiteY276" fmla="*/ 199780 h 343858"/>
                <a:gd name="connsiteX277" fmla="*/ 548531 w 608129"/>
                <a:gd name="connsiteY277" fmla="*/ 210396 h 343858"/>
                <a:gd name="connsiteX278" fmla="*/ 553848 w 608129"/>
                <a:gd name="connsiteY278" fmla="*/ 219496 h 343858"/>
                <a:gd name="connsiteX279" fmla="*/ 564481 w 608129"/>
                <a:gd name="connsiteY279" fmla="*/ 232387 h 343858"/>
                <a:gd name="connsiteX280" fmla="*/ 588786 w 608129"/>
                <a:gd name="connsiteY280" fmla="*/ 232387 h 343858"/>
                <a:gd name="connsiteX281" fmla="*/ 606255 w 608129"/>
                <a:gd name="connsiteY281" fmla="*/ 243003 h 343858"/>
                <a:gd name="connsiteX282" fmla="*/ 604736 w 608129"/>
                <a:gd name="connsiteY282" fmla="*/ 263478 h 343858"/>
                <a:gd name="connsiteX283" fmla="*/ 603217 w 608129"/>
                <a:gd name="connsiteY283" fmla="*/ 264994 h 343858"/>
                <a:gd name="connsiteX284" fmla="*/ 550809 w 608129"/>
                <a:gd name="connsiteY284" fmla="*/ 296843 h 343858"/>
                <a:gd name="connsiteX285" fmla="*/ 544733 w 608129"/>
                <a:gd name="connsiteY285" fmla="*/ 312768 h 343858"/>
                <a:gd name="connsiteX286" fmla="*/ 516631 w 608129"/>
                <a:gd name="connsiteY286" fmla="*/ 343858 h 343858"/>
                <a:gd name="connsiteX287" fmla="*/ 91295 w 608129"/>
                <a:gd name="connsiteY287" fmla="*/ 343858 h 343858"/>
                <a:gd name="connsiteX288" fmla="*/ 63952 w 608129"/>
                <a:gd name="connsiteY288" fmla="*/ 312768 h 343858"/>
                <a:gd name="connsiteX289" fmla="*/ 57876 w 608129"/>
                <a:gd name="connsiteY289" fmla="*/ 296843 h 343858"/>
                <a:gd name="connsiteX290" fmla="*/ 4709 w 608129"/>
                <a:gd name="connsiteY290" fmla="*/ 264994 h 343858"/>
                <a:gd name="connsiteX291" fmla="*/ 3950 w 608129"/>
                <a:gd name="connsiteY291" fmla="*/ 263478 h 343858"/>
                <a:gd name="connsiteX292" fmla="*/ 2431 w 608129"/>
                <a:gd name="connsiteY292" fmla="*/ 243003 h 343858"/>
                <a:gd name="connsiteX293" fmla="*/ 19900 w 608129"/>
                <a:gd name="connsiteY293" fmla="*/ 232387 h 343858"/>
                <a:gd name="connsiteX294" fmla="*/ 31293 w 608129"/>
                <a:gd name="connsiteY294" fmla="*/ 232387 h 343858"/>
                <a:gd name="connsiteX295" fmla="*/ 49521 w 608129"/>
                <a:gd name="connsiteY295" fmla="*/ 208880 h 343858"/>
                <a:gd name="connsiteX296" fmla="*/ 57117 w 608129"/>
                <a:gd name="connsiteY296" fmla="*/ 187647 h 343858"/>
                <a:gd name="connsiteX297" fmla="*/ 68510 w 608129"/>
                <a:gd name="connsiteY297" fmla="*/ 182339 h 343858"/>
                <a:gd name="connsiteX298" fmla="*/ 76864 w 608129"/>
                <a:gd name="connsiteY298" fmla="*/ 177031 h 343858"/>
                <a:gd name="connsiteX299" fmla="*/ 79902 w 608129"/>
                <a:gd name="connsiteY299" fmla="*/ 167931 h 343858"/>
                <a:gd name="connsiteX300" fmla="*/ 79902 w 608129"/>
                <a:gd name="connsiteY300" fmla="*/ 164140 h 343858"/>
                <a:gd name="connsiteX301" fmla="*/ 73826 w 608129"/>
                <a:gd name="connsiteY301" fmla="*/ 139116 h 343858"/>
                <a:gd name="connsiteX302" fmla="*/ 87498 w 608129"/>
                <a:gd name="connsiteY302" fmla="*/ 111817 h 343858"/>
                <a:gd name="connsiteX303" fmla="*/ 99650 w 608129"/>
                <a:gd name="connsiteY303" fmla="*/ 101959 h 343858"/>
                <a:gd name="connsiteX304" fmla="*/ 114841 w 608129"/>
                <a:gd name="connsiteY304" fmla="*/ 103476 h 343858"/>
                <a:gd name="connsiteX305" fmla="*/ 142184 w 608129"/>
                <a:gd name="connsiteY305" fmla="*/ 117125 h 343858"/>
                <a:gd name="connsiteX306" fmla="*/ 152058 w 608129"/>
                <a:gd name="connsiteY306" fmla="*/ 129258 h 343858"/>
                <a:gd name="connsiteX307" fmla="*/ 152817 w 608129"/>
                <a:gd name="connsiteY307" fmla="*/ 136083 h 343858"/>
                <a:gd name="connsiteX308" fmla="*/ 178641 w 608129"/>
                <a:gd name="connsiteY308" fmla="*/ 130016 h 343858"/>
                <a:gd name="connsiteX309" fmla="*/ 220415 w 608129"/>
                <a:gd name="connsiteY309" fmla="*/ 84518 h 343858"/>
                <a:gd name="connsiteX310" fmla="*/ 233042 w 608129"/>
                <a:gd name="connsiteY310" fmla="*/ 78357 h 343858"/>
                <a:gd name="connsiteX311" fmla="*/ 162582 w 608129"/>
                <a:gd name="connsiteY311" fmla="*/ 60954 h 343858"/>
                <a:gd name="connsiteX312" fmla="*/ 142076 w 608129"/>
                <a:gd name="connsiteY312" fmla="*/ 80671 h 343858"/>
                <a:gd name="connsiteX313" fmla="*/ 162582 w 608129"/>
                <a:gd name="connsiteY313" fmla="*/ 101147 h 343858"/>
                <a:gd name="connsiteX314" fmla="*/ 182329 w 608129"/>
                <a:gd name="connsiteY314" fmla="*/ 80671 h 343858"/>
                <a:gd name="connsiteX315" fmla="*/ 162582 w 608129"/>
                <a:gd name="connsiteY315" fmla="*/ 60954 h 343858"/>
                <a:gd name="connsiteX316" fmla="*/ 162582 w 608129"/>
                <a:gd name="connsiteY316" fmla="*/ 40478 h 343858"/>
                <a:gd name="connsiteX317" fmla="*/ 202836 w 608129"/>
                <a:gd name="connsiteY317" fmla="*/ 80671 h 343858"/>
                <a:gd name="connsiteX318" fmla="*/ 162582 w 608129"/>
                <a:gd name="connsiteY318" fmla="*/ 121623 h 343858"/>
                <a:gd name="connsiteX319" fmla="*/ 121569 w 608129"/>
                <a:gd name="connsiteY319" fmla="*/ 80671 h 343858"/>
                <a:gd name="connsiteX320" fmla="*/ 162582 w 608129"/>
                <a:gd name="connsiteY320" fmla="*/ 40478 h 343858"/>
                <a:gd name="connsiteX321" fmla="*/ 285697 w 608129"/>
                <a:gd name="connsiteY321" fmla="*/ 32920 h 343858"/>
                <a:gd name="connsiteX322" fmla="*/ 256860 w 608129"/>
                <a:gd name="connsiteY322" fmla="*/ 41258 h 343858"/>
                <a:gd name="connsiteX323" fmla="*/ 265208 w 608129"/>
                <a:gd name="connsiteY323" fmla="*/ 70819 h 343858"/>
                <a:gd name="connsiteX324" fmla="*/ 294045 w 608129"/>
                <a:gd name="connsiteY324" fmla="*/ 62481 h 343858"/>
                <a:gd name="connsiteX325" fmla="*/ 364659 w 608129"/>
                <a:gd name="connsiteY325" fmla="*/ 20767 h 343858"/>
                <a:gd name="connsiteX326" fmla="*/ 355552 w 608129"/>
                <a:gd name="connsiteY326" fmla="*/ 23799 h 343858"/>
                <a:gd name="connsiteX327" fmla="*/ 376044 w 608129"/>
                <a:gd name="connsiteY327" fmla="*/ 81416 h 343858"/>
                <a:gd name="connsiteX328" fmla="*/ 385910 w 608129"/>
                <a:gd name="connsiteY328" fmla="*/ 77625 h 343858"/>
                <a:gd name="connsiteX329" fmla="*/ 280385 w 608129"/>
                <a:gd name="connsiteY329" fmla="*/ 13971 h 343858"/>
                <a:gd name="connsiteX330" fmla="*/ 295563 w 608129"/>
                <a:gd name="connsiteY330" fmla="*/ 15487 h 343858"/>
                <a:gd name="connsiteX331" fmla="*/ 305428 w 608129"/>
                <a:gd name="connsiteY331" fmla="*/ 27614 h 343858"/>
                <a:gd name="connsiteX332" fmla="*/ 313776 w 608129"/>
                <a:gd name="connsiteY332" fmla="*/ 57176 h 343858"/>
                <a:gd name="connsiteX333" fmla="*/ 311500 w 608129"/>
                <a:gd name="connsiteY333" fmla="*/ 72335 h 343858"/>
                <a:gd name="connsiteX334" fmla="*/ 299357 w 608129"/>
                <a:gd name="connsiteY334" fmla="*/ 82189 h 343858"/>
                <a:gd name="connsiteX335" fmla="*/ 270520 w 608129"/>
                <a:gd name="connsiteY335" fmla="*/ 90527 h 343858"/>
                <a:gd name="connsiteX336" fmla="*/ 265208 w 608129"/>
                <a:gd name="connsiteY336" fmla="*/ 91285 h 343858"/>
                <a:gd name="connsiteX337" fmla="*/ 255342 w 608129"/>
                <a:gd name="connsiteY337" fmla="*/ 88253 h 343858"/>
                <a:gd name="connsiteX338" fmla="*/ 245477 w 608129"/>
                <a:gd name="connsiteY338" fmla="*/ 76125 h 343858"/>
                <a:gd name="connsiteX339" fmla="*/ 237129 w 608129"/>
                <a:gd name="connsiteY339" fmla="*/ 47322 h 343858"/>
                <a:gd name="connsiteX340" fmla="*/ 238647 w 608129"/>
                <a:gd name="connsiteY340" fmla="*/ 32162 h 343858"/>
                <a:gd name="connsiteX341" fmla="*/ 250789 w 608129"/>
                <a:gd name="connsiteY341" fmla="*/ 22309 h 343858"/>
                <a:gd name="connsiteX342" fmla="*/ 359347 w 608129"/>
                <a:gd name="connsiteY342" fmla="*/ 1056 h 343858"/>
                <a:gd name="connsiteX343" fmla="*/ 373767 w 608129"/>
                <a:gd name="connsiteY343" fmla="*/ 1814 h 343858"/>
                <a:gd name="connsiteX344" fmla="*/ 383633 w 608129"/>
                <a:gd name="connsiteY344" fmla="*/ 12428 h 343858"/>
                <a:gd name="connsiteX345" fmla="*/ 404884 w 608129"/>
                <a:gd name="connsiteY345" fmla="*/ 72318 h 343858"/>
                <a:gd name="connsiteX346" fmla="*/ 404884 w 608129"/>
                <a:gd name="connsiteY346" fmla="*/ 86723 h 343858"/>
                <a:gd name="connsiteX347" fmla="*/ 394259 w 608129"/>
                <a:gd name="connsiteY347" fmla="*/ 95820 h 343858"/>
                <a:gd name="connsiteX348" fmla="*/ 381356 w 608129"/>
                <a:gd name="connsiteY348" fmla="*/ 100369 h 343858"/>
                <a:gd name="connsiteX349" fmla="*/ 375285 w 608129"/>
                <a:gd name="connsiteY349" fmla="*/ 101885 h 343858"/>
                <a:gd name="connsiteX350" fmla="*/ 367695 w 608129"/>
                <a:gd name="connsiteY350" fmla="*/ 100369 h 343858"/>
                <a:gd name="connsiteX351" fmla="*/ 357829 w 608129"/>
                <a:gd name="connsiteY351" fmla="*/ 89755 h 343858"/>
                <a:gd name="connsiteX352" fmla="*/ 335819 w 608129"/>
                <a:gd name="connsiteY352" fmla="*/ 29864 h 343858"/>
                <a:gd name="connsiteX353" fmla="*/ 336578 w 608129"/>
                <a:gd name="connsiteY353" fmla="*/ 15460 h 343858"/>
                <a:gd name="connsiteX354" fmla="*/ 347203 w 608129"/>
                <a:gd name="connsiteY354" fmla="*/ 5605 h 34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</a:cxnLst>
              <a:rect l="l" t="t" r="r" b="b"/>
              <a:pathLst>
                <a:path w="72860" h="102345">
                  <a:moveTo>
                    <a:pt x="25046" y="1516"/>
                  </a:moveTo>
                  <a:cubicBezTo>
                    <a:pt x="29599" y="0"/>
                    <a:pt x="34912" y="0"/>
                    <a:pt x="39466" y="2274"/>
                  </a:cubicBezTo>
                  <a:cubicBezTo>
                    <a:pt x="44020" y="4548"/>
                    <a:pt x="47055" y="8339"/>
                    <a:pt x="49332" y="12888"/>
                  </a:cubicBezTo>
                  <a:lnTo>
                    <a:pt x="70583" y="72778"/>
                  </a:lnTo>
                  <a:cubicBezTo>
                    <a:pt x="72860" y="77327"/>
                    <a:pt x="72101" y="82634"/>
                    <a:pt x="70583" y="87183"/>
                  </a:cubicBezTo>
                  <a:cubicBezTo>
                    <a:pt x="68306" y="91731"/>
                    <a:pt x="64511" y="94764"/>
                    <a:pt x="59958" y="96280"/>
                  </a:cubicBezTo>
                  <a:lnTo>
                    <a:pt x="47055" y="100829"/>
                  </a:lnTo>
                  <a:cubicBezTo>
                    <a:pt x="45537" y="101587"/>
                    <a:pt x="43261" y="102345"/>
                    <a:pt x="40984" y="102345"/>
                  </a:cubicBezTo>
                  <a:cubicBezTo>
                    <a:pt x="37948" y="102345"/>
                    <a:pt x="35671" y="101587"/>
                    <a:pt x="33394" y="100829"/>
                  </a:cubicBezTo>
                  <a:cubicBezTo>
                    <a:pt x="28840" y="98554"/>
                    <a:pt x="25046" y="94764"/>
                    <a:pt x="23528" y="90215"/>
                  </a:cubicBezTo>
                  <a:lnTo>
                    <a:pt x="1518" y="30324"/>
                  </a:lnTo>
                  <a:cubicBezTo>
                    <a:pt x="0" y="25017"/>
                    <a:pt x="0" y="20469"/>
                    <a:pt x="2277" y="15920"/>
                  </a:cubicBezTo>
                  <a:cubicBezTo>
                    <a:pt x="4554" y="11371"/>
                    <a:pt x="7590" y="7581"/>
                    <a:pt x="12902" y="6065"/>
                  </a:cubicBezTo>
                </a:path>
              </a:pathLst>
            </a:custGeom>
            <a:noFill/>
            <a:ln w="44450">
              <a:gradFill>
                <a:gsLst>
                  <a:gs pos="0">
                    <a:schemeClr val="accent3"/>
                  </a:gs>
                  <a:gs pos="100000">
                    <a:schemeClr val="accent3">
                      <a:lumMod val="5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zh-CN" altLang="en-US">
                <a:gradFill flip="none" rotWithShape="1">
                  <a:gsLst>
                    <a:gs pos="89000">
                      <a:schemeClr val="bg1"/>
                    </a:gs>
                    <a:gs pos="0">
                      <a:schemeClr val="accent2"/>
                    </a:gs>
                  </a:gsLst>
                  <a:lin ang="13500000" scaled="1"/>
                  <a:tileRect/>
                </a:gradFill>
              </a:endParaRPr>
            </a:p>
          </p:txBody>
        </p:sp>
        <p:sp>
          <p:nvSpPr>
            <p:cNvPr id="199" name="任意多边形: 形状 198"/>
            <p:cNvSpPr>
              <a:spLocks/>
            </p:cNvSpPr>
            <p:nvPr userDrawn="1"/>
          </p:nvSpPr>
          <p:spPr bwMode="auto">
            <a:xfrm rot="6884145" flipH="1">
              <a:off x="3330285" y="3443381"/>
              <a:ext cx="45719" cy="64401"/>
            </a:xfrm>
            <a:custGeom>
              <a:avLst/>
              <a:gdLst>
                <a:gd name="connsiteX0" fmla="*/ 193001 w 608129"/>
                <a:gd name="connsiteY0" fmla="*/ 283182 h 343858"/>
                <a:gd name="connsiteX1" fmla="*/ 506699 w 608129"/>
                <a:gd name="connsiteY1" fmla="*/ 283182 h 343858"/>
                <a:gd name="connsiteX2" fmla="*/ 516573 w 608129"/>
                <a:gd name="connsiteY2" fmla="*/ 293038 h 343858"/>
                <a:gd name="connsiteX3" fmla="*/ 506699 w 608129"/>
                <a:gd name="connsiteY3" fmla="*/ 303651 h 343858"/>
                <a:gd name="connsiteX4" fmla="*/ 193001 w 608129"/>
                <a:gd name="connsiteY4" fmla="*/ 303651 h 343858"/>
                <a:gd name="connsiteX5" fmla="*/ 182367 w 608129"/>
                <a:gd name="connsiteY5" fmla="*/ 293038 h 343858"/>
                <a:gd name="connsiteX6" fmla="*/ 193001 w 608129"/>
                <a:gd name="connsiteY6" fmla="*/ 283182 h 343858"/>
                <a:gd name="connsiteX7" fmla="*/ 101866 w 608129"/>
                <a:gd name="connsiteY7" fmla="*/ 283182 h 343858"/>
                <a:gd name="connsiteX8" fmla="*/ 142885 w 608129"/>
                <a:gd name="connsiteY8" fmla="*/ 283182 h 343858"/>
                <a:gd name="connsiteX9" fmla="*/ 152760 w 608129"/>
                <a:gd name="connsiteY9" fmla="*/ 293038 h 343858"/>
                <a:gd name="connsiteX10" fmla="*/ 142885 w 608129"/>
                <a:gd name="connsiteY10" fmla="*/ 303651 h 343858"/>
                <a:gd name="connsiteX11" fmla="*/ 101866 w 608129"/>
                <a:gd name="connsiteY11" fmla="*/ 303651 h 343858"/>
                <a:gd name="connsiteX12" fmla="*/ 91231 w 608129"/>
                <a:gd name="connsiteY12" fmla="*/ 293038 h 343858"/>
                <a:gd name="connsiteX13" fmla="*/ 101866 w 608129"/>
                <a:gd name="connsiteY13" fmla="*/ 283182 h 343858"/>
                <a:gd name="connsiteX14" fmla="*/ 23697 w 608129"/>
                <a:gd name="connsiteY14" fmla="*/ 252861 h 343858"/>
                <a:gd name="connsiteX15" fmla="*/ 72307 w 608129"/>
                <a:gd name="connsiteY15" fmla="*/ 281677 h 343858"/>
                <a:gd name="connsiteX16" fmla="*/ 73826 w 608129"/>
                <a:gd name="connsiteY16" fmla="*/ 283952 h 343858"/>
                <a:gd name="connsiteX17" fmla="*/ 82941 w 608129"/>
                <a:gd name="connsiteY17" fmla="*/ 307460 h 343858"/>
                <a:gd name="connsiteX18" fmla="*/ 91295 w 608129"/>
                <a:gd name="connsiteY18" fmla="*/ 323384 h 343858"/>
                <a:gd name="connsiteX19" fmla="*/ 516631 w 608129"/>
                <a:gd name="connsiteY19" fmla="*/ 323384 h 343858"/>
                <a:gd name="connsiteX20" fmla="*/ 525745 w 608129"/>
                <a:gd name="connsiteY20" fmla="*/ 307460 h 343858"/>
                <a:gd name="connsiteX21" fmla="*/ 534859 w 608129"/>
                <a:gd name="connsiteY21" fmla="*/ 283952 h 343858"/>
                <a:gd name="connsiteX22" fmla="*/ 536378 w 608129"/>
                <a:gd name="connsiteY22" fmla="*/ 281677 h 343858"/>
                <a:gd name="connsiteX23" fmla="*/ 584229 w 608129"/>
                <a:gd name="connsiteY23" fmla="*/ 252861 h 343858"/>
                <a:gd name="connsiteX24" fmla="*/ 569798 w 608129"/>
                <a:gd name="connsiteY24" fmla="*/ 252861 h 343858"/>
                <a:gd name="connsiteX25" fmla="*/ 413335 w 608129"/>
                <a:gd name="connsiteY25" fmla="*/ 252861 h 343858"/>
                <a:gd name="connsiteX26" fmla="*/ 401942 w 608129"/>
                <a:gd name="connsiteY26" fmla="*/ 252861 h 343858"/>
                <a:gd name="connsiteX27" fmla="*/ 35850 w 608129"/>
                <a:gd name="connsiteY27" fmla="*/ 252861 h 343858"/>
                <a:gd name="connsiteX28" fmla="*/ 254526 w 608129"/>
                <a:gd name="connsiteY28" fmla="*/ 201295 h 343858"/>
                <a:gd name="connsiteX29" fmla="*/ 257557 w 608129"/>
                <a:gd name="connsiteY29" fmla="*/ 214952 h 343858"/>
                <a:gd name="connsiteX30" fmla="*/ 249221 w 608129"/>
                <a:gd name="connsiteY30" fmla="*/ 227091 h 343858"/>
                <a:gd name="connsiteX31" fmla="*/ 240886 w 608129"/>
                <a:gd name="connsiteY31" fmla="*/ 231644 h 343858"/>
                <a:gd name="connsiteX32" fmla="*/ 235581 w 608129"/>
                <a:gd name="connsiteY32" fmla="*/ 229368 h 343858"/>
                <a:gd name="connsiteX33" fmla="*/ 232550 w 608129"/>
                <a:gd name="connsiteY33" fmla="*/ 215710 h 343858"/>
                <a:gd name="connsiteX34" fmla="*/ 240886 w 608129"/>
                <a:gd name="connsiteY34" fmla="*/ 203571 h 343858"/>
                <a:gd name="connsiteX35" fmla="*/ 254526 w 608129"/>
                <a:gd name="connsiteY35" fmla="*/ 201295 h 343858"/>
                <a:gd name="connsiteX36" fmla="*/ 293998 w 608129"/>
                <a:gd name="connsiteY36" fmla="*/ 199043 h 343858"/>
                <a:gd name="connsiteX37" fmla="*/ 307670 w 608129"/>
                <a:gd name="connsiteY37" fmla="*/ 202827 h 343858"/>
                <a:gd name="connsiteX38" fmla="*/ 314506 w 608129"/>
                <a:gd name="connsiteY38" fmla="*/ 214937 h 343858"/>
                <a:gd name="connsiteX39" fmla="*/ 304632 w 608129"/>
                <a:gd name="connsiteY39" fmla="*/ 222506 h 343858"/>
                <a:gd name="connsiteX40" fmla="*/ 302353 w 608129"/>
                <a:gd name="connsiteY40" fmla="*/ 221749 h 343858"/>
                <a:gd name="connsiteX41" fmla="*/ 288681 w 608129"/>
                <a:gd name="connsiteY41" fmla="*/ 218721 h 343858"/>
                <a:gd name="connsiteX42" fmla="*/ 281845 w 608129"/>
                <a:gd name="connsiteY42" fmla="*/ 205854 h 343858"/>
                <a:gd name="connsiteX43" fmla="*/ 293998 w 608129"/>
                <a:gd name="connsiteY43" fmla="*/ 199043 h 343858"/>
                <a:gd name="connsiteX44" fmla="*/ 113257 w 608129"/>
                <a:gd name="connsiteY44" fmla="*/ 193732 h 343858"/>
                <a:gd name="connsiteX45" fmla="*/ 125378 w 608129"/>
                <a:gd name="connsiteY45" fmla="*/ 201299 h 343858"/>
                <a:gd name="connsiteX46" fmla="*/ 128408 w 608129"/>
                <a:gd name="connsiteY46" fmla="*/ 214920 h 343858"/>
                <a:gd name="connsiteX47" fmla="*/ 120075 w 608129"/>
                <a:gd name="connsiteY47" fmla="*/ 219460 h 343858"/>
                <a:gd name="connsiteX48" fmla="*/ 114773 w 608129"/>
                <a:gd name="connsiteY48" fmla="*/ 217946 h 343858"/>
                <a:gd name="connsiteX49" fmla="*/ 102652 w 608129"/>
                <a:gd name="connsiteY49" fmla="*/ 211136 h 343858"/>
                <a:gd name="connsiteX50" fmla="*/ 99622 w 608129"/>
                <a:gd name="connsiteY50" fmla="*/ 196759 h 343858"/>
                <a:gd name="connsiteX51" fmla="*/ 113257 w 608129"/>
                <a:gd name="connsiteY51" fmla="*/ 193732 h 343858"/>
                <a:gd name="connsiteX52" fmla="*/ 367752 w 608129"/>
                <a:gd name="connsiteY52" fmla="*/ 192974 h 343858"/>
                <a:gd name="connsiteX53" fmla="*/ 380665 w 608129"/>
                <a:gd name="connsiteY53" fmla="*/ 199023 h 343858"/>
                <a:gd name="connsiteX54" fmla="*/ 373829 w 608129"/>
                <a:gd name="connsiteY54" fmla="*/ 211877 h 343858"/>
                <a:gd name="connsiteX55" fmla="*/ 360917 w 608129"/>
                <a:gd name="connsiteY55" fmla="*/ 216414 h 343858"/>
                <a:gd name="connsiteX56" fmla="*/ 357119 w 608129"/>
                <a:gd name="connsiteY56" fmla="*/ 216414 h 343858"/>
                <a:gd name="connsiteX57" fmla="*/ 348004 w 608129"/>
                <a:gd name="connsiteY57" fmla="*/ 209609 h 343858"/>
                <a:gd name="connsiteX58" fmla="*/ 354081 w 608129"/>
                <a:gd name="connsiteY58" fmla="*/ 196755 h 343858"/>
                <a:gd name="connsiteX59" fmla="*/ 473099 w 608129"/>
                <a:gd name="connsiteY59" fmla="*/ 187878 h 343858"/>
                <a:gd name="connsiteX60" fmla="*/ 480904 w 608129"/>
                <a:gd name="connsiteY60" fmla="*/ 189869 h 343858"/>
                <a:gd name="connsiteX61" fmla="*/ 483189 w 608129"/>
                <a:gd name="connsiteY61" fmla="*/ 203526 h 343858"/>
                <a:gd name="connsiteX62" fmla="*/ 475574 w 608129"/>
                <a:gd name="connsiteY62" fmla="*/ 214907 h 343858"/>
                <a:gd name="connsiteX63" fmla="*/ 467198 w 608129"/>
                <a:gd name="connsiteY63" fmla="*/ 219460 h 343858"/>
                <a:gd name="connsiteX64" fmla="*/ 461106 w 608129"/>
                <a:gd name="connsiteY64" fmla="*/ 217942 h 343858"/>
                <a:gd name="connsiteX65" fmla="*/ 458821 w 608129"/>
                <a:gd name="connsiteY65" fmla="*/ 203526 h 343858"/>
                <a:gd name="connsiteX66" fmla="*/ 466436 w 608129"/>
                <a:gd name="connsiteY66" fmla="*/ 192146 h 343858"/>
                <a:gd name="connsiteX67" fmla="*/ 473099 w 608129"/>
                <a:gd name="connsiteY67" fmla="*/ 187878 h 343858"/>
                <a:gd name="connsiteX68" fmla="*/ 410279 w 608129"/>
                <a:gd name="connsiteY68" fmla="*/ 182352 h 343858"/>
                <a:gd name="connsiteX69" fmla="*/ 422434 w 608129"/>
                <a:gd name="connsiteY69" fmla="*/ 189169 h 343858"/>
                <a:gd name="connsiteX70" fmla="*/ 426233 w 608129"/>
                <a:gd name="connsiteY70" fmla="*/ 202805 h 343858"/>
                <a:gd name="connsiteX71" fmla="*/ 418636 w 608129"/>
                <a:gd name="connsiteY71" fmla="*/ 215683 h 343858"/>
                <a:gd name="connsiteX72" fmla="*/ 416356 w 608129"/>
                <a:gd name="connsiteY72" fmla="*/ 215683 h 343858"/>
                <a:gd name="connsiteX73" fmla="*/ 406480 w 608129"/>
                <a:gd name="connsiteY73" fmla="*/ 208108 h 343858"/>
                <a:gd name="connsiteX74" fmla="*/ 402682 w 608129"/>
                <a:gd name="connsiteY74" fmla="*/ 194472 h 343858"/>
                <a:gd name="connsiteX75" fmla="*/ 410279 w 608129"/>
                <a:gd name="connsiteY75" fmla="*/ 182352 h 343858"/>
                <a:gd name="connsiteX76" fmla="*/ 188501 w 608129"/>
                <a:gd name="connsiteY76" fmla="*/ 179282 h 343858"/>
                <a:gd name="connsiteX77" fmla="*/ 202945 w 608129"/>
                <a:gd name="connsiteY77" fmla="*/ 180043 h 343858"/>
                <a:gd name="connsiteX78" fmla="*/ 212067 w 608129"/>
                <a:gd name="connsiteY78" fmla="*/ 191449 h 343858"/>
                <a:gd name="connsiteX79" fmla="*/ 202185 w 608129"/>
                <a:gd name="connsiteY79" fmla="*/ 200575 h 343858"/>
                <a:gd name="connsiteX80" fmla="*/ 201424 w 608129"/>
                <a:gd name="connsiteY80" fmla="*/ 200575 h 343858"/>
                <a:gd name="connsiteX81" fmla="*/ 186981 w 608129"/>
                <a:gd name="connsiteY81" fmla="*/ 199814 h 343858"/>
                <a:gd name="connsiteX82" fmla="*/ 177859 w 608129"/>
                <a:gd name="connsiteY82" fmla="*/ 188408 h 343858"/>
                <a:gd name="connsiteX83" fmla="*/ 188501 w 608129"/>
                <a:gd name="connsiteY83" fmla="*/ 179282 h 343858"/>
                <a:gd name="connsiteX84" fmla="*/ 160344 w 608129"/>
                <a:gd name="connsiteY84" fmla="*/ 165596 h 343858"/>
                <a:gd name="connsiteX85" fmla="*/ 163375 w 608129"/>
                <a:gd name="connsiteY85" fmla="*/ 180011 h 343858"/>
                <a:gd name="connsiteX86" fmla="*/ 155797 w 608129"/>
                <a:gd name="connsiteY86" fmla="*/ 191392 h 343858"/>
                <a:gd name="connsiteX87" fmla="*/ 147461 w 608129"/>
                <a:gd name="connsiteY87" fmla="*/ 195945 h 343858"/>
                <a:gd name="connsiteX88" fmla="*/ 141399 w 608129"/>
                <a:gd name="connsiteY88" fmla="*/ 194427 h 343858"/>
                <a:gd name="connsiteX89" fmla="*/ 139126 w 608129"/>
                <a:gd name="connsiteY89" fmla="*/ 180011 h 343858"/>
                <a:gd name="connsiteX90" fmla="*/ 146704 w 608129"/>
                <a:gd name="connsiteY90" fmla="*/ 168631 h 343858"/>
                <a:gd name="connsiteX91" fmla="*/ 160344 w 608129"/>
                <a:gd name="connsiteY91" fmla="*/ 165596 h 343858"/>
                <a:gd name="connsiteX92" fmla="*/ 338113 w 608129"/>
                <a:gd name="connsiteY92" fmla="*/ 164888 h 343858"/>
                <a:gd name="connsiteX93" fmla="*/ 352554 w 608129"/>
                <a:gd name="connsiteY93" fmla="*/ 164888 h 343858"/>
                <a:gd name="connsiteX94" fmla="*/ 352554 w 608129"/>
                <a:gd name="connsiteY94" fmla="*/ 179285 h 343858"/>
                <a:gd name="connsiteX95" fmla="*/ 342673 w 608129"/>
                <a:gd name="connsiteY95" fmla="*/ 189137 h 343858"/>
                <a:gd name="connsiteX96" fmla="*/ 335073 w 608129"/>
                <a:gd name="connsiteY96" fmla="*/ 192168 h 343858"/>
                <a:gd name="connsiteX97" fmla="*/ 328232 w 608129"/>
                <a:gd name="connsiteY97" fmla="*/ 189137 h 343858"/>
                <a:gd name="connsiteX98" fmla="*/ 328232 w 608129"/>
                <a:gd name="connsiteY98" fmla="*/ 174739 h 343858"/>
                <a:gd name="connsiteX99" fmla="*/ 438352 w 608129"/>
                <a:gd name="connsiteY99" fmla="*/ 163394 h 343858"/>
                <a:gd name="connsiteX100" fmla="*/ 449715 w 608129"/>
                <a:gd name="connsiteY100" fmla="*/ 170961 h 343858"/>
                <a:gd name="connsiteX101" fmla="*/ 453502 w 608129"/>
                <a:gd name="connsiteY101" fmla="*/ 184582 h 343858"/>
                <a:gd name="connsiteX102" fmla="*/ 444412 w 608129"/>
                <a:gd name="connsiteY102" fmla="*/ 189122 h 343858"/>
                <a:gd name="connsiteX103" fmla="*/ 439110 w 608129"/>
                <a:gd name="connsiteY103" fmla="*/ 187608 h 343858"/>
                <a:gd name="connsiteX104" fmla="*/ 427747 w 608129"/>
                <a:gd name="connsiteY104" fmla="*/ 180798 h 343858"/>
                <a:gd name="connsiteX105" fmla="*/ 423959 w 608129"/>
                <a:gd name="connsiteY105" fmla="*/ 166421 h 343858"/>
                <a:gd name="connsiteX106" fmla="*/ 438352 w 608129"/>
                <a:gd name="connsiteY106" fmla="*/ 163394 h 343858"/>
                <a:gd name="connsiteX107" fmla="*/ 237851 w 608129"/>
                <a:gd name="connsiteY107" fmla="*/ 158043 h 343858"/>
                <a:gd name="connsiteX108" fmla="*/ 249244 w 608129"/>
                <a:gd name="connsiteY108" fmla="*/ 165635 h 343858"/>
                <a:gd name="connsiteX109" fmla="*/ 253042 w 608129"/>
                <a:gd name="connsiteY109" fmla="*/ 179300 h 343858"/>
                <a:gd name="connsiteX110" fmla="*/ 243927 w 608129"/>
                <a:gd name="connsiteY110" fmla="*/ 184614 h 343858"/>
                <a:gd name="connsiteX111" fmla="*/ 238610 w 608129"/>
                <a:gd name="connsiteY111" fmla="*/ 183095 h 343858"/>
                <a:gd name="connsiteX112" fmla="*/ 227217 w 608129"/>
                <a:gd name="connsiteY112" fmla="*/ 175504 h 343858"/>
                <a:gd name="connsiteX113" fmla="*/ 223419 w 608129"/>
                <a:gd name="connsiteY113" fmla="*/ 161839 h 343858"/>
                <a:gd name="connsiteX114" fmla="*/ 237851 w 608129"/>
                <a:gd name="connsiteY114" fmla="*/ 158043 h 343858"/>
                <a:gd name="connsiteX115" fmla="*/ 285637 w 608129"/>
                <a:gd name="connsiteY115" fmla="*/ 155767 h 343858"/>
                <a:gd name="connsiteX116" fmla="*/ 299320 w 608129"/>
                <a:gd name="connsiteY116" fmla="*/ 156528 h 343858"/>
                <a:gd name="connsiteX117" fmla="*/ 308442 w 608129"/>
                <a:gd name="connsiteY117" fmla="*/ 167174 h 343858"/>
                <a:gd name="connsiteX118" fmla="*/ 298560 w 608129"/>
                <a:gd name="connsiteY118" fmla="*/ 177060 h 343858"/>
                <a:gd name="connsiteX119" fmla="*/ 297799 w 608129"/>
                <a:gd name="connsiteY119" fmla="*/ 177060 h 343858"/>
                <a:gd name="connsiteX120" fmla="*/ 284116 w 608129"/>
                <a:gd name="connsiteY120" fmla="*/ 175539 h 343858"/>
                <a:gd name="connsiteX121" fmla="*/ 274234 w 608129"/>
                <a:gd name="connsiteY121" fmla="*/ 164893 h 343858"/>
                <a:gd name="connsiteX122" fmla="*/ 285637 w 608129"/>
                <a:gd name="connsiteY122" fmla="*/ 155767 h 343858"/>
                <a:gd name="connsiteX123" fmla="*/ 374580 w 608129"/>
                <a:gd name="connsiteY123" fmla="*/ 140655 h 343858"/>
                <a:gd name="connsiteX124" fmla="*/ 388263 w 608129"/>
                <a:gd name="connsiteY124" fmla="*/ 141411 h 343858"/>
                <a:gd name="connsiteX125" fmla="*/ 398145 w 608129"/>
                <a:gd name="connsiteY125" fmla="*/ 152755 h 343858"/>
                <a:gd name="connsiteX126" fmla="*/ 387503 w 608129"/>
                <a:gd name="connsiteY126" fmla="*/ 161830 h 343858"/>
                <a:gd name="connsiteX127" fmla="*/ 386742 w 608129"/>
                <a:gd name="connsiteY127" fmla="*/ 161830 h 343858"/>
                <a:gd name="connsiteX128" fmla="*/ 373059 w 608129"/>
                <a:gd name="connsiteY128" fmla="*/ 160317 h 343858"/>
                <a:gd name="connsiteX129" fmla="*/ 363937 w 608129"/>
                <a:gd name="connsiteY129" fmla="*/ 149730 h 343858"/>
                <a:gd name="connsiteX130" fmla="*/ 374580 w 608129"/>
                <a:gd name="connsiteY130" fmla="*/ 140655 h 343858"/>
                <a:gd name="connsiteX131" fmla="*/ 363206 w 608129"/>
                <a:gd name="connsiteY131" fmla="*/ 133808 h 343858"/>
                <a:gd name="connsiteX132" fmla="*/ 362447 w 608129"/>
                <a:gd name="connsiteY132" fmla="*/ 134566 h 343858"/>
                <a:gd name="connsiteX133" fmla="*/ 360168 w 608129"/>
                <a:gd name="connsiteY133" fmla="*/ 139874 h 343858"/>
                <a:gd name="connsiteX134" fmla="*/ 344218 w 608129"/>
                <a:gd name="connsiteY134" fmla="*/ 156557 h 343858"/>
                <a:gd name="connsiteX135" fmla="*/ 341939 w 608129"/>
                <a:gd name="connsiteY135" fmla="*/ 157315 h 343858"/>
                <a:gd name="connsiteX136" fmla="*/ 338142 w 608129"/>
                <a:gd name="connsiteY136" fmla="*/ 158832 h 343858"/>
                <a:gd name="connsiteX137" fmla="*/ 335104 w 608129"/>
                <a:gd name="connsiteY137" fmla="*/ 160348 h 343858"/>
                <a:gd name="connsiteX138" fmla="*/ 332066 w 608129"/>
                <a:gd name="connsiteY138" fmla="*/ 161107 h 343858"/>
                <a:gd name="connsiteX139" fmla="*/ 324470 w 608129"/>
                <a:gd name="connsiteY139" fmla="*/ 161865 h 343858"/>
                <a:gd name="connsiteX140" fmla="*/ 317634 w 608129"/>
                <a:gd name="connsiteY140" fmla="*/ 161107 h 343858"/>
                <a:gd name="connsiteX141" fmla="*/ 314596 w 608129"/>
                <a:gd name="connsiteY141" fmla="*/ 160348 h 343858"/>
                <a:gd name="connsiteX142" fmla="*/ 310799 w 608129"/>
                <a:gd name="connsiteY142" fmla="*/ 158832 h 343858"/>
                <a:gd name="connsiteX143" fmla="*/ 307761 w 608129"/>
                <a:gd name="connsiteY143" fmla="*/ 158073 h 343858"/>
                <a:gd name="connsiteX144" fmla="*/ 304723 w 608129"/>
                <a:gd name="connsiteY144" fmla="*/ 156557 h 343858"/>
                <a:gd name="connsiteX145" fmla="*/ 297887 w 608129"/>
                <a:gd name="connsiteY145" fmla="*/ 151249 h 343858"/>
                <a:gd name="connsiteX146" fmla="*/ 297127 w 608129"/>
                <a:gd name="connsiteY146" fmla="*/ 150490 h 343858"/>
                <a:gd name="connsiteX147" fmla="*/ 294089 w 608129"/>
                <a:gd name="connsiteY147" fmla="*/ 147457 h 343858"/>
                <a:gd name="connsiteX148" fmla="*/ 292570 w 608129"/>
                <a:gd name="connsiteY148" fmla="*/ 145941 h 343858"/>
                <a:gd name="connsiteX149" fmla="*/ 289532 w 608129"/>
                <a:gd name="connsiteY149" fmla="*/ 142149 h 343858"/>
                <a:gd name="connsiteX150" fmla="*/ 289532 w 608129"/>
                <a:gd name="connsiteY150" fmla="*/ 140633 h 343858"/>
                <a:gd name="connsiteX151" fmla="*/ 287253 w 608129"/>
                <a:gd name="connsiteY151" fmla="*/ 136083 h 343858"/>
                <a:gd name="connsiteX152" fmla="*/ 237125 w 608129"/>
                <a:gd name="connsiteY152" fmla="*/ 141391 h 343858"/>
                <a:gd name="connsiteX153" fmla="*/ 215098 w 608129"/>
                <a:gd name="connsiteY153" fmla="*/ 165657 h 343858"/>
                <a:gd name="connsiteX154" fmla="*/ 214339 w 608129"/>
                <a:gd name="connsiteY154" fmla="*/ 166415 h 343858"/>
                <a:gd name="connsiteX155" fmla="*/ 212060 w 608129"/>
                <a:gd name="connsiteY155" fmla="*/ 168690 h 343858"/>
                <a:gd name="connsiteX156" fmla="*/ 211301 w 608129"/>
                <a:gd name="connsiteY156" fmla="*/ 168690 h 343858"/>
                <a:gd name="connsiteX157" fmla="*/ 209022 w 608129"/>
                <a:gd name="connsiteY157" fmla="*/ 170206 h 343858"/>
                <a:gd name="connsiteX158" fmla="*/ 207503 w 608129"/>
                <a:gd name="connsiteY158" fmla="*/ 170965 h 343858"/>
                <a:gd name="connsiteX159" fmla="*/ 205224 w 608129"/>
                <a:gd name="connsiteY159" fmla="*/ 171723 h 343858"/>
                <a:gd name="connsiteX160" fmla="*/ 203705 w 608129"/>
                <a:gd name="connsiteY160" fmla="*/ 171723 h 343858"/>
                <a:gd name="connsiteX161" fmla="*/ 202186 w 608129"/>
                <a:gd name="connsiteY161" fmla="*/ 171723 h 343858"/>
                <a:gd name="connsiteX162" fmla="*/ 201427 w 608129"/>
                <a:gd name="connsiteY162" fmla="*/ 171723 h 343858"/>
                <a:gd name="connsiteX163" fmla="*/ 199148 w 608129"/>
                <a:gd name="connsiteY163" fmla="*/ 171723 h 343858"/>
                <a:gd name="connsiteX164" fmla="*/ 198389 w 608129"/>
                <a:gd name="connsiteY164" fmla="*/ 171723 h 343858"/>
                <a:gd name="connsiteX165" fmla="*/ 191553 w 608129"/>
                <a:gd name="connsiteY165" fmla="*/ 169448 h 343858"/>
                <a:gd name="connsiteX166" fmla="*/ 188515 w 608129"/>
                <a:gd name="connsiteY166" fmla="*/ 167173 h 343858"/>
                <a:gd name="connsiteX167" fmla="*/ 178641 w 608129"/>
                <a:gd name="connsiteY167" fmla="*/ 158073 h 343858"/>
                <a:gd name="connsiteX168" fmla="*/ 176362 w 608129"/>
                <a:gd name="connsiteY168" fmla="*/ 155040 h 343858"/>
                <a:gd name="connsiteX169" fmla="*/ 175603 w 608129"/>
                <a:gd name="connsiteY169" fmla="*/ 154282 h 343858"/>
                <a:gd name="connsiteX170" fmla="*/ 174084 w 608129"/>
                <a:gd name="connsiteY170" fmla="*/ 152007 h 343858"/>
                <a:gd name="connsiteX171" fmla="*/ 142943 w 608129"/>
                <a:gd name="connsiteY171" fmla="*/ 159590 h 343858"/>
                <a:gd name="connsiteX172" fmla="*/ 136107 w 608129"/>
                <a:gd name="connsiteY172" fmla="*/ 171723 h 343858"/>
                <a:gd name="connsiteX173" fmla="*/ 135348 w 608129"/>
                <a:gd name="connsiteY173" fmla="*/ 173998 h 343858"/>
                <a:gd name="connsiteX174" fmla="*/ 134588 w 608129"/>
                <a:gd name="connsiteY174" fmla="*/ 174756 h 343858"/>
                <a:gd name="connsiteX175" fmla="*/ 133069 w 608129"/>
                <a:gd name="connsiteY175" fmla="*/ 175514 h 343858"/>
                <a:gd name="connsiteX176" fmla="*/ 131550 w 608129"/>
                <a:gd name="connsiteY176" fmla="*/ 177789 h 343858"/>
                <a:gd name="connsiteX177" fmla="*/ 130791 w 608129"/>
                <a:gd name="connsiteY177" fmla="*/ 177789 h 343858"/>
                <a:gd name="connsiteX178" fmla="*/ 124715 w 608129"/>
                <a:gd name="connsiteY178" fmla="*/ 181581 h 343858"/>
                <a:gd name="connsiteX179" fmla="*/ 119398 w 608129"/>
                <a:gd name="connsiteY179" fmla="*/ 182339 h 343858"/>
                <a:gd name="connsiteX180" fmla="*/ 118638 w 608129"/>
                <a:gd name="connsiteY180" fmla="*/ 182339 h 343858"/>
                <a:gd name="connsiteX181" fmla="*/ 117879 w 608129"/>
                <a:gd name="connsiteY181" fmla="*/ 182339 h 343858"/>
                <a:gd name="connsiteX182" fmla="*/ 114841 w 608129"/>
                <a:gd name="connsiteY182" fmla="*/ 182339 h 343858"/>
                <a:gd name="connsiteX183" fmla="*/ 113322 w 608129"/>
                <a:gd name="connsiteY183" fmla="*/ 181581 h 343858"/>
                <a:gd name="connsiteX184" fmla="*/ 109524 w 608129"/>
                <a:gd name="connsiteY184" fmla="*/ 180064 h 343858"/>
                <a:gd name="connsiteX185" fmla="*/ 108764 w 608129"/>
                <a:gd name="connsiteY185" fmla="*/ 180064 h 343858"/>
                <a:gd name="connsiteX186" fmla="*/ 99650 w 608129"/>
                <a:gd name="connsiteY186" fmla="*/ 175514 h 343858"/>
                <a:gd name="connsiteX187" fmla="*/ 92814 w 608129"/>
                <a:gd name="connsiteY187" fmla="*/ 189922 h 343858"/>
                <a:gd name="connsiteX188" fmla="*/ 71548 w 608129"/>
                <a:gd name="connsiteY188" fmla="*/ 202813 h 343858"/>
                <a:gd name="connsiteX189" fmla="*/ 70029 w 608129"/>
                <a:gd name="connsiteY189" fmla="*/ 214188 h 343858"/>
                <a:gd name="connsiteX190" fmla="*/ 61674 w 608129"/>
                <a:gd name="connsiteY190" fmla="*/ 225562 h 343858"/>
                <a:gd name="connsiteX191" fmla="*/ 51800 w 608129"/>
                <a:gd name="connsiteY191" fmla="*/ 232387 h 343858"/>
                <a:gd name="connsiteX192" fmla="*/ 159653 w 608129"/>
                <a:gd name="connsiteY192" fmla="*/ 232387 h 343858"/>
                <a:gd name="connsiteX193" fmla="*/ 158134 w 608129"/>
                <a:gd name="connsiteY193" fmla="*/ 224804 h 343858"/>
                <a:gd name="connsiteX194" fmla="*/ 159653 w 608129"/>
                <a:gd name="connsiteY194" fmla="*/ 211155 h 343858"/>
                <a:gd name="connsiteX195" fmla="*/ 171046 w 608129"/>
                <a:gd name="connsiteY195" fmla="*/ 202813 h 343858"/>
                <a:gd name="connsiteX196" fmla="*/ 179401 w 608129"/>
                <a:gd name="connsiteY196" fmla="*/ 213430 h 343858"/>
                <a:gd name="connsiteX197" fmla="*/ 177881 w 608129"/>
                <a:gd name="connsiteY197" fmla="*/ 227837 h 343858"/>
                <a:gd name="connsiteX198" fmla="*/ 175603 w 608129"/>
                <a:gd name="connsiteY198" fmla="*/ 232387 h 343858"/>
                <a:gd name="connsiteX199" fmla="*/ 402702 w 608129"/>
                <a:gd name="connsiteY199" fmla="*/ 232387 h 343858"/>
                <a:gd name="connsiteX200" fmla="*/ 537897 w 608129"/>
                <a:gd name="connsiteY200" fmla="*/ 232387 h 343858"/>
                <a:gd name="connsiteX201" fmla="*/ 528783 w 608129"/>
                <a:gd name="connsiteY201" fmla="*/ 208880 h 343858"/>
                <a:gd name="connsiteX202" fmla="*/ 528783 w 608129"/>
                <a:gd name="connsiteY202" fmla="*/ 205847 h 343858"/>
                <a:gd name="connsiteX203" fmla="*/ 519669 w 608129"/>
                <a:gd name="connsiteY203" fmla="*/ 196747 h 343858"/>
                <a:gd name="connsiteX204" fmla="*/ 512833 w 608129"/>
                <a:gd name="connsiteY204" fmla="*/ 196747 h 343858"/>
                <a:gd name="connsiteX205" fmla="*/ 501440 w 608129"/>
                <a:gd name="connsiteY205" fmla="*/ 186131 h 343858"/>
                <a:gd name="connsiteX206" fmla="*/ 492326 w 608129"/>
                <a:gd name="connsiteY206" fmla="*/ 177789 h 343858"/>
                <a:gd name="connsiteX207" fmla="*/ 472578 w 608129"/>
                <a:gd name="connsiteY207" fmla="*/ 162623 h 343858"/>
                <a:gd name="connsiteX208" fmla="*/ 463464 w 608129"/>
                <a:gd name="connsiteY208" fmla="*/ 150490 h 343858"/>
                <a:gd name="connsiteX209" fmla="*/ 458907 w 608129"/>
                <a:gd name="connsiteY209" fmla="*/ 152765 h 343858"/>
                <a:gd name="connsiteX210" fmla="*/ 429285 w 608129"/>
                <a:gd name="connsiteY210" fmla="*/ 161107 h 343858"/>
                <a:gd name="connsiteX211" fmla="*/ 424728 w 608129"/>
                <a:gd name="connsiteY211" fmla="*/ 161865 h 343858"/>
                <a:gd name="connsiteX212" fmla="*/ 423968 w 608129"/>
                <a:gd name="connsiteY212" fmla="*/ 161865 h 343858"/>
                <a:gd name="connsiteX213" fmla="*/ 423209 w 608129"/>
                <a:gd name="connsiteY213" fmla="*/ 161865 h 343858"/>
                <a:gd name="connsiteX214" fmla="*/ 420171 w 608129"/>
                <a:gd name="connsiteY214" fmla="*/ 161107 h 343858"/>
                <a:gd name="connsiteX215" fmla="*/ 418652 w 608129"/>
                <a:gd name="connsiteY215" fmla="*/ 161107 h 343858"/>
                <a:gd name="connsiteX216" fmla="*/ 414094 w 608129"/>
                <a:gd name="connsiteY216" fmla="*/ 159590 h 343858"/>
                <a:gd name="connsiteX217" fmla="*/ 407259 w 608129"/>
                <a:gd name="connsiteY217" fmla="*/ 152765 h 343858"/>
                <a:gd name="connsiteX218" fmla="*/ 404221 w 608129"/>
                <a:gd name="connsiteY218" fmla="*/ 147457 h 343858"/>
                <a:gd name="connsiteX219" fmla="*/ 401182 w 608129"/>
                <a:gd name="connsiteY219" fmla="*/ 135324 h 343858"/>
                <a:gd name="connsiteX220" fmla="*/ 363206 w 608129"/>
                <a:gd name="connsiteY220" fmla="*/ 133808 h 343858"/>
                <a:gd name="connsiteX221" fmla="*/ 105726 w 608129"/>
                <a:gd name="connsiteY221" fmla="*/ 121675 h 343858"/>
                <a:gd name="connsiteX222" fmla="*/ 91295 w 608129"/>
                <a:gd name="connsiteY222" fmla="*/ 148216 h 343858"/>
                <a:gd name="connsiteX223" fmla="*/ 117119 w 608129"/>
                <a:gd name="connsiteY223" fmla="*/ 161865 h 343858"/>
                <a:gd name="connsiteX224" fmla="*/ 118638 w 608129"/>
                <a:gd name="connsiteY224" fmla="*/ 162623 h 343858"/>
                <a:gd name="connsiteX225" fmla="*/ 132310 w 608129"/>
                <a:gd name="connsiteY225" fmla="*/ 135324 h 343858"/>
                <a:gd name="connsiteX226" fmla="*/ 445235 w 608129"/>
                <a:gd name="connsiteY226" fmla="*/ 104234 h 343858"/>
                <a:gd name="connsiteX227" fmla="*/ 415614 w 608129"/>
                <a:gd name="connsiteY227" fmla="*/ 112575 h 343858"/>
                <a:gd name="connsiteX228" fmla="*/ 423968 w 608129"/>
                <a:gd name="connsiteY228" fmla="*/ 141391 h 343858"/>
                <a:gd name="connsiteX229" fmla="*/ 453590 w 608129"/>
                <a:gd name="connsiteY229" fmla="*/ 133049 h 343858"/>
                <a:gd name="connsiteX230" fmla="*/ 324470 w 608129"/>
                <a:gd name="connsiteY230" fmla="*/ 101201 h 343858"/>
                <a:gd name="connsiteX231" fmla="*/ 303963 w 608129"/>
                <a:gd name="connsiteY231" fmla="*/ 121675 h 343858"/>
                <a:gd name="connsiteX232" fmla="*/ 304723 w 608129"/>
                <a:gd name="connsiteY232" fmla="*/ 123192 h 343858"/>
                <a:gd name="connsiteX233" fmla="*/ 304723 w 608129"/>
                <a:gd name="connsiteY233" fmla="*/ 123950 h 343858"/>
                <a:gd name="connsiteX234" fmla="*/ 311558 w 608129"/>
                <a:gd name="connsiteY234" fmla="*/ 136841 h 343858"/>
                <a:gd name="connsiteX235" fmla="*/ 313837 w 608129"/>
                <a:gd name="connsiteY235" fmla="*/ 138358 h 343858"/>
                <a:gd name="connsiteX236" fmla="*/ 314596 w 608129"/>
                <a:gd name="connsiteY236" fmla="*/ 139116 h 343858"/>
                <a:gd name="connsiteX237" fmla="*/ 317634 w 608129"/>
                <a:gd name="connsiteY237" fmla="*/ 139874 h 343858"/>
                <a:gd name="connsiteX238" fmla="*/ 318394 w 608129"/>
                <a:gd name="connsiteY238" fmla="*/ 140633 h 343858"/>
                <a:gd name="connsiteX239" fmla="*/ 320673 w 608129"/>
                <a:gd name="connsiteY239" fmla="*/ 141391 h 343858"/>
                <a:gd name="connsiteX240" fmla="*/ 324470 w 608129"/>
                <a:gd name="connsiteY240" fmla="*/ 141391 h 343858"/>
                <a:gd name="connsiteX241" fmla="*/ 328268 w 608129"/>
                <a:gd name="connsiteY241" fmla="*/ 141391 h 343858"/>
                <a:gd name="connsiteX242" fmla="*/ 329787 w 608129"/>
                <a:gd name="connsiteY242" fmla="*/ 140633 h 343858"/>
                <a:gd name="connsiteX243" fmla="*/ 332066 w 608129"/>
                <a:gd name="connsiteY243" fmla="*/ 139874 h 343858"/>
                <a:gd name="connsiteX244" fmla="*/ 333585 w 608129"/>
                <a:gd name="connsiteY244" fmla="*/ 139116 h 343858"/>
                <a:gd name="connsiteX245" fmla="*/ 335863 w 608129"/>
                <a:gd name="connsiteY245" fmla="*/ 138358 h 343858"/>
                <a:gd name="connsiteX246" fmla="*/ 337382 w 608129"/>
                <a:gd name="connsiteY246" fmla="*/ 136841 h 343858"/>
                <a:gd name="connsiteX247" fmla="*/ 338142 w 608129"/>
                <a:gd name="connsiteY247" fmla="*/ 136083 h 343858"/>
                <a:gd name="connsiteX248" fmla="*/ 340420 w 608129"/>
                <a:gd name="connsiteY248" fmla="*/ 133808 h 343858"/>
                <a:gd name="connsiteX249" fmla="*/ 340420 w 608129"/>
                <a:gd name="connsiteY249" fmla="*/ 133049 h 343858"/>
                <a:gd name="connsiteX250" fmla="*/ 344218 w 608129"/>
                <a:gd name="connsiteY250" fmla="*/ 123192 h 343858"/>
                <a:gd name="connsiteX251" fmla="*/ 344977 w 608129"/>
                <a:gd name="connsiteY251" fmla="*/ 120917 h 343858"/>
                <a:gd name="connsiteX252" fmla="*/ 324470 w 608129"/>
                <a:gd name="connsiteY252" fmla="*/ 101201 h 343858"/>
                <a:gd name="connsiteX253" fmla="*/ 234086 w 608129"/>
                <a:gd name="connsiteY253" fmla="*/ 98926 h 343858"/>
                <a:gd name="connsiteX254" fmla="*/ 193832 w 608129"/>
                <a:gd name="connsiteY254" fmla="*/ 144424 h 343858"/>
                <a:gd name="connsiteX255" fmla="*/ 201427 w 608129"/>
                <a:gd name="connsiteY255" fmla="*/ 151249 h 343858"/>
                <a:gd name="connsiteX256" fmla="*/ 227251 w 608129"/>
                <a:gd name="connsiteY256" fmla="*/ 121675 h 343858"/>
                <a:gd name="connsiteX257" fmla="*/ 241682 w 608129"/>
                <a:gd name="connsiteY257" fmla="*/ 105751 h 343858"/>
                <a:gd name="connsiteX258" fmla="*/ 233042 w 608129"/>
                <a:gd name="connsiteY258" fmla="*/ 78357 h 343858"/>
                <a:gd name="connsiteX259" fmla="*/ 246239 w 608129"/>
                <a:gd name="connsiteY259" fmla="*/ 83001 h 343858"/>
                <a:gd name="connsiteX260" fmla="*/ 256872 w 608129"/>
                <a:gd name="connsiteY260" fmla="*/ 92101 h 343858"/>
                <a:gd name="connsiteX261" fmla="*/ 257632 w 608129"/>
                <a:gd name="connsiteY261" fmla="*/ 118642 h 343858"/>
                <a:gd name="connsiteX262" fmla="*/ 284215 w 608129"/>
                <a:gd name="connsiteY262" fmla="*/ 116367 h 343858"/>
                <a:gd name="connsiteX263" fmla="*/ 324470 w 608129"/>
                <a:gd name="connsiteY263" fmla="*/ 80727 h 343858"/>
                <a:gd name="connsiteX264" fmla="*/ 363966 w 608129"/>
                <a:gd name="connsiteY264" fmla="*/ 114092 h 343858"/>
                <a:gd name="connsiteX265" fmla="*/ 395866 w 608129"/>
                <a:gd name="connsiteY265" fmla="*/ 114850 h 343858"/>
                <a:gd name="connsiteX266" fmla="*/ 398144 w 608129"/>
                <a:gd name="connsiteY266" fmla="*/ 102717 h 343858"/>
                <a:gd name="connsiteX267" fmla="*/ 410297 w 608129"/>
                <a:gd name="connsiteY267" fmla="*/ 92859 h 343858"/>
                <a:gd name="connsiteX268" fmla="*/ 439159 w 608129"/>
                <a:gd name="connsiteY268" fmla="*/ 84518 h 343858"/>
                <a:gd name="connsiteX269" fmla="*/ 454349 w 608129"/>
                <a:gd name="connsiteY269" fmla="*/ 86035 h 343858"/>
                <a:gd name="connsiteX270" fmla="*/ 464223 w 608129"/>
                <a:gd name="connsiteY270" fmla="*/ 98168 h 343858"/>
                <a:gd name="connsiteX271" fmla="*/ 472578 w 608129"/>
                <a:gd name="connsiteY271" fmla="*/ 127741 h 343858"/>
                <a:gd name="connsiteX272" fmla="*/ 473338 w 608129"/>
                <a:gd name="connsiteY272" fmla="*/ 132291 h 343858"/>
                <a:gd name="connsiteX273" fmla="*/ 492326 w 608129"/>
                <a:gd name="connsiteY273" fmla="*/ 157315 h 343858"/>
                <a:gd name="connsiteX274" fmla="*/ 519669 w 608129"/>
                <a:gd name="connsiteY274" fmla="*/ 176273 h 343858"/>
                <a:gd name="connsiteX275" fmla="*/ 524226 w 608129"/>
                <a:gd name="connsiteY275" fmla="*/ 177031 h 343858"/>
                <a:gd name="connsiteX276" fmla="*/ 547771 w 608129"/>
                <a:gd name="connsiteY276" fmla="*/ 199780 h 343858"/>
                <a:gd name="connsiteX277" fmla="*/ 548531 w 608129"/>
                <a:gd name="connsiteY277" fmla="*/ 210396 h 343858"/>
                <a:gd name="connsiteX278" fmla="*/ 553848 w 608129"/>
                <a:gd name="connsiteY278" fmla="*/ 219496 h 343858"/>
                <a:gd name="connsiteX279" fmla="*/ 564481 w 608129"/>
                <a:gd name="connsiteY279" fmla="*/ 232387 h 343858"/>
                <a:gd name="connsiteX280" fmla="*/ 588786 w 608129"/>
                <a:gd name="connsiteY280" fmla="*/ 232387 h 343858"/>
                <a:gd name="connsiteX281" fmla="*/ 606255 w 608129"/>
                <a:gd name="connsiteY281" fmla="*/ 243003 h 343858"/>
                <a:gd name="connsiteX282" fmla="*/ 604736 w 608129"/>
                <a:gd name="connsiteY282" fmla="*/ 263478 h 343858"/>
                <a:gd name="connsiteX283" fmla="*/ 603217 w 608129"/>
                <a:gd name="connsiteY283" fmla="*/ 264994 h 343858"/>
                <a:gd name="connsiteX284" fmla="*/ 550809 w 608129"/>
                <a:gd name="connsiteY284" fmla="*/ 296843 h 343858"/>
                <a:gd name="connsiteX285" fmla="*/ 544733 w 608129"/>
                <a:gd name="connsiteY285" fmla="*/ 312768 h 343858"/>
                <a:gd name="connsiteX286" fmla="*/ 516631 w 608129"/>
                <a:gd name="connsiteY286" fmla="*/ 343858 h 343858"/>
                <a:gd name="connsiteX287" fmla="*/ 91295 w 608129"/>
                <a:gd name="connsiteY287" fmla="*/ 343858 h 343858"/>
                <a:gd name="connsiteX288" fmla="*/ 63952 w 608129"/>
                <a:gd name="connsiteY288" fmla="*/ 312768 h 343858"/>
                <a:gd name="connsiteX289" fmla="*/ 57876 w 608129"/>
                <a:gd name="connsiteY289" fmla="*/ 296843 h 343858"/>
                <a:gd name="connsiteX290" fmla="*/ 4709 w 608129"/>
                <a:gd name="connsiteY290" fmla="*/ 264994 h 343858"/>
                <a:gd name="connsiteX291" fmla="*/ 3950 w 608129"/>
                <a:gd name="connsiteY291" fmla="*/ 263478 h 343858"/>
                <a:gd name="connsiteX292" fmla="*/ 2431 w 608129"/>
                <a:gd name="connsiteY292" fmla="*/ 243003 h 343858"/>
                <a:gd name="connsiteX293" fmla="*/ 19900 w 608129"/>
                <a:gd name="connsiteY293" fmla="*/ 232387 h 343858"/>
                <a:gd name="connsiteX294" fmla="*/ 31293 w 608129"/>
                <a:gd name="connsiteY294" fmla="*/ 232387 h 343858"/>
                <a:gd name="connsiteX295" fmla="*/ 49521 w 608129"/>
                <a:gd name="connsiteY295" fmla="*/ 208880 h 343858"/>
                <a:gd name="connsiteX296" fmla="*/ 57117 w 608129"/>
                <a:gd name="connsiteY296" fmla="*/ 187647 h 343858"/>
                <a:gd name="connsiteX297" fmla="*/ 68510 w 608129"/>
                <a:gd name="connsiteY297" fmla="*/ 182339 h 343858"/>
                <a:gd name="connsiteX298" fmla="*/ 76864 w 608129"/>
                <a:gd name="connsiteY298" fmla="*/ 177031 h 343858"/>
                <a:gd name="connsiteX299" fmla="*/ 79902 w 608129"/>
                <a:gd name="connsiteY299" fmla="*/ 167931 h 343858"/>
                <a:gd name="connsiteX300" fmla="*/ 79902 w 608129"/>
                <a:gd name="connsiteY300" fmla="*/ 164140 h 343858"/>
                <a:gd name="connsiteX301" fmla="*/ 73826 w 608129"/>
                <a:gd name="connsiteY301" fmla="*/ 139116 h 343858"/>
                <a:gd name="connsiteX302" fmla="*/ 87498 w 608129"/>
                <a:gd name="connsiteY302" fmla="*/ 111817 h 343858"/>
                <a:gd name="connsiteX303" fmla="*/ 99650 w 608129"/>
                <a:gd name="connsiteY303" fmla="*/ 101959 h 343858"/>
                <a:gd name="connsiteX304" fmla="*/ 114841 w 608129"/>
                <a:gd name="connsiteY304" fmla="*/ 103476 h 343858"/>
                <a:gd name="connsiteX305" fmla="*/ 142184 w 608129"/>
                <a:gd name="connsiteY305" fmla="*/ 117125 h 343858"/>
                <a:gd name="connsiteX306" fmla="*/ 152058 w 608129"/>
                <a:gd name="connsiteY306" fmla="*/ 129258 h 343858"/>
                <a:gd name="connsiteX307" fmla="*/ 152817 w 608129"/>
                <a:gd name="connsiteY307" fmla="*/ 136083 h 343858"/>
                <a:gd name="connsiteX308" fmla="*/ 178641 w 608129"/>
                <a:gd name="connsiteY308" fmla="*/ 130016 h 343858"/>
                <a:gd name="connsiteX309" fmla="*/ 220415 w 608129"/>
                <a:gd name="connsiteY309" fmla="*/ 84518 h 343858"/>
                <a:gd name="connsiteX310" fmla="*/ 233042 w 608129"/>
                <a:gd name="connsiteY310" fmla="*/ 78357 h 343858"/>
                <a:gd name="connsiteX311" fmla="*/ 162582 w 608129"/>
                <a:gd name="connsiteY311" fmla="*/ 60954 h 343858"/>
                <a:gd name="connsiteX312" fmla="*/ 142076 w 608129"/>
                <a:gd name="connsiteY312" fmla="*/ 80671 h 343858"/>
                <a:gd name="connsiteX313" fmla="*/ 162582 w 608129"/>
                <a:gd name="connsiteY313" fmla="*/ 101147 h 343858"/>
                <a:gd name="connsiteX314" fmla="*/ 182329 w 608129"/>
                <a:gd name="connsiteY314" fmla="*/ 80671 h 343858"/>
                <a:gd name="connsiteX315" fmla="*/ 162582 w 608129"/>
                <a:gd name="connsiteY315" fmla="*/ 60954 h 343858"/>
                <a:gd name="connsiteX316" fmla="*/ 162582 w 608129"/>
                <a:gd name="connsiteY316" fmla="*/ 40478 h 343858"/>
                <a:gd name="connsiteX317" fmla="*/ 202836 w 608129"/>
                <a:gd name="connsiteY317" fmla="*/ 80671 h 343858"/>
                <a:gd name="connsiteX318" fmla="*/ 162582 w 608129"/>
                <a:gd name="connsiteY318" fmla="*/ 121623 h 343858"/>
                <a:gd name="connsiteX319" fmla="*/ 121569 w 608129"/>
                <a:gd name="connsiteY319" fmla="*/ 80671 h 343858"/>
                <a:gd name="connsiteX320" fmla="*/ 162582 w 608129"/>
                <a:gd name="connsiteY320" fmla="*/ 40478 h 343858"/>
                <a:gd name="connsiteX321" fmla="*/ 285697 w 608129"/>
                <a:gd name="connsiteY321" fmla="*/ 32920 h 343858"/>
                <a:gd name="connsiteX322" fmla="*/ 256860 w 608129"/>
                <a:gd name="connsiteY322" fmla="*/ 41258 h 343858"/>
                <a:gd name="connsiteX323" fmla="*/ 265208 w 608129"/>
                <a:gd name="connsiteY323" fmla="*/ 70819 h 343858"/>
                <a:gd name="connsiteX324" fmla="*/ 294045 w 608129"/>
                <a:gd name="connsiteY324" fmla="*/ 62481 h 343858"/>
                <a:gd name="connsiteX325" fmla="*/ 364659 w 608129"/>
                <a:gd name="connsiteY325" fmla="*/ 20767 h 343858"/>
                <a:gd name="connsiteX326" fmla="*/ 355552 w 608129"/>
                <a:gd name="connsiteY326" fmla="*/ 23799 h 343858"/>
                <a:gd name="connsiteX327" fmla="*/ 376044 w 608129"/>
                <a:gd name="connsiteY327" fmla="*/ 81416 h 343858"/>
                <a:gd name="connsiteX328" fmla="*/ 385910 w 608129"/>
                <a:gd name="connsiteY328" fmla="*/ 77625 h 343858"/>
                <a:gd name="connsiteX329" fmla="*/ 280385 w 608129"/>
                <a:gd name="connsiteY329" fmla="*/ 13971 h 343858"/>
                <a:gd name="connsiteX330" fmla="*/ 295563 w 608129"/>
                <a:gd name="connsiteY330" fmla="*/ 15487 h 343858"/>
                <a:gd name="connsiteX331" fmla="*/ 305428 w 608129"/>
                <a:gd name="connsiteY331" fmla="*/ 27614 h 343858"/>
                <a:gd name="connsiteX332" fmla="*/ 313776 w 608129"/>
                <a:gd name="connsiteY332" fmla="*/ 57176 h 343858"/>
                <a:gd name="connsiteX333" fmla="*/ 311500 w 608129"/>
                <a:gd name="connsiteY333" fmla="*/ 72335 h 343858"/>
                <a:gd name="connsiteX334" fmla="*/ 299357 w 608129"/>
                <a:gd name="connsiteY334" fmla="*/ 82189 h 343858"/>
                <a:gd name="connsiteX335" fmla="*/ 270520 w 608129"/>
                <a:gd name="connsiteY335" fmla="*/ 90527 h 343858"/>
                <a:gd name="connsiteX336" fmla="*/ 265208 w 608129"/>
                <a:gd name="connsiteY336" fmla="*/ 91285 h 343858"/>
                <a:gd name="connsiteX337" fmla="*/ 255342 w 608129"/>
                <a:gd name="connsiteY337" fmla="*/ 88253 h 343858"/>
                <a:gd name="connsiteX338" fmla="*/ 245477 w 608129"/>
                <a:gd name="connsiteY338" fmla="*/ 76125 h 343858"/>
                <a:gd name="connsiteX339" fmla="*/ 237129 w 608129"/>
                <a:gd name="connsiteY339" fmla="*/ 47322 h 343858"/>
                <a:gd name="connsiteX340" fmla="*/ 238647 w 608129"/>
                <a:gd name="connsiteY340" fmla="*/ 32162 h 343858"/>
                <a:gd name="connsiteX341" fmla="*/ 250789 w 608129"/>
                <a:gd name="connsiteY341" fmla="*/ 22309 h 343858"/>
                <a:gd name="connsiteX342" fmla="*/ 359347 w 608129"/>
                <a:gd name="connsiteY342" fmla="*/ 1056 h 343858"/>
                <a:gd name="connsiteX343" fmla="*/ 373767 w 608129"/>
                <a:gd name="connsiteY343" fmla="*/ 1814 h 343858"/>
                <a:gd name="connsiteX344" fmla="*/ 383633 w 608129"/>
                <a:gd name="connsiteY344" fmla="*/ 12428 h 343858"/>
                <a:gd name="connsiteX345" fmla="*/ 404884 w 608129"/>
                <a:gd name="connsiteY345" fmla="*/ 72318 h 343858"/>
                <a:gd name="connsiteX346" fmla="*/ 404884 w 608129"/>
                <a:gd name="connsiteY346" fmla="*/ 86723 h 343858"/>
                <a:gd name="connsiteX347" fmla="*/ 394259 w 608129"/>
                <a:gd name="connsiteY347" fmla="*/ 95820 h 343858"/>
                <a:gd name="connsiteX348" fmla="*/ 381356 w 608129"/>
                <a:gd name="connsiteY348" fmla="*/ 100369 h 343858"/>
                <a:gd name="connsiteX349" fmla="*/ 375285 w 608129"/>
                <a:gd name="connsiteY349" fmla="*/ 101885 h 343858"/>
                <a:gd name="connsiteX350" fmla="*/ 367695 w 608129"/>
                <a:gd name="connsiteY350" fmla="*/ 100369 h 343858"/>
                <a:gd name="connsiteX351" fmla="*/ 357829 w 608129"/>
                <a:gd name="connsiteY351" fmla="*/ 89755 h 343858"/>
                <a:gd name="connsiteX352" fmla="*/ 335819 w 608129"/>
                <a:gd name="connsiteY352" fmla="*/ 29864 h 343858"/>
                <a:gd name="connsiteX353" fmla="*/ 336578 w 608129"/>
                <a:gd name="connsiteY353" fmla="*/ 15460 h 343858"/>
                <a:gd name="connsiteX354" fmla="*/ 347203 w 608129"/>
                <a:gd name="connsiteY354" fmla="*/ 5605 h 34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</a:cxnLst>
              <a:rect l="l" t="t" r="r" b="b"/>
              <a:pathLst>
                <a:path w="72860" h="102345">
                  <a:moveTo>
                    <a:pt x="25046" y="1516"/>
                  </a:moveTo>
                  <a:cubicBezTo>
                    <a:pt x="29599" y="0"/>
                    <a:pt x="34912" y="0"/>
                    <a:pt x="39466" y="2274"/>
                  </a:cubicBezTo>
                  <a:cubicBezTo>
                    <a:pt x="44020" y="4548"/>
                    <a:pt x="47055" y="8339"/>
                    <a:pt x="49332" y="12888"/>
                  </a:cubicBezTo>
                  <a:lnTo>
                    <a:pt x="70583" y="72778"/>
                  </a:lnTo>
                  <a:cubicBezTo>
                    <a:pt x="72860" y="77327"/>
                    <a:pt x="72101" y="82634"/>
                    <a:pt x="70583" y="87183"/>
                  </a:cubicBezTo>
                  <a:cubicBezTo>
                    <a:pt x="68306" y="91731"/>
                    <a:pt x="64511" y="94764"/>
                    <a:pt x="59958" y="96280"/>
                  </a:cubicBezTo>
                  <a:lnTo>
                    <a:pt x="47055" y="100829"/>
                  </a:lnTo>
                  <a:cubicBezTo>
                    <a:pt x="45537" y="101587"/>
                    <a:pt x="43261" y="102345"/>
                    <a:pt x="40984" y="102345"/>
                  </a:cubicBezTo>
                  <a:cubicBezTo>
                    <a:pt x="37948" y="102345"/>
                    <a:pt x="35671" y="101587"/>
                    <a:pt x="33394" y="100829"/>
                  </a:cubicBezTo>
                  <a:cubicBezTo>
                    <a:pt x="28840" y="98554"/>
                    <a:pt x="25046" y="94764"/>
                    <a:pt x="23528" y="90215"/>
                  </a:cubicBezTo>
                  <a:lnTo>
                    <a:pt x="1518" y="30324"/>
                  </a:lnTo>
                  <a:cubicBezTo>
                    <a:pt x="0" y="25017"/>
                    <a:pt x="0" y="20469"/>
                    <a:pt x="2277" y="15920"/>
                  </a:cubicBezTo>
                  <a:cubicBezTo>
                    <a:pt x="4554" y="11371"/>
                    <a:pt x="7590" y="7581"/>
                    <a:pt x="12902" y="6065"/>
                  </a:cubicBezTo>
                </a:path>
              </a:pathLst>
            </a:custGeom>
            <a:noFill/>
            <a:ln w="44450">
              <a:gradFill>
                <a:gsLst>
                  <a:gs pos="0">
                    <a:schemeClr val="accent3"/>
                  </a:gs>
                  <a:gs pos="100000">
                    <a:schemeClr val="accent3">
                      <a:lumMod val="5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zh-CN" altLang="en-US">
                <a:gradFill flip="none" rotWithShape="1">
                  <a:gsLst>
                    <a:gs pos="89000">
                      <a:schemeClr val="bg1"/>
                    </a:gs>
                    <a:gs pos="0">
                      <a:schemeClr val="accent2"/>
                    </a:gs>
                  </a:gsLst>
                  <a:lin ang="13500000" scaled="1"/>
                  <a:tileRect/>
                </a:gradFill>
              </a:endParaRPr>
            </a:p>
          </p:txBody>
        </p:sp>
        <p:sp>
          <p:nvSpPr>
            <p:cNvPr id="200" name="任意多边形: 形状 199"/>
            <p:cNvSpPr>
              <a:spLocks/>
            </p:cNvSpPr>
            <p:nvPr userDrawn="1"/>
          </p:nvSpPr>
          <p:spPr bwMode="auto">
            <a:xfrm rot="6884145" flipH="1">
              <a:off x="3566063" y="3637939"/>
              <a:ext cx="45719" cy="64401"/>
            </a:xfrm>
            <a:custGeom>
              <a:avLst/>
              <a:gdLst>
                <a:gd name="connsiteX0" fmla="*/ 193001 w 608129"/>
                <a:gd name="connsiteY0" fmla="*/ 283182 h 343858"/>
                <a:gd name="connsiteX1" fmla="*/ 506699 w 608129"/>
                <a:gd name="connsiteY1" fmla="*/ 283182 h 343858"/>
                <a:gd name="connsiteX2" fmla="*/ 516573 w 608129"/>
                <a:gd name="connsiteY2" fmla="*/ 293038 h 343858"/>
                <a:gd name="connsiteX3" fmla="*/ 506699 w 608129"/>
                <a:gd name="connsiteY3" fmla="*/ 303651 h 343858"/>
                <a:gd name="connsiteX4" fmla="*/ 193001 w 608129"/>
                <a:gd name="connsiteY4" fmla="*/ 303651 h 343858"/>
                <a:gd name="connsiteX5" fmla="*/ 182367 w 608129"/>
                <a:gd name="connsiteY5" fmla="*/ 293038 h 343858"/>
                <a:gd name="connsiteX6" fmla="*/ 193001 w 608129"/>
                <a:gd name="connsiteY6" fmla="*/ 283182 h 343858"/>
                <a:gd name="connsiteX7" fmla="*/ 101866 w 608129"/>
                <a:gd name="connsiteY7" fmla="*/ 283182 h 343858"/>
                <a:gd name="connsiteX8" fmla="*/ 142885 w 608129"/>
                <a:gd name="connsiteY8" fmla="*/ 283182 h 343858"/>
                <a:gd name="connsiteX9" fmla="*/ 152760 w 608129"/>
                <a:gd name="connsiteY9" fmla="*/ 293038 h 343858"/>
                <a:gd name="connsiteX10" fmla="*/ 142885 w 608129"/>
                <a:gd name="connsiteY10" fmla="*/ 303651 h 343858"/>
                <a:gd name="connsiteX11" fmla="*/ 101866 w 608129"/>
                <a:gd name="connsiteY11" fmla="*/ 303651 h 343858"/>
                <a:gd name="connsiteX12" fmla="*/ 91231 w 608129"/>
                <a:gd name="connsiteY12" fmla="*/ 293038 h 343858"/>
                <a:gd name="connsiteX13" fmla="*/ 101866 w 608129"/>
                <a:gd name="connsiteY13" fmla="*/ 283182 h 343858"/>
                <a:gd name="connsiteX14" fmla="*/ 23697 w 608129"/>
                <a:gd name="connsiteY14" fmla="*/ 252861 h 343858"/>
                <a:gd name="connsiteX15" fmla="*/ 72307 w 608129"/>
                <a:gd name="connsiteY15" fmla="*/ 281677 h 343858"/>
                <a:gd name="connsiteX16" fmla="*/ 73826 w 608129"/>
                <a:gd name="connsiteY16" fmla="*/ 283952 h 343858"/>
                <a:gd name="connsiteX17" fmla="*/ 82941 w 608129"/>
                <a:gd name="connsiteY17" fmla="*/ 307460 h 343858"/>
                <a:gd name="connsiteX18" fmla="*/ 91295 w 608129"/>
                <a:gd name="connsiteY18" fmla="*/ 323384 h 343858"/>
                <a:gd name="connsiteX19" fmla="*/ 516631 w 608129"/>
                <a:gd name="connsiteY19" fmla="*/ 323384 h 343858"/>
                <a:gd name="connsiteX20" fmla="*/ 525745 w 608129"/>
                <a:gd name="connsiteY20" fmla="*/ 307460 h 343858"/>
                <a:gd name="connsiteX21" fmla="*/ 534859 w 608129"/>
                <a:gd name="connsiteY21" fmla="*/ 283952 h 343858"/>
                <a:gd name="connsiteX22" fmla="*/ 536378 w 608129"/>
                <a:gd name="connsiteY22" fmla="*/ 281677 h 343858"/>
                <a:gd name="connsiteX23" fmla="*/ 584229 w 608129"/>
                <a:gd name="connsiteY23" fmla="*/ 252861 h 343858"/>
                <a:gd name="connsiteX24" fmla="*/ 569798 w 608129"/>
                <a:gd name="connsiteY24" fmla="*/ 252861 h 343858"/>
                <a:gd name="connsiteX25" fmla="*/ 413335 w 608129"/>
                <a:gd name="connsiteY25" fmla="*/ 252861 h 343858"/>
                <a:gd name="connsiteX26" fmla="*/ 401942 w 608129"/>
                <a:gd name="connsiteY26" fmla="*/ 252861 h 343858"/>
                <a:gd name="connsiteX27" fmla="*/ 35850 w 608129"/>
                <a:gd name="connsiteY27" fmla="*/ 252861 h 343858"/>
                <a:gd name="connsiteX28" fmla="*/ 254526 w 608129"/>
                <a:gd name="connsiteY28" fmla="*/ 201295 h 343858"/>
                <a:gd name="connsiteX29" fmla="*/ 257557 w 608129"/>
                <a:gd name="connsiteY29" fmla="*/ 214952 h 343858"/>
                <a:gd name="connsiteX30" fmla="*/ 249221 w 608129"/>
                <a:gd name="connsiteY30" fmla="*/ 227091 h 343858"/>
                <a:gd name="connsiteX31" fmla="*/ 240886 w 608129"/>
                <a:gd name="connsiteY31" fmla="*/ 231644 h 343858"/>
                <a:gd name="connsiteX32" fmla="*/ 235581 w 608129"/>
                <a:gd name="connsiteY32" fmla="*/ 229368 h 343858"/>
                <a:gd name="connsiteX33" fmla="*/ 232550 w 608129"/>
                <a:gd name="connsiteY33" fmla="*/ 215710 h 343858"/>
                <a:gd name="connsiteX34" fmla="*/ 240886 w 608129"/>
                <a:gd name="connsiteY34" fmla="*/ 203571 h 343858"/>
                <a:gd name="connsiteX35" fmla="*/ 254526 w 608129"/>
                <a:gd name="connsiteY35" fmla="*/ 201295 h 343858"/>
                <a:gd name="connsiteX36" fmla="*/ 293998 w 608129"/>
                <a:gd name="connsiteY36" fmla="*/ 199043 h 343858"/>
                <a:gd name="connsiteX37" fmla="*/ 307670 w 608129"/>
                <a:gd name="connsiteY37" fmla="*/ 202827 h 343858"/>
                <a:gd name="connsiteX38" fmla="*/ 314506 w 608129"/>
                <a:gd name="connsiteY38" fmla="*/ 214937 h 343858"/>
                <a:gd name="connsiteX39" fmla="*/ 304632 w 608129"/>
                <a:gd name="connsiteY39" fmla="*/ 222506 h 343858"/>
                <a:gd name="connsiteX40" fmla="*/ 302353 w 608129"/>
                <a:gd name="connsiteY40" fmla="*/ 221749 h 343858"/>
                <a:gd name="connsiteX41" fmla="*/ 288681 w 608129"/>
                <a:gd name="connsiteY41" fmla="*/ 218721 h 343858"/>
                <a:gd name="connsiteX42" fmla="*/ 281845 w 608129"/>
                <a:gd name="connsiteY42" fmla="*/ 205854 h 343858"/>
                <a:gd name="connsiteX43" fmla="*/ 293998 w 608129"/>
                <a:gd name="connsiteY43" fmla="*/ 199043 h 343858"/>
                <a:gd name="connsiteX44" fmla="*/ 113257 w 608129"/>
                <a:gd name="connsiteY44" fmla="*/ 193732 h 343858"/>
                <a:gd name="connsiteX45" fmla="*/ 125378 w 608129"/>
                <a:gd name="connsiteY45" fmla="*/ 201299 h 343858"/>
                <a:gd name="connsiteX46" fmla="*/ 128408 w 608129"/>
                <a:gd name="connsiteY46" fmla="*/ 214920 h 343858"/>
                <a:gd name="connsiteX47" fmla="*/ 120075 w 608129"/>
                <a:gd name="connsiteY47" fmla="*/ 219460 h 343858"/>
                <a:gd name="connsiteX48" fmla="*/ 114773 w 608129"/>
                <a:gd name="connsiteY48" fmla="*/ 217946 h 343858"/>
                <a:gd name="connsiteX49" fmla="*/ 102652 w 608129"/>
                <a:gd name="connsiteY49" fmla="*/ 211136 h 343858"/>
                <a:gd name="connsiteX50" fmla="*/ 99622 w 608129"/>
                <a:gd name="connsiteY50" fmla="*/ 196759 h 343858"/>
                <a:gd name="connsiteX51" fmla="*/ 113257 w 608129"/>
                <a:gd name="connsiteY51" fmla="*/ 193732 h 343858"/>
                <a:gd name="connsiteX52" fmla="*/ 367752 w 608129"/>
                <a:gd name="connsiteY52" fmla="*/ 192974 h 343858"/>
                <a:gd name="connsiteX53" fmla="*/ 380665 w 608129"/>
                <a:gd name="connsiteY53" fmla="*/ 199023 h 343858"/>
                <a:gd name="connsiteX54" fmla="*/ 373829 w 608129"/>
                <a:gd name="connsiteY54" fmla="*/ 211877 h 343858"/>
                <a:gd name="connsiteX55" fmla="*/ 360917 w 608129"/>
                <a:gd name="connsiteY55" fmla="*/ 216414 h 343858"/>
                <a:gd name="connsiteX56" fmla="*/ 357119 w 608129"/>
                <a:gd name="connsiteY56" fmla="*/ 216414 h 343858"/>
                <a:gd name="connsiteX57" fmla="*/ 348004 w 608129"/>
                <a:gd name="connsiteY57" fmla="*/ 209609 h 343858"/>
                <a:gd name="connsiteX58" fmla="*/ 354081 w 608129"/>
                <a:gd name="connsiteY58" fmla="*/ 196755 h 343858"/>
                <a:gd name="connsiteX59" fmla="*/ 473099 w 608129"/>
                <a:gd name="connsiteY59" fmla="*/ 187878 h 343858"/>
                <a:gd name="connsiteX60" fmla="*/ 480904 w 608129"/>
                <a:gd name="connsiteY60" fmla="*/ 189869 h 343858"/>
                <a:gd name="connsiteX61" fmla="*/ 483189 w 608129"/>
                <a:gd name="connsiteY61" fmla="*/ 203526 h 343858"/>
                <a:gd name="connsiteX62" fmla="*/ 475574 w 608129"/>
                <a:gd name="connsiteY62" fmla="*/ 214907 h 343858"/>
                <a:gd name="connsiteX63" fmla="*/ 467198 w 608129"/>
                <a:gd name="connsiteY63" fmla="*/ 219460 h 343858"/>
                <a:gd name="connsiteX64" fmla="*/ 461106 w 608129"/>
                <a:gd name="connsiteY64" fmla="*/ 217942 h 343858"/>
                <a:gd name="connsiteX65" fmla="*/ 458821 w 608129"/>
                <a:gd name="connsiteY65" fmla="*/ 203526 h 343858"/>
                <a:gd name="connsiteX66" fmla="*/ 466436 w 608129"/>
                <a:gd name="connsiteY66" fmla="*/ 192146 h 343858"/>
                <a:gd name="connsiteX67" fmla="*/ 473099 w 608129"/>
                <a:gd name="connsiteY67" fmla="*/ 187878 h 343858"/>
                <a:gd name="connsiteX68" fmla="*/ 410279 w 608129"/>
                <a:gd name="connsiteY68" fmla="*/ 182352 h 343858"/>
                <a:gd name="connsiteX69" fmla="*/ 422434 w 608129"/>
                <a:gd name="connsiteY69" fmla="*/ 189169 h 343858"/>
                <a:gd name="connsiteX70" fmla="*/ 426233 w 608129"/>
                <a:gd name="connsiteY70" fmla="*/ 202805 h 343858"/>
                <a:gd name="connsiteX71" fmla="*/ 418636 w 608129"/>
                <a:gd name="connsiteY71" fmla="*/ 215683 h 343858"/>
                <a:gd name="connsiteX72" fmla="*/ 416356 w 608129"/>
                <a:gd name="connsiteY72" fmla="*/ 215683 h 343858"/>
                <a:gd name="connsiteX73" fmla="*/ 406480 w 608129"/>
                <a:gd name="connsiteY73" fmla="*/ 208108 h 343858"/>
                <a:gd name="connsiteX74" fmla="*/ 402682 w 608129"/>
                <a:gd name="connsiteY74" fmla="*/ 194472 h 343858"/>
                <a:gd name="connsiteX75" fmla="*/ 410279 w 608129"/>
                <a:gd name="connsiteY75" fmla="*/ 182352 h 343858"/>
                <a:gd name="connsiteX76" fmla="*/ 188501 w 608129"/>
                <a:gd name="connsiteY76" fmla="*/ 179282 h 343858"/>
                <a:gd name="connsiteX77" fmla="*/ 202945 w 608129"/>
                <a:gd name="connsiteY77" fmla="*/ 180043 h 343858"/>
                <a:gd name="connsiteX78" fmla="*/ 212067 w 608129"/>
                <a:gd name="connsiteY78" fmla="*/ 191449 h 343858"/>
                <a:gd name="connsiteX79" fmla="*/ 202185 w 608129"/>
                <a:gd name="connsiteY79" fmla="*/ 200575 h 343858"/>
                <a:gd name="connsiteX80" fmla="*/ 201424 w 608129"/>
                <a:gd name="connsiteY80" fmla="*/ 200575 h 343858"/>
                <a:gd name="connsiteX81" fmla="*/ 186981 w 608129"/>
                <a:gd name="connsiteY81" fmla="*/ 199814 h 343858"/>
                <a:gd name="connsiteX82" fmla="*/ 177859 w 608129"/>
                <a:gd name="connsiteY82" fmla="*/ 188408 h 343858"/>
                <a:gd name="connsiteX83" fmla="*/ 188501 w 608129"/>
                <a:gd name="connsiteY83" fmla="*/ 179282 h 343858"/>
                <a:gd name="connsiteX84" fmla="*/ 160344 w 608129"/>
                <a:gd name="connsiteY84" fmla="*/ 165596 h 343858"/>
                <a:gd name="connsiteX85" fmla="*/ 163375 w 608129"/>
                <a:gd name="connsiteY85" fmla="*/ 180011 h 343858"/>
                <a:gd name="connsiteX86" fmla="*/ 155797 w 608129"/>
                <a:gd name="connsiteY86" fmla="*/ 191392 h 343858"/>
                <a:gd name="connsiteX87" fmla="*/ 147461 w 608129"/>
                <a:gd name="connsiteY87" fmla="*/ 195945 h 343858"/>
                <a:gd name="connsiteX88" fmla="*/ 141399 w 608129"/>
                <a:gd name="connsiteY88" fmla="*/ 194427 h 343858"/>
                <a:gd name="connsiteX89" fmla="*/ 139126 w 608129"/>
                <a:gd name="connsiteY89" fmla="*/ 180011 h 343858"/>
                <a:gd name="connsiteX90" fmla="*/ 146704 w 608129"/>
                <a:gd name="connsiteY90" fmla="*/ 168631 h 343858"/>
                <a:gd name="connsiteX91" fmla="*/ 160344 w 608129"/>
                <a:gd name="connsiteY91" fmla="*/ 165596 h 343858"/>
                <a:gd name="connsiteX92" fmla="*/ 338113 w 608129"/>
                <a:gd name="connsiteY92" fmla="*/ 164888 h 343858"/>
                <a:gd name="connsiteX93" fmla="*/ 352554 w 608129"/>
                <a:gd name="connsiteY93" fmla="*/ 164888 h 343858"/>
                <a:gd name="connsiteX94" fmla="*/ 352554 w 608129"/>
                <a:gd name="connsiteY94" fmla="*/ 179285 h 343858"/>
                <a:gd name="connsiteX95" fmla="*/ 342673 w 608129"/>
                <a:gd name="connsiteY95" fmla="*/ 189137 h 343858"/>
                <a:gd name="connsiteX96" fmla="*/ 335073 w 608129"/>
                <a:gd name="connsiteY96" fmla="*/ 192168 h 343858"/>
                <a:gd name="connsiteX97" fmla="*/ 328232 w 608129"/>
                <a:gd name="connsiteY97" fmla="*/ 189137 h 343858"/>
                <a:gd name="connsiteX98" fmla="*/ 328232 w 608129"/>
                <a:gd name="connsiteY98" fmla="*/ 174739 h 343858"/>
                <a:gd name="connsiteX99" fmla="*/ 438352 w 608129"/>
                <a:gd name="connsiteY99" fmla="*/ 163394 h 343858"/>
                <a:gd name="connsiteX100" fmla="*/ 449715 w 608129"/>
                <a:gd name="connsiteY100" fmla="*/ 170961 h 343858"/>
                <a:gd name="connsiteX101" fmla="*/ 453502 w 608129"/>
                <a:gd name="connsiteY101" fmla="*/ 184582 h 343858"/>
                <a:gd name="connsiteX102" fmla="*/ 444412 w 608129"/>
                <a:gd name="connsiteY102" fmla="*/ 189122 h 343858"/>
                <a:gd name="connsiteX103" fmla="*/ 439110 w 608129"/>
                <a:gd name="connsiteY103" fmla="*/ 187608 h 343858"/>
                <a:gd name="connsiteX104" fmla="*/ 427747 w 608129"/>
                <a:gd name="connsiteY104" fmla="*/ 180798 h 343858"/>
                <a:gd name="connsiteX105" fmla="*/ 423959 w 608129"/>
                <a:gd name="connsiteY105" fmla="*/ 166421 h 343858"/>
                <a:gd name="connsiteX106" fmla="*/ 438352 w 608129"/>
                <a:gd name="connsiteY106" fmla="*/ 163394 h 343858"/>
                <a:gd name="connsiteX107" fmla="*/ 237851 w 608129"/>
                <a:gd name="connsiteY107" fmla="*/ 158043 h 343858"/>
                <a:gd name="connsiteX108" fmla="*/ 249244 w 608129"/>
                <a:gd name="connsiteY108" fmla="*/ 165635 h 343858"/>
                <a:gd name="connsiteX109" fmla="*/ 253042 w 608129"/>
                <a:gd name="connsiteY109" fmla="*/ 179300 h 343858"/>
                <a:gd name="connsiteX110" fmla="*/ 243927 w 608129"/>
                <a:gd name="connsiteY110" fmla="*/ 184614 h 343858"/>
                <a:gd name="connsiteX111" fmla="*/ 238610 w 608129"/>
                <a:gd name="connsiteY111" fmla="*/ 183095 h 343858"/>
                <a:gd name="connsiteX112" fmla="*/ 227217 w 608129"/>
                <a:gd name="connsiteY112" fmla="*/ 175504 h 343858"/>
                <a:gd name="connsiteX113" fmla="*/ 223419 w 608129"/>
                <a:gd name="connsiteY113" fmla="*/ 161839 h 343858"/>
                <a:gd name="connsiteX114" fmla="*/ 237851 w 608129"/>
                <a:gd name="connsiteY114" fmla="*/ 158043 h 343858"/>
                <a:gd name="connsiteX115" fmla="*/ 285637 w 608129"/>
                <a:gd name="connsiteY115" fmla="*/ 155767 h 343858"/>
                <a:gd name="connsiteX116" fmla="*/ 299320 w 608129"/>
                <a:gd name="connsiteY116" fmla="*/ 156528 h 343858"/>
                <a:gd name="connsiteX117" fmla="*/ 308442 w 608129"/>
                <a:gd name="connsiteY117" fmla="*/ 167174 h 343858"/>
                <a:gd name="connsiteX118" fmla="*/ 298560 w 608129"/>
                <a:gd name="connsiteY118" fmla="*/ 177060 h 343858"/>
                <a:gd name="connsiteX119" fmla="*/ 297799 w 608129"/>
                <a:gd name="connsiteY119" fmla="*/ 177060 h 343858"/>
                <a:gd name="connsiteX120" fmla="*/ 284116 w 608129"/>
                <a:gd name="connsiteY120" fmla="*/ 175539 h 343858"/>
                <a:gd name="connsiteX121" fmla="*/ 274234 w 608129"/>
                <a:gd name="connsiteY121" fmla="*/ 164893 h 343858"/>
                <a:gd name="connsiteX122" fmla="*/ 285637 w 608129"/>
                <a:gd name="connsiteY122" fmla="*/ 155767 h 343858"/>
                <a:gd name="connsiteX123" fmla="*/ 374580 w 608129"/>
                <a:gd name="connsiteY123" fmla="*/ 140655 h 343858"/>
                <a:gd name="connsiteX124" fmla="*/ 388263 w 608129"/>
                <a:gd name="connsiteY124" fmla="*/ 141411 h 343858"/>
                <a:gd name="connsiteX125" fmla="*/ 398145 w 608129"/>
                <a:gd name="connsiteY125" fmla="*/ 152755 h 343858"/>
                <a:gd name="connsiteX126" fmla="*/ 387503 w 608129"/>
                <a:gd name="connsiteY126" fmla="*/ 161830 h 343858"/>
                <a:gd name="connsiteX127" fmla="*/ 386742 w 608129"/>
                <a:gd name="connsiteY127" fmla="*/ 161830 h 343858"/>
                <a:gd name="connsiteX128" fmla="*/ 373059 w 608129"/>
                <a:gd name="connsiteY128" fmla="*/ 160317 h 343858"/>
                <a:gd name="connsiteX129" fmla="*/ 363937 w 608129"/>
                <a:gd name="connsiteY129" fmla="*/ 149730 h 343858"/>
                <a:gd name="connsiteX130" fmla="*/ 374580 w 608129"/>
                <a:gd name="connsiteY130" fmla="*/ 140655 h 343858"/>
                <a:gd name="connsiteX131" fmla="*/ 363206 w 608129"/>
                <a:gd name="connsiteY131" fmla="*/ 133808 h 343858"/>
                <a:gd name="connsiteX132" fmla="*/ 362447 w 608129"/>
                <a:gd name="connsiteY132" fmla="*/ 134566 h 343858"/>
                <a:gd name="connsiteX133" fmla="*/ 360168 w 608129"/>
                <a:gd name="connsiteY133" fmla="*/ 139874 h 343858"/>
                <a:gd name="connsiteX134" fmla="*/ 344218 w 608129"/>
                <a:gd name="connsiteY134" fmla="*/ 156557 h 343858"/>
                <a:gd name="connsiteX135" fmla="*/ 341939 w 608129"/>
                <a:gd name="connsiteY135" fmla="*/ 157315 h 343858"/>
                <a:gd name="connsiteX136" fmla="*/ 338142 w 608129"/>
                <a:gd name="connsiteY136" fmla="*/ 158832 h 343858"/>
                <a:gd name="connsiteX137" fmla="*/ 335104 w 608129"/>
                <a:gd name="connsiteY137" fmla="*/ 160348 h 343858"/>
                <a:gd name="connsiteX138" fmla="*/ 332066 w 608129"/>
                <a:gd name="connsiteY138" fmla="*/ 161107 h 343858"/>
                <a:gd name="connsiteX139" fmla="*/ 324470 w 608129"/>
                <a:gd name="connsiteY139" fmla="*/ 161865 h 343858"/>
                <a:gd name="connsiteX140" fmla="*/ 317634 w 608129"/>
                <a:gd name="connsiteY140" fmla="*/ 161107 h 343858"/>
                <a:gd name="connsiteX141" fmla="*/ 314596 w 608129"/>
                <a:gd name="connsiteY141" fmla="*/ 160348 h 343858"/>
                <a:gd name="connsiteX142" fmla="*/ 310799 w 608129"/>
                <a:gd name="connsiteY142" fmla="*/ 158832 h 343858"/>
                <a:gd name="connsiteX143" fmla="*/ 307761 w 608129"/>
                <a:gd name="connsiteY143" fmla="*/ 158073 h 343858"/>
                <a:gd name="connsiteX144" fmla="*/ 304723 w 608129"/>
                <a:gd name="connsiteY144" fmla="*/ 156557 h 343858"/>
                <a:gd name="connsiteX145" fmla="*/ 297887 w 608129"/>
                <a:gd name="connsiteY145" fmla="*/ 151249 h 343858"/>
                <a:gd name="connsiteX146" fmla="*/ 297127 w 608129"/>
                <a:gd name="connsiteY146" fmla="*/ 150490 h 343858"/>
                <a:gd name="connsiteX147" fmla="*/ 294089 w 608129"/>
                <a:gd name="connsiteY147" fmla="*/ 147457 h 343858"/>
                <a:gd name="connsiteX148" fmla="*/ 292570 w 608129"/>
                <a:gd name="connsiteY148" fmla="*/ 145941 h 343858"/>
                <a:gd name="connsiteX149" fmla="*/ 289532 w 608129"/>
                <a:gd name="connsiteY149" fmla="*/ 142149 h 343858"/>
                <a:gd name="connsiteX150" fmla="*/ 289532 w 608129"/>
                <a:gd name="connsiteY150" fmla="*/ 140633 h 343858"/>
                <a:gd name="connsiteX151" fmla="*/ 287253 w 608129"/>
                <a:gd name="connsiteY151" fmla="*/ 136083 h 343858"/>
                <a:gd name="connsiteX152" fmla="*/ 237125 w 608129"/>
                <a:gd name="connsiteY152" fmla="*/ 141391 h 343858"/>
                <a:gd name="connsiteX153" fmla="*/ 215098 w 608129"/>
                <a:gd name="connsiteY153" fmla="*/ 165657 h 343858"/>
                <a:gd name="connsiteX154" fmla="*/ 214339 w 608129"/>
                <a:gd name="connsiteY154" fmla="*/ 166415 h 343858"/>
                <a:gd name="connsiteX155" fmla="*/ 212060 w 608129"/>
                <a:gd name="connsiteY155" fmla="*/ 168690 h 343858"/>
                <a:gd name="connsiteX156" fmla="*/ 211301 w 608129"/>
                <a:gd name="connsiteY156" fmla="*/ 168690 h 343858"/>
                <a:gd name="connsiteX157" fmla="*/ 209022 w 608129"/>
                <a:gd name="connsiteY157" fmla="*/ 170206 h 343858"/>
                <a:gd name="connsiteX158" fmla="*/ 207503 w 608129"/>
                <a:gd name="connsiteY158" fmla="*/ 170965 h 343858"/>
                <a:gd name="connsiteX159" fmla="*/ 205224 w 608129"/>
                <a:gd name="connsiteY159" fmla="*/ 171723 h 343858"/>
                <a:gd name="connsiteX160" fmla="*/ 203705 w 608129"/>
                <a:gd name="connsiteY160" fmla="*/ 171723 h 343858"/>
                <a:gd name="connsiteX161" fmla="*/ 202186 w 608129"/>
                <a:gd name="connsiteY161" fmla="*/ 171723 h 343858"/>
                <a:gd name="connsiteX162" fmla="*/ 201427 w 608129"/>
                <a:gd name="connsiteY162" fmla="*/ 171723 h 343858"/>
                <a:gd name="connsiteX163" fmla="*/ 199148 w 608129"/>
                <a:gd name="connsiteY163" fmla="*/ 171723 h 343858"/>
                <a:gd name="connsiteX164" fmla="*/ 198389 w 608129"/>
                <a:gd name="connsiteY164" fmla="*/ 171723 h 343858"/>
                <a:gd name="connsiteX165" fmla="*/ 191553 w 608129"/>
                <a:gd name="connsiteY165" fmla="*/ 169448 h 343858"/>
                <a:gd name="connsiteX166" fmla="*/ 188515 w 608129"/>
                <a:gd name="connsiteY166" fmla="*/ 167173 h 343858"/>
                <a:gd name="connsiteX167" fmla="*/ 178641 w 608129"/>
                <a:gd name="connsiteY167" fmla="*/ 158073 h 343858"/>
                <a:gd name="connsiteX168" fmla="*/ 176362 w 608129"/>
                <a:gd name="connsiteY168" fmla="*/ 155040 h 343858"/>
                <a:gd name="connsiteX169" fmla="*/ 175603 w 608129"/>
                <a:gd name="connsiteY169" fmla="*/ 154282 h 343858"/>
                <a:gd name="connsiteX170" fmla="*/ 174084 w 608129"/>
                <a:gd name="connsiteY170" fmla="*/ 152007 h 343858"/>
                <a:gd name="connsiteX171" fmla="*/ 142943 w 608129"/>
                <a:gd name="connsiteY171" fmla="*/ 159590 h 343858"/>
                <a:gd name="connsiteX172" fmla="*/ 136107 w 608129"/>
                <a:gd name="connsiteY172" fmla="*/ 171723 h 343858"/>
                <a:gd name="connsiteX173" fmla="*/ 135348 w 608129"/>
                <a:gd name="connsiteY173" fmla="*/ 173998 h 343858"/>
                <a:gd name="connsiteX174" fmla="*/ 134588 w 608129"/>
                <a:gd name="connsiteY174" fmla="*/ 174756 h 343858"/>
                <a:gd name="connsiteX175" fmla="*/ 133069 w 608129"/>
                <a:gd name="connsiteY175" fmla="*/ 175514 h 343858"/>
                <a:gd name="connsiteX176" fmla="*/ 131550 w 608129"/>
                <a:gd name="connsiteY176" fmla="*/ 177789 h 343858"/>
                <a:gd name="connsiteX177" fmla="*/ 130791 w 608129"/>
                <a:gd name="connsiteY177" fmla="*/ 177789 h 343858"/>
                <a:gd name="connsiteX178" fmla="*/ 124715 w 608129"/>
                <a:gd name="connsiteY178" fmla="*/ 181581 h 343858"/>
                <a:gd name="connsiteX179" fmla="*/ 119398 w 608129"/>
                <a:gd name="connsiteY179" fmla="*/ 182339 h 343858"/>
                <a:gd name="connsiteX180" fmla="*/ 118638 w 608129"/>
                <a:gd name="connsiteY180" fmla="*/ 182339 h 343858"/>
                <a:gd name="connsiteX181" fmla="*/ 117879 w 608129"/>
                <a:gd name="connsiteY181" fmla="*/ 182339 h 343858"/>
                <a:gd name="connsiteX182" fmla="*/ 114841 w 608129"/>
                <a:gd name="connsiteY182" fmla="*/ 182339 h 343858"/>
                <a:gd name="connsiteX183" fmla="*/ 113322 w 608129"/>
                <a:gd name="connsiteY183" fmla="*/ 181581 h 343858"/>
                <a:gd name="connsiteX184" fmla="*/ 109524 w 608129"/>
                <a:gd name="connsiteY184" fmla="*/ 180064 h 343858"/>
                <a:gd name="connsiteX185" fmla="*/ 108764 w 608129"/>
                <a:gd name="connsiteY185" fmla="*/ 180064 h 343858"/>
                <a:gd name="connsiteX186" fmla="*/ 99650 w 608129"/>
                <a:gd name="connsiteY186" fmla="*/ 175514 h 343858"/>
                <a:gd name="connsiteX187" fmla="*/ 92814 w 608129"/>
                <a:gd name="connsiteY187" fmla="*/ 189922 h 343858"/>
                <a:gd name="connsiteX188" fmla="*/ 71548 w 608129"/>
                <a:gd name="connsiteY188" fmla="*/ 202813 h 343858"/>
                <a:gd name="connsiteX189" fmla="*/ 70029 w 608129"/>
                <a:gd name="connsiteY189" fmla="*/ 214188 h 343858"/>
                <a:gd name="connsiteX190" fmla="*/ 61674 w 608129"/>
                <a:gd name="connsiteY190" fmla="*/ 225562 h 343858"/>
                <a:gd name="connsiteX191" fmla="*/ 51800 w 608129"/>
                <a:gd name="connsiteY191" fmla="*/ 232387 h 343858"/>
                <a:gd name="connsiteX192" fmla="*/ 159653 w 608129"/>
                <a:gd name="connsiteY192" fmla="*/ 232387 h 343858"/>
                <a:gd name="connsiteX193" fmla="*/ 158134 w 608129"/>
                <a:gd name="connsiteY193" fmla="*/ 224804 h 343858"/>
                <a:gd name="connsiteX194" fmla="*/ 159653 w 608129"/>
                <a:gd name="connsiteY194" fmla="*/ 211155 h 343858"/>
                <a:gd name="connsiteX195" fmla="*/ 171046 w 608129"/>
                <a:gd name="connsiteY195" fmla="*/ 202813 h 343858"/>
                <a:gd name="connsiteX196" fmla="*/ 179401 w 608129"/>
                <a:gd name="connsiteY196" fmla="*/ 213430 h 343858"/>
                <a:gd name="connsiteX197" fmla="*/ 177881 w 608129"/>
                <a:gd name="connsiteY197" fmla="*/ 227837 h 343858"/>
                <a:gd name="connsiteX198" fmla="*/ 175603 w 608129"/>
                <a:gd name="connsiteY198" fmla="*/ 232387 h 343858"/>
                <a:gd name="connsiteX199" fmla="*/ 402702 w 608129"/>
                <a:gd name="connsiteY199" fmla="*/ 232387 h 343858"/>
                <a:gd name="connsiteX200" fmla="*/ 537897 w 608129"/>
                <a:gd name="connsiteY200" fmla="*/ 232387 h 343858"/>
                <a:gd name="connsiteX201" fmla="*/ 528783 w 608129"/>
                <a:gd name="connsiteY201" fmla="*/ 208880 h 343858"/>
                <a:gd name="connsiteX202" fmla="*/ 528783 w 608129"/>
                <a:gd name="connsiteY202" fmla="*/ 205847 h 343858"/>
                <a:gd name="connsiteX203" fmla="*/ 519669 w 608129"/>
                <a:gd name="connsiteY203" fmla="*/ 196747 h 343858"/>
                <a:gd name="connsiteX204" fmla="*/ 512833 w 608129"/>
                <a:gd name="connsiteY204" fmla="*/ 196747 h 343858"/>
                <a:gd name="connsiteX205" fmla="*/ 501440 w 608129"/>
                <a:gd name="connsiteY205" fmla="*/ 186131 h 343858"/>
                <a:gd name="connsiteX206" fmla="*/ 492326 w 608129"/>
                <a:gd name="connsiteY206" fmla="*/ 177789 h 343858"/>
                <a:gd name="connsiteX207" fmla="*/ 472578 w 608129"/>
                <a:gd name="connsiteY207" fmla="*/ 162623 h 343858"/>
                <a:gd name="connsiteX208" fmla="*/ 463464 w 608129"/>
                <a:gd name="connsiteY208" fmla="*/ 150490 h 343858"/>
                <a:gd name="connsiteX209" fmla="*/ 458907 w 608129"/>
                <a:gd name="connsiteY209" fmla="*/ 152765 h 343858"/>
                <a:gd name="connsiteX210" fmla="*/ 429285 w 608129"/>
                <a:gd name="connsiteY210" fmla="*/ 161107 h 343858"/>
                <a:gd name="connsiteX211" fmla="*/ 424728 w 608129"/>
                <a:gd name="connsiteY211" fmla="*/ 161865 h 343858"/>
                <a:gd name="connsiteX212" fmla="*/ 423968 w 608129"/>
                <a:gd name="connsiteY212" fmla="*/ 161865 h 343858"/>
                <a:gd name="connsiteX213" fmla="*/ 423209 w 608129"/>
                <a:gd name="connsiteY213" fmla="*/ 161865 h 343858"/>
                <a:gd name="connsiteX214" fmla="*/ 420171 w 608129"/>
                <a:gd name="connsiteY214" fmla="*/ 161107 h 343858"/>
                <a:gd name="connsiteX215" fmla="*/ 418652 w 608129"/>
                <a:gd name="connsiteY215" fmla="*/ 161107 h 343858"/>
                <a:gd name="connsiteX216" fmla="*/ 414094 w 608129"/>
                <a:gd name="connsiteY216" fmla="*/ 159590 h 343858"/>
                <a:gd name="connsiteX217" fmla="*/ 407259 w 608129"/>
                <a:gd name="connsiteY217" fmla="*/ 152765 h 343858"/>
                <a:gd name="connsiteX218" fmla="*/ 404221 w 608129"/>
                <a:gd name="connsiteY218" fmla="*/ 147457 h 343858"/>
                <a:gd name="connsiteX219" fmla="*/ 401182 w 608129"/>
                <a:gd name="connsiteY219" fmla="*/ 135324 h 343858"/>
                <a:gd name="connsiteX220" fmla="*/ 363206 w 608129"/>
                <a:gd name="connsiteY220" fmla="*/ 133808 h 343858"/>
                <a:gd name="connsiteX221" fmla="*/ 105726 w 608129"/>
                <a:gd name="connsiteY221" fmla="*/ 121675 h 343858"/>
                <a:gd name="connsiteX222" fmla="*/ 91295 w 608129"/>
                <a:gd name="connsiteY222" fmla="*/ 148216 h 343858"/>
                <a:gd name="connsiteX223" fmla="*/ 117119 w 608129"/>
                <a:gd name="connsiteY223" fmla="*/ 161865 h 343858"/>
                <a:gd name="connsiteX224" fmla="*/ 118638 w 608129"/>
                <a:gd name="connsiteY224" fmla="*/ 162623 h 343858"/>
                <a:gd name="connsiteX225" fmla="*/ 132310 w 608129"/>
                <a:gd name="connsiteY225" fmla="*/ 135324 h 343858"/>
                <a:gd name="connsiteX226" fmla="*/ 445235 w 608129"/>
                <a:gd name="connsiteY226" fmla="*/ 104234 h 343858"/>
                <a:gd name="connsiteX227" fmla="*/ 415614 w 608129"/>
                <a:gd name="connsiteY227" fmla="*/ 112575 h 343858"/>
                <a:gd name="connsiteX228" fmla="*/ 423968 w 608129"/>
                <a:gd name="connsiteY228" fmla="*/ 141391 h 343858"/>
                <a:gd name="connsiteX229" fmla="*/ 453590 w 608129"/>
                <a:gd name="connsiteY229" fmla="*/ 133049 h 343858"/>
                <a:gd name="connsiteX230" fmla="*/ 324470 w 608129"/>
                <a:gd name="connsiteY230" fmla="*/ 101201 h 343858"/>
                <a:gd name="connsiteX231" fmla="*/ 303963 w 608129"/>
                <a:gd name="connsiteY231" fmla="*/ 121675 h 343858"/>
                <a:gd name="connsiteX232" fmla="*/ 304723 w 608129"/>
                <a:gd name="connsiteY232" fmla="*/ 123192 h 343858"/>
                <a:gd name="connsiteX233" fmla="*/ 304723 w 608129"/>
                <a:gd name="connsiteY233" fmla="*/ 123950 h 343858"/>
                <a:gd name="connsiteX234" fmla="*/ 311558 w 608129"/>
                <a:gd name="connsiteY234" fmla="*/ 136841 h 343858"/>
                <a:gd name="connsiteX235" fmla="*/ 313837 w 608129"/>
                <a:gd name="connsiteY235" fmla="*/ 138358 h 343858"/>
                <a:gd name="connsiteX236" fmla="*/ 314596 w 608129"/>
                <a:gd name="connsiteY236" fmla="*/ 139116 h 343858"/>
                <a:gd name="connsiteX237" fmla="*/ 317634 w 608129"/>
                <a:gd name="connsiteY237" fmla="*/ 139874 h 343858"/>
                <a:gd name="connsiteX238" fmla="*/ 318394 w 608129"/>
                <a:gd name="connsiteY238" fmla="*/ 140633 h 343858"/>
                <a:gd name="connsiteX239" fmla="*/ 320673 w 608129"/>
                <a:gd name="connsiteY239" fmla="*/ 141391 h 343858"/>
                <a:gd name="connsiteX240" fmla="*/ 324470 w 608129"/>
                <a:gd name="connsiteY240" fmla="*/ 141391 h 343858"/>
                <a:gd name="connsiteX241" fmla="*/ 328268 w 608129"/>
                <a:gd name="connsiteY241" fmla="*/ 141391 h 343858"/>
                <a:gd name="connsiteX242" fmla="*/ 329787 w 608129"/>
                <a:gd name="connsiteY242" fmla="*/ 140633 h 343858"/>
                <a:gd name="connsiteX243" fmla="*/ 332066 w 608129"/>
                <a:gd name="connsiteY243" fmla="*/ 139874 h 343858"/>
                <a:gd name="connsiteX244" fmla="*/ 333585 w 608129"/>
                <a:gd name="connsiteY244" fmla="*/ 139116 h 343858"/>
                <a:gd name="connsiteX245" fmla="*/ 335863 w 608129"/>
                <a:gd name="connsiteY245" fmla="*/ 138358 h 343858"/>
                <a:gd name="connsiteX246" fmla="*/ 337382 w 608129"/>
                <a:gd name="connsiteY246" fmla="*/ 136841 h 343858"/>
                <a:gd name="connsiteX247" fmla="*/ 338142 w 608129"/>
                <a:gd name="connsiteY247" fmla="*/ 136083 h 343858"/>
                <a:gd name="connsiteX248" fmla="*/ 340420 w 608129"/>
                <a:gd name="connsiteY248" fmla="*/ 133808 h 343858"/>
                <a:gd name="connsiteX249" fmla="*/ 340420 w 608129"/>
                <a:gd name="connsiteY249" fmla="*/ 133049 h 343858"/>
                <a:gd name="connsiteX250" fmla="*/ 344218 w 608129"/>
                <a:gd name="connsiteY250" fmla="*/ 123192 h 343858"/>
                <a:gd name="connsiteX251" fmla="*/ 344977 w 608129"/>
                <a:gd name="connsiteY251" fmla="*/ 120917 h 343858"/>
                <a:gd name="connsiteX252" fmla="*/ 324470 w 608129"/>
                <a:gd name="connsiteY252" fmla="*/ 101201 h 343858"/>
                <a:gd name="connsiteX253" fmla="*/ 234086 w 608129"/>
                <a:gd name="connsiteY253" fmla="*/ 98926 h 343858"/>
                <a:gd name="connsiteX254" fmla="*/ 193832 w 608129"/>
                <a:gd name="connsiteY254" fmla="*/ 144424 h 343858"/>
                <a:gd name="connsiteX255" fmla="*/ 201427 w 608129"/>
                <a:gd name="connsiteY255" fmla="*/ 151249 h 343858"/>
                <a:gd name="connsiteX256" fmla="*/ 227251 w 608129"/>
                <a:gd name="connsiteY256" fmla="*/ 121675 h 343858"/>
                <a:gd name="connsiteX257" fmla="*/ 241682 w 608129"/>
                <a:gd name="connsiteY257" fmla="*/ 105751 h 343858"/>
                <a:gd name="connsiteX258" fmla="*/ 233042 w 608129"/>
                <a:gd name="connsiteY258" fmla="*/ 78357 h 343858"/>
                <a:gd name="connsiteX259" fmla="*/ 246239 w 608129"/>
                <a:gd name="connsiteY259" fmla="*/ 83001 h 343858"/>
                <a:gd name="connsiteX260" fmla="*/ 256872 w 608129"/>
                <a:gd name="connsiteY260" fmla="*/ 92101 h 343858"/>
                <a:gd name="connsiteX261" fmla="*/ 257632 w 608129"/>
                <a:gd name="connsiteY261" fmla="*/ 118642 h 343858"/>
                <a:gd name="connsiteX262" fmla="*/ 284215 w 608129"/>
                <a:gd name="connsiteY262" fmla="*/ 116367 h 343858"/>
                <a:gd name="connsiteX263" fmla="*/ 324470 w 608129"/>
                <a:gd name="connsiteY263" fmla="*/ 80727 h 343858"/>
                <a:gd name="connsiteX264" fmla="*/ 363966 w 608129"/>
                <a:gd name="connsiteY264" fmla="*/ 114092 h 343858"/>
                <a:gd name="connsiteX265" fmla="*/ 395866 w 608129"/>
                <a:gd name="connsiteY265" fmla="*/ 114850 h 343858"/>
                <a:gd name="connsiteX266" fmla="*/ 398144 w 608129"/>
                <a:gd name="connsiteY266" fmla="*/ 102717 h 343858"/>
                <a:gd name="connsiteX267" fmla="*/ 410297 w 608129"/>
                <a:gd name="connsiteY267" fmla="*/ 92859 h 343858"/>
                <a:gd name="connsiteX268" fmla="*/ 439159 w 608129"/>
                <a:gd name="connsiteY268" fmla="*/ 84518 h 343858"/>
                <a:gd name="connsiteX269" fmla="*/ 454349 w 608129"/>
                <a:gd name="connsiteY269" fmla="*/ 86035 h 343858"/>
                <a:gd name="connsiteX270" fmla="*/ 464223 w 608129"/>
                <a:gd name="connsiteY270" fmla="*/ 98168 h 343858"/>
                <a:gd name="connsiteX271" fmla="*/ 472578 w 608129"/>
                <a:gd name="connsiteY271" fmla="*/ 127741 h 343858"/>
                <a:gd name="connsiteX272" fmla="*/ 473338 w 608129"/>
                <a:gd name="connsiteY272" fmla="*/ 132291 h 343858"/>
                <a:gd name="connsiteX273" fmla="*/ 492326 w 608129"/>
                <a:gd name="connsiteY273" fmla="*/ 157315 h 343858"/>
                <a:gd name="connsiteX274" fmla="*/ 519669 w 608129"/>
                <a:gd name="connsiteY274" fmla="*/ 176273 h 343858"/>
                <a:gd name="connsiteX275" fmla="*/ 524226 w 608129"/>
                <a:gd name="connsiteY275" fmla="*/ 177031 h 343858"/>
                <a:gd name="connsiteX276" fmla="*/ 547771 w 608129"/>
                <a:gd name="connsiteY276" fmla="*/ 199780 h 343858"/>
                <a:gd name="connsiteX277" fmla="*/ 548531 w 608129"/>
                <a:gd name="connsiteY277" fmla="*/ 210396 h 343858"/>
                <a:gd name="connsiteX278" fmla="*/ 553848 w 608129"/>
                <a:gd name="connsiteY278" fmla="*/ 219496 h 343858"/>
                <a:gd name="connsiteX279" fmla="*/ 564481 w 608129"/>
                <a:gd name="connsiteY279" fmla="*/ 232387 h 343858"/>
                <a:gd name="connsiteX280" fmla="*/ 588786 w 608129"/>
                <a:gd name="connsiteY280" fmla="*/ 232387 h 343858"/>
                <a:gd name="connsiteX281" fmla="*/ 606255 w 608129"/>
                <a:gd name="connsiteY281" fmla="*/ 243003 h 343858"/>
                <a:gd name="connsiteX282" fmla="*/ 604736 w 608129"/>
                <a:gd name="connsiteY282" fmla="*/ 263478 h 343858"/>
                <a:gd name="connsiteX283" fmla="*/ 603217 w 608129"/>
                <a:gd name="connsiteY283" fmla="*/ 264994 h 343858"/>
                <a:gd name="connsiteX284" fmla="*/ 550809 w 608129"/>
                <a:gd name="connsiteY284" fmla="*/ 296843 h 343858"/>
                <a:gd name="connsiteX285" fmla="*/ 544733 w 608129"/>
                <a:gd name="connsiteY285" fmla="*/ 312768 h 343858"/>
                <a:gd name="connsiteX286" fmla="*/ 516631 w 608129"/>
                <a:gd name="connsiteY286" fmla="*/ 343858 h 343858"/>
                <a:gd name="connsiteX287" fmla="*/ 91295 w 608129"/>
                <a:gd name="connsiteY287" fmla="*/ 343858 h 343858"/>
                <a:gd name="connsiteX288" fmla="*/ 63952 w 608129"/>
                <a:gd name="connsiteY288" fmla="*/ 312768 h 343858"/>
                <a:gd name="connsiteX289" fmla="*/ 57876 w 608129"/>
                <a:gd name="connsiteY289" fmla="*/ 296843 h 343858"/>
                <a:gd name="connsiteX290" fmla="*/ 4709 w 608129"/>
                <a:gd name="connsiteY290" fmla="*/ 264994 h 343858"/>
                <a:gd name="connsiteX291" fmla="*/ 3950 w 608129"/>
                <a:gd name="connsiteY291" fmla="*/ 263478 h 343858"/>
                <a:gd name="connsiteX292" fmla="*/ 2431 w 608129"/>
                <a:gd name="connsiteY292" fmla="*/ 243003 h 343858"/>
                <a:gd name="connsiteX293" fmla="*/ 19900 w 608129"/>
                <a:gd name="connsiteY293" fmla="*/ 232387 h 343858"/>
                <a:gd name="connsiteX294" fmla="*/ 31293 w 608129"/>
                <a:gd name="connsiteY294" fmla="*/ 232387 h 343858"/>
                <a:gd name="connsiteX295" fmla="*/ 49521 w 608129"/>
                <a:gd name="connsiteY295" fmla="*/ 208880 h 343858"/>
                <a:gd name="connsiteX296" fmla="*/ 57117 w 608129"/>
                <a:gd name="connsiteY296" fmla="*/ 187647 h 343858"/>
                <a:gd name="connsiteX297" fmla="*/ 68510 w 608129"/>
                <a:gd name="connsiteY297" fmla="*/ 182339 h 343858"/>
                <a:gd name="connsiteX298" fmla="*/ 76864 w 608129"/>
                <a:gd name="connsiteY298" fmla="*/ 177031 h 343858"/>
                <a:gd name="connsiteX299" fmla="*/ 79902 w 608129"/>
                <a:gd name="connsiteY299" fmla="*/ 167931 h 343858"/>
                <a:gd name="connsiteX300" fmla="*/ 79902 w 608129"/>
                <a:gd name="connsiteY300" fmla="*/ 164140 h 343858"/>
                <a:gd name="connsiteX301" fmla="*/ 73826 w 608129"/>
                <a:gd name="connsiteY301" fmla="*/ 139116 h 343858"/>
                <a:gd name="connsiteX302" fmla="*/ 87498 w 608129"/>
                <a:gd name="connsiteY302" fmla="*/ 111817 h 343858"/>
                <a:gd name="connsiteX303" fmla="*/ 99650 w 608129"/>
                <a:gd name="connsiteY303" fmla="*/ 101959 h 343858"/>
                <a:gd name="connsiteX304" fmla="*/ 114841 w 608129"/>
                <a:gd name="connsiteY304" fmla="*/ 103476 h 343858"/>
                <a:gd name="connsiteX305" fmla="*/ 142184 w 608129"/>
                <a:gd name="connsiteY305" fmla="*/ 117125 h 343858"/>
                <a:gd name="connsiteX306" fmla="*/ 152058 w 608129"/>
                <a:gd name="connsiteY306" fmla="*/ 129258 h 343858"/>
                <a:gd name="connsiteX307" fmla="*/ 152817 w 608129"/>
                <a:gd name="connsiteY307" fmla="*/ 136083 h 343858"/>
                <a:gd name="connsiteX308" fmla="*/ 178641 w 608129"/>
                <a:gd name="connsiteY308" fmla="*/ 130016 h 343858"/>
                <a:gd name="connsiteX309" fmla="*/ 220415 w 608129"/>
                <a:gd name="connsiteY309" fmla="*/ 84518 h 343858"/>
                <a:gd name="connsiteX310" fmla="*/ 233042 w 608129"/>
                <a:gd name="connsiteY310" fmla="*/ 78357 h 343858"/>
                <a:gd name="connsiteX311" fmla="*/ 162582 w 608129"/>
                <a:gd name="connsiteY311" fmla="*/ 60954 h 343858"/>
                <a:gd name="connsiteX312" fmla="*/ 142076 w 608129"/>
                <a:gd name="connsiteY312" fmla="*/ 80671 h 343858"/>
                <a:gd name="connsiteX313" fmla="*/ 162582 w 608129"/>
                <a:gd name="connsiteY313" fmla="*/ 101147 h 343858"/>
                <a:gd name="connsiteX314" fmla="*/ 182329 w 608129"/>
                <a:gd name="connsiteY314" fmla="*/ 80671 h 343858"/>
                <a:gd name="connsiteX315" fmla="*/ 162582 w 608129"/>
                <a:gd name="connsiteY315" fmla="*/ 60954 h 343858"/>
                <a:gd name="connsiteX316" fmla="*/ 162582 w 608129"/>
                <a:gd name="connsiteY316" fmla="*/ 40478 h 343858"/>
                <a:gd name="connsiteX317" fmla="*/ 202836 w 608129"/>
                <a:gd name="connsiteY317" fmla="*/ 80671 h 343858"/>
                <a:gd name="connsiteX318" fmla="*/ 162582 w 608129"/>
                <a:gd name="connsiteY318" fmla="*/ 121623 h 343858"/>
                <a:gd name="connsiteX319" fmla="*/ 121569 w 608129"/>
                <a:gd name="connsiteY319" fmla="*/ 80671 h 343858"/>
                <a:gd name="connsiteX320" fmla="*/ 162582 w 608129"/>
                <a:gd name="connsiteY320" fmla="*/ 40478 h 343858"/>
                <a:gd name="connsiteX321" fmla="*/ 285697 w 608129"/>
                <a:gd name="connsiteY321" fmla="*/ 32920 h 343858"/>
                <a:gd name="connsiteX322" fmla="*/ 256860 w 608129"/>
                <a:gd name="connsiteY322" fmla="*/ 41258 h 343858"/>
                <a:gd name="connsiteX323" fmla="*/ 265208 w 608129"/>
                <a:gd name="connsiteY323" fmla="*/ 70819 h 343858"/>
                <a:gd name="connsiteX324" fmla="*/ 294045 w 608129"/>
                <a:gd name="connsiteY324" fmla="*/ 62481 h 343858"/>
                <a:gd name="connsiteX325" fmla="*/ 364659 w 608129"/>
                <a:gd name="connsiteY325" fmla="*/ 20767 h 343858"/>
                <a:gd name="connsiteX326" fmla="*/ 355552 w 608129"/>
                <a:gd name="connsiteY326" fmla="*/ 23799 h 343858"/>
                <a:gd name="connsiteX327" fmla="*/ 376044 w 608129"/>
                <a:gd name="connsiteY327" fmla="*/ 81416 h 343858"/>
                <a:gd name="connsiteX328" fmla="*/ 385910 w 608129"/>
                <a:gd name="connsiteY328" fmla="*/ 77625 h 343858"/>
                <a:gd name="connsiteX329" fmla="*/ 280385 w 608129"/>
                <a:gd name="connsiteY329" fmla="*/ 13971 h 343858"/>
                <a:gd name="connsiteX330" fmla="*/ 295563 w 608129"/>
                <a:gd name="connsiteY330" fmla="*/ 15487 h 343858"/>
                <a:gd name="connsiteX331" fmla="*/ 305428 w 608129"/>
                <a:gd name="connsiteY331" fmla="*/ 27614 h 343858"/>
                <a:gd name="connsiteX332" fmla="*/ 313776 w 608129"/>
                <a:gd name="connsiteY332" fmla="*/ 57176 h 343858"/>
                <a:gd name="connsiteX333" fmla="*/ 311500 w 608129"/>
                <a:gd name="connsiteY333" fmla="*/ 72335 h 343858"/>
                <a:gd name="connsiteX334" fmla="*/ 299357 w 608129"/>
                <a:gd name="connsiteY334" fmla="*/ 82189 h 343858"/>
                <a:gd name="connsiteX335" fmla="*/ 270520 w 608129"/>
                <a:gd name="connsiteY335" fmla="*/ 90527 h 343858"/>
                <a:gd name="connsiteX336" fmla="*/ 265208 w 608129"/>
                <a:gd name="connsiteY336" fmla="*/ 91285 h 343858"/>
                <a:gd name="connsiteX337" fmla="*/ 255342 w 608129"/>
                <a:gd name="connsiteY337" fmla="*/ 88253 h 343858"/>
                <a:gd name="connsiteX338" fmla="*/ 245477 w 608129"/>
                <a:gd name="connsiteY338" fmla="*/ 76125 h 343858"/>
                <a:gd name="connsiteX339" fmla="*/ 237129 w 608129"/>
                <a:gd name="connsiteY339" fmla="*/ 47322 h 343858"/>
                <a:gd name="connsiteX340" fmla="*/ 238647 w 608129"/>
                <a:gd name="connsiteY340" fmla="*/ 32162 h 343858"/>
                <a:gd name="connsiteX341" fmla="*/ 250789 w 608129"/>
                <a:gd name="connsiteY341" fmla="*/ 22309 h 343858"/>
                <a:gd name="connsiteX342" fmla="*/ 359347 w 608129"/>
                <a:gd name="connsiteY342" fmla="*/ 1056 h 343858"/>
                <a:gd name="connsiteX343" fmla="*/ 373767 w 608129"/>
                <a:gd name="connsiteY343" fmla="*/ 1814 h 343858"/>
                <a:gd name="connsiteX344" fmla="*/ 383633 w 608129"/>
                <a:gd name="connsiteY344" fmla="*/ 12428 h 343858"/>
                <a:gd name="connsiteX345" fmla="*/ 404884 w 608129"/>
                <a:gd name="connsiteY345" fmla="*/ 72318 h 343858"/>
                <a:gd name="connsiteX346" fmla="*/ 404884 w 608129"/>
                <a:gd name="connsiteY346" fmla="*/ 86723 h 343858"/>
                <a:gd name="connsiteX347" fmla="*/ 394259 w 608129"/>
                <a:gd name="connsiteY347" fmla="*/ 95820 h 343858"/>
                <a:gd name="connsiteX348" fmla="*/ 381356 w 608129"/>
                <a:gd name="connsiteY348" fmla="*/ 100369 h 343858"/>
                <a:gd name="connsiteX349" fmla="*/ 375285 w 608129"/>
                <a:gd name="connsiteY349" fmla="*/ 101885 h 343858"/>
                <a:gd name="connsiteX350" fmla="*/ 367695 w 608129"/>
                <a:gd name="connsiteY350" fmla="*/ 100369 h 343858"/>
                <a:gd name="connsiteX351" fmla="*/ 357829 w 608129"/>
                <a:gd name="connsiteY351" fmla="*/ 89755 h 343858"/>
                <a:gd name="connsiteX352" fmla="*/ 335819 w 608129"/>
                <a:gd name="connsiteY352" fmla="*/ 29864 h 343858"/>
                <a:gd name="connsiteX353" fmla="*/ 336578 w 608129"/>
                <a:gd name="connsiteY353" fmla="*/ 15460 h 343858"/>
                <a:gd name="connsiteX354" fmla="*/ 347203 w 608129"/>
                <a:gd name="connsiteY354" fmla="*/ 5605 h 34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</a:cxnLst>
              <a:rect l="l" t="t" r="r" b="b"/>
              <a:pathLst>
                <a:path w="72860" h="102345">
                  <a:moveTo>
                    <a:pt x="25046" y="1516"/>
                  </a:moveTo>
                  <a:cubicBezTo>
                    <a:pt x="29599" y="0"/>
                    <a:pt x="34912" y="0"/>
                    <a:pt x="39466" y="2274"/>
                  </a:cubicBezTo>
                  <a:cubicBezTo>
                    <a:pt x="44020" y="4548"/>
                    <a:pt x="47055" y="8339"/>
                    <a:pt x="49332" y="12888"/>
                  </a:cubicBezTo>
                  <a:lnTo>
                    <a:pt x="70583" y="72778"/>
                  </a:lnTo>
                  <a:cubicBezTo>
                    <a:pt x="72860" y="77327"/>
                    <a:pt x="72101" y="82634"/>
                    <a:pt x="70583" y="87183"/>
                  </a:cubicBezTo>
                  <a:cubicBezTo>
                    <a:pt x="68306" y="91731"/>
                    <a:pt x="64511" y="94764"/>
                    <a:pt x="59958" y="96280"/>
                  </a:cubicBezTo>
                  <a:lnTo>
                    <a:pt x="47055" y="100829"/>
                  </a:lnTo>
                  <a:cubicBezTo>
                    <a:pt x="45537" y="101587"/>
                    <a:pt x="43261" y="102345"/>
                    <a:pt x="40984" y="102345"/>
                  </a:cubicBezTo>
                  <a:cubicBezTo>
                    <a:pt x="37948" y="102345"/>
                    <a:pt x="35671" y="101587"/>
                    <a:pt x="33394" y="100829"/>
                  </a:cubicBezTo>
                  <a:cubicBezTo>
                    <a:pt x="28840" y="98554"/>
                    <a:pt x="25046" y="94764"/>
                    <a:pt x="23528" y="90215"/>
                  </a:cubicBezTo>
                  <a:lnTo>
                    <a:pt x="1518" y="30324"/>
                  </a:lnTo>
                  <a:cubicBezTo>
                    <a:pt x="0" y="25017"/>
                    <a:pt x="0" y="20469"/>
                    <a:pt x="2277" y="15920"/>
                  </a:cubicBezTo>
                  <a:cubicBezTo>
                    <a:pt x="4554" y="11371"/>
                    <a:pt x="7590" y="7581"/>
                    <a:pt x="12902" y="6065"/>
                  </a:cubicBezTo>
                </a:path>
              </a:pathLst>
            </a:custGeom>
            <a:noFill/>
            <a:ln w="44450">
              <a:gradFill>
                <a:gsLst>
                  <a:gs pos="0">
                    <a:schemeClr val="accent3"/>
                  </a:gs>
                  <a:gs pos="100000">
                    <a:schemeClr val="accent3">
                      <a:lumMod val="5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zh-CN" altLang="en-US">
                <a:gradFill flip="none" rotWithShape="1">
                  <a:gsLst>
                    <a:gs pos="89000">
                      <a:schemeClr val="bg1"/>
                    </a:gs>
                    <a:gs pos="0">
                      <a:schemeClr val="accent2"/>
                    </a:gs>
                  </a:gsLst>
                  <a:lin ang="13500000" scaled="1"/>
                  <a:tileRect/>
                </a:gradFill>
              </a:endParaRPr>
            </a:p>
          </p:txBody>
        </p:sp>
        <p:sp>
          <p:nvSpPr>
            <p:cNvPr id="201" name="任意多边形: 形状 200"/>
            <p:cNvSpPr>
              <a:spLocks/>
            </p:cNvSpPr>
            <p:nvPr userDrawn="1"/>
          </p:nvSpPr>
          <p:spPr bwMode="auto">
            <a:xfrm flipH="1">
              <a:off x="2832823" y="3644828"/>
              <a:ext cx="45719" cy="66185"/>
            </a:xfrm>
            <a:custGeom>
              <a:avLst/>
              <a:gdLst>
                <a:gd name="connsiteX0" fmla="*/ 193001 w 608129"/>
                <a:gd name="connsiteY0" fmla="*/ 283182 h 343858"/>
                <a:gd name="connsiteX1" fmla="*/ 506699 w 608129"/>
                <a:gd name="connsiteY1" fmla="*/ 283182 h 343858"/>
                <a:gd name="connsiteX2" fmla="*/ 516573 w 608129"/>
                <a:gd name="connsiteY2" fmla="*/ 293038 h 343858"/>
                <a:gd name="connsiteX3" fmla="*/ 506699 w 608129"/>
                <a:gd name="connsiteY3" fmla="*/ 303651 h 343858"/>
                <a:gd name="connsiteX4" fmla="*/ 193001 w 608129"/>
                <a:gd name="connsiteY4" fmla="*/ 303651 h 343858"/>
                <a:gd name="connsiteX5" fmla="*/ 182367 w 608129"/>
                <a:gd name="connsiteY5" fmla="*/ 293038 h 343858"/>
                <a:gd name="connsiteX6" fmla="*/ 193001 w 608129"/>
                <a:gd name="connsiteY6" fmla="*/ 283182 h 343858"/>
                <a:gd name="connsiteX7" fmla="*/ 101866 w 608129"/>
                <a:gd name="connsiteY7" fmla="*/ 283182 h 343858"/>
                <a:gd name="connsiteX8" fmla="*/ 142885 w 608129"/>
                <a:gd name="connsiteY8" fmla="*/ 283182 h 343858"/>
                <a:gd name="connsiteX9" fmla="*/ 152760 w 608129"/>
                <a:gd name="connsiteY9" fmla="*/ 293038 h 343858"/>
                <a:gd name="connsiteX10" fmla="*/ 142885 w 608129"/>
                <a:gd name="connsiteY10" fmla="*/ 303651 h 343858"/>
                <a:gd name="connsiteX11" fmla="*/ 101866 w 608129"/>
                <a:gd name="connsiteY11" fmla="*/ 303651 h 343858"/>
                <a:gd name="connsiteX12" fmla="*/ 91231 w 608129"/>
                <a:gd name="connsiteY12" fmla="*/ 293038 h 343858"/>
                <a:gd name="connsiteX13" fmla="*/ 101866 w 608129"/>
                <a:gd name="connsiteY13" fmla="*/ 283182 h 343858"/>
                <a:gd name="connsiteX14" fmla="*/ 23697 w 608129"/>
                <a:gd name="connsiteY14" fmla="*/ 252861 h 343858"/>
                <a:gd name="connsiteX15" fmla="*/ 72307 w 608129"/>
                <a:gd name="connsiteY15" fmla="*/ 281677 h 343858"/>
                <a:gd name="connsiteX16" fmla="*/ 73826 w 608129"/>
                <a:gd name="connsiteY16" fmla="*/ 283952 h 343858"/>
                <a:gd name="connsiteX17" fmla="*/ 82941 w 608129"/>
                <a:gd name="connsiteY17" fmla="*/ 307460 h 343858"/>
                <a:gd name="connsiteX18" fmla="*/ 91295 w 608129"/>
                <a:gd name="connsiteY18" fmla="*/ 323384 h 343858"/>
                <a:gd name="connsiteX19" fmla="*/ 516631 w 608129"/>
                <a:gd name="connsiteY19" fmla="*/ 323384 h 343858"/>
                <a:gd name="connsiteX20" fmla="*/ 525745 w 608129"/>
                <a:gd name="connsiteY20" fmla="*/ 307460 h 343858"/>
                <a:gd name="connsiteX21" fmla="*/ 534859 w 608129"/>
                <a:gd name="connsiteY21" fmla="*/ 283952 h 343858"/>
                <a:gd name="connsiteX22" fmla="*/ 536378 w 608129"/>
                <a:gd name="connsiteY22" fmla="*/ 281677 h 343858"/>
                <a:gd name="connsiteX23" fmla="*/ 584229 w 608129"/>
                <a:gd name="connsiteY23" fmla="*/ 252861 h 343858"/>
                <a:gd name="connsiteX24" fmla="*/ 569798 w 608129"/>
                <a:gd name="connsiteY24" fmla="*/ 252861 h 343858"/>
                <a:gd name="connsiteX25" fmla="*/ 413335 w 608129"/>
                <a:gd name="connsiteY25" fmla="*/ 252861 h 343858"/>
                <a:gd name="connsiteX26" fmla="*/ 401942 w 608129"/>
                <a:gd name="connsiteY26" fmla="*/ 252861 h 343858"/>
                <a:gd name="connsiteX27" fmla="*/ 35850 w 608129"/>
                <a:gd name="connsiteY27" fmla="*/ 252861 h 343858"/>
                <a:gd name="connsiteX28" fmla="*/ 254526 w 608129"/>
                <a:gd name="connsiteY28" fmla="*/ 201295 h 343858"/>
                <a:gd name="connsiteX29" fmla="*/ 257557 w 608129"/>
                <a:gd name="connsiteY29" fmla="*/ 214952 h 343858"/>
                <a:gd name="connsiteX30" fmla="*/ 249221 w 608129"/>
                <a:gd name="connsiteY30" fmla="*/ 227091 h 343858"/>
                <a:gd name="connsiteX31" fmla="*/ 240886 w 608129"/>
                <a:gd name="connsiteY31" fmla="*/ 231644 h 343858"/>
                <a:gd name="connsiteX32" fmla="*/ 235581 w 608129"/>
                <a:gd name="connsiteY32" fmla="*/ 229368 h 343858"/>
                <a:gd name="connsiteX33" fmla="*/ 232550 w 608129"/>
                <a:gd name="connsiteY33" fmla="*/ 215710 h 343858"/>
                <a:gd name="connsiteX34" fmla="*/ 240886 w 608129"/>
                <a:gd name="connsiteY34" fmla="*/ 203571 h 343858"/>
                <a:gd name="connsiteX35" fmla="*/ 254526 w 608129"/>
                <a:gd name="connsiteY35" fmla="*/ 201295 h 343858"/>
                <a:gd name="connsiteX36" fmla="*/ 293998 w 608129"/>
                <a:gd name="connsiteY36" fmla="*/ 199043 h 343858"/>
                <a:gd name="connsiteX37" fmla="*/ 307670 w 608129"/>
                <a:gd name="connsiteY37" fmla="*/ 202827 h 343858"/>
                <a:gd name="connsiteX38" fmla="*/ 314506 w 608129"/>
                <a:gd name="connsiteY38" fmla="*/ 214937 h 343858"/>
                <a:gd name="connsiteX39" fmla="*/ 304632 w 608129"/>
                <a:gd name="connsiteY39" fmla="*/ 222506 h 343858"/>
                <a:gd name="connsiteX40" fmla="*/ 302353 w 608129"/>
                <a:gd name="connsiteY40" fmla="*/ 221749 h 343858"/>
                <a:gd name="connsiteX41" fmla="*/ 288681 w 608129"/>
                <a:gd name="connsiteY41" fmla="*/ 218721 h 343858"/>
                <a:gd name="connsiteX42" fmla="*/ 281845 w 608129"/>
                <a:gd name="connsiteY42" fmla="*/ 205854 h 343858"/>
                <a:gd name="connsiteX43" fmla="*/ 293998 w 608129"/>
                <a:gd name="connsiteY43" fmla="*/ 199043 h 343858"/>
                <a:gd name="connsiteX44" fmla="*/ 113257 w 608129"/>
                <a:gd name="connsiteY44" fmla="*/ 193732 h 343858"/>
                <a:gd name="connsiteX45" fmla="*/ 125378 w 608129"/>
                <a:gd name="connsiteY45" fmla="*/ 201299 h 343858"/>
                <a:gd name="connsiteX46" fmla="*/ 128408 w 608129"/>
                <a:gd name="connsiteY46" fmla="*/ 214920 h 343858"/>
                <a:gd name="connsiteX47" fmla="*/ 120075 w 608129"/>
                <a:gd name="connsiteY47" fmla="*/ 219460 h 343858"/>
                <a:gd name="connsiteX48" fmla="*/ 114773 w 608129"/>
                <a:gd name="connsiteY48" fmla="*/ 217946 h 343858"/>
                <a:gd name="connsiteX49" fmla="*/ 102652 w 608129"/>
                <a:gd name="connsiteY49" fmla="*/ 211136 h 343858"/>
                <a:gd name="connsiteX50" fmla="*/ 99622 w 608129"/>
                <a:gd name="connsiteY50" fmla="*/ 196759 h 343858"/>
                <a:gd name="connsiteX51" fmla="*/ 113257 w 608129"/>
                <a:gd name="connsiteY51" fmla="*/ 193732 h 343858"/>
                <a:gd name="connsiteX52" fmla="*/ 367752 w 608129"/>
                <a:gd name="connsiteY52" fmla="*/ 192974 h 343858"/>
                <a:gd name="connsiteX53" fmla="*/ 380665 w 608129"/>
                <a:gd name="connsiteY53" fmla="*/ 199023 h 343858"/>
                <a:gd name="connsiteX54" fmla="*/ 373829 w 608129"/>
                <a:gd name="connsiteY54" fmla="*/ 211877 h 343858"/>
                <a:gd name="connsiteX55" fmla="*/ 360917 w 608129"/>
                <a:gd name="connsiteY55" fmla="*/ 216414 h 343858"/>
                <a:gd name="connsiteX56" fmla="*/ 357119 w 608129"/>
                <a:gd name="connsiteY56" fmla="*/ 216414 h 343858"/>
                <a:gd name="connsiteX57" fmla="*/ 348004 w 608129"/>
                <a:gd name="connsiteY57" fmla="*/ 209609 h 343858"/>
                <a:gd name="connsiteX58" fmla="*/ 354081 w 608129"/>
                <a:gd name="connsiteY58" fmla="*/ 196755 h 343858"/>
                <a:gd name="connsiteX59" fmla="*/ 473099 w 608129"/>
                <a:gd name="connsiteY59" fmla="*/ 187878 h 343858"/>
                <a:gd name="connsiteX60" fmla="*/ 480904 w 608129"/>
                <a:gd name="connsiteY60" fmla="*/ 189869 h 343858"/>
                <a:gd name="connsiteX61" fmla="*/ 483189 w 608129"/>
                <a:gd name="connsiteY61" fmla="*/ 203526 h 343858"/>
                <a:gd name="connsiteX62" fmla="*/ 475574 w 608129"/>
                <a:gd name="connsiteY62" fmla="*/ 214907 h 343858"/>
                <a:gd name="connsiteX63" fmla="*/ 467198 w 608129"/>
                <a:gd name="connsiteY63" fmla="*/ 219460 h 343858"/>
                <a:gd name="connsiteX64" fmla="*/ 461106 w 608129"/>
                <a:gd name="connsiteY64" fmla="*/ 217942 h 343858"/>
                <a:gd name="connsiteX65" fmla="*/ 458821 w 608129"/>
                <a:gd name="connsiteY65" fmla="*/ 203526 h 343858"/>
                <a:gd name="connsiteX66" fmla="*/ 466436 w 608129"/>
                <a:gd name="connsiteY66" fmla="*/ 192146 h 343858"/>
                <a:gd name="connsiteX67" fmla="*/ 473099 w 608129"/>
                <a:gd name="connsiteY67" fmla="*/ 187878 h 343858"/>
                <a:gd name="connsiteX68" fmla="*/ 410279 w 608129"/>
                <a:gd name="connsiteY68" fmla="*/ 182352 h 343858"/>
                <a:gd name="connsiteX69" fmla="*/ 422434 w 608129"/>
                <a:gd name="connsiteY69" fmla="*/ 189169 h 343858"/>
                <a:gd name="connsiteX70" fmla="*/ 426233 w 608129"/>
                <a:gd name="connsiteY70" fmla="*/ 202805 h 343858"/>
                <a:gd name="connsiteX71" fmla="*/ 418636 w 608129"/>
                <a:gd name="connsiteY71" fmla="*/ 215683 h 343858"/>
                <a:gd name="connsiteX72" fmla="*/ 416356 w 608129"/>
                <a:gd name="connsiteY72" fmla="*/ 215683 h 343858"/>
                <a:gd name="connsiteX73" fmla="*/ 406480 w 608129"/>
                <a:gd name="connsiteY73" fmla="*/ 208108 h 343858"/>
                <a:gd name="connsiteX74" fmla="*/ 402682 w 608129"/>
                <a:gd name="connsiteY74" fmla="*/ 194472 h 343858"/>
                <a:gd name="connsiteX75" fmla="*/ 410279 w 608129"/>
                <a:gd name="connsiteY75" fmla="*/ 182352 h 343858"/>
                <a:gd name="connsiteX76" fmla="*/ 188501 w 608129"/>
                <a:gd name="connsiteY76" fmla="*/ 179282 h 343858"/>
                <a:gd name="connsiteX77" fmla="*/ 202945 w 608129"/>
                <a:gd name="connsiteY77" fmla="*/ 180043 h 343858"/>
                <a:gd name="connsiteX78" fmla="*/ 212067 w 608129"/>
                <a:gd name="connsiteY78" fmla="*/ 191449 h 343858"/>
                <a:gd name="connsiteX79" fmla="*/ 202185 w 608129"/>
                <a:gd name="connsiteY79" fmla="*/ 200575 h 343858"/>
                <a:gd name="connsiteX80" fmla="*/ 201424 w 608129"/>
                <a:gd name="connsiteY80" fmla="*/ 200575 h 343858"/>
                <a:gd name="connsiteX81" fmla="*/ 186981 w 608129"/>
                <a:gd name="connsiteY81" fmla="*/ 199814 h 343858"/>
                <a:gd name="connsiteX82" fmla="*/ 177859 w 608129"/>
                <a:gd name="connsiteY82" fmla="*/ 188408 h 343858"/>
                <a:gd name="connsiteX83" fmla="*/ 188501 w 608129"/>
                <a:gd name="connsiteY83" fmla="*/ 179282 h 343858"/>
                <a:gd name="connsiteX84" fmla="*/ 160344 w 608129"/>
                <a:gd name="connsiteY84" fmla="*/ 165596 h 343858"/>
                <a:gd name="connsiteX85" fmla="*/ 163375 w 608129"/>
                <a:gd name="connsiteY85" fmla="*/ 180011 h 343858"/>
                <a:gd name="connsiteX86" fmla="*/ 155797 w 608129"/>
                <a:gd name="connsiteY86" fmla="*/ 191392 h 343858"/>
                <a:gd name="connsiteX87" fmla="*/ 147461 w 608129"/>
                <a:gd name="connsiteY87" fmla="*/ 195945 h 343858"/>
                <a:gd name="connsiteX88" fmla="*/ 141399 w 608129"/>
                <a:gd name="connsiteY88" fmla="*/ 194427 h 343858"/>
                <a:gd name="connsiteX89" fmla="*/ 139126 w 608129"/>
                <a:gd name="connsiteY89" fmla="*/ 180011 h 343858"/>
                <a:gd name="connsiteX90" fmla="*/ 146704 w 608129"/>
                <a:gd name="connsiteY90" fmla="*/ 168631 h 343858"/>
                <a:gd name="connsiteX91" fmla="*/ 160344 w 608129"/>
                <a:gd name="connsiteY91" fmla="*/ 165596 h 343858"/>
                <a:gd name="connsiteX92" fmla="*/ 338113 w 608129"/>
                <a:gd name="connsiteY92" fmla="*/ 164888 h 343858"/>
                <a:gd name="connsiteX93" fmla="*/ 352554 w 608129"/>
                <a:gd name="connsiteY93" fmla="*/ 164888 h 343858"/>
                <a:gd name="connsiteX94" fmla="*/ 352554 w 608129"/>
                <a:gd name="connsiteY94" fmla="*/ 179285 h 343858"/>
                <a:gd name="connsiteX95" fmla="*/ 342673 w 608129"/>
                <a:gd name="connsiteY95" fmla="*/ 189137 h 343858"/>
                <a:gd name="connsiteX96" fmla="*/ 335073 w 608129"/>
                <a:gd name="connsiteY96" fmla="*/ 192168 h 343858"/>
                <a:gd name="connsiteX97" fmla="*/ 328232 w 608129"/>
                <a:gd name="connsiteY97" fmla="*/ 189137 h 343858"/>
                <a:gd name="connsiteX98" fmla="*/ 328232 w 608129"/>
                <a:gd name="connsiteY98" fmla="*/ 174739 h 343858"/>
                <a:gd name="connsiteX99" fmla="*/ 438352 w 608129"/>
                <a:gd name="connsiteY99" fmla="*/ 163394 h 343858"/>
                <a:gd name="connsiteX100" fmla="*/ 449715 w 608129"/>
                <a:gd name="connsiteY100" fmla="*/ 170961 h 343858"/>
                <a:gd name="connsiteX101" fmla="*/ 453502 w 608129"/>
                <a:gd name="connsiteY101" fmla="*/ 184582 h 343858"/>
                <a:gd name="connsiteX102" fmla="*/ 444412 w 608129"/>
                <a:gd name="connsiteY102" fmla="*/ 189122 h 343858"/>
                <a:gd name="connsiteX103" fmla="*/ 439110 w 608129"/>
                <a:gd name="connsiteY103" fmla="*/ 187608 h 343858"/>
                <a:gd name="connsiteX104" fmla="*/ 427747 w 608129"/>
                <a:gd name="connsiteY104" fmla="*/ 180798 h 343858"/>
                <a:gd name="connsiteX105" fmla="*/ 423959 w 608129"/>
                <a:gd name="connsiteY105" fmla="*/ 166421 h 343858"/>
                <a:gd name="connsiteX106" fmla="*/ 438352 w 608129"/>
                <a:gd name="connsiteY106" fmla="*/ 163394 h 343858"/>
                <a:gd name="connsiteX107" fmla="*/ 237851 w 608129"/>
                <a:gd name="connsiteY107" fmla="*/ 158043 h 343858"/>
                <a:gd name="connsiteX108" fmla="*/ 249244 w 608129"/>
                <a:gd name="connsiteY108" fmla="*/ 165635 h 343858"/>
                <a:gd name="connsiteX109" fmla="*/ 253042 w 608129"/>
                <a:gd name="connsiteY109" fmla="*/ 179300 h 343858"/>
                <a:gd name="connsiteX110" fmla="*/ 243927 w 608129"/>
                <a:gd name="connsiteY110" fmla="*/ 184614 h 343858"/>
                <a:gd name="connsiteX111" fmla="*/ 238610 w 608129"/>
                <a:gd name="connsiteY111" fmla="*/ 183095 h 343858"/>
                <a:gd name="connsiteX112" fmla="*/ 227217 w 608129"/>
                <a:gd name="connsiteY112" fmla="*/ 175504 h 343858"/>
                <a:gd name="connsiteX113" fmla="*/ 223419 w 608129"/>
                <a:gd name="connsiteY113" fmla="*/ 161839 h 343858"/>
                <a:gd name="connsiteX114" fmla="*/ 237851 w 608129"/>
                <a:gd name="connsiteY114" fmla="*/ 158043 h 343858"/>
                <a:gd name="connsiteX115" fmla="*/ 285637 w 608129"/>
                <a:gd name="connsiteY115" fmla="*/ 155767 h 343858"/>
                <a:gd name="connsiteX116" fmla="*/ 299320 w 608129"/>
                <a:gd name="connsiteY116" fmla="*/ 156528 h 343858"/>
                <a:gd name="connsiteX117" fmla="*/ 308442 w 608129"/>
                <a:gd name="connsiteY117" fmla="*/ 167174 h 343858"/>
                <a:gd name="connsiteX118" fmla="*/ 298560 w 608129"/>
                <a:gd name="connsiteY118" fmla="*/ 177060 h 343858"/>
                <a:gd name="connsiteX119" fmla="*/ 297799 w 608129"/>
                <a:gd name="connsiteY119" fmla="*/ 177060 h 343858"/>
                <a:gd name="connsiteX120" fmla="*/ 284116 w 608129"/>
                <a:gd name="connsiteY120" fmla="*/ 175539 h 343858"/>
                <a:gd name="connsiteX121" fmla="*/ 274234 w 608129"/>
                <a:gd name="connsiteY121" fmla="*/ 164893 h 343858"/>
                <a:gd name="connsiteX122" fmla="*/ 285637 w 608129"/>
                <a:gd name="connsiteY122" fmla="*/ 155767 h 343858"/>
                <a:gd name="connsiteX123" fmla="*/ 374580 w 608129"/>
                <a:gd name="connsiteY123" fmla="*/ 140655 h 343858"/>
                <a:gd name="connsiteX124" fmla="*/ 388263 w 608129"/>
                <a:gd name="connsiteY124" fmla="*/ 141411 h 343858"/>
                <a:gd name="connsiteX125" fmla="*/ 398145 w 608129"/>
                <a:gd name="connsiteY125" fmla="*/ 152755 h 343858"/>
                <a:gd name="connsiteX126" fmla="*/ 387503 w 608129"/>
                <a:gd name="connsiteY126" fmla="*/ 161830 h 343858"/>
                <a:gd name="connsiteX127" fmla="*/ 386742 w 608129"/>
                <a:gd name="connsiteY127" fmla="*/ 161830 h 343858"/>
                <a:gd name="connsiteX128" fmla="*/ 373059 w 608129"/>
                <a:gd name="connsiteY128" fmla="*/ 160317 h 343858"/>
                <a:gd name="connsiteX129" fmla="*/ 363937 w 608129"/>
                <a:gd name="connsiteY129" fmla="*/ 149730 h 343858"/>
                <a:gd name="connsiteX130" fmla="*/ 374580 w 608129"/>
                <a:gd name="connsiteY130" fmla="*/ 140655 h 343858"/>
                <a:gd name="connsiteX131" fmla="*/ 363206 w 608129"/>
                <a:gd name="connsiteY131" fmla="*/ 133808 h 343858"/>
                <a:gd name="connsiteX132" fmla="*/ 362447 w 608129"/>
                <a:gd name="connsiteY132" fmla="*/ 134566 h 343858"/>
                <a:gd name="connsiteX133" fmla="*/ 360168 w 608129"/>
                <a:gd name="connsiteY133" fmla="*/ 139874 h 343858"/>
                <a:gd name="connsiteX134" fmla="*/ 344218 w 608129"/>
                <a:gd name="connsiteY134" fmla="*/ 156557 h 343858"/>
                <a:gd name="connsiteX135" fmla="*/ 341939 w 608129"/>
                <a:gd name="connsiteY135" fmla="*/ 157315 h 343858"/>
                <a:gd name="connsiteX136" fmla="*/ 338142 w 608129"/>
                <a:gd name="connsiteY136" fmla="*/ 158832 h 343858"/>
                <a:gd name="connsiteX137" fmla="*/ 335104 w 608129"/>
                <a:gd name="connsiteY137" fmla="*/ 160348 h 343858"/>
                <a:gd name="connsiteX138" fmla="*/ 332066 w 608129"/>
                <a:gd name="connsiteY138" fmla="*/ 161107 h 343858"/>
                <a:gd name="connsiteX139" fmla="*/ 324470 w 608129"/>
                <a:gd name="connsiteY139" fmla="*/ 161865 h 343858"/>
                <a:gd name="connsiteX140" fmla="*/ 317634 w 608129"/>
                <a:gd name="connsiteY140" fmla="*/ 161107 h 343858"/>
                <a:gd name="connsiteX141" fmla="*/ 314596 w 608129"/>
                <a:gd name="connsiteY141" fmla="*/ 160348 h 343858"/>
                <a:gd name="connsiteX142" fmla="*/ 310799 w 608129"/>
                <a:gd name="connsiteY142" fmla="*/ 158832 h 343858"/>
                <a:gd name="connsiteX143" fmla="*/ 307761 w 608129"/>
                <a:gd name="connsiteY143" fmla="*/ 158073 h 343858"/>
                <a:gd name="connsiteX144" fmla="*/ 304723 w 608129"/>
                <a:gd name="connsiteY144" fmla="*/ 156557 h 343858"/>
                <a:gd name="connsiteX145" fmla="*/ 297887 w 608129"/>
                <a:gd name="connsiteY145" fmla="*/ 151249 h 343858"/>
                <a:gd name="connsiteX146" fmla="*/ 297127 w 608129"/>
                <a:gd name="connsiteY146" fmla="*/ 150490 h 343858"/>
                <a:gd name="connsiteX147" fmla="*/ 294089 w 608129"/>
                <a:gd name="connsiteY147" fmla="*/ 147457 h 343858"/>
                <a:gd name="connsiteX148" fmla="*/ 292570 w 608129"/>
                <a:gd name="connsiteY148" fmla="*/ 145941 h 343858"/>
                <a:gd name="connsiteX149" fmla="*/ 289532 w 608129"/>
                <a:gd name="connsiteY149" fmla="*/ 142149 h 343858"/>
                <a:gd name="connsiteX150" fmla="*/ 289532 w 608129"/>
                <a:gd name="connsiteY150" fmla="*/ 140633 h 343858"/>
                <a:gd name="connsiteX151" fmla="*/ 287253 w 608129"/>
                <a:gd name="connsiteY151" fmla="*/ 136083 h 343858"/>
                <a:gd name="connsiteX152" fmla="*/ 237125 w 608129"/>
                <a:gd name="connsiteY152" fmla="*/ 141391 h 343858"/>
                <a:gd name="connsiteX153" fmla="*/ 215098 w 608129"/>
                <a:gd name="connsiteY153" fmla="*/ 165657 h 343858"/>
                <a:gd name="connsiteX154" fmla="*/ 214339 w 608129"/>
                <a:gd name="connsiteY154" fmla="*/ 166415 h 343858"/>
                <a:gd name="connsiteX155" fmla="*/ 212060 w 608129"/>
                <a:gd name="connsiteY155" fmla="*/ 168690 h 343858"/>
                <a:gd name="connsiteX156" fmla="*/ 211301 w 608129"/>
                <a:gd name="connsiteY156" fmla="*/ 168690 h 343858"/>
                <a:gd name="connsiteX157" fmla="*/ 209022 w 608129"/>
                <a:gd name="connsiteY157" fmla="*/ 170206 h 343858"/>
                <a:gd name="connsiteX158" fmla="*/ 207503 w 608129"/>
                <a:gd name="connsiteY158" fmla="*/ 170965 h 343858"/>
                <a:gd name="connsiteX159" fmla="*/ 205224 w 608129"/>
                <a:gd name="connsiteY159" fmla="*/ 171723 h 343858"/>
                <a:gd name="connsiteX160" fmla="*/ 203705 w 608129"/>
                <a:gd name="connsiteY160" fmla="*/ 171723 h 343858"/>
                <a:gd name="connsiteX161" fmla="*/ 202186 w 608129"/>
                <a:gd name="connsiteY161" fmla="*/ 171723 h 343858"/>
                <a:gd name="connsiteX162" fmla="*/ 201427 w 608129"/>
                <a:gd name="connsiteY162" fmla="*/ 171723 h 343858"/>
                <a:gd name="connsiteX163" fmla="*/ 199148 w 608129"/>
                <a:gd name="connsiteY163" fmla="*/ 171723 h 343858"/>
                <a:gd name="connsiteX164" fmla="*/ 198389 w 608129"/>
                <a:gd name="connsiteY164" fmla="*/ 171723 h 343858"/>
                <a:gd name="connsiteX165" fmla="*/ 191553 w 608129"/>
                <a:gd name="connsiteY165" fmla="*/ 169448 h 343858"/>
                <a:gd name="connsiteX166" fmla="*/ 188515 w 608129"/>
                <a:gd name="connsiteY166" fmla="*/ 167173 h 343858"/>
                <a:gd name="connsiteX167" fmla="*/ 178641 w 608129"/>
                <a:gd name="connsiteY167" fmla="*/ 158073 h 343858"/>
                <a:gd name="connsiteX168" fmla="*/ 176362 w 608129"/>
                <a:gd name="connsiteY168" fmla="*/ 155040 h 343858"/>
                <a:gd name="connsiteX169" fmla="*/ 175603 w 608129"/>
                <a:gd name="connsiteY169" fmla="*/ 154282 h 343858"/>
                <a:gd name="connsiteX170" fmla="*/ 174084 w 608129"/>
                <a:gd name="connsiteY170" fmla="*/ 152007 h 343858"/>
                <a:gd name="connsiteX171" fmla="*/ 142943 w 608129"/>
                <a:gd name="connsiteY171" fmla="*/ 159590 h 343858"/>
                <a:gd name="connsiteX172" fmla="*/ 136107 w 608129"/>
                <a:gd name="connsiteY172" fmla="*/ 171723 h 343858"/>
                <a:gd name="connsiteX173" fmla="*/ 135348 w 608129"/>
                <a:gd name="connsiteY173" fmla="*/ 173998 h 343858"/>
                <a:gd name="connsiteX174" fmla="*/ 134588 w 608129"/>
                <a:gd name="connsiteY174" fmla="*/ 174756 h 343858"/>
                <a:gd name="connsiteX175" fmla="*/ 133069 w 608129"/>
                <a:gd name="connsiteY175" fmla="*/ 175514 h 343858"/>
                <a:gd name="connsiteX176" fmla="*/ 131550 w 608129"/>
                <a:gd name="connsiteY176" fmla="*/ 177789 h 343858"/>
                <a:gd name="connsiteX177" fmla="*/ 130791 w 608129"/>
                <a:gd name="connsiteY177" fmla="*/ 177789 h 343858"/>
                <a:gd name="connsiteX178" fmla="*/ 124715 w 608129"/>
                <a:gd name="connsiteY178" fmla="*/ 181581 h 343858"/>
                <a:gd name="connsiteX179" fmla="*/ 119398 w 608129"/>
                <a:gd name="connsiteY179" fmla="*/ 182339 h 343858"/>
                <a:gd name="connsiteX180" fmla="*/ 118638 w 608129"/>
                <a:gd name="connsiteY180" fmla="*/ 182339 h 343858"/>
                <a:gd name="connsiteX181" fmla="*/ 117879 w 608129"/>
                <a:gd name="connsiteY181" fmla="*/ 182339 h 343858"/>
                <a:gd name="connsiteX182" fmla="*/ 114841 w 608129"/>
                <a:gd name="connsiteY182" fmla="*/ 182339 h 343858"/>
                <a:gd name="connsiteX183" fmla="*/ 113322 w 608129"/>
                <a:gd name="connsiteY183" fmla="*/ 181581 h 343858"/>
                <a:gd name="connsiteX184" fmla="*/ 109524 w 608129"/>
                <a:gd name="connsiteY184" fmla="*/ 180064 h 343858"/>
                <a:gd name="connsiteX185" fmla="*/ 108764 w 608129"/>
                <a:gd name="connsiteY185" fmla="*/ 180064 h 343858"/>
                <a:gd name="connsiteX186" fmla="*/ 99650 w 608129"/>
                <a:gd name="connsiteY186" fmla="*/ 175514 h 343858"/>
                <a:gd name="connsiteX187" fmla="*/ 92814 w 608129"/>
                <a:gd name="connsiteY187" fmla="*/ 189922 h 343858"/>
                <a:gd name="connsiteX188" fmla="*/ 71548 w 608129"/>
                <a:gd name="connsiteY188" fmla="*/ 202813 h 343858"/>
                <a:gd name="connsiteX189" fmla="*/ 70029 w 608129"/>
                <a:gd name="connsiteY189" fmla="*/ 214188 h 343858"/>
                <a:gd name="connsiteX190" fmla="*/ 61674 w 608129"/>
                <a:gd name="connsiteY190" fmla="*/ 225562 h 343858"/>
                <a:gd name="connsiteX191" fmla="*/ 51800 w 608129"/>
                <a:gd name="connsiteY191" fmla="*/ 232387 h 343858"/>
                <a:gd name="connsiteX192" fmla="*/ 159653 w 608129"/>
                <a:gd name="connsiteY192" fmla="*/ 232387 h 343858"/>
                <a:gd name="connsiteX193" fmla="*/ 158134 w 608129"/>
                <a:gd name="connsiteY193" fmla="*/ 224804 h 343858"/>
                <a:gd name="connsiteX194" fmla="*/ 159653 w 608129"/>
                <a:gd name="connsiteY194" fmla="*/ 211155 h 343858"/>
                <a:gd name="connsiteX195" fmla="*/ 171046 w 608129"/>
                <a:gd name="connsiteY195" fmla="*/ 202813 h 343858"/>
                <a:gd name="connsiteX196" fmla="*/ 179401 w 608129"/>
                <a:gd name="connsiteY196" fmla="*/ 213430 h 343858"/>
                <a:gd name="connsiteX197" fmla="*/ 177881 w 608129"/>
                <a:gd name="connsiteY197" fmla="*/ 227837 h 343858"/>
                <a:gd name="connsiteX198" fmla="*/ 175603 w 608129"/>
                <a:gd name="connsiteY198" fmla="*/ 232387 h 343858"/>
                <a:gd name="connsiteX199" fmla="*/ 402702 w 608129"/>
                <a:gd name="connsiteY199" fmla="*/ 232387 h 343858"/>
                <a:gd name="connsiteX200" fmla="*/ 537897 w 608129"/>
                <a:gd name="connsiteY200" fmla="*/ 232387 h 343858"/>
                <a:gd name="connsiteX201" fmla="*/ 528783 w 608129"/>
                <a:gd name="connsiteY201" fmla="*/ 208880 h 343858"/>
                <a:gd name="connsiteX202" fmla="*/ 528783 w 608129"/>
                <a:gd name="connsiteY202" fmla="*/ 205847 h 343858"/>
                <a:gd name="connsiteX203" fmla="*/ 519669 w 608129"/>
                <a:gd name="connsiteY203" fmla="*/ 196747 h 343858"/>
                <a:gd name="connsiteX204" fmla="*/ 512833 w 608129"/>
                <a:gd name="connsiteY204" fmla="*/ 196747 h 343858"/>
                <a:gd name="connsiteX205" fmla="*/ 501440 w 608129"/>
                <a:gd name="connsiteY205" fmla="*/ 186131 h 343858"/>
                <a:gd name="connsiteX206" fmla="*/ 492326 w 608129"/>
                <a:gd name="connsiteY206" fmla="*/ 177789 h 343858"/>
                <a:gd name="connsiteX207" fmla="*/ 472578 w 608129"/>
                <a:gd name="connsiteY207" fmla="*/ 162623 h 343858"/>
                <a:gd name="connsiteX208" fmla="*/ 463464 w 608129"/>
                <a:gd name="connsiteY208" fmla="*/ 150490 h 343858"/>
                <a:gd name="connsiteX209" fmla="*/ 458907 w 608129"/>
                <a:gd name="connsiteY209" fmla="*/ 152765 h 343858"/>
                <a:gd name="connsiteX210" fmla="*/ 429285 w 608129"/>
                <a:gd name="connsiteY210" fmla="*/ 161107 h 343858"/>
                <a:gd name="connsiteX211" fmla="*/ 424728 w 608129"/>
                <a:gd name="connsiteY211" fmla="*/ 161865 h 343858"/>
                <a:gd name="connsiteX212" fmla="*/ 423968 w 608129"/>
                <a:gd name="connsiteY212" fmla="*/ 161865 h 343858"/>
                <a:gd name="connsiteX213" fmla="*/ 423209 w 608129"/>
                <a:gd name="connsiteY213" fmla="*/ 161865 h 343858"/>
                <a:gd name="connsiteX214" fmla="*/ 420171 w 608129"/>
                <a:gd name="connsiteY214" fmla="*/ 161107 h 343858"/>
                <a:gd name="connsiteX215" fmla="*/ 418652 w 608129"/>
                <a:gd name="connsiteY215" fmla="*/ 161107 h 343858"/>
                <a:gd name="connsiteX216" fmla="*/ 414094 w 608129"/>
                <a:gd name="connsiteY216" fmla="*/ 159590 h 343858"/>
                <a:gd name="connsiteX217" fmla="*/ 407259 w 608129"/>
                <a:gd name="connsiteY217" fmla="*/ 152765 h 343858"/>
                <a:gd name="connsiteX218" fmla="*/ 404221 w 608129"/>
                <a:gd name="connsiteY218" fmla="*/ 147457 h 343858"/>
                <a:gd name="connsiteX219" fmla="*/ 401182 w 608129"/>
                <a:gd name="connsiteY219" fmla="*/ 135324 h 343858"/>
                <a:gd name="connsiteX220" fmla="*/ 363206 w 608129"/>
                <a:gd name="connsiteY220" fmla="*/ 133808 h 343858"/>
                <a:gd name="connsiteX221" fmla="*/ 105726 w 608129"/>
                <a:gd name="connsiteY221" fmla="*/ 121675 h 343858"/>
                <a:gd name="connsiteX222" fmla="*/ 91295 w 608129"/>
                <a:gd name="connsiteY222" fmla="*/ 148216 h 343858"/>
                <a:gd name="connsiteX223" fmla="*/ 117119 w 608129"/>
                <a:gd name="connsiteY223" fmla="*/ 161865 h 343858"/>
                <a:gd name="connsiteX224" fmla="*/ 118638 w 608129"/>
                <a:gd name="connsiteY224" fmla="*/ 162623 h 343858"/>
                <a:gd name="connsiteX225" fmla="*/ 132310 w 608129"/>
                <a:gd name="connsiteY225" fmla="*/ 135324 h 343858"/>
                <a:gd name="connsiteX226" fmla="*/ 445235 w 608129"/>
                <a:gd name="connsiteY226" fmla="*/ 104234 h 343858"/>
                <a:gd name="connsiteX227" fmla="*/ 415614 w 608129"/>
                <a:gd name="connsiteY227" fmla="*/ 112575 h 343858"/>
                <a:gd name="connsiteX228" fmla="*/ 423968 w 608129"/>
                <a:gd name="connsiteY228" fmla="*/ 141391 h 343858"/>
                <a:gd name="connsiteX229" fmla="*/ 453590 w 608129"/>
                <a:gd name="connsiteY229" fmla="*/ 133049 h 343858"/>
                <a:gd name="connsiteX230" fmla="*/ 324470 w 608129"/>
                <a:gd name="connsiteY230" fmla="*/ 101201 h 343858"/>
                <a:gd name="connsiteX231" fmla="*/ 303963 w 608129"/>
                <a:gd name="connsiteY231" fmla="*/ 121675 h 343858"/>
                <a:gd name="connsiteX232" fmla="*/ 304723 w 608129"/>
                <a:gd name="connsiteY232" fmla="*/ 123192 h 343858"/>
                <a:gd name="connsiteX233" fmla="*/ 304723 w 608129"/>
                <a:gd name="connsiteY233" fmla="*/ 123950 h 343858"/>
                <a:gd name="connsiteX234" fmla="*/ 311558 w 608129"/>
                <a:gd name="connsiteY234" fmla="*/ 136841 h 343858"/>
                <a:gd name="connsiteX235" fmla="*/ 313837 w 608129"/>
                <a:gd name="connsiteY235" fmla="*/ 138358 h 343858"/>
                <a:gd name="connsiteX236" fmla="*/ 314596 w 608129"/>
                <a:gd name="connsiteY236" fmla="*/ 139116 h 343858"/>
                <a:gd name="connsiteX237" fmla="*/ 317634 w 608129"/>
                <a:gd name="connsiteY237" fmla="*/ 139874 h 343858"/>
                <a:gd name="connsiteX238" fmla="*/ 318394 w 608129"/>
                <a:gd name="connsiteY238" fmla="*/ 140633 h 343858"/>
                <a:gd name="connsiteX239" fmla="*/ 320673 w 608129"/>
                <a:gd name="connsiteY239" fmla="*/ 141391 h 343858"/>
                <a:gd name="connsiteX240" fmla="*/ 324470 w 608129"/>
                <a:gd name="connsiteY240" fmla="*/ 141391 h 343858"/>
                <a:gd name="connsiteX241" fmla="*/ 328268 w 608129"/>
                <a:gd name="connsiteY241" fmla="*/ 141391 h 343858"/>
                <a:gd name="connsiteX242" fmla="*/ 329787 w 608129"/>
                <a:gd name="connsiteY242" fmla="*/ 140633 h 343858"/>
                <a:gd name="connsiteX243" fmla="*/ 332066 w 608129"/>
                <a:gd name="connsiteY243" fmla="*/ 139874 h 343858"/>
                <a:gd name="connsiteX244" fmla="*/ 333585 w 608129"/>
                <a:gd name="connsiteY244" fmla="*/ 139116 h 343858"/>
                <a:gd name="connsiteX245" fmla="*/ 335863 w 608129"/>
                <a:gd name="connsiteY245" fmla="*/ 138358 h 343858"/>
                <a:gd name="connsiteX246" fmla="*/ 337382 w 608129"/>
                <a:gd name="connsiteY246" fmla="*/ 136841 h 343858"/>
                <a:gd name="connsiteX247" fmla="*/ 338142 w 608129"/>
                <a:gd name="connsiteY247" fmla="*/ 136083 h 343858"/>
                <a:gd name="connsiteX248" fmla="*/ 340420 w 608129"/>
                <a:gd name="connsiteY248" fmla="*/ 133808 h 343858"/>
                <a:gd name="connsiteX249" fmla="*/ 340420 w 608129"/>
                <a:gd name="connsiteY249" fmla="*/ 133049 h 343858"/>
                <a:gd name="connsiteX250" fmla="*/ 344218 w 608129"/>
                <a:gd name="connsiteY250" fmla="*/ 123192 h 343858"/>
                <a:gd name="connsiteX251" fmla="*/ 344977 w 608129"/>
                <a:gd name="connsiteY251" fmla="*/ 120917 h 343858"/>
                <a:gd name="connsiteX252" fmla="*/ 324470 w 608129"/>
                <a:gd name="connsiteY252" fmla="*/ 101201 h 343858"/>
                <a:gd name="connsiteX253" fmla="*/ 234086 w 608129"/>
                <a:gd name="connsiteY253" fmla="*/ 98926 h 343858"/>
                <a:gd name="connsiteX254" fmla="*/ 193832 w 608129"/>
                <a:gd name="connsiteY254" fmla="*/ 144424 h 343858"/>
                <a:gd name="connsiteX255" fmla="*/ 201427 w 608129"/>
                <a:gd name="connsiteY255" fmla="*/ 151249 h 343858"/>
                <a:gd name="connsiteX256" fmla="*/ 227251 w 608129"/>
                <a:gd name="connsiteY256" fmla="*/ 121675 h 343858"/>
                <a:gd name="connsiteX257" fmla="*/ 241682 w 608129"/>
                <a:gd name="connsiteY257" fmla="*/ 105751 h 343858"/>
                <a:gd name="connsiteX258" fmla="*/ 233042 w 608129"/>
                <a:gd name="connsiteY258" fmla="*/ 78357 h 343858"/>
                <a:gd name="connsiteX259" fmla="*/ 246239 w 608129"/>
                <a:gd name="connsiteY259" fmla="*/ 83001 h 343858"/>
                <a:gd name="connsiteX260" fmla="*/ 256872 w 608129"/>
                <a:gd name="connsiteY260" fmla="*/ 92101 h 343858"/>
                <a:gd name="connsiteX261" fmla="*/ 257632 w 608129"/>
                <a:gd name="connsiteY261" fmla="*/ 118642 h 343858"/>
                <a:gd name="connsiteX262" fmla="*/ 284215 w 608129"/>
                <a:gd name="connsiteY262" fmla="*/ 116367 h 343858"/>
                <a:gd name="connsiteX263" fmla="*/ 324470 w 608129"/>
                <a:gd name="connsiteY263" fmla="*/ 80727 h 343858"/>
                <a:gd name="connsiteX264" fmla="*/ 363966 w 608129"/>
                <a:gd name="connsiteY264" fmla="*/ 114092 h 343858"/>
                <a:gd name="connsiteX265" fmla="*/ 395866 w 608129"/>
                <a:gd name="connsiteY265" fmla="*/ 114850 h 343858"/>
                <a:gd name="connsiteX266" fmla="*/ 398144 w 608129"/>
                <a:gd name="connsiteY266" fmla="*/ 102717 h 343858"/>
                <a:gd name="connsiteX267" fmla="*/ 410297 w 608129"/>
                <a:gd name="connsiteY267" fmla="*/ 92859 h 343858"/>
                <a:gd name="connsiteX268" fmla="*/ 439159 w 608129"/>
                <a:gd name="connsiteY268" fmla="*/ 84518 h 343858"/>
                <a:gd name="connsiteX269" fmla="*/ 454349 w 608129"/>
                <a:gd name="connsiteY269" fmla="*/ 86035 h 343858"/>
                <a:gd name="connsiteX270" fmla="*/ 464223 w 608129"/>
                <a:gd name="connsiteY270" fmla="*/ 98168 h 343858"/>
                <a:gd name="connsiteX271" fmla="*/ 472578 w 608129"/>
                <a:gd name="connsiteY271" fmla="*/ 127741 h 343858"/>
                <a:gd name="connsiteX272" fmla="*/ 473338 w 608129"/>
                <a:gd name="connsiteY272" fmla="*/ 132291 h 343858"/>
                <a:gd name="connsiteX273" fmla="*/ 492326 w 608129"/>
                <a:gd name="connsiteY273" fmla="*/ 157315 h 343858"/>
                <a:gd name="connsiteX274" fmla="*/ 519669 w 608129"/>
                <a:gd name="connsiteY274" fmla="*/ 176273 h 343858"/>
                <a:gd name="connsiteX275" fmla="*/ 524226 w 608129"/>
                <a:gd name="connsiteY275" fmla="*/ 177031 h 343858"/>
                <a:gd name="connsiteX276" fmla="*/ 547771 w 608129"/>
                <a:gd name="connsiteY276" fmla="*/ 199780 h 343858"/>
                <a:gd name="connsiteX277" fmla="*/ 548531 w 608129"/>
                <a:gd name="connsiteY277" fmla="*/ 210396 h 343858"/>
                <a:gd name="connsiteX278" fmla="*/ 553848 w 608129"/>
                <a:gd name="connsiteY278" fmla="*/ 219496 h 343858"/>
                <a:gd name="connsiteX279" fmla="*/ 564481 w 608129"/>
                <a:gd name="connsiteY279" fmla="*/ 232387 h 343858"/>
                <a:gd name="connsiteX280" fmla="*/ 588786 w 608129"/>
                <a:gd name="connsiteY280" fmla="*/ 232387 h 343858"/>
                <a:gd name="connsiteX281" fmla="*/ 606255 w 608129"/>
                <a:gd name="connsiteY281" fmla="*/ 243003 h 343858"/>
                <a:gd name="connsiteX282" fmla="*/ 604736 w 608129"/>
                <a:gd name="connsiteY282" fmla="*/ 263478 h 343858"/>
                <a:gd name="connsiteX283" fmla="*/ 603217 w 608129"/>
                <a:gd name="connsiteY283" fmla="*/ 264994 h 343858"/>
                <a:gd name="connsiteX284" fmla="*/ 550809 w 608129"/>
                <a:gd name="connsiteY284" fmla="*/ 296843 h 343858"/>
                <a:gd name="connsiteX285" fmla="*/ 544733 w 608129"/>
                <a:gd name="connsiteY285" fmla="*/ 312768 h 343858"/>
                <a:gd name="connsiteX286" fmla="*/ 516631 w 608129"/>
                <a:gd name="connsiteY286" fmla="*/ 343858 h 343858"/>
                <a:gd name="connsiteX287" fmla="*/ 91295 w 608129"/>
                <a:gd name="connsiteY287" fmla="*/ 343858 h 343858"/>
                <a:gd name="connsiteX288" fmla="*/ 63952 w 608129"/>
                <a:gd name="connsiteY288" fmla="*/ 312768 h 343858"/>
                <a:gd name="connsiteX289" fmla="*/ 57876 w 608129"/>
                <a:gd name="connsiteY289" fmla="*/ 296843 h 343858"/>
                <a:gd name="connsiteX290" fmla="*/ 4709 w 608129"/>
                <a:gd name="connsiteY290" fmla="*/ 264994 h 343858"/>
                <a:gd name="connsiteX291" fmla="*/ 3950 w 608129"/>
                <a:gd name="connsiteY291" fmla="*/ 263478 h 343858"/>
                <a:gd name="connsiteX292" fmla="*/ 2431 w 608129"/>
                <a:gd name="connsiteY292" fmla="*/ 243003 h 343858"/>
                <a:gd name="connsiteX293" fmla="*/ 19900 w 608129"/>
                <a:gd name="connsiteY293" fmla="*/ 232387 h 343858"/>
                <a:gd name="connsiteX294" fmla="*/ 31293 w 608129"/>
                <a:gd name="connsiteY294" fmla="*/ 232387 h 343858"/>
                <a:gd name="connsiteX295" fmla="*/ 49521 w 608129"/>
                <a:gd name="connsiteY295" fmla="*/ 208880 h 343858"/>
                <a:gd name="connsiteX296" fmla="*/ 57117 w 608129"/>
                <a:gd name="connsiteY296" fmla="*/ 187647 h 343858"/>
                <a:gd name="connsiteX297" fmla="*/ 68510 w 608129"/>
                <a:gd name="connsiteY297" fmla="*/ 182339 h 343858"/>
                <a:gd name="connsiteX298" fmla="*/ 76864 w 608129"/>
                <a:gd name="connsiteY298" fmla="*/ 177031 h 343858"/>
                <a:gd name="connsiteX299" fmla="*/ 79902 w 608129"/>
                <a:gd name="connsiteY299" fmla="*/ 167931 h 343858"/>
                <a:gd name="connsiteX300" fmla="*/ 79902 w 608129"/>
                <a:gd name="connsiteY300" fmla="*/ 164140 h 343858"/>
                <a:gd name="connsiteX301" fmla="*/ 73826 w 608129"/>
                <a:gd name="connsiteY301" fmla="*/ 139116 h 343858"/>
                <a:gd name="connsiteX302" fmla="*/ 87498 w 608129"/>
                <a:gd name="connsiteY302" fmla="*/ 111817 h 343858"/>
                <a:gd name="connsiteX303" fmla="*/ 99650 w 608129"/>
                <a:gd name="connsiteY303" fmla="*/ 101959 h 343858"/>
                <a:gd name="connsiteX304" fmla="*/ 114841 w 608129"/>
                <a:gd name="connsiteY304" fmla="*/ 103476 h 343858"/>
                <a:gd name="connsiteX305" fmla="*/ 142184 w 608129"/>
                <a:gd name="connsiteY305" fmla="*/ 117125 h 343858"/>
                <a:gd name="connsiteX306" fmla="*/ 152058 w 608129"/>
                <a:gd name="connsiteY306" fmla="*/ 129258 h 343858"/>
                <a:gd name="connsiteX307" fmla="*/ 152817 w 608129"/>
                <a:gd name="connsiteY307" fmla="*/ 136083 h 343858"/>
                <a:gd name="connsiteX308" fmla="*/ 178641 w 608129"/>
                <a:gd name="connsiteY308" fmla="*/ 130016 h 343858"/>
                <a:gd name="connsiteX309" fmla="*/ 220415 w 608129"/>
                <a:gd name="connsiteY309" fmla="*/ 84518 h 343858"/>
                <a:gd name="connsiteX310" fmla="*/ 233042 w 608129"/>
                <a:gd name="connsiteY310" fmla="*/ 78357 h 343858"/>
                <a:gd name="connsiteX311" fmla="*/ 162582 w 608129"/>
                <a:gd name="connsiteY311" fmla="*/ 60954 h 343858"/>
                <a:gd name="connsiteX312" fmla="*/ 142076 w 608129"/>
                <a:gd name="connsiteY312" fmla="*/ 80671 h 343858"/>
                <a:gd name="connsiteX313" fmla="*/ 162582 w 608129"/>
                <a:gd name="connsiteY313" fmla="*/ 101147 h 343858"/>
                <a:gd name="connsiteX314" fmla="*/ 182329 w 608129"/>
                <a:gd name="connsiteY314" fmla="*/ 80671 h 343858"/>
                <a:gd name="connsiteX315" fmla="*/ 162582 w 608129"/>
                <a:gd name="connsiteY315" fmla="*/ 60954 h 343858"/>
                <a:gd name="connsiteX316" fmla="*/ 162582 w 608129"/>
                <a:gd name="connsiteY316" fmla="*/ 40478 h 343858"/>
                <a:gd name="connsiteX317" fmla="*/ 202836 w 608129"/>
                <a:gd name="connsiteY317" fmla="*/ 80671 h 343858"/>
                <a:gd name="connsiteX318" fmla="*/ 162582 w 608129"/>
                <a:gd name="connsiteY318" fmla="*/ 121623 h 343858"/>
                <a:gd name="connsiteX319" fmla="*/ 121569 w 608129"/>
                <a:gd name="connsiteY319" fmla="*/ 80671 h 343858"/>
                <a:gd name="connsiteX320" fmla="*/ 162582 w 608129"/>
                <a:gd name="connsiteY320" fmla="*/ 40478 h 343858"/>
                <a:gd name="connsiteX321" fmla="*/ 285697 w 608129"/>
                <a:gd name="connsiteY321" fmla="*/ 32920 h 343858"/>
                <a:gd name="connsiteX322" fmla="*/ 256860 w 608129"/>
                <a:gd name="connsiteY322" fmla="*/ 41258 h 343858"/>
                <a:gd name="connsiteX323" fmla="*/ 265208 w 608129"/>
                <a:gd name="connsiteY323" fmla="*/ 70819 h 343858"/>
                <a:gd name="connsiteX324" fmla="*/ 294045 w 608129"/>
                <a:gd name="connsiteY324" fmla="*/ 62481 h 343858"/>
                <a:gd name="connsiteX325" fmla="*/ 364659 w 608129"/>
                <a:gd name="connsiteY325" fmla="*/ 20767 h 343858"/>
                <a:gd name="connsiteX326" fmla="*/ 355552 w 608129"/>
                <a:gd name="connsiteY326" fmla="*/ 23799 h 343858"/>
                <a:gd name="connsiteX327" fmla="*/ 376044 w 608129"/>
                <a:gd name="connsiteY327" fmla="*/ 81416 h 343858"/>
                <a:gd name="connsiteX328" fmla="*/ 385910 w 608129"/>
                <a:gd name="connsiteY328" fmla="*/ 77625 h 343858"/>
                <a:gd name="connsiteX329" fmla="*/ 280385 w 608129"/>
                <a:gd name="connsiteY329" fmla="*/ 13971 h 343858"/>
                <a:gd name="connsiteX330" fmla="*/ 295563 w 608129"/>
                <a:gd name="connsiteY330" fmla="*/ 15487 h 343858"/>
                <a:gd name="connsiteX331" fmla="*/ 305428 w 608129"/>
                <a:gd name="connsiteY331" fmla="*/ 27614 h 343858"/>
                <a:gd name="connsiteX332" fmla="*/ 313776 w 608129"/>
                <a:gd name="connsiteY332" fmla="*/ 57176 h 343858"/>
                <a:gd name="connsiteX333" fmla="*/ 311500 w 608129"/>
                <a:gd name="connsiteY333" fmla="*/ 72335 h 343858"/>
                <a:gd name="connsiteX334" fmla="*/ 299357 w 608129"/>
                <a:gd name="connsiteY334" fmla="*/ 82189 h 343858"/>
                <a:gd name="connsiteX335" fmla="*/ 270520 w 608129"/>
                <a:gd name="connsiteY335" fmla="*/ 90527 h 343858"/>
                <a:gd name="connsiteX336" fmla="*/ 265208 w 608129"/>
                <a:gd name="connsiteY336" fmla="*/ 91285 h 343858"/>
                <a:gd name="connsiteX337" fmla="*/ 255342 w 608129"/>
                <a:gd name="connsiteY337" fmla="*/ 88253 h 343858"/>
                <a:gd name="connsiteX338" fmla="*/ 245477 w 608129"/>
                <a:gd name="connsiteY338" fmla="*/ 76125 h 343858"/>
                <a:gd name="connsiteX339" fmla="*/ 237129 w 608129"/>
                <a:gd name="connsiteY339" fmla="*/ 47322 h 343858"/>
                <a:gd name="connsiteX340" fmla="*/ 238647 w 608129"/>
                <a:gd name="connsiteY340" fmla="*/ 32162 h 343858"/>
                <a:gd name="connsiteX341" fmla="*/ 250789 w 608129"/>
                <a:gd name="connsiteY341" fmla="*/ 22309 h 343858"/>
                <a:gd name="connsiteX342" fmla="*/ 359347 w 608129"/>
                <a:gd name="connsiteY342" fmla="*/ 1056 h 343858"/>
                <a:gd name="connsiteX343" fmla="*/ 373767 w 608129"/>
                <a:gd name="connsiteY343" fmla="*/ 1814 h 343858"/>
                <a:gd name="connsiteX344" fmla="*/ 383633 w 608129"/>
                <a:gd name="connsiteY344" fmla="*/ 12428 h 343858"/>
                <a:gd name="connsiteX345" fmla="*/ 404884 w 608129"/>
                <a:gd name="connsiteY345" fmla="*/ 72318 h 343858"/>
                <a:gd name="connsiteX346" fmla="*/ 404884 w 608129"/>
                <a:gd name="connsiteY346" fmla="*/ 86723 h 343858"/>
                <a:gd name="connsiteX347" fmla="*/ 394259 w 608129"/>
                <a:gd name="connsiteY347" fmla="*/ 95820 h 343858"/>
                <a:gd name="connsiteX348" fmla="*/ 381356 w 608129"/>
                <a:gd name="connsiteY348" fmla="*/ 100369 h 343858"/>
                <a:gd name="connsiteX349" fmla="*/ 375285 w 608129"/>
                <a:gd name="connsiteY349" fmla="*/ 101885 h 343858"/>
                <a:gd name="connsiteX350" fmla="*/ 367695 w 608129"/>
                <a:gd name="connsiteY350" fmla="*/ 100369 h 343858"/>
                <a:gd name="connsiteX351" fmla="*/ 357829 w 608129"/>
                <a:gd name="connsiteY351" fmla="*/ 89755 h 343858"/>
                <a:gd name="connsiteX352" fmla="*/ 335819 w 608129"/>
                <a:gd name="connsiteY352" fmla="*/ 29864 h 343858"/>
                <a:gd name="connsiteX353" fmla="*/ 336578 w 608129"/>
                <a:gd name="connsiteY353" fmla="*/ 15460 h 343858"/>
                <a:gd name="connsiteX354" fmla="*/ 347203 w 608129"/>
                <a:gd name="connsiteY354" fmla="*/ 5605 h 34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</a:cxnLst>
              <a:rect l="l" t="t" r="r" b="b"/>
              <a:pathLst>
                <a:path w="41014" h="40190">
                  <a:moveTo>
                    <a:pt x="20507" y="0"/>
                  </a:moveTo>
                  <a:cubicBezTo>
                    <a:pt x="9114" y="0"/>
                    <a:pt x="0" y="9099"/>
                    <a:pt x="0" y="20474"/>
                  </a:cubicBezTo>
                  <a:cubicBezTo>
                    <a:pt x="0" y="20474"/>
                    <a:pt x="760" y="21232"/>
                    <a:pt x="760" y="21991"/>
                  </a:cubicBezTo>
                  <a:lnTo>
                    <a:pt x="760" y="22749"/>
                  </a:lnTo>
                  <a:cubicBezTo>
                    <a:pt x="1519" y="28057"/>
                    <a:pt x="3798" y="31848"/>
                    <a:pt x="7595" y="35640"/>
                  </a:cubicBezTo>
                  <a:cubicBezTo>
                    <a:pt x="8355" y="36398"/>
                    <a:pt x="9114" y="37157"/>
                    <a:pt x="9874" y="37157"/>
                  </a:cubicBezTo>
                  <a:cubicBezTo>
                    <a:pt x="10633" y="37157"/>
                    <a:pt x="10633" y="37915"/>
                    <a:pt x="10633" y="37915"/>
                  </a:cubicBezTo>
                  <a:cubicBezTo>
                    <a:pt x="11393" y="37915"/>
                    <a:pt x="12152" y="38673"/>
                    <a:pt x="13671" y="38673"/>
                  </a:cubicBezTo>
                  <a:cubicBezTo>
                    <a:pt x="13671" y="39432"/>
                    <a:pt x="14431" y="39432"/>
                    <a:pt x="14431" y="39432"/>
                  </a:cubicBezTo>
                  <a:cubicBezTo>
                    <a:pt x="15191" y="39432"/>
                    <a:pt x="15950" y="40190"/>
                    <a:pt x="16710" y="40190"/>
                  </a:cubicBezTo>
                  <a:cubicBezTo>
                    <a:pt x="18229" y="40190"/>
                    <a:pt x="18988" y="40190"/>
                    <a:pt x="20507" y="40190"/>
                  </a:cubicBezTo>
                  <a:cubicBezTo>
                    <a:pt x="22026" y="40190"/>
                    <a:pt x="23545" y="40190"/>
                    <a:pt x="24305" y="40190"/>
                  </a:cubicBezTo>
                  <a:cubicBezTo>
                    <a:pt x="25064" y="40190"/>
                    <a:pt x="25064" y="39432"/>
                    <a:pt x="25824" y="39432"/>
                  </a:cubicBezTo>
                  <a:cubicBezTo>
                    <a:pt x="26583" y="39432"/>
                    <a:pt x="27343" y="39432"/>
                    <a:pt x="28103" y="38673"/>
                  </a:cubicBezTo>
                  <a:cubicBezTo>
                    <a:pt x="28862" y="38673"/>
                    <a:pt x="28862" y="38673"/>
                    <a:pt x="29622" y="37915"/>
                  </a:cubicBezTo>
                  <a:cubicBezTo>
                    <a:pt x="30381" y="37915"/>
                    <a:pt x="31141" y="37157"/>
                    <a:pt x="31900" y="37157"/>
                  </a:cubicBezTo>
                  <a:cubicBezTo>
                    <a:pt x="31900" y="36398"/>
                    <a:pt x="32660" y="36398"/>
                    <a:pt x="33419" y="35640"/>
                  </a:cubicBezTo>
                  <a:cubicBezTo>
                    <a:pt x="33419" y="35640"/>
                    <a:pt x="34179" y="34882"/>
                    <a:pt x="34179" y="34882"/>
                  </a:cubicBezTo>
                  <a:cubicBezTo>
                    <a:pt x="34938" y="34123"/>
                    <a:pt x="35698" y="33365"/>
                    <a:pt x="36457" y="32607"/>
                  </a:cubicBezTo>
                  <a:cubicBezTo>
                    <a:pt x="36457" y="32607"/>
                    <a:pt x="36457" y="32607"/>
                    <a:pt x="36457" y="31848"/>
                  </a:cubicBezTo>
                  <a:cubicBezTo>
                    <a:pt x="38736" y="29574"/>
                    <a:pt x="40255" y="25782"/>
                    <a:pt x="40255" y="21991"/>
                  </a:cubicBezTo>
                  <a:lnTo>
                    <a:pt x="41014" y="19716"/>
                  </a:lnTo>
                  <a:cubicBezTo>
                    <a:pt x="40255" y="9099"/>
                    <a:pt x="31900" y="0"/>
                    <a:pt x="20507" y="0"/>
                  </a:cubicBezTo>
                </a:path>
              </a:pathLst>
            </a:custGeom>
            <a:noFill/>
            <a:ln w="44450">
              <a:gradFill>
                <a:gsLst>
                  <a:gs pos="0">
                    <a:schemeClr val="accent3"/>
                  </a:gs>
                  <a:gs pos="100000">
                    <a:schemeClr val="accent3">
                      <a:lumMod val="5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zh-CN" altLang="en-US">
                <a:gradFill flip="none" rotWithShape="1">
                  <a:gsLst>
                    <a:gs pos="89000">
                      <a:schemeClr val="bg1"/>
                    </a:gs>
                    <a:gs pos="0">
                      <a:schemeClr val="accent2"/>
                    </a:gs>
                  </a:gsLst>
                  <a:lin ang="13500000" scaled="1"/>
                  <a:tileRect/>
                </a:gradFill>
              </a:endParaRPr>
            </a:p>
          </p:txBody>
        </p:sp>
        <p:sp>
          <p:nvSpPr>
            <p:cNvPr id="202" name="任意多边形: 形状 201"/>
            <p:cNvSpPr>
              <a:spLocks/>
            </p:cNvSpPr>
            <p:nvPr userDrawn="1"/>
          </p:nvSpPr>
          <p:spPr bwMode="auto">
            <a:xfrm flipH="1">
              <a:off x="3915882" y="3690166"/>
              <a:ext cx="45719" cy="66185"/>
            </a:xfrm>
            <a:custGeom>
              <a:avLst/>
              <a:gdLst>
                <a:gd name="connsiteX0" fmla="*/ 193001 w 608129"/>
                <a:gd name="connsiteY0" fmla="*/ 283182 h 343858"/>
                <a:gd name="connsiteX1" fmla="*/ 506699 w 608129"/>
                <a:gd name="connsiteY1" fmla="*/ 283182 h 343858"/>
                <a:gd name="connsiteX2" fmla="*/ 516573 w 608129"/>
                <a:gd name="connsiteY2" fmla="*/ 293038 h 343858"/>
                <a:gd name="connsiteX3" fmla="*/ 506699 w 608129"/>
                <a:gd name="connsiteY3" fmla="*/ 303651 h 343858"/>
                <a:gd name="connsiteX4" fmla="*/ 193001 w 608129"/>
                <a:gd name="connsiteY4" fmla="*/ 303651 h 343858"/>
                <a:gd name="connsiteX5" fmla="*/ 182367 w 608129"/>
                <a:gd name="connsiteY5" fmla="*/ 293038 h 343858"/>
                <a:gd name="connsiteX6" fmla="*/ 193001 w 608129"/>
                <a:gd name="connsiteY6" fmla="*/ 283182 h 343858"/>
                <a:gd name="connsiteX7" fmla="*/ 101866 w 608129"/>
                <a:gd name="connsiteY7" fmla="*/ 283182 h 343858"/>
                <a:gd name="connsiteX8" fmla="*/ 142885 w 608129"/>
                <a:gd name="connsiteY8" fmla="*/ 283182 h 343858"/>
                <a:gd name="connsiteX9" fmla="*/ 152760 w 608129"/>
                <a:gd name="connsiteY9" fmla="*/ 293038 h 343858"/>
                <a:gd name="connsiteX10" fmla="*/ 142885 w 608129"/>
                <a:gd name="connsiteY10" fmla="*/ 303651 h 343858"/>
                <a:gd name="connsiteX11" fmla="*/ 101866 w 608129"/>
                <a:gd name="connsiteY11" fmla="*/ 303651 h 343858"/>
                <a:gd name="connsiteX12" fmla="*/ 91231 w 608129"/>
                <a:gd name="connsiteY12" fmla="*/ 293038 h 343858"/>
                <a:gd name="connsiteX13" fmla="*/ 101866 w 608129"/>
                <a:gd name="connsiteY13" fmla="*/ 283182 h 343858"/>
                <a:gd name="connsiteX14" fmla="*/ 23697 w 608129"/>
                <a:gd name="connsiteY14" fmla="*/ 252861 h 343858"/>
                <a:gd name="connsiteX15" fmla="*/ 72307 w 608129"/>
                <a:gd name="connsiteY15" fmla="*/ 281677 h 343858"/>
                <a:gd name="connsiteX16" fmla="*/ 73826 w 608129"/>
                <a:gd name="connsiteY16" fmla="*/ 283952 h 343858"/>
                <a:gd name="connsiteX17" fmla="*/ 82941 w 608129"/>
                <a:gd name="connsiteY17" fmla="*/ 307460 h 343858"/>
                <a:gd name="connsiteX18" fmla="*/ 91295 w 608129"/>
                <a:gd name="connsiteY18" fmla="*/ 323384 h 343858"/>
                <a:gd name="connsiteX19" fmla="*/ 516631 w 608129"/>
                <a:gd name="connsiteY19" fmla="*/ 323384 h 343858"/>
                <a:gd name="connsiteX20" fmla="*/ 525745 w 608129"/>
                <a:gd name="connsiteY20" fmla="*/ 307460 h 343858"/>
                <a:gd name="connsiteX21" fmla="*/ 534859 w 608129"/>
                <a:gd name="connsiteY21" fmla="*/ 283952 h 343858"/>
                <a:gd name="connsiteX22" fmla="*/ 536378 w 608129"/>
                <a:gd name="connsiteY22" fmla="*/ 281677 h 343858"/>
                <a:gd name="connsiteX23" fmla="*/ 584229 w 608129"/>
                <a:gd name="connsiteY23" fmla="*/ 252861 h 343858"/>
                <a:gd name="connsiteX24" fmla="*/ 569798 w 608129"/>
                <a:gd name="connsiteY24" fmla="*/ 252861 h 343858"/>
                <a:gd name="connsiteX25" fmla="*/ 413335 w 608129"/>
                <a:gd name="connsiteY25" fmla="*/ 252861 h 343858"/>
                <a:gd name="connsiteX26" fmla="*/ 401942 w 608129"/>
                <a:gd name="connsiteY26" fmla="*/ 252861 h 343858"/>
                <a:gd name="connsiteX27" fmla="*/ 35850 w 608129"/>
                <a:gd name="connsiteY27" fmla="*/ 252861 h 343858"/>
                <a:gd name="connsiteX28" fmla="*/ 254526 w 608129"/>
                <a:gd name="connsiteY28" fmla="*/ 201295 h 343858"/>
                <a:gd name="connsiteX29" fmla="*/ 257557 w 608129"/>
                <a:gd name="connsiteY29" fmla="*/ 214952 h 343858"/>
                <a:gd name="connsiteX30" fmla="*/ 249221 w 608129"/>
                <a:gd name="connsiteY30" fmla="*/ 227091 h 343858"/>
                <a:gd name="connsiteX31" fmla="*/ 240886 w 608129"/>
                <a:gd name="connsiteY31" fmla="*/ 231644 h 343858"/>
                <a:gd name="connsiteX32" fmla="*/ 235581 w 608129"/>
                <a:gd name="connsiteY32" fmla="*/ 229368 h 343858"/>
                <a:gd name="connsiteX33" fmla="*/ 232550 w 608129"/>
                <a:gd name="connsiteY33" fmla="*/ 215710 h 343858"/>
                <a:gd name="connsiteX34" fmla="*/ 240886 w 608129"/>
                <a:gd name="connsiteY34" fmla="*/ 203571 h 343858"/>
                <a:gd name="connsiteX35" fmla="*/ 254526 w 608129"/>
                <a:gd name="connsiteY35" fmla="*/ 201295 h 343858"/>
                <a:gd name="connsiteX36" fmla="*/ 293998 w 608129"/>
                <a:gd name="connsiteY36" fmla="*/ 199043 h 343858"/>
                <a:gd name="connsiteX37" fmla="*/ 307670 w 608129"/>
                <a:gd name="connsiteY37" fmla="*/ 202827 h 343858"/>
                <a:gd name="connsiteX38" fmla="*/ 314506 w 608129"/>
                <a:gd name="connsiteY38" fmla="*/ 214937 h 343858"/>
                <a:gd name="connsiteX39" fmla="*/ 304632 w 608129"/>
                <a:gd name="connsiteY39" fmla="*/ 222506 h 343858"/>
                <a:gd name="connsiteX40" fmla="*/ 302353 w 608129"/>
                <a:gd name="connsiteY40" fmla="*/ 221749 h 343858"/>
                <a:gd name="connsiteX41" fmla="*/ 288681 w 608129"/>
                <a:gd name="connsiteY41" fmla="*/ 218721 h 343858"/>
                <a:gd name="connsiteX42" fmla="*/ 281845 w 608129"/>
                <a:gd name="connsiteY42" fmla="*/ 205854 h 343858"/>
                <a:gd name="connsiteX43" fmla="*/ 293998 w 608129"/>
                <a:gd name="connsiteY43" fmla="*/ 199043 h 343858"/>
                <a:gd name="connsiteX44" fmla="*/ 113257 w 608129"/>
                <a:gd name="connsiteY44" fmla="*/ 193732 h 343858"/>
                <a:gd name="connsiteX45" fmla="*/ 125378 w 608129"/>
                <a:gd name="connsiteY45" fmla="*/ 201299 h 343858"/>
                <a:gd name="connsiteX46" fmla="*/ 128408 w 608129"/>
                <a:gd name="connsiteY46" fmla="*/ 214920 h 343858"/>
                <a:gd name="connsiteX47" fmla="*/ 120075 w 608129"/>
                <a:gd name="connsiteY47" fmla="*/ 219460 h 343858"/>
                <a:gd name="connsiteX48" fmla="*/ 114773 w 608129"/>
                <a:gd name="connsiteY48" fmla="*/ 217946 h 343858"/>
                <a:gd name="connsiteX49" fmla="*/ 102652 w 608129"/>
                <a:gd name="connsiteY49" fmla="*/ 211136 h 343858"/>
                <a:gd name="connsiteX50" fmla="*/ 99622 w 608129"/>
                <a:gd name="connsiteY50" fmla="*/ 196759 h 343858"/>
                <a:gd name="connsiteX51" fmla="*/ 113257 w 608129"/>
                <a:gd name="connsiteY51" fmla="*/ 193732 h 343858"/>
                <a:gd name="connsiteX52" fmla="*/ 367752 w 608129"/>
                <a:gd name="connsiteY52" fmla="*/ 192974 h 343858"/>
                <a:gd name="connsiteX53" fmla="*/ 380665 w 608129"/>
                <a:gd name="connsiteY53" fmla="*/ 199023 h 343858"/>
                <a:gd name="connsiteX54" fmla="*/ 373829 w 608129"/>
                <a:gd name="connsiteY54" fmla="*/ 211877 h 343858"/>
                <a:gd name="connsiteX55" fmla="*/ 360917 w 608129"/>
                <a:gd name="connsiteY55" fmla="*/ 216414 h 343858"/>
                <a:gd name="connsiteX56" fmla="*/ 357119 w 608129"/>
                <a:gd name="connsiteY56" fmla="*/ 216414 h 343858"/>
                <a:gd name="connsiteX57" fmla="*/ 348004 w 608129"/>
                <a:gd name="connsiteY57" fmla="*/ 209609 h 343858"/>
                <a:gd name="connsiteX58" fmla="*/ 354081 w 608129"/>
                <a:gd name="connsiteY58" fmla="*/ 196755 h 343858"/>
                <a:gd name="connsiteX59" fmla="*/ 473099 w 608129"/>
                <a:gd name="connsiteY59" fmla="*/ 187878 h 343858"/>
                <a:gd name="connsiteX60" fmla="*/ 480904 w 608129"/>
                <a:gd name="connsiteY60" fmla="*/ 189869 h 343858"/>
                <a:gd name="connsiteX61" fmla="*/ 483189 w 608129"/>
                <a:gd name="connsiteY61" fmla="*/ 203526 h 343858"/>
                <a:gd name="connsiteX62" fmla="*/ 475574 w 608129"/>
                <a:gd name="connsiteY62" fmla="*/ 214907 h 343858"/>
                <a:gd name="connsiteX63" fmla="*/ 467198 w 608129"/>
                <a:gd name="connsiteY63" fmla="*/ 219460 h 343858"/>
                <a:gd name="connsiteX64" fmla="*/ 461106 w 608129"/>
                <a:gd name="connsiteY64" fmla="*/ 217942 h 343858"/>
                <a:gd name="connsiteX65" fmla="*/ 458821 w 608129"/>
                <a:gd name="connsiteY65" fmla="*/ 203526 h 343858"/>
                <a:gd name="connsiteX66" fmla="*/ 466436 w 608129"/>
                <a:gd name="connsiteY66" fmla="*/ 192146 h 343858"/>
                <a:gd name="connsiteX67" fmla="*/ 473099 w 608129"/>
                <a:gd name="connsiteY67" fmla="*/ 187878 h 343858"/>
                <a:gd name="connsiteX68" fmla="*/ 410279 w 608129"/>
                <a:gd name="connsiteY68" fmla="*/ 182352 h 343858"/>
                <a:gd name="connsiteX69" fmla="*/ 422434 w 608129"/>
                <a:gd name="connsiteY69" fmla="*/ 189169 h 343858"/>
                <a:gd name="connsiteX70" fmla="*/ 426233 w 608129"/>
                <a:gd name="connsiteY70" fmla="*/ 202805 h 343858"/>
                <a:gd name="connsiteX71" fmla="*/ 418636 w 608129"/>
                <a:gd name="connsiteY71" fmla="*/ 215683 h 343858"/>
                <a:gd name="connsiteX72" fmla="*/ 416356 w 608129"/>
                <a:gd name="connsiteY72" fmla="*/ 215683 h 343858"/>
                <a:gd name="connsiteX73" fmla="*/ 406480 w 608129"/>
                <a:gd name="connsiteY73" fmla="*/ 208108 h 343858"/>
                <a:gd name="connsiteX74" fmla="*/ 402682 w 608129"/>
                <a:gd name="connsiteY74" fmla="*/ 194472 h 343858"/>
                <a:gd name="connsiteX75" fmla="*/ 410279 w 608129"/>
                <a:gd name="connsiteY75" fmla="*/ 182352 h 343858"/>
                <a:gd name="connsiteX76" fmla="*/ 188501 w 608129"/>
                <a:gd name="connsiteY76" fmla="*/ 179282 h 343858"/>
                <a:gd name="connsiteX77" fmla="*/ 202945 w 608129"/>
                <a:gd name="connsiteY77" fmla="*/ 180043 h 343858"/>
                <a:gd name="connsiteX78" fmla="*/ 212067 w 608129"/>
                <a:gd name="connsiteY78" fmla="*/ 191449 h 343858"/>
                <a:gd name="connsiteX79" fmla="*/ 202185 w 608129"/>
                <a:gd name="connsiteY79" fmla="*/ 200575 h 343858"/>
                <a:gd name="connsiteX80" fmla="*/ 201424 w 608129"/>
                <a:gd name="connsiteY80" fmla="*/ 200575 h 343858"/>
                <a:gd name="connsiteX81" fmla="*/ 186981 w 608129"/>
                <a:gd name="connsiteY81" fmla="*/ 199814 h 343858"/>
                <a:gd name="connsiteX82" fmla="*/ 177859 w 608129"/>
                <a:gd name="connsiteY82" fmla="*/ 188408 h 343858"/>
                <a:gd name="connsiteX83" fmla="*/ 188501 w 608129"/>
                <a:gd name="connsiteY83" fmla="*/ 179282 h 343858"/>
                <a:gd name="connsiteX84" fmla="*/ 160344 w 608129"/>
                <a:gd name="connsiteY84" fmla="*/ 165596 h 343858"/>
                <a:gd name="connsiteX85" fmla="*/ 163375 w 608129"/>
                <a:gd name="connsiteY85" fmla="*/ 180011 h 343858"/>
                <a:gd name="connsiteX86" fmla="*/ 155797 w 608129"/>
                <a:gd name="connsiteY86" fmla="*/ 191392 h 343858"/>
                <a:gd name="connsiteX87" fmla="*/ 147461 w 608129"/>
                <a:gd name="connsiteY87" fmla="*/ 195945 h 343858"/>
                <a:gd name="connsiteX88" fmla="*/ 141399 w 608129"/>
                <a:gd name="connsiteY88" fmla="*/ 194427 h 343858"/>
                <a:gd name="connsiteX89" fmla="*/ 139126 w 608129"/>
                <a:gd name="connsiteY89" fmla="*/ 180011 h 343858"/>
                <a:gd name="connsiteX90" fmla="*/ 146704 w 608129"/>
                <a:gd name="connsiteY90" fmla="*/ 168631 h 343858"/>
                <a:gd name="connsiteX91" fmla="*/ 160344 w 608129"/>
                <a:gd name="connsiteY91" fmla="*/ 165596 h 343858"/>
                <a:gd name="connsiteX92" fmla="*/ 338113 w 608129"/>
                <a:gd name="connsiteY92" fmla="*/ 164888 h 343858"/>
                <a:gd name="connsiteX93" fmla="*/ 352554 w 608129"/>
                <a:gd name="connsiteY93" fmla="*/ 164888 h 343858"/>
                <a:gd name="connsiteX94" fmla="*/ 352554 w 608129"/>
                <a:gd name="connsiteY94" fmla="*/ 179285 h 343858"/>
                <a:gd name="connsiteX95" fmla="*/ 342673 w 608129"/>
                <a:gd name="connsiteY95" fmla="*/ 189137 h 343858"/>
                <a:gd name="connsiteX96" fmla="*/ 335073 w 608129"/>
                <a:gd name="connsiteY96" fmla="*/ 192168 h 343858"/>
                <a:gd name="connsiteX97" fmla="*/ 328232 w 608129"/>
                <a:gd name="connsiteY97" fmla="*/ 189137 h 343858"/>
                <a:gd name="connsiteX98" fmla="*/ 328232 w 608129"/>
                <a:gd name="connsiteY98" fmla="*/ 174739 h 343858"/>
                <a:gd name="connsiteX99" fmla="*/ 438352 w 608129"/>
                <a:gd name="connsiteY99" fmla="*/ 163394 h 343858"/>
                <a:gd name="connsiteX100" fmla="*/ 449715 w 608129"/>
                <a:gd name="connsiteY100" fmla="*/ 170961 h 343858"/>
                <a:gd name="connsiteX101" fmla="*/ 453502 w 608129"/>
                <a:gd name="connsiteY101" fmla="*/ 184582 h 343858"/>
                <a:gd name="connsiteX102" fmla="*/ 444412 w 608129"/>
                <a:gd name="connsiteY102" fmla="*/ 189122 h 343858"/>
                <a:gd name="connsiteX103" fmla="*/ 439110 w 608129"/>
                <a:gd name="connsiteY103" fmla="*/ 187608 h 343858"/>
                <a:gd name="connsiteX104" fmla="*/ 427747 w 608129"/>
                <a:gd name="connsiteY104" fmla="*/ 180798 h 343858"/>
                <a:gd name="connsiteX105" fmla="*/ 423959 w 608129"/>
                <a:gd name="connsiteY105" fmla="*/ 166421 h 343858"/>
                <a:gd name="connsiteX106" fmla="*/ 438352 w 608129"/>
                <a:gd name="connsiteY106" fmla="*/ 163394 h 343858"/>
                <a:gd name="connsiteX107" fmla="*/ 237851 w 608129"/>
                <a:gd name="connsiteY107" fmla="*/ 158043 h 343858"/>
                <a:gd name="connsiteX108" fmla="*/ 249244 w 608129"/>
                <a:gd name="connsiteY108" fmla="*/ 165635 h 343858"/>
                <a:gd name="connsiteX109" fmla="*/ 253042 w 608129"/>
                <a:gd name="connsiteY109" fmla="*/ 179300 h 343858"/>
                <a:gd name="connsiteX110" fmla="*/ 243927 w 608129"/>
                <a:gd name="connsiteY110" fmla="*/ 184614 h 343858"/>
                <a:gd name="connsiteX111" fmla="*/ 238610 w 608129"/>
                <a:gd name="connsiteY111" fmla="*/ 183095 h 343858"/>
                <a:gd name="connsiteX112" fmla="*/ 227217 w 608129"/>
                <a:gd name="connsiteY112" fmla="*/ 175504 h 343858"/>
                <a:gd name="connsiteX113" fmla="*/ 223419 w 608129"/>
                <a:gd name="connsiteY113" fmla="*/ 161839 h 343858"/>
                <a:gd name="connsiteX114" fmla="*/ 237851 w 608129"/>
                <a:gd name="connsiteY114" fmla="*/ 158043 h 343858"/>
                <a:gd name="connsiteX115" fmla="*/ 285637 w 608129"/>
                <a:gd name="connsiteY115" fmla="*/ 155767 h 343858"/>
                <a:gd name="connsiteX116" fmla="*/ 299320 w 608129"/>
                <a:gd name="connsiteY116" fmla="*/ 156528 h 343858"/>
                <a:gd name="connsiteX117" fmla="*/ 308442 w 608129"/>
                <a:gd name="connsiteY117" fmla="*/ 167174 h 343858"/>
                <a:gd name="connsiteX118" fmla="*/ 298560 w 608129"/>
                <a:gd name="connsiteY118" fmla="*/ 177060 h 343858"/>
                <a:gd name="connsiteX119" fmla="*/ 297799 w 608129"/>
                <a:gd name="connsiteY119" fmla="*/ 177060 h 343858"/>
                <a:gd name="connsiteX120" fmla="*/ 284116 w 608129"/>
                <a:gd name="connsiteY120" fmla="*/ 175539 h 343858"/>
                <a:gd name="connsiteX121" fmla="*/ 274234 w 608129"/>
                <a:gd name="connsiteY121" fmla="*/ 164893 h 343858"/>
                <a:gd name="connsiteX122" fmla="*/ 285637 w 608129"/>
                <a:gd name="connsiteY122" fmla="*/ 155767 h 343858"/>
                <a:gd name="connsiteX123" fmla="*/ 374580 w 608129"/>
                <a:gd name="connsiteY123" fmla="*/ 140655 h 343858"/>
                <a:gd name="connsiteX124" fmla="*/ 388263 w 608129"/>
                <a:gd name="connsiteY124" fmla="*/ 141411 h 343858"/>
                <a:gd name="connsiteX125" fmla="*/ 398145 w 608129"/>
                <a:gd name="connsiteY125" fmla="*/ 152755 h 343858"/>
                <a:gd name="connsiteX126" fmla="*/ 387503 w 608129"/>
                <a:gd name="connsiteY126" fmla="*/ 161830 h 343858"/>
                <a:gd name="connsiteX127" fmla="*/ 386742 w 608129"/>
                <a:gd name="connsiteY127" fmla="*/ 161830 h 343858"/>
                <a:gd name="connsiteX128" fmla="*/ 373059 w 608129"/>
                <a:gd name="connsiteY128" fmla="*/ 160317 h 343858"/>
                <a:gd name="connsiteX129" fmla="*/ 363937 w 608129"/>
                <a:gd name="connsiteY129" fmla="*/ 149730 h 343858"/>
                <a:gd name="connsiteX130" fmla="*/ 374580 w 608129"/>
                <a:gd name="connsiteY130" fmla="*/ 140655 h 343858"/>
                <a:gd name="connsiteX131" fmla="*/ 363206 w 608129"/>
                <a:gd name="connsiteY131" fmla="*/ 133808 h 343858"/>
                <a:gd name="connsiteX132" fmla="*/ 362447 w 608129"/>
                <a:gd name="connsiteY132" fmla="*/ 134566 h 343858"/>
                <a:gd name="connsiteX133" fmla="*/ 360168 w 608129"/>
                <a:gd name="connsiteY133" fmla="*/ 139874 h 343858"/>
                <a:gd name="connsiteX134" fmla="*/ 344218 w 608129"/>
                <a:gd name="connsiteY134" fmla="*/ 156557 h 343858"/>
                <a:gd name="connsiteX135" fmla="*/ 341939 w 608129"/>
                <a:gd name="connsiteY135" fmla="*/ 157315 h 343858"/>
                <a:gd name="connsiteX136" fmla="*/ 338142 w 608129"/>
                <a:gd name="connsiteY136" fmla="*/ 158832 h 343858"/>
                <a:gd name="connsiteX137" fmla="*/ 335104 w 608129"/>
                <a:gd name="connsiteY137" fmla="*/ 160348 h 343858"/>
                <a:gd name="connsiteX138" fmla="*/ 332066 w 608129"/>
                <a:gd name="connsiteY138" fmla="*/ 161107 h 343858"/>
                <a:gd name="connsiteX139" fmla="*/ 324470 w 608129"/>
                <a:gd name="connsiteY139" fmla="*/ 161865 h 343858"/>
                <a:gd name="connsiteX140" fmla="*/ 317634 w 608129"/>
                <a:gd name="connsiteY140" fmla="*/ 161107 h 343858"/>
                <a:gd name="connsiteX141" fmla="*/ 314596 w 608129"/>
                <a:gd name="connsiteY141" fmla="*/ 160348 h 343858"/>
                <a:gd name="connsiteX142" fmla="*/ 310799 w 608129"/>
                <a:gd name="connsiteY142" fmla="*/ 158832 h 343858"/>
                <a:gd name="connsiteX143" fmla="*/ 307761 w 608129"/>
                <a:gd name="connsiteY143" fmla="*/ 158073 h 343858"/>
                <a:gd name="connsiteX144" fmla="*/ 304723 w 608129"/>
                <a:gd name="connsiteY144" fmla="*/ 156557 h 343858"/>
                <a:gd name="connsiteX145" fmla="*/ 297887 w 608129"/>
                <a:gd name="connsiteY145" fmla="*/ 151249 h 343858"/>
                <a:gd name="connsiteX146" fmla="*/ 297127 w 608129"/>
                <a:gd name="connsiteY146" fmla="*/ 150490 h 343858"/>
                <a:gd name="connsiteX147" fmla="*/ 294089 w 608129"/>
                <a:gd name="connsiteY147" fmla="*/ 147457 h 343858"/>
                <a:gd name="connsiteX148" fmla="*/ 292570 w 608129"/>
                <a:gd name="connsiteY148" fmla="*/ 145941 h 343858"/>
                <a:gd name="connsiteX149" fmla="*/ 289532 w 608129"/>
                <a:gd name="connsiteY149" fmla="*/ 142149 h 343858"/>
                <a:gd name="connsiteX150" fmla="*/ 289532 w 608129"/>
                <a:gd name="connsiteY150" fmla="*/ 140633 h 343858"/>
                <a:gd name="connsiteX151" fmla="*/ 287253 w 608129"/>
                <a:gd name="connsiteY151" fmla="*/ 136083 h 343858"/>
                <a:gd name="connsiteX152" fmla="*/ 237125 w 608129"/>
                <a:gd name="connsiteY152" fmla="*/ 141391 h 343858"/>
                <a:gd name="connsiteX153" fmla="*/ 215098 w 608129"/>
                <a:gd name="connsiteY153" fmla="*/ 165657 h 343858"/>
                <a:gd name="connsiteX154" fmla="*/ 214339 w 608129"/>
                <a:gd name="connsiteY154" fmla="*/ 166415 h 343858"/>
                <a:gd name="connsiteX155" fmla="*/ 212060 w 608129"/>
                <a:gd name="connsiteY155" fmla="*/ 168690 h 343858"/>
                <a:gd name="connsiteX156" fmla="*/ 211301 w 608129"/>
                <a:gd name="connsiteY156" fmla="*/ 168690 h 343858"/>
                <a:gd name="connsiteX157" fmla="*/ 209022 w 608129"/>
                <a:gd name="connsiteY157" fmla="*/ 170206 h 343858"/>
                <a:gd name="connsiteX158" fmla="*/ 207503 w 608129"/>
                <a:gd name="connsiteY158" fmla="*/ 170965 h 343858"/>
                <a:gd name="connsiteX159" fmla="*/ 205224 w 608129"/>
                <a:gd name="connsiteY159" fmla="*/ 171723 h 343858"/>
                <a:gd name="connsiteX160" fmla="*/ 203705 w 608129"/>
                <a:gd name="connsiteY160" fmla="*/ 171723 h 343858"/>
                <a:gd name="connsiteX161" fmla="*/ 202186 w 608129"/>
                <a:gd name="connsiteY161" fmla="*/ 171723 h 343858"/>
                <a:gd name="connsiteX162" fmla="*/ 201427 w 608129"/>
                <a:gd name="connsiteY162" fmla="*/ 171723 h 343858"/>
                <a:gd name="connsiteX163" fmla="*/ 199148 w 608129"/>
                <a:gd name="connsiteY163" fmla="*/ 171723 h 343858"/>
                <a:gd name="connsiteX164" fmla="*/ 198389 w 608129"/>
                <a:gd name="connsiteY164" fmla="*/ 171723 h 343858"/>
                <a:gd name="connsiteX165" fmla="*/ 191553 w 608129"/>
                <a:gd name="connsiteY165" fmla="*/ 169448 h 343858"/>
                <a:gd name="connsiteX166" fmla="*/ 188515 w 608129"/>
                <a:gd name="connsiteY166" fmla="*/ 167173 h 343858"/>
                <a:gd name="connsiteX167" fmla="*/ 178641 w 608129"/>
                <a:gd name="connsiteY167" fmla="*/ 158073 h 343858"/>
                <a:gd name="connsiteX168" fmla="*/ 176362 w 608129"/>
                <a:gd name="connsiteY168" fmla="*/ 155040 h 343858"/>
                <a:gd name="connsiteX169" fmla="*/ 175603 w 608129"/>
                <a:gd name="connsiteY169" fmla="*/ 154282 h 343858"/>
                <a:gd name="connsiteX170" fmla="*/ 174084 w 608129"/>
                <a:gd name="connsiteY170" fmla="*/ 152007 h 343858"/>
                <a:gd name="connsiteX171" fmla="*/ 142943 w 608129"/>
                <a:gd name="connsiteY171" fmla="*/ 159590 h 343858"/>
                <a:gd name="connsiteX172" fmla="*/ 136107 w 608129"/>
                <a:gd name="connsiteY172" fmla="*/ 171723 h 343858"/>
                <a:gd name="connsiteX173" fmla="*/ 135348 w 608129"/>
                <a:gd name="connsiteY173" fmla="*/ 173998 h 343858"/>
                <a:gd name="connsiteX174" fmla="*/ 134588 w 608129"/>
                <a:gd name="connsiteY174" fmla="*/ 174756 h 343858"/>
                <a:gd name="connsiteX175" fmla="*/ 133069 w 608129"/>
                <a:gd name="connsiteY175" fmla="*/ 175514 h 343858"/>
                <a:gd name="connsiteX176" fmla="*/ 131550 w 608129"/>
                <a:gd name="connsiteY176" fmla="*/ 177789 h 343858"/>
                <a:gd name="connsiteX177" fmla="*/ 130791 w 608129"/>
                <a:gd name="connsiteY177" fmla="*/ 177789 h 343858"/>
                <a:gd name="connsiteX178" fmla="*/ 124715 w 608129"/>
                <a:gd name="connsiteY178" fmla="*/ 181581 h 343858"/>
                <a:gd name="connsiteX179" fmla="*/ 119398 w 608129"/>
                <a:gd name="connsiteY179" fmla="*/ 182339 h 343858"/>
                <a:gd name="connsiteX180" fmla="*/ 118638 w 608129"/>
                <a:gd name="connsiteY180" fmla="*/ 182339 h 343858"/>
                <a:gd name="connsiteX181" fmla="*/ 117879 w 608129"/>
                <a:gd name="connsiteY181" fmla="*/ 182339 h 343858"/>
                <a:gd name="connsiteX182" fmla="*/ 114841 w 608129"/>
                <a:gd name="connsiteY182" fmla="*/ 182339 h 343858"/>
                <a:gd name="connsiteX183" fmla="*/ 113322 w 608129"/>
                <a:gd name="connsiteY183" fmla="*/ 181581 h 343858"/>
                <a:gd name="connsiteX184" fmla="*/ 109524 w 608129"/>
                <a:gd name="connsiteY184" fmla="*/ 180064 h 343858"/>
                <a:gd name="connsiteX185" fmla="*/ 108764 w 608129"/>
                <a:gd name="connsiteY185" fmla="*/ 180064 h 343858"/>
                <a:gd name="connsiteX186" fmla="*/ 99650 w 608129"/>
                <a:gd name="connsiteY186" fmla="*/ 175514 h 343858"/>
                <a:gd name="connsiteX187" fmla="*/ 92814 w 608129"/>
                <a:gd name="connsiteY187" fmla="*/ 189922 h 343858"/>
                <a:gd name="connsiteX188" fmla="*/ 71548 w 608129"/>
                <a:gd name="connsiteY188" fmla="*/ 202813 h 343858"/>
                <a:gd name="connsiteX189" fmla="*/ 70029 w 608129"/>
                <a:gd name="connsiteY189" fmla="*/ 214188 h 343858"/>
                <a:gd name="connsiteX190" fmla="*/ 61674 w 608129"/>
                <a:gd name="connsiteY190" fmla="*/ 225562 h 343858"/>
                <a:gd name="connsiteX191" fmla="*/ 51800 w 608129"/>
                <a:gd name="connsiteY191" fmla="*/ 232387 h 343858"/>
                <a:gd name="connsiteX192" fmla="*/ 159653 w 608129"/>
                <a:gd name="connsiteY192" fmla="*/ 232387 h 343858"/>
                <a:gd name="connsiteX193" fmla="*/ 158134 w 608129"/>
                <a:gd name="connsiteY193" fmla="*/ 224804 h 343858"/>
                <a:gd name="connsiteX194" fmla="*/ 159653 w 608129"/>
                <a:gd name="connsiteY194" fmla="*/ 211155 h 343858"/>
                <a:gd name="connsiteX195" fmla="*/ 171046 w 608129"/>
                <a:gd name="connsiteY195" fmla="*/ 202813 h 343858"/>
                <a:gd name="connsiteX196" fmla="*/ 179401 w 608129"/>
                <a:gd name="connsiteY196" fmla="*/ 213430 h 343858"/>
                <a:gd name="connsiteX197" fmla="*/ 177881 w 608129"/>
                <a:gd name="connsiteY197" fmla="*/ 227837 h 343858"/>
                <a:gd name="connsiteX198" fmla="*/ 175603 w 608129"/>
                <a:gd name="connsiteY198" fmla="*/ 232387 h 343858"/>
                <a:gd name="connsiteX199" fmla="*/ 402702 w 608129"/>
                <a:gd name="connsiteY199" fmla="*/ 232387 h 343858"/>
                <a:gd name="connsiteX200" fmla="*/ 537897 w 608129"/>
                <a:gd name="connsiteY200" fmla="*/ 232387 h 343858"/>
                <a:gd name="connsiteX201" fmla="*/ 528783 w 608129"/>
                <a:gd name="connsiteY201" fmla="*/ 208880 h 343858"/>
                <a:gd name="connsiteX202" fmla="*/ 528783 w 608129"/>
                <a:gd name="connsiteY202" fmla="*/ 205847 h 343858"/>
                <a:gd name="connsiteX203" fmla="*/ 519669 w 608129"/>
                <a:gd name="connsiteY203" fmla="*/ 196747 h 343858"/>
                <a:gd name="connsiteX204" fmla="*/ 512833 w 608129"/>
                <a:gd name="connsiteY204" fmla="*/ 196747 h 343858"/>
                <a:gd name="connsiteX205" fmla="*/ 501440 w 608129"/>
                <a:gd name="connsiteY205" fmla="*/ 186131 h 343858"/>
                <a:gd name="connsiteX206" fmla="*/ 492326 w 608129"/>
                <a:gd name="connsiteY206" fmla="*/ 177789 h 343858"/>
                <a:gd name="connsiteX207" fmla="*/ 472578 w 608129"/>
                <a:gd name="connsiteY207" fmla="*/ 162623 h 343858"/>
                <a:gd name="connsiteX208" fmla="*/ 463464 w 608129"/>
                <a:gd name="connsiteY208" fmla="*/ 150490 h 343858"/>
                <a:gd name="connsiteX209" fmla="*/ 458907 w 608129"/>
                <a:gd name="connsiteY209" fmla="*/ 152765 h 343858"/>
                <a:gd name="connsiteX210" fmla="*/ 429285 w 608129"/>
                <a:gd name="connsiteY210" fmla="*/ 161107 h 343858"/>
                <a:gd name="connsiteX211" fmla="*/ 424728 w 608129"/>
                <a:gd name="connsiteY211" fmla="*/ 161865 h 343858"/>
                <a:gd name="connsiteX212" fmla="*/ 423968 w 608129"/>
                <a:gd name="connsiteY212" fmla="*/ 161865 h 343858"/>
                <a:gd name="connsiteX213" fmla="*/ 423209 w 608129"/>
                <a:gd name="connsiteY213" fmla="*/ 161865 h 343858"/>
                <a:gd name="connsiteX214" fmla="*/ 420171 w 608129"/>
                <a:gd name="connsiteY214" fmla="*/ 161107 h 343858"/>
                <a:gd name="connsiteX215" fmla="*/ 418652 w 608129"/>
                <a:gd name="connsiteY215" fmla="*/ 161107 h 343858"/>
                <a:gd name="connsiteX216" fmla="*/ 414094 w 608129"/>
                <a:gd name="connsiteY216" fmla="*/ 159590 h 343858"/>
                <a:gd name="connsiteX217" fmla="*/ 407259 w 608129"/>
                <a:gd name="connsiteY217" fmla="*/ 152765 h 343858"/>
                <a:gd name="connsiteX218" fmla="*/ 404221 w 608129"/>
                <a:gd name="connsiteY218" fmla="*/ 147457 h 343858"/>
                <a:gd name="connsiteX219" fmla="*/ 401182 w 608129"/>
                <a:gd name="connsiteY219" fmla="*/ 135324 h 343858"/>
                <a:gd name="connsiteX220" fmla="*/ 363206 w 608129"/>
                <a:gd name="connsiteY220" fmla="*/ 133808 h 343858"/>
                <a:gd name="connsiteX221" fmla="*/ 105726 w 608129"/>
                <a:gd name="connsiteY221" fmla="*/ 121675 h 343858"/>
                <a:gd name="connsiteX222" fmla="*/ 91295 w 608129"/>
                <a:gd name="connsiteY222" fmla="*/ 148216 h 343858"/>
                <a:gd name="connsiteX223" fmla="*/ 117119 w 608129"/>
                <a:gd name="connsiteY223" fmla="*/ 161865 h 343858"/>
                <a:gd name="connsiteX224" fmla="*/ 118638 w 608129"/>
                <a:gd name="connsiteY224" fmla="*/ 162623 h 343858"/>
                <a:gd name="connsiteX225" fmla="*/ 132310 w 608129"/>
                <a:gd name="connsiteY225" fmla="*/ 135324 h 343858"/>
                <a:gd name="connsiteX226" fmla="*/ 445235 w 608129"/>
                <a:gd name="connsiteY226" fmla="*/ 104234 h 343858"/>
                <a:gd name="connsiteX227" fmla="*/ 415614 w 608129"/>
                <a:gd name="connsiteY227" fmla="*/ 112575 h 343858"/>
                <a:gd name="connsiteX228" fmla="*/ 423968 w 608129"/>
                <a:gd name="connsiteY228" fmla="*/ 141391 h 343858"/>
                <a:gd name="connsiteX229" fmla="*/ 453590 w 608129"/>
                <a:gd name="connsiteY229" fmla="*/ 133049 h 343858"/>
                <a:gd name="connsiteX230" fmla="*/ 324470 w 608129"/>
                <a:gd name="connsiteY230" fmla="*/ 101201 h 343858"/>
                <a:gd name="connsiteX231" fmla="*/ 303963 w 608129"/>
                <a:gd name="connsiteY231" fmla="*/ 121675 h 343858"/>
                <a:gd name="connsiteX232" fmla="*/ 304723 w 608129"/>
                <a:gd name="connsiteY232" fmla="*/ 123192 h 343858"/>
                <a:gd name="connsiteX233" fmla="*/ 304723 w 608129"/>
                <a:gd name="connsiteY233" fmla="*/ 123950 h 343858"/>
                <a:gd name="connsiteX234" fmla="*/ 311558 w 608129"/>
                <a:gd name="connsiteY234" fmla="*/ 136841 h 343858"/>
                <a:gd name="connsiteX235" fmla="*/ 313837 w 608129"/>
                <a:gd name="connsiteY235" fmla="*/ 138358 h 343858"/>
                <a:gd name="connsiteX236" fmla="*/ 314596 w 608129"/>
                <a:gd name="connsiteY236" fmla="*/ 139116 h 343858"/>
                <a:gd name="connsiteX237" fmla="*/ 317634 w 608129"/>
                <a:gd name="connsiteY237" fmla="*/ 139874 h 343858"/>
                <a:gd name="connsiteX238" fmla="*/ 318394 w 608129"/>
                <a:gd name="connsiteY238" fmla="*/ 140633 h 343858"/>
                <a:gd name="connsiteX239" fmla="*/ 320673 w 608129"/>
                <a:gd name="connsiteY239" fmla="*/ 141391 h 343858"/>
                <a:gd name="connsiteX240" fmla="*/ 324470 w 608129"/>
                <a:gd name="connsiteY240" fmla="*/ 141391 h 343858"/>
                <a:gd name="connsiteX241" fmla="*/ 328268 w 608129"/>
                <a:gd name="connsiteY241" fmla="*/ 141391 h 343858"/>
                <a:gd name="connsiteX242" fmla="*/ 329787 w 608129"/>
                <a:gd name="connsiteY242" fmla="*/ 140633 h 343858"/>
                <a:gd name="connsiteX243" fmla="*/ 332066 w 608129"/>
                <a:gd name="connsiteY243" fmla="*/ 139874 h 343858"/>
                <a:gd name="connsiteX244" fmla="*/ 333585 w 608129"/>
                <a:gd name="connsiteY244" fmla="*/ 139116 h 343858"/>
                <a:gd name="connsiteX245" fmla="*/ 335863 w 608129"/>
                <a:gd name="connsiteY245" fmla="*/ 138358 h 343858"/>
                <a:gd name="connsiteX246" fmla="*/ 337382 w 608129"/>
                <a:gd name="connsiteY246" fmla="*/ 136841 h 343858"/>
                <a:gd name="connsiteX247" fmla="*/ 338142 w 608129"/>
                <a:gd name="connsiteY247" fmla="*/ 136083 h 343858"/>
                <a:gd name="connsiteX248" fmla="*/ 340420 w 608129"/>
                <a:gd name="connsiteY248" fmla="*/ 133808 h 343858"/>
                <a:gd name="connsiteX249" fmla="*/ 340420 w 608129"/>
                <a:gd name="connsiteY249" fmla="*/ 133049 h 343858"/>
                <a:gd name="connsiteX250" fmla="*/ 344218 w 608129"/>
                <a:gd name="connsiteY250" fmla="*/ 123192 h 343858"/>
                <a:gd name="connsiteX251" fmla="*/ 344977 w 608129"/>
                <a:gd name="connsiteY251" fmla="*/ 120917 h 343858"/>
                <a:gd name="connsiteX252" fmla="*/ 324470 w 608129"/>
                <a:gd name="connsiteY252" fmla="*/ 101201 h 343858"/>
                <a:gd name="connsiteX253" fmla="*/ 234086 w 608129"/>
                <a:gd name="connsiteY253" fmla="*/ 98926 h 343858"/>
                <a:gd name="connsiteX254" fmla="*/ 193832 w 608129"/>
                <a:gd name="connsiteY254" fmla="*/ 144424 h 343858"/>
                <a:gd name="connsiteX255" fmla="*/ 201427 w 608129"/>
                <a:gd name="connsiteY255" fmla="*/ 151249 h 343858"/>
                <a:gd name="connsiteX256" fmla="*/ 227251 w 608129"/>
                <a:gd name="connsiteY256" fmla="*/ 121675 h 343858"/>
                <a:gd name="connsiteX257" fmla="*/ 241682 w 608129"/>
                <a:gd name="connsiteY257" fmla="*/ 105751 h 343858"/>
                <a:gd name="connsiteX258" fmla="*/ 233042 w 608129"/>
                <a:gd name="connsiteY258" fmla="*/ 78357 h 343858"/>
                <a:gd name="connsiteX259" fmla="*/ 246239 w 608129"/>
                <a:gd name="connsiteY259" fmla="*/ 83001 h 343858"/>
                <a:gd name="connsiteX260" fmla="*/ 256872 w 608129"/>
                <a:gd name="connsiteY260" fmla="*/ 92101 h 343858"/>
                <a:gd name="connsiteX261" fmla="*/ 257632 w 608129"/>
                <a:gd name="connsiteY261" fmla="*/ 118642 h 343858"/>
                <a:gd name="connsiteX262" fmla="*/ 284215 w 608129"/>
                <a:gd name="connsiteY262" fmla="*/ 116367 h 343858"/>
                <a:gd name="connsiteX263" fmla="*/ 324470 w 608129"/>
                <a:gd name="connsiteY263" fmla="*/ 80727 h 343858"/>
                <a:gd name="connsiteX264" fmla="*/ 363966 w 608129"/>
                <a:gd name="connsiteY264" fmla="*/ 114092 h 343858"/>
                <a:gd name="connsiteX265" fmla="*/ 395866 w 608129"/>
                <a:gd name="connsiteY265" fmla="*/ 114850 h 343858"/>
                <a:gd name="connsiteX266" fmla="*/ 398144 w 608129"/>
                <a:gd name="connsiteY266" fmla="*/ 102717 h 343858"/>
                <a:gd name="connsiteX267" fmla="*/ 410297 w 608129"/>
                <a:gd name="connsiteY267" fmla="*/ 92859 h 343858"/>
                <a:gd name="connsiteX268" fmla="*/ 439159 w 608129"/>
                <a:gd name="connsiteY268" fmla="*/ 84518 h 343858"/>
                <a:gd name="connsiteX269" fmla="*/ 454349 w 608129"/>
                <a:gd name="connsiteY269" fmla="*/ 86035 h 343858"/>
                <a:gd name="connsiteX270" fmla="*/ 464223 w 608129"/>
                <a:gd name="connsiteY270" fmla="*/ 98168 h 343858"/>
                <a:gd name="connsiteX271" fmla="*/ 472578 w 608129"/>
                <a:gd name="connsiteY271" fmla="*/ 127741 h 343858"/>
                <a:gd name="connsiteX272" fmla="*/ 473338 w 608129"/>
                <a:gd name="connsiteY272" fmla="*/ 132291 h 343858"/>
                <a:gd name="connsiteX273" fmla="*/ 492326 w 608129"/>
                <a:gd name="connsiteY273" fmla="*/ 157315 h 343858"/>
                <a:gd name="connsiteX274" fmla="*/ 519669 w 608129"/>
                <a:gd name="connsiteY274" fmla="*/ 176273 h 343858"/>
                <a:gd name="connsiteX275" fmla="*/ 524226 w 608129"/>
                <a:gd name="connsiteY275" fmla="*/ 177031 h 343858"/>
                <a:gd name="connsiteX276" fmla="*/ 547771 w 608129"/>
                <a:gd name="connsiteY276" fmla="*/ 199780 h 343858"/>
                <a:gd name="connsiteX277" fmla="*/ 548531 w 608129"/>
                <a:gd name="connsiteY277" fmla="*/ 210396 h 343858"/>
                <a:gd name="connsiteX278" fmla="*/ 553848 w 608129"/>
                <a:gd name="connsiteY278" fmla="*/ 219496 h 343858"/>
                <a:gd name="connsiteX279" fmla="*/ 564481 w 608129"/>
                <a:gd name="connsiteY279" fmla="*/ 232387 h 343858"/>
                <a:gd name="connsiteX280" fmla="*/ 588786 w 608129"/>
                <a:gd name="connsiteY280" fmla="*/ 232387 h 343858"/>
                <a:gd name="connsiteX281" fmla="*/ 606255 w 608129"/>
                <a:gd name="connsiteY281" fmla="*/ 243003 h 343858"/>
                <a:gd name="connsiteX282" fmla="*/ 604736 w 608129"/>
                <a:gd name="connsiteY282" fmla="*/ 263478 h 343858"/>
                <a:gd name="connsiteX283" fmla="*/ 603217 w 608129"/>
                <a:gd name="connsiteY283" fmla="*/ 264994 h 343858"/>
                <a:gd name="connsiteX284" fmla="*/ 550809 w 608129"/>
                <a:gd name="connsiteY284" fmla="*/ 296843 h 343858"/>
                <a:gd name="connsiteX285" fmla="*/ 544733 w 608129"/>
                <a:gd name="connsiteY285" fmla="*/ 312768 h 343858"/>
                <a:gd name="connsiteX286" fmla="*/ 516631 w 608129"/>
                <a:gd name="connsiteY286" fmla="*/ 343858 h 343858"/>
                <a:gd name="connsiteX287" fmla="*/ 91295 w 608129"/>
                <a:gd name="connsiteY287" fmla="*/ 343858 h 343858"/>
                <a:gd name="connsiteX288" fmla="*/ 63952 w 608129"/>
                <a:gd name="connsiteY288" fmla="*/ 312768 h 343858"/>
                <a:gd name="connsiteX289" fmla="*/ 57876 w 608129"/>
                <a:gd name="connsiteY289" fmla="*/ 296843 h 343858"/>
                <a:gd name="connsiteX290" fmla="*/ 4709 w 608129"/>
                <a:gd name="connsiteY290" fmla="*/ 264994 h 343858"/>
                <a:gd name="connsiteX291" fmla="*/ 3950 w 608129"/>
                <a:gd name="connsiteY291" fmla="*/ 263478 h 343858"/>
                <a:gd name="connsiteX292" fmla="*/ 2431 w 608129"/>
                <a:gd name="connsiteY292" fmla="*/ 243003 h 343858"/>
                <a:gd name="connsiteX293" fmla="*/ 19900 w 608129"/>
                <a:gd name="connsiteY293" fmla="*/ 232387 h 343858"/>
                <a:gd name="connsiteX294" fmla="*/ 31293 w 608129"/>
                <a:gd name="connsiteY294" fmla="*/ 232387 h 343858"/>
                <a:gd name="connsiteX295" fmla="*/ 49521 w 608129"/>
                <a:gd name="connsiteY295" fmla="*/ 208880 h 343858"/>
                <a:gd name="connsiteX296" fmla="*/ 57117 w 608129"/>
                <a:gd name="connsiteY296" fmla="*/ 187647 h 343858"/>
                <a:gd name="connsiteX297" fmla="*/ 68510 w 608129"/>
                <a:gd name="connsiteY297" fmla="*/ 182339 h 343858"/>
                <a:gd name="connsiteX298" fmla="*/ 76864 w 608129"/>
                <a:gd name="connsiteY298" fmla="*/ 177031 h 343858"/>
                <a:gd name="connsiteX299" fmla="*/ 79902 w 608129"/>
                <a:gd name="connsiteY299" fmla="*/ 167931 h 343858"/>
                <a:gd name="connsiteX300" fmla="*/ 79902 w 608129"/>
                <a:gd name="connsiteY300" fmla="*/ 164140 h 343858"/>
                <a:gd name="connsiteX301" fmla="*/ 73826 w 608129"/>
                <a:gd name="connsiteY301" fmla="*/ 139116 h 343858"/>
                <a:gd name="connsiteX302" fmla="*/ 87498 w 608129"/>
                <a:gd name="connsiteY302" fmla="*/ 111817 h 343858"/>
                <a:gd name="connsiteX303" fmla="*/ 99650 w 608129"/>
                <a:gd name="connsiteY303" fmla="*/ 101959 h 343858"/>
                <a:gd name="connsiteX304" fmla="*/ 114841 w 608129"/>
                <a:gd name="connsiteY304" fmla="*/ 103476 h 343858"/>
                <a:gd name="connsiteX305" fmla="*/ 142184 w 608129"/>
                <a:gd name="connsiteY305" fmla="*/ 117125 h 343858"/>
                <a:gd name="connsiteX306" fmla="*/ 152058 w 608129"/>
                <a:gd name="connsiteY306" fmla="*/ 129258 h 343858"/>
                <a:gd name="connsiteX307" fmla="*/ 152817 w 608129"/>
                <a:gd name="connsiteY307" fmla="*/ 136083 h 343858"/>
                <a:gd name="connsiteX308" fmla="*/ 178641 w 608129"/>
                <a:gd name="connsiteY308" fmla="*/ 130016 h 343858"/>
                <a:gd name="connsiteX309" fmla="*/ 220415 w 608129"/>
                <a:gd name="connsiteY309" fmla="*/ 84518 h 343858"/>
                <a:gd name="connsiteX310" fmla="*/ 233042 w 608129"/>
                <a:gd name="connsiteY310" fmla="*/ 78357 h 343858"/>
                <a:gd name="connsiteX311" fmla="*/ 162582 w 608129"/>
                <a:gd name="connsiteY311" fmla="*/ 60954 h 343858"/>
                <a:gd name="connsiteX312" fmla="*/ 142076 w 608129"/>
                <a:gd name="connsiteY312" fmla="*/ 80671 h 343858"/>
                <a:gd name="connsiteX313" fmla="*/ 162582 w 608129"/>
                <a:gd name="connsiteY313" fmla="*/ 101147 h 343858"/>
                <a:gd name="connsiteX314" fmla="*/ 182329 w 608129"/>
                <a:gd name="connsiteY314" fmla="*/ 80671 h 343858"/>
                <a:gd name="connsiteX315" fmla="*/ 162582 w 608129"/>
                <a:gd name="connsiteY315" fmla="*/ 60954 h 343858"/>
                <a:gd name="connsiteX316" fmla="*/ 162582 w 608129"/>
                <a:gd name="connsiteY316" fmla="*/ 40478 h 343858"/>
                <a:gd name="connsiteX317" fmla="*/ 202836 w 608129"/>
                <a:gd name="connsiteY317" fmla="*/ 80671 h 343858"/>
                <a:gd name="connsiteX318" fmla="*/ 162582 w 608129"/>
                <a:gd name="connsiteY318" fmla="*/ 121623 h 343858"/>
                <a:gd name="connsiteX319" fmla="*/ 121569 w 608129"/>
                <a:gd name="connsiteY319" fmla="*/ 80671 h 343858"/>
                <a:gd name="connsiteX320" fmla="*/ 162582 w 608129"/>
                <a:gd name="connsiteY320" fmla="*/ 40478 h 343858"/>
                <a:gd name="connsiteX321" fmla="*/ 285697 w 608129"/>
                <a:gd name="connsiteY321" fmla="*/ 32920 h 343858"/>
                <a:gd name="connsiteX322" fmla="*/ 256860 w 608129"/>
                <a:gd name="connsiteY322" fmla="*/ 41258 h 343858"/>
                <a:gd name="connsiteX323" fmla="*/ 265208 w 608129"/>
                <a:gd name="connsiteY323" fmla="*/ 70819 h 343858"/>
                <a:gd name="connsiteX324" fmla="*/ 294045 w 608129"/>
                <a:gd name="connsiteY324" fmla="*/ 62481 h 343858"/>
                <a:gd name="connsiteX325" fmla="*/ 364659 w 608129"/>
                <a:gd name="connsiteY325" fmla="*/ 20767 h 343858"/>
                <a:gd name="connsiteX326" fmla="*/ 355552 w 608129"/>
                <a:gd name="connsiteY326" fmla="*/ 23799 h 343858"/>
                <a:gd name="connsiteX327" fmla="*/ 376044 w 608129"/>
                <a:gd name="connsiteY327" fmla="*/ 81416 h 343858"/>
                <a:gd name="connsiteX328" fmla="*/ 385910 w 608129"/>
                <a:gd name="connsiteY328" fmla="*/ 77625 h 343858"/>
                <a:gd name="connsiteX329" fmla="*/ 280385 w 608129"/>
                <a:gd name="connsiteY329" fmla="*/ 13971 h 343858"/>
                <a:gd name="connsiteX330" fmla="*/ 295563 w 608129"/>
                <a:gd name="connsiteY330" fmla="*/ 15487 h 343858"/>
                <a:gd name="connsiteX331" fmla="*/ 305428 w 608129"/>
                <a:gd name="connsiteY331" fmla="*/ 27614 h 343858"/>
                <a:gd name="connsiteX332" fmla="*/ 313776 w 608129"/>
                <a:gd name="connsiteY332" fmla="*/ 57176 h 343858"/>
                <a:gd name="connsiteX333" fmla="*/ 311500 w 608129"/>
                <a:gd name="connsiteY333" fmla="*/ 72335 h 343858"/>
                <a:gd name="connsiteX334" fmla="*/ 299357 w 608129"/>
                <a:gd name="connsiteY334" fmla="*/ 82189 h 343858"/>
                <a:gd name="connsiteX335" fmla="*/ 270520 w 608129"/>
                <a:gd name="connsiteY335" fmla="*/ 90527 h 343858"/>
                <a:gd name="connsiteX336" fmla="*/ 265208 w 608129"/>
                <a:gd name="connsiteY336" fmla="*/ 91285 h 343858"/>
                <a:gd name="connsiteX337" fmla="*/ 255342 w 608129"/>
                <a:gd name="connsiteY337" fmla="*/ 88253 h 343858"/>
                <a:gd name="connsiteX338" fmla="*/ 245477 w 608129"/>
                <a:gd name="connsiteY338" fmla="*/ 76125 h 343858"/>
                <a:gd name="connsiteX339" fmla="*/ 237129 w 608129"/>
                <a:gd name="connsiteY339" fmla="*/ 47322 h 343858"/>
                <a:gd name="connsiteX340" fmla="*/ 238647 w 608129"/>
                <a:gd name="connsiteY340" fmla="*/ 32162 h 343858"/>
                <a:gd name="connsiteX341" fmla="*/ 250789 w 608129"/>
                <a:gd name="connsiteY341" fmla="*/ 22309 h 343858"/>
                <a:gd name="connsiteX342" fmla="*/ 359347 w 608129"/>
                <a:gd name="connsiteY342" fmla="*/ 1056 h 343858"/>
                <a:gd name="connsiteX343" fmla="*/ 373767 w 608129"/>
                <a:gd name="connsiteY343" fmla="*/ 1814 h 343858"/>
                <a:gd name="connsiteX344" fmla="*/ 383633 w 608129"/>
                <a:gd name="connsiteY344" fmla="*/ 12428 h 343858"/>
                <a:gd name="connsiteX345" fmla="*/ 404884 w 608129"/>
                <a:gd name="connsiteY345" fmla="*/ 72318 h 343858"/>
                <a:gd name="connsiteX346" fmla="*/ 404884 w 608129"/>
                <a:gd name="connsiteY346" fmla="*/ 86723 h 343858"/>
                <a:gd name="connsiteX347" fmla="*/ 394259 w 608129"/>
                <a:gd name="connsiteY347" fmla="*/ 95820 h 343858"/>
                <a:gd name="connsiteX348" fmla="*/ 381356 w 608129"/>
                <a:gd name="connsiteY348" fmla="*/ 100369 h 343858"/>
                <a:gd name="connsiteX349" fmla="*/ 375285 w 608129"/>
                <a:gd name="connsiteY349" fmla="*/ 101885 h 343858"/>
                <a:gd name="connsiteX350" fmla="*/ 367695 w 608129"/>
                <a:gd name="connsiteY350" fmla="*/ 100369 h 343858"/>
                <a:gd name="connsiteX351" fmla="*/ 357829 w 608129"/>
                <a:gd name="connsiteY351" fmla="*/ 89755 h 343858"/>
                <a:gd name="connsiteX352" fmla="*/ 335819 w 608129"/>
                <a:gd name="connsiteY352" fmla="*/ 29864 h 343858"/>
                <a:gd name="connsiteX353" fmla="*/ 336578 w 608129"/>
                <a:gd name="connsiteY353" fmla="*/ 15460 h 343858"/>
                <a:gd name="connsiteX354" fmla="*/ 347203 w 608129"/>
                <a:gd name="connsiteY354" fmla="*/ 5605 h 34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</a:cxnLst>
              <a:rect l="l" t="t" r="r" b="b"/>
              <a:pathLst>
                <a:path w="41014" h="40190">
                  <a:moveTo>
                    <a:pt x="20507" y="0"/>
                  </a:moveTo>
                  <a:cubicBezTo>
                    <a:pt x="9114" y="0"/>
                    <a:pt x="0" y="9099"/>
                    <a:pt x="0" y="20474"/>
                  </a:cubicBezTo>
                  <a:cubicBezTo>
                    <a:pt x="0" y="20474"/>
                    <a:pt x="760" y="21232"/>
                    <a:pt x="760" y="21991"/>
                  </a:cubicBezTo>
                  <a:lnTo>
                    <a:pt x="760" y="22749"/>
                  </a:lnTo>
                  <a:cubicBezTo>
                    <a:pt x="1519" y="28057"/>
                    <a:pt x="3798" y="31848"/>
                    <a:pt x="7595" y="35640"/>
                  </a:cubicBezTo>
                  <a:cubicBezTo>
                    <a:pt x="8355" y="36398"/>
                    <a:pt x="9114" y="37157"/>
                    <a:pt x="9874" y="37157"/>
                  </a:cubicBezTo>
                  <a:cubicBezTo>
                    <a:pt x="10633" y="37157"/>
                    <a:pt x="10633" y="37915"/>
                    <a:pt x="10633" y="37915"/>
                  </a:cubicBezTo>
                  <a:cubicBezTo>
                    <a:pt x="11393" y="37915"/>
                    <a:pt x="12152" y="38673"/>
                    <a:pt x="13671" y="38673"/>
                  </a:cubicBezTo>
                  <a:cubicBezTo>
                    <a:pt x="13671" y="39432"/>
                    <a:pt x="14431" y="39432"/>
                    <a:pt x="14431" y="39432"/>
                  </a:cubicBezTo>
                  <a:cubicBezTo>
                    <a:pt x="15191" y="39432"/>
                    <a:pt x="15950" y="40190"/>
                    <a:pt x="16710" y="40190"/>
                  </a:cubicBezTo>
                  <a:cubicBezTo>
                    <a:pt x="18229" y="40190"/>
                    <a:pt x="18988" y="40190"/>
                    <a:pt x="20507" y="40190"/>
                  </a:cubicBezTo>
                  <a:cubicBezTo>
                    <a:pt x="22026" y="40190"/>
                    <a:pt x="23545" y="40190"/>
                    <a:pt x="24305" y="40190"/>
                  </a:cubicBezTo>
                  <a:cubicBezTo>
                    <a:pt x="25064" y="40190"/>
                    <a:pt x="25064" y="39432"/>
                    <a:pt x="25824" y="39432"/>
                  </a:cubicBezTo>
                  <a:cubicBezTo>
                    <a:pt x="26583" y="39432"/>
                    <a:pt x="27343" y="39432"/>
                    <a:pt x="28103" y="38673"/>
                  </a:cubicBezTo>
                  <a:cubicBezTo>
                    <a:pt x="28862" y="38673"/>
                    <a:pt x="28862" y="38673"/>
                    <a:pt x="29622" y="37915"/>
                  </a:cubicBezTo>
                  <a:cubicBezTo>
                    <a:pt x="30381" y="37915"/>
                    <a:pt x="31141" y="37157"/>
                    <a:pt x="31900" y="37157"/>
                  </a:cubicBezTo>
                  <a:cubicBezTo>
                    <a:pt x="31900" y="36398"/>
                    <a:pt x="32660" y="36398"/>
                    <a:pt x="33419" y="35640"/>
                  </a:cubicBezTo>
                  <a:cubicBezTo>
                    <a:pt x="33419" y="35640"/>
                    <a:pt x="34179" y="34882"/>
                    <a:pt x="34179" y="34882"/>
                  </a:cubicBezTo>
                  <a:cubicBezTo>
                    <a:pt x="34938" y="34123"/>
                    <a:pt x="35698" y="33365"/>
                    <a:pt x="36457" y="32607"/>
                  </a:cubicBezTo>
                  <a:cubicBezTo>
                    <a:pt x="36457" y="32607"/>
                    <a:pt x="36457" y="32607"/>
                    <a:pt x="36457" y="31848"/>
                  </a:cubicBezTo>
                  <a:cubicBezTo>
                    <a:pt x="38736" y="29574"/>
                    <a:pt x="40255" y="25782"/>
                    <a:pt x="40255" y="21991"/>
                  </a:cubicBezTo>
                  <a:lnTo>
                    <a:pt x="41014" y="19716"/>
                  </a:lnTo>
                  <a:cubicBezTo>
                    <a:pt x="40255" y="9099"/>
                    <a:pt x="31900" y="0"/>
                    <a:pt x="20507" y="0"/>
                  </a:cubicBezTo>
                </a:path>
              </a:pathLst>
            </a:custGeom>
            <a:noFill/>
            <a:ln w="44450">
              <a:gradFill>
                <a:gsLst>
                  <a:gs pos="0">
                    <a:schemeClr val="accent3"/>
                  </a:gs>
                  <a:gs pos="100000">
                    <a:schemeClr val="accent3">
                      <a:lumMod val="5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zh-CN" altLang="en-US">
                <a:gradFill flip="none" rotWithShape="1">
                  <a:gsLst>
                    <a:gs pos="89000">
                      <a:schemeClr val="bg1"/>
                    </a:gs>
                    <a:gs pos="0">
                      <a:schemeClr val="accent2"/>
                    </a:gs>
                  </a:gsLst>
                  <a:lin ang="13500000" scaled="1"/>
                  <a:tileRect/>
                </a:gradFill>
              </a:endParaRPr>
            </a:p>
          </p:txBody>
        </p:sp>
        <p:sp>
          <p:nvSpPr>
            <p:cNvPr id="203" name="椭圆 202"/>
            <p:cNvSpPr/>
            <p:nvPr userDrawn="1"/>
          </p:nvSpPr>
          <p:spPr>
            <a:xfrm flipH="1">
              <a:off x="2971629" y="3760319"/>
              <a:ext cx="156688" cy="111774"/>
            </a:xfrm>
            <a:prstGeom prst="ellipse">
              <a:avLst/>
            </a:prstGeom>
            <a:solidFill>
              <a:srgbClr val="D24F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4" name="椭圆 203"/>
            <p:cNvSpPr/>
            <p:nvPr userDrawn="1"/>
          </p:nvSpPr>
          <p:spPr>
            <a:xfrm flipH="1">
              <a:off x="3410769" y="3417089"/>
              <a:ext cx="156688" cy="111774"/>
            </a:xfrm>
            <a:prstGeom prst="ellipse">
              <a:avLst/>
            </a:prstGeom>
            <a:solidFill>
              <a:srgbClr val="D24F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5" name="椭圆 204"/>
            <p:cNvSpPr/>
            <p:nvPr userDrawn="1"/>
          </p:nvSpPr>
          <p:spPr>
            <a:xfrm rot="20033901" flipH="1">
              <a:off x="3550111" y="4020218"/>
              <a:ext cx="156688" cy="111774"/>
            </a:xfrm>
            <a:prstGeom prst="ellipse">
              <a:avLst/>
            </a:prstGeom>
            <a:solidFill>
              <a:srgbClr val="D24F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6" name="椭圆 205"/>
            <p:cNvSpPr/>
            <p:nvPr userDrawn="1"/>
          </p:nvSpPr>
          <p:spPr>
            <a:xfrm rot="1728136" flipH="1">
              <a:off x="3691751" y="3492677"/>
              <a:ext cx="143914" cy="102662"/>
            </a:xfrm>
            <a:prstGeom prst="ellipse">
              <a:avLst/>
            </a:prstGeom>
            <a:solidFill>
              <a:srgbClr val="D24F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7" name="任意多边形: 形状 206"/>
            <p:cNvSpPr>
              <a:spLocks/>
            </p:cNvSpPr>
            <p:nvPr userDrawn="1"/>
          </p:nvSpPr>
          <p:spPr bwMode="auto">
            <a:xfrm flipH="1">
              <a:off x="2870120" y="3820924"/>
              <a:ext cx="71508" cy="100729"/>
            </a:xfrm>
            <a:custGeom>
              <a:avLst/>
              <a:gdLst>
                <a:gd name="connsiteX0" fmla="*/ 193001 w 608129"/>
                <a:gd name="connsiteY0" fmla="*/ 283182 h 343858"/>
                <a:gd name="connsiteX1" fmla="*/ 506699 w 608129"/>
                <a:gd name="connsiteY1" fmla="*/ 283182 h 343858"/>
                <a:gd name="connsiteX2" fmla="*/ 516573 w 608129"/>
                <a:gd name="connsiteY2" fmla="*/ 293038 h 343858"/>
                <a:gd name="connsiteX3" fmla="*/ 506699 w 608129"/>
                <a:gd name="connsiteY3" fmla="*/ 303651 h 343858"/>
                <a:gd name="connsiteX4" fmla="*/ 193001 w 608129"/>
                <a:gd name="connsiteY4" fmla="*/ 303651 h 343858"/>
                <a:gd name="connsiteX5" fmla="*/ 182367 w 608129"/>
                <a:gd name="connsiteY5" fmla="*/ 293038 h 343858"/>
                <a:gd name="connsiteX6" fmla="*/ 193001 w 608129"/>
                <a:gd name="connsiteY6" fmla="*/ 283182 h 343858"/>
                <a:gd name="connsiteX7" fmla="*/ 101866 w 608129"/>
                <a:gd name="connsiteY7" fmla="*/ 283182 h 343858"/>
                <a:gd name="connsiteX8" fmla="*/ 142885 w 608129"/>
                <a:gd name="connsiteY8" fmla="*/ 283182 h 343858"/>
                <a:gd name="connsiteX9" fmla="*/ 152760 w 608129"/>
                <a:gd name="connsiteY9" fmla="*/ 293038 h 343858"/>
                <a:gd name="connsiteX10" fmla="*/ 142885 w 608129"/>
                <a:gd name="connsiteY10" fmla="*/ 303651 h 343858"/>
                <a:gd name="connsiteX11" fmla="*/ 101866 w 608129"/>
                <a:gd name="connsiteY11" fmla="*/ 303651 h 343858"/>
                <a:gd name="connsiteX12" fmla="*/ 91231 w 608129"/>
                <a:gd name="connsiteY12" fmla="*/ 293038 h 343858"/>
                <a:gd name="connsiteX13" fmla="*/ 101866 w 608129"/>
                <a:gd name="connsiteY13" fmla="*/ 283182 h 343858"/>
                <a:gd name="connsiteX14" fmla="*/ 23697 w 608129"/>
                <a:gd name="connsiteY14" fmla="*/ 252861 h 343858"/>
                <a:gd name="connsiteX15" fmla="*/ 72307 w 608129"/>
                <a:gd name="connsiteY15" fmla="*/ 281677 h 343858"/>
                <a:gd name="connsiteX16" fmla="*/ 73826 w 608129"/>
                <a:gd name="connsiteY16" fmla="*/ 283952 h 343858"/>
                <a:gd name="connsiteX17" fmla="*/ 82941 w 608129"/>
                <a:gd name="connsiteY17" fmla="*/ 307460 h 343858"/>
                <a:gd name="connsiteX18" fmla="*/ 91295 w 608129"/>
                <a:gd name="connsiteY18" fmla="*/ 323384 h 343858"/>
                <a:gd name="connsiteX19" fmla="*/ 516631 w 608129"/>
                <a:gd name="connsiteY19" fmla="*/ 323384 h 343858"/>
                <a:gd name="connsiteX20" fmla="*/ 525745 w 608129"/>
                <a:gd name="connsiteY20" fmla="*/ 307460 h 343858"/>
                <a:gd name="connsiteX21" fmla="*/ 534859 w 608129"/>
                <a:gd name="connsiteY21" fmla="*/ 283952 h 343858"/>
                <a:gd name="connsiteX22" fmla="*/ 536378 w 608129"/>
                <a:gd name="connsiteY22" fmla="*/ 281677 h 343858"/>
                <a:gd name="connsiteX23" fmla="*/ 584229 w 608129"/>
                <a:gd name="connsiteY23" fmla="*/ 252861 h 343858"/>
                <a:gd name="connsiteX24" fmla="*/ 569798 w 608129"/>
                <a:gd name="connsiteY24" fmla="*/ 252861 h 343858"/>
                <a:gd name="connsiteX25" fmla="*/ 413335 w 608129"/>
                <a:gd name="connsiteY25" fmla="*/ 252861 h 343858"/>
                <a:gd name="connsiteX26" fmla="*/ 401942 w 608129"/>
                <a:gd name="connsiteY26" fmla="*/ 252861 h 343858"/>
                <a:gd name="connsiteX27" fmla="*/ 35850 w 608129"/>
                <a:gd name="connsiteY27" fmla="*/ 252861 h 343858"/>
                <a:gd name="connsiteX28" fmla="*/ 254526 w 608129"/>
                <a:gd name="connsiteY28" fmla="*/ 201295 h 343858"/>
                <a:gd name="connsiteX29" fmla="*/ 257557 w 608129"/>
                <a:gd name="connsiteY29" fmla="*/ 214952 h 343858"/>
                <a:gd name="connsiteX30" fmla="*/ 249221 w 608129"/>
                <a:gd name="connsiteY30" fmla="*/ 227091 h 343858"/>
                <a:gd name="connsiteX31" fmla="*/ 240886 w 608129"/>
                <a:gd name="connsiteY31" fmla="*/ 231644 h 343858"/>
                <a:gd name="connsiteX32" fmla="*/ 235581 w 608129"/>
                <a:gd name="connsiteY32" fmla="*/ 229368 h 343858"/>
                <a:gd name="connsiteX33" fmla="*/ 232550 w 608129"/>
                <a:gd name="connsiteY33" fmla="*/ 215710 h 343858"/>
                <a:gd name="connsiteX34" fmla="*/ 240886 w 608129"/>
                <a:gd name="connsiteY34" fmla="*/ 203571 h 343858"/>
                <a:gd name="connsiteX35" fmla="*/ 254526 w 608129"/>
                <a:gd name="connsiteY35" fmla="*/ 201295 h 343858"/>
                <a:gd name="connsiteX36" fmla="*/ 293998 w 608129"/>
                <a:gd name="connsiteY36" fmla="*/ 199043 h 343858"/>
                <a:gd name="connsiteX37" fmla="*/ 307670 w 608129"/>
                <a:gd name="connsiteY37" fmla="*/ 202827 h 343858"/>
                <a:gd name="connsiteX38" fmla="*/ 314506 w 608129"/>
                <a:gd name="connsiteY38" fmla="*/ 214937 h 343858"/>
                <a:gd name="connsiteX39" fmla="*/ 304632 w 608129"/>
                <a:gd name="connsiteY39" fmla="*/ 222506 h 343858"/>
                <a:gd name="connsiteX40" fmla="*/ 302353 w 608129"/>
                <a:gd name="connsiteY40" fmla="*/ 221749 h 343858"/>
                <a:gd name="connsiteX41" fmla="*/ 288681 w 608129"/>
                <a:gd name="connsiteY41" fmla="*/ 218721 h 343858"/>
                <a:gd name="connsiteX42" fmla="*/ 281845 w 608129"/>
                <a:gd name="connsiteY42" fmla="*/ 205854 h 343858"/>
                <a:gd name="connsiteX43" fmla="*/ 293998 w 608129"/>
                <a:gd name="connsiteY43" fmla="*/ 199043 h 343858"/>
                <a:gd name="connsiteX44" fmla="*/ 113257 w 608129"/>
                <a:gd name="connsiteY44" fmla="*/ 193732 h 343858"/>
                <a:gd name="connsiteX45" fmla="*/ 125378 w 608129"/>
                <a:gd name="connsiteY45" fmla="*/ 201299 h 343858"/>
                <a:gd name="connsiteX46" fmla="*/ 128408 w 608129"/>
                <a:gd name="connsiteY46" fmla="*/ 214920 h 343858"/>
                <a:gd name="connsiteX47" fmla="*/ 120075 w 608129"/>
                <a:gd name="connsiteY47" fmla="*/ 219460 h 343858"/>
                <a:gd name="connsiteX48" fmla="*/ 114773 w 608129"/>
                <a:gd name="connsiteY48" fmla="*/ 217946 h 343858"/>
                <a:gd name="connsiteX49" fmla="*/ 102652 w 608129"/>
                <a:gd name="connsiteY49" fmla="*/ 211136 h 343858"/>
                <a:gd name="connsiteX50" fmla="*/ 99622 w 608129"/>
                <a:gd name="connsiteY50" fmla="*/ 196759 h 343858"/>
                <a:gd name="connsiteX51" fmla="*/ 113257 w 608129"/>
                <a:gd name="connsiteY51" fmla="*/ 193732 h 343858"/>
                <a:gd name="connsiteX52" fmla="*/ 367752 w 608129"/>
                <a:gd name="connsiteY52" fmla="*/ 192974 h 343858"/>
                <a:gd name="connsiteX53" fmla="*/ 380665 w 608129"/>
                <a:gd name="connsiteY53" fmla="*/ 199023 h 343858"/>
                <a:gd name="connsiteX54" fmla="*/ 373829 w 608129"/>
                <a:gd name="connsiteY54" fmla="*/ 211877 h 343858"/>
                <a:gd name="connsiteX55" fmla="*/ 360917 w 608129"/>
                <a:gd name="connsiteY55" fmla="*/ 216414 h 343858"/>
                <a:gd name="connsiteX56" fmla="*/ 357119 w 608129"/>
                <a:gd name="connsiteY56" fmla="*/ 216414 h 343858"/>
                <a:gd name="connsiteX57" fmla="*/ 348004 w 608129"/>
                <a:gd name="connsiteY57" fmla="*/ 209609 h 343858"/>
                <a:gd name="connsiteX58" fmla="*/ 354081 w 608129"/>
                <a:gd name="connsiteY58" fmla="*/ 196755 h 343858"/>
                <a:gd name="connsiteX59" fmla="*/ 473099 w 608129"/>
                <a:gd name="connsiteY59" fmla="*/ 187878 h 343858"/>
                <a:gd name="connsiteX60" fmla="*/ 480904 w 608129"/>
                <a:gd name="connsiteY60" fmla="*/ 189869 h 343858"/>
                <a:gd name="connsiteX61" fmla="*/ 483189 w 608129"/>
                <a:gd name="connsiteY61" fmla="*/ 203526 h 343858"/>
                <a:gd name="connsiteX62" fmla="*/ 475574 w 608129"/>
                <a:gd name="connsiteY62" fmla="*/ 214907 h 343858"/>
                <a:gd name="connsiteX63" fmla="*/ 467198 w 608129"/>
                <a:gd name="connsiteY63" fmla="*/ 219460 h 343858"/>
                <a:gd name="connsiteX64" fmla="*/ 461106 w 608129"/>
                <a:gd name="connsiteY64" fmla="*/ 217942 h 343858"/>
                <a:gd name="connsiteX65" fmla="*/ 458821 w 608129"/>
                <a:gd name="connsiteY65" fmla="*/ 203526 h 343858"/>
                <a:gd name="connsiteX66" fmla="*/ 466436 w 608129"/>
                <a:gd name="connsiteY66" fmla="*/ 192146 h 343858"/>
                <a:gd name="connsiteX67" fmla="*/ 473099 w 608129"/>
                <a:gd name="connsiteY67" fmla="*/ 187878 h 343858"/>
                <a:gd name="connsiteX68" fmla="*/ 410279 w 608129"/>
                <a:gd name="connsiteY68" fmla="*/ 182352 h 343858"/>
                <a:gd name="connsiteX69" fmla="*/ 422434 w 608129"/>
                <a:gd name="connsiteY69" fmla="*/ 189169 h 343858"/>
                <a:gd name="connsiteX70" fmla="*/ 426233 w 608129"/>
                <a:gd name="connsiteY70" fmla="*/ 202805 h 343858"/>
                <a:gd name="connsiteX71" fmla="*/ 418636 w 608129"/>
                <a:gd name="connsiteY71" fmla="*/ 215683 h 343858"/>
                <a:gd name="connsiteX72" fmla="*/ 416356 w 608129"/>
                <a:gd name="connsiteY72" fmla="*/ 215683 h 343858"/>
                <a:gd name="connsiteX73" fmla="*/ 406480 w 608129"/>
                <a:gd name="connsiteY73" fmla="*/ 208108 h 343858"/>
                <a:gd name="connsiteX74" fmla="*/ 402682 w 608129"/>
                <a:gd name="connsiteY74" fmla="*/ 194472 h 343858"/>
                <a:gd name="connsiteX75" fmla="*/ 410279 w 608129"/>
                <a:gd name="connsiteY75" fmla="*/ 182352 h 343858"/>
                <a:gd name="connsiteX76" fmla="*/ 188501 w 608129"/>
                <a:gd name="connsiteY76" fmla="*/ 179282 h 343858"/>
                <a:gd name="connsiteX77" fmla="*/ 202945 w 608129"/>
                <a:gd name="connsiteY77" fmla="*/ 180043 h 343858"/>
                <a:gd name="connsiteX78" fmla="*/ 212067 w 608129"/>
                <a:gd name="connsiteY78" fmla="*/ 191449 h 343858"/>
                <a:gd name="connsiteX79" fmla="*/ 202185 w 608129"/>
                <a:gd name="connsiteY79" fmla="*/ 200575 h 343858"/>
                <a:gd name="connsiteX80" fmla="*/ 201424 w 608129"/>
                <a:gd name="connsiteY80" fmla="*/ 200575 h 343858"/>
                <a:gd name="connsiteX81" fmla="*/ 186981 w 608129"/>
                <a:gd name="connsiteY81" fmla="*/ 199814 h 343858"/>
                <a:gd name="connsiteX82" fmla="*/ 177859 w 608129"/>
                <a:gd name="connsiteY82" fmla="*/ 188408 h 343858"/>
                <a:gd name="connsiteX83" fmla="*/ 188501 w 608129"/>
                <a:gd name="connsiteY83" fmla="*/ 179282 h 343858"/>
                <a:gd name="connsiteX84" fmla="*/ 160344 w 608129"/>
                <a:gd name="connsiteY84" fmla="*/ 165596 h 343858"/>
                <a:gd name="connsiteX85" fmla="*/ 163375 w 608129"/>
                <a:gd name="connsiteY85" fmla="*/ 180011 h 343858"/>
                <a:gd name="connsiteX86" fmla="*/ 155797 w 608129"/>
                <a:gd name="connsiteY86" fmla="*/ 191392 h 343858"/>
                <a:gd name="connsiteX87" fmla="*/ 147461 w 608129"/>
                <a:gd name="connsiteY87" fmla="*/ 195945 h 343858"/>
                <a:gd name="connsiteX88" fmla="*/ 141399 w 608129"/>
                <a:gd name="connsiteY88" fmla="*/ 194427 h 343858"/>
                <a:gd name="connsiteX89" fmla="*/ 139126 w 608129"/>
                <a:gd name="connsiteY89" fmla="*/ 180011 h 343858"/>
                <a:gd name="connsiteX90" fmla="*/ 146704 w 608129"/>
                <a:gd name="connsiteY90" fmla="*/ 168631 h 343858"/>
                <a:gd name="connsiteX91" fmla="*/ 160344 w 608129"/>
                <a:gd name="connsiteY91" fmla="*/ 165596 h 343858"/>
                <a:gd name="connsiteX92" fmla="*/ 338113 w 608129"/>
                <a:gd name="connsiteY92" fmla="*/ 164888 h 343858"/>
                <a:gd name="connsiteX93" fmla="*/ 352554 w 608129"/>
                <a:gd name="connsiteY93" fmla="*/ 164888 h 343858"/>
                <a:gd name="connsiteX94" fmla="*/ 352554 w 608129"/>
                <a:gd name="connsiteY94" fmla="*/ 179285 h 343858"/>
                <a:gd name="connsiteX95" fmla="*/ 342673 w 608129"/>
                <a:gd name="connsiteY95" fmla="*/ 189137 h 343858"/>
                <a:gd name="connsiteX96" fmla="*/ 335073 w 608129"/>
                <a:gd name="connsiteY96" fmla="*/ 192168 h 343858"/>
                <a:gd name="connsiteX97" fmla="*/ 328232 w 608129"/>
                <a:gd name="connsiteY97" fmla="*/ 189137 h 343858"/>
                <a:gd name="connsiteX98" fmla="*/ 328232 w 608129"/>
                <a:gd name="connsiteY98" fmla="*/ 174739 h 343858"/>
                <a:gd name="connsiteX99" fmla="*/ 438352 w 608129"/>
                <a:gd name="connsiteY99" fmla="*/ 163394 h 343858"/>
                <a:gd name="connsiteX100" fmla="*/ 449715 w 608129"/>
                <a:gd name="connsiteY100" fmla="*/ 170961 h 343858"/>
                <a:gd name="connsiteX101" fmla="*/ 453502 w 608129"/>
                <a:gd name="connsiteY101" fmla="*/ 184582 h 343858"/>
                <a:gd name="connsiteX102" fmla="*/ 444412 w 608129"/>
                <a:gd name="connsiteY102" fmla="*/ 189122 h 343858"/>
                <a:gd name="connsiteX103" fmla="*/ 439110 w 608129"/>
                <a:gd name="connsiteY103" fmla="*/ 187608 h 343858"/>
                <a:gd name="connsiteX104" fmla="*/ 427747 w 608129"/>
                <a:gd name="connsiteY104" fmla="*/ 180798 h 343858"/>
                <a:gd name="connsiteX105" fmla="*/ 423959 w 608129"/>
                <a:gd name="connsiteY105" fmla="*/ 166421 h 343858"/>
                <a:gd name="connsiteX106" fmla="*/ 438352 w 608129"/>
                <a:gd name="connsiteY106" fmla="*/ 163394 h 343858"/>
                <a:gd name="connsiteX107" fmla="*/ 237851 w 608129"/>
                <a:gd name="connsiteY107" fmla="*/ 158043 h 343858"/>
                <a:gd name="connsiteX108" fmla="*/ 249244 w 608129"/>
                <a:gd name="connsiteY108" fmla="*/ 165635 h 343858"/>
                <a:gd name="connsiteX109" fmla="*/ 253042 w 608129"/>
                <a:gd name="connsiteY109" fmla="*/ 179300 h 343858"/>
                <a:gd name="connsiteX110" fmla="*/ 243927 w 608129"/>
                <a:gd name="connsiteY110" fmla="*/ 184614 h 343858"/>
                <a:gd name="connsiteX111" fmla="*/ 238610 w 608129"/>
                <a:gd name="connsiteY111" fmla="*/ 183095 h 343858"/>
                <a:gd name="connsiteX112" fmla="*/ 227217 w 608129"/>
                <a:gd name="connsiteY112" fmla="*/ 175504 h 343858"/>
                <a:gd name="connsiteX113" fmla="*/ 223419 w 608129"/>
                <a:gd name="connsiteY113" fmla="*/ 161839 h 343858"/>
                <a:gd name="connsiteX114" fmla="*/ 237851 w 608129"/>
                <a:gd name="connsiteY114" fmla="*/ 158043 h 343858"/>
                <a:gd name="connsiteX115" fmla="*/ 285637 w 608129"/>
                <a:gd name="connsiteY115" fmla="*/ 155767 h 343858"/>
                <a:gd name="connsiteX116" fmla="*/ 299320 w 608129"/>
                <a:gd name="connsiteY116" fmla="*/ 156528 h 343858"/>
                <a:gd name="connsiteX117" fmla="*/ 308442 w 608129"/>
                <a:gd name="connsiteY117" fmla="*/ 167174 h 343858"/>
                <a:gd name="connsiteX118" fmla="*/ 298560 w 608129"/>
                <a:gd name="connsiteY118" fmla="*/ 177060 h 343858"/>
                <a:gd name="connsiteX119" fmla="*/ 297799 w 608129"/>
                <a:gd name="connsiteY119" fmla="*/ 177060 h 343858"/>
                <a:gd name="connsiteX120" fmla="*/ 284116 w 608129"/>
                <a:gd name="connsiteY120" fmla="*/ 175539 h 343858"/>
                <a:gd name="connsiteX121" fmla="*/ 274234 w 608129"/>
                <a:gd name="connsiteY121" fmla="*/ 164893 h 343858"/>
                <a:gd name="connsiteX122" fmla="*/ 285637 w 608129"/>
                <a:gd name="connsiteY122" fmla="*/ 155767 h 343858"/>
                <a:gd name="connsiteX123" fmla="*/ 374580 w 608129"/>
                <a:gd name="connsiteY123" fmla="*/ 140655 h 343858"/>
                <a:gd name="connsiteX124" fmla="*/ 388263 w 608129"/>
                <a:gd name="connsiteY124" fmla="*/ 141411 h 343858"/>
                <a:gd name="connsiteX125" fmla="*/ 398145 w 608129"/>
                <a:gd name="connsiteY125" fmla="*/ 152755 h 343858"/>
                <a:gd name="connsiteX126" fmla="*/ 387503 w 608129"/>
                <a:gd name="connsiteY126" fmla="*/ 161830 h 343858"/>
                <a:gd name="connsiteX127" fmla="*/ 386742 w 608129"/>
                <a:gd name="connsiteY127" fmla="*/ 161830 h 343858"/>
                <a:gd name="connsiteX128" fmla="*/ 373059 w 608129"/>
                <a:gd name="connsiteY128" fmla="*/ 160317 h 343858"/>
                <a:gd name="connsiteX129" fmla="*/ 363937 w 608129"/>
                <a:gd name="connsiteY129" fmla="*/ 149730 h 343858"/>
                <a:gd name="connsiteX130" fmla="*/ 374580 w 608129"/>
                <a:gd name="connsiteY130" fmla="*/ 140655 h 343858"/>
                <a:gd name="connsiteX131" fmla="*/ 363206 w 608129"/>
                <a:gd name="connsiteY131" fmla="*/ 133808 h 343858"/>
                <a:gd name="connsiteX132" fmla="*/ 362447 w 608129"/>
                <a:gd name="connsiteY132" fmla="*/ 134566 h 343858"/>
                <a:gd name="connsiteX133" fmla="*/ 360168 w 608129"/>
                <a:gd name="connsiteY133" fmla="*/ 139874 h 343858"/>
                <a:gd name="connsiteX134" fmla="*/ 344218 w 608129"/>
                <a:gd name="connsiteY134" fmla="*/ 156557 h 343858"/>
                <a:gd name="connsiteX135" fmla="*/ 341939 w 608129"/>
                <a:gd name="connsiteY135" fmla="*/ 157315 h 343858"/>
                <a:gd name="connsiteX136" fmla="*/ 338142 w 608129"/>
                <a:gd name="connsiteY136" fmla="*/ 158832 h 343858"/>
                <a:gd name="connsiteX137" fmla="*/ 335104 w 608129"/>
                <a:gd name="connsiteY137" fmla="*/ 160348 h 343858"/>
                <a:gd name="connsiteX138" fmla="*/ 332066 w 608129"/>
                <a:gd name="connsiteY138" fmla="*/ 161107 h 343858"/>
                <a:gd name="connsiteX139" fmla="*/ 324470 w 608129"/>
                <a:gd name="connsiteY139" fmla="*/ 161865 h 343858"/>
                <a:gd name="connsiteX140" fmla="*/ 317634 w 608129"/>
                <a:gd name="connsiteY140" fmla="*/ 161107 h 343858"/>
                <a:gd name="connsiteX141" fmla="*/ 314596 w 608129"/>
                <a:gd name="connsiteY141" fmla="*/ 160348 h 343858"/>
                <a:gd name="connsiteX142" fmla="*/ 310799 w 608129"/>
                <a:gd name="connsiteY142" fmla="*/ 158832 h 343858"/>
                <a:gd name="connsiteX143" fmla="*/ 307761 w 608129"/>
                <a:gd name="connsiteY143" fmla="*/ 158073 h 343858"/>
                <a:gd name="connsiteX144" fmla="*/ 304723 w 608129"/>
                <a:gd name="connsiteY144" fmla="*/ 156557 h 343858"/>
                <a:gd name="connsiteX145" fmla="*/ 297887 w 608129"/>
                <a:gd name="connsiteY145" fmla="*/ 151249 h 343858"/>
                <a:gd name="connsiteX146" fmla="*/ 297127 w 608129"/>
                <a:gd name="connsiteY146" fmla="*/ 150490 h 343858"/>
                <a:gd name="connsiteX147" fmla="*/ 294089 w 608129"/>
                <a:gd name="connsiteY147" fmla="*/ 147457 h 343858"/>
                <a:gd name="connsiteX148" fmla="*/ 292570 w 608129"/>
                <a:gd name="connsiteY148" fmla="*/ 145941 h 343858"/>
                <a:gd name="connsiteX149" fmla="*/ 289532 w 608129"/>
                <a:gd name="connsiteY149" fmla="*/ 142149 h 343858"/>
                <a:gd name="connsiteX150" fmla="*/ 289532 w 608129"/>
                <a:gd name="connsiteY150" fmla="*/ 140633 h 343858"/>
                <a:gd name="connsiteX151" fmla="*/ 287253 w 608129"/>
                <a:gd name="connsiteY151" fmla="*/ 136083 h 343858"/>
                <a:gd name="connsiteX152" fmla="*/ 237125 w 608129"/>
                <a:gd name="connsiteY152" fmla="*/ 141391 h 343858"/>
                <a:gd name="connsiteX153" fmla="*/ 215098 w 608129"/>
                <a:gd name="connsiteY153" fmla="*/ 165657 h 343858"/>
                <a:gd name="connsiteX154" fmla="*/ 214339 w 608129"/>
                <a:gd name="connsiteY154" fmla="*/ 166415 h 343858"/>
                <a:gd name="connsiteX155" fmla="*/ 212060 w 608129"/>
                <a:gd name="connsiteY155" fmla="*/ 168690 h 343858"/>
                <a:gd name="connsiteX156" fmla="*/ 211301 w 608129"/>
                <a:gd name="connsiteY156" fmla="*/ 168690 h 343858"/>
                <a:gd name="connsiteX157" fmla="*/ 209022 w 608129"/>
                <a:gd name="connsiteY157" fmla="*/ 170206 h 343858"/>
                <a:gd name="connsiteX158" fmla="*/ 207503 w 608129"/>
                <a:gd name="connsiteY158" fmla="*/ 170965 h 343858"/>
                <a:gd name="connsiteX159" fmla="*/ 205224 w 608129"/>
                <a:gd name="connsiteY159" fmla="*/ 171723 h 343858"/>
                <a:gd name="connsiteX160" fmla="*/ 203705 w 608129"/>
                <a:gd name="connsiteY160" fmla="*/ 171723 h 343858"/>
                <a:gd name="connsiteX161" fmla="*/ 202186 w 608129"/>
                <a:gd name="connsiteY161" fmla="*/ 171723 h 343858"/>
                <a:gd name="connsiteX162" fmla="*/ 201427 w 608129"/>
                <a:gd name="connsiteY162" fmla="*/ 171723 h 343858"/>
                <a:gd name="connsiteX163" fmla="*/ 199148 w 608129"/>
                <a:gd name="connsiteY163" fmla="*/ 171723 h 343858"/>
                <a:gd name="connsiteX164" fmla="*/ 198389 w 608129"/>
                <a:gd name="connsiteY164" fmla="*/ 171723 h 343858"/>
                <a:gd name="connsiteX165" fmla="*/ 191553 w 608129"/>
                <a:gd name="connsiteY165" fmla="*/ 169448 h 343858"/>
                <a:gd name="connsiteX166" fmla="*/ 188515 w 608129"/>
                <a:gd name="connsiteY166" fmla="*/ 167173 h 343858"/>
                <a:gd name="connsiteX167" fmla="*/ 178641 w 608129"/>
                <a:gd name="connsiteY167" fmla="*/ 158073 h 343858"/>
                <a:gd name="connsiteX168" fmla="*/ 176362 w 608129"/>
                <a:gd name="connsiteY168" fmla="*/ 155040 h 343858"/>
                <a:gd name="connsiteX169" fmla="*/ 175603 w 608129"/>
                <a:gd name="connsiteY169" fmla="*/ 154282 h 343858"/>
                <a:gd name="connsiteX170" fmla="*/ 174084 w 608129"/>
                <a:gd name="connsiteY170" fmla="*/ 152007 h 343858"/>
                <a:gd name="connsiteX171" fmla="*/ 142943 w 608129"/>
                <a:gd name="connsiteY171" fmla="*/ 159590 h 343858"/>
                <a:gd name="connsiteX172" fmla="*/ 136107 w 608129"/>
                <a:gd name="connsiteY172" fmla="*/ 171723 h 343858"/>
                <a:gd name="connsiteX173" fmla="*/ 135348 w 608129"/>
                <a:gd name="connsiteY173" fmla="*/ 173998 h 343858"/>
                <a:gd name="connsiteX174" fmla="*/ 134588 w 608129"/>
                <a:gd name="connsiteY174" fmla="*/ 174756 h 343858"/>
                <a:gd name="connsiteX175" fmla="*/ 133069 w 608129"/>
                <a:gd name="connsiteY175" fmla="*/ 175514 h 343858"/>
                <a:gd name="connsiteX176" fmla="*/ 131550 w 608129"/>
                <a:gd name="connsiteY176" fmla="*/ 177789 h 343858"/>
                <a:gd name="connsiteX177" fmla="*/ 130791 w 608129"/>
                <a:gd name="connsiteY177" fmla="*/ 177789 h 343858"/>
                <a:gd name="connsiteX178" fmla="*/ 124715 w 608129"/>
                <a:gd name="connsiteY178" fmla="*/ 181581 h 343858"/>
                <a:gd name="connsiteX179" fmla="*/ 119398 w 608129"/>
                <a:gd name="connsiteY179" fmla="*/ 182339 h 343858"/>
                <a:gd name="connsiteX180" fmla="*/ 118638 w 608129"/>
                <a:gd name="connsiteY180" fmla="*/ 182339 h 343858"/>
                <a:gd name="connsiteX181" fmla="*/ 117879 w 608129"/>
                <a:gd name="connsiteY181" fmla="*/ 182339 h 343858"/>
                <a:gd name="connsiteX182" fmla="*/ 114841 w 608129"/>
                <a:gd name="connsiteY182" fmla="*/ 182339 h 343858"/>
                <a:gd name="connsiteX183" fmla="*/ 113322 w 608129"/>
                <a:gd name="connsiteY183" fmla="*/ 181581 h 343858"/>
                <a:gd name="connsiteX184" fmla="*/ 109524 w 608129"/>
                <a:gd name="connsiteY184" fmla="*/ 180064 h 343858"/>
                <a:gd name="connsiteX185" fmla="*/ 108764 w 608129"/>
                <a:gd name="connsiteY185" fmla="*/ 180064 h 343858"/>
                <a:gd name="connsiteX186" fmla="*/ 99650 w 608129"/>
                <a:gd name="connsiteY186" fmla="*/ 175514 h 343858"/>
                <a:gd name="connsiteX187" fmla="*/ 92814 w 608129"/>
                <a:gd name="connsiteY187" fmla="*/ 189922 h 343858"/>
                <a:gd name="connsiteX188" fmla="*/ 71548 w 608129"/>
                <a:gd name="connsiteY188" fmla="*/ 202813 h 343858"/>
                <a:gd name="connsiteX189" fmla="*/ 70029 w 608129"/>
                <a:gd name="connsiteY189" fmla="*/ 214188 h 343858"/>
                <a:gd name="connsiteX190" fmla="*/ 61674 w 608129"/>
                <a:gd name="connsiteY190" fmla="*/ 225562 h 343858"/>
                <a:gd name="connsiteX191" fmla="*/ 51800 w 608129"/>
                <a:gd name="connsiteY191" fmla="*/ 232387 h 343858"/>
                <a:gd name="connsiteX192" fmla="*/ 159653 w 608129"/>
                <a:gd name="connsiteY192" fmla="*/ 232387 h 343858"/>
                <a:gd name="connsiteX193" fmla="*/ 158134 w 608129"/>
                <a:gd name="connsiteY193" fmla="*/ 224804 h 343858"/>
                <a:gd name="connsiteX194" fmla="*/ 159653 w 608129"/>
                <a:gd name="connsiteY194" fmla="*/ 211155 h 343858"/>
                <a:gd name="connsiteX195" fmla="*/ 171046 w 608129"/>
                <a:gd name="connsiteY195" fmla="*/ 202813 h 343858"/>
                <a:gd name="connsiteX196" fmla="*/ 179401 w 608129"/>
                <a:gd name="connsiteY196" fmla="*/ 213430 h 343858"/>
                <a:gd name="connsiteX197" fmla="*/ 177881 w 608129"/>
                <a:gd name="connsiteY197" fmla="*/ 227837 h 343858"/>
                <a:gd name="connsiteX198" fmla="*/ 175603 w 608129"/>
                <a:gd name="connsiteY198" fmla="*/ 232387 h 343858"/>
                <a:gd name="connsiteX199" fmla="*/ 402702 w 608129"/>
                <a:gd name="connsiteY199" fmla="*/ 232387 h 343858"/>
                <a:gd name="connsiteX200" fmla="*/ 537897 w 608129"/>
                <a:gd name="connsiteY200" fmla="*/ 232387 h 343858"/>
                <a:gd name="connsiteX201" fmla="*/ 528783 w 608129"/>
                <a:gd name="connsiteY201" fmla="*/ 208880 h 343858"/>
                <a:gd name="connsiteX202" fmla="*/ 528783 w 608129"/>
                <a:gd name="connsiteY202" fmla="*/ 205847 h 343858"/>
                <a:gd name="connsiteX203" fmla="*/ 519669 w 608129"/>
                <a:gd name="connsiteY203" fmla="*/ 196747 h 343858"/>
                <a:gd name="connsiteX204" fmla="*/ 512833 w 608129"/>
                <a:gd name="connsiteY204" fmla="*/ 196747 h 343858"/>
                <a:gd name="connsiteX205" fmla="*/ 501440 w 608129"/>
                <a:gd name="connsiteY205" fmla="*/ 186131 h 343858"/>
                <a:gd name="connsiteX206" fmla="*/ 492326 w 608129"/>
                <a:gd name="connsiteY206" fmla="*/ 177789 h 343858"/>
                <a:gd name="connsiteX207" fmla="*/ 472578 w 608129"/>
                <a:gd name="connsiteY207" fmla="*/ 162623 h 343858"/>
                <a:gd name="connsiteX208" fmla="*/ 463464 w 608129"/>
                <a:gd name="connsiteY208" fmla="*/ 150490 h 343858"/>
                <a:gd name="connsiteX209" fmla="*/ 458907 w 608129"/>
                <a:gd name="connsiteY209" fmla="*/ 152765 h 343858"/>
                <a:gd name="connsiteX210" fmla="*/ 429285 w 608129"/>
                <a:gd name="connsiteY210" fmla="*/ 161107 h 343858"/>
                <a:gd name="connsiteX211" fmla="*/ 424728 w 608129"/>
                <a:gd name="connsiteY211" fmla="*/ 161865 h 343858"/>
                <a:gd name="connsiteX212" fmla="*/ 423968 w 608129"/>
                <a:gd name="connsiteY212" fmla="*/ 161865 h 343858"/>
                <a:gd name="connsiteX213" fmla="*/ 423209 w 608129"/>
                <a:gd name="connsiteY213" fmla="*/ 161865 h 343858"/>
                <a:gd name="connsiteX214" fmla="*/ 420171 w 608129"/>
                <a:gd name="connsiteY214" fmla="*/ 161107 h 343858"/>
                <a:gd name="connsiteX215" fmla="*/ 418652 w 608129"/>
                <a:gd name="connsiteY215" fmla="*/ 161107 h 343858"/>
                <a:gd name="connsiteX216" fmla="*/ 414094 w 608129"/>
                <a:gd name="connsiteY216" fmla="*/ 159590 h 343858"/>
                <a:gd name="connsiteX217" fmla="*/ 407259 w 608129"/>
                <a:gd name="connsiteY217" fmla="*/ 152765 h 343858"/>
                <a:gd name="connsiteX218" fmla="*/ 404221 w 608129"/>
                <a:gd name="connsiteY218" fmla="*/ 147457 h 343858"/>
                <a:gd name="connsiteX219" fmla="*/ 401182 w 608129"/>
                <a:gd name="connsiteY219" fmla="*/ 135324 h 343858"/>
                <a:gd name="connsiteX220" fmla="*/ 363206 w 608129"/>
                <a:gd name="connsiteY220" fmla="*/ 133808 h 343858"/>
                <a:gd name="connsiteX221" fmla="*/ 105726 w 608129"/>
                <a:gd name="connsiteY221" fmla="*/ 121675 h 343858"/>
                <a:gd name="connsiteX222" fmla="*/ 91295 w 608129"/>
                <a:gd name="connsiteY222" fmla="*/ 148216 h 343858"/>
                <a:gd name="connsiteX223" fmla="*/ 117119 w 608129"/>
                <a:gd name="connsiteY223" fmla="*/ 161865 h 343858"/>
                <a:gd name="connsiteX224" fmla="*/ 118638 w 608129"/>
                <a:gd name="connsiteY224" fmla="*/ 162623 h 343858"/>
                <a:gd name="connsiteX225" fmla="*/ 132310 w 608129"/>
                <a:gd name="connsiteY225" fmla="*/ 135324 h 343858"/>
                <a:gd name="connsiteX226" fmla="*/ 445235 w 608129"/>
                <a:gd name="connsiteY226" fmla="*/ 104234 h 343858"/>
                <a:gd name="connsiteX227" fmla="*/ 415614 w 608129"/>
                <a:gd name="connsiteY227" fmla="*/ 112575 h 343858"/>
                <a:gd name="connsiteX228" fmla="*/ 423968 w 608129"/>
                <a:gd name="connsiteY228" fmla="*/ 141391 h 343858"/>
                <a:gd name="connsiteX229" fmla="*/ 453590 w 608129"/>
                <a:gd name="connsiteY229" fmla="*/ 133049 h 343858"/>
                <a:gd name="connsiteX230" fmla="*/ 324470 w 608129"/>
                <a:gd name="connsiteY230" fmla="*/ 101201 h 343858"/>
                <a:gd name="connsiteX231" fmla="*/ 303963 w 608129"/>
                <a:gd name="connsiteY231" fmla="*/ 121675 h 343858"/>
                <a:gd name="connsiteX232" fmla="*/ 304723 w 608129"/>
                <a:gd name="connsiteY232" fmla="*/ 123192 h 343858"/>
                <a:gd name="connsiteX233" fmla="*/ 304723 w 608129"/>
                <a:gd name="connsiteY233" fmla="*/ 123950 h 343858"/>
                <a:gd name="connsiteX234" fmla="*/ 311558 w 608129"/>
                <a:gd name="connsiteY234" fmla="*/ 136841 h 343858"/>
                <a:gd name="connsiteX235" fmla="*/ 313837 w 608129"/>
                <a:gd name="connsiteY235" fmla="*/ 138358 h 343858"/>
                <a:gd name="connsiteX236" fmla="*/ 314596 w 608129"/>
                <a:gd name="connsiteY236" fmla="*/ 139116 h 343858"/>
                <a:gd name="connsiteX237" fmla="*/ 317634 w 608129"/>
                <a:gd name="connsiteY237" fmla="*/ 139874 h 343858"/>
                <a:gd name="connsiteX238" fmla="*/ 318394 w 608129"/>
                <a:gd name="connsiteY238" fmla="*/ 140633 h 343858"/>
                <a:gd name="connsiteX239" fmla="*/ 320673 w 608129"/>
                <a:gd name="connsiteY239" fmla="*/ 141391 h 343858"/>
                <a:gd name="connsiteX240" fmla="*/ 324470 w 608129"/>
                <a:gd name="connsiteY240" fmla="*/ 141391 h 343858"/>
                <a:gd name="connsiteX241" fmla="*/ 328268 w 608129"/>
                <a:gd name="connsiteY241" fmla="*/ 141391 h 343858"/>
                <a:gd name="connsiteX242" fmla="*/ 329787 w 608129"/>
                <a:gd name="connsiteY242" fmla="*/ 140633 h 343858"/>
                <a:gd name="connsiteX243" fmla="*/ 332066 w 608129"/>
                <a:gd name="connsiteY243" fmla="*/ 139874 h 343858"/>
                <a:gd name="connsiteX244" fmla="*/ 333585 w 608129"/>
                <a:gd name="connsiteY244" fmla="*/ 139116 h 343858"/>
                <a:gd name="connsiteX245" fmla="*/ 335863 w 608129"/>
                <a:gd name="connsiteY245" fmla="*/ 138358 h 343858"/>
                <a:gd name="connsiteX246" fmla="*/ 337382 w 608129"/>
                <a:gd name="connsiteY246" fmla="*/ 136841 h 343858"/>
                <a:gd name="connsiteX247" fmla="*/ 338142 w 608129"/>
                <a:gd name="connsiteY247" fmla="*/ 136083 h 343858"/>
                <a:gd name="connsiteX248" fmla="*/ 340420 w 608129"/>
                <a:gd name="connsiteY248" fmla="*/ 133808 h 343858"/>
                <a:gd name="connsiteX249" fmla="*/ 340420 w 608129"/>
                <a:gd name="connsiteY249" fmla="*/ 133049 h 343858"/>
                <a:gd name="connsiteX250" fmla="*/ 344218 w 608129"/>
                <a:gd name="connsiteY250" fmla="*/ 123192 h 343858"/>
                <a:gd name="connsiteX251" fmla="*/ 344977 w 608129"/>
                <a:gd name="connsiteY251" fmla="*/ 120917 h 343858"/>
                <a:gd name="connsiteX252" fmla="*/ 324470 w 608129"/>
                <a:gd name="connsiteY252" fmla="*/ 101201 h 343858"/>
                <a:gd name="connsiteX253" fmla="*/ 234086 w 608129"/>
                <a:gd name="connsiteY253" fmla="*/ 98926 h 343858"/>
                <a:gd name="connsiteX254" fmla="*/ 193832 w 608129"/>
                <a:gd name="connsiteY254" fmla="*/ 144424 h 343858"/>
                <a:gd name="connsiteX255" fmla="*/ 201427 w 608129"/>
                <a:gd name="connsiteY255" fmla="*/ 151249 h 343858"/>
                <a:gd name="connsiteX256" fmla="*/ 227251 w 608129"/>
                <a:gd name="connsiteY256" fmla="*/ 121675 h 343858"/>
                <a:gd name="connsiteX257" fmla="*/ 241682 w 608129"/>
                <a:gd name="connsiteY257" fmla="*/ 105751 h 343858"/>
                <a:gd name="connsiteX258" fmla="*/ 233042 w 608129"/>
                <a:gd name="connsiteY258" fmla="*/ 78357 h 343858"/>
                <a:gd name="connsiteX259" fmla="*/ 246239 w 608129"/>
                <a:gd name="connsiteY259" fmla="*/ 83001 h 343858"/>
                <a:gd name="connsiteX260" fmla="*/ 256872 w 608129"/>
                <a:gd name="connsiteY260" fmla="*/ 92101 h 343858"/>
                <a:gd name="connsiteX261" fmla="*/ 257632 w 608129"/>
                <a:gd name="connsiteY261" fmla="*/ 118642 h 343858"/>
                <a:gd name="connsiteX262" fmla="*/ 284215 w 608129"/>
                <a:gd name="connsiteY262" fmla="*/ 116367 h 343858"/>
                <a:gd name="connsiteX263" fmla="*/ 324470 w 608129"/>
                <a:gd name="connsiteY263" fmla="*/ 80727 h 343858"/>
                <a:gd name="connsiteX264" fmla="*/ 363966 w 608129"/>
                <a:gd name="connsiteY264" fmla="*/ 114092 h 343858"/>
                <a:gd name="connsiteX265" fmla="*/ 395866 w 608129"/>
                <a:gd name="connsiteY265" fmla="*/ 114850 h 343858"/>
                <a:gd name="connsiteX266" fmla="*/ 398144 w 608129"/>
                <a:gd name="connsiteY266" fmla="*/ 102717 h 343858"/>
                <a:gd name="connsiteX267" fmla="*/ 410297 w 608129"/>
                <a:gd name="connsiteY267" fmla="*/ 92859 h 343858"/>
                <a:gd name="connsiteX268" fmla="*/ 439159 w 608129"/>
                <a:gd name="connsiteY268" fmla="*/ 84518 h 343858"/>
                <a:gd name="connsiteX269" fmla="*/ 454349 w 608129"/>
                <a:gd name="connsiteY269" fmla="*/ 86035 h 343858"/>
                <a:gd name="connsiteX270" fmla="*/ 464223 w 608129"/>
                <a:gd name="connsiteY270" fmla="*/ 98168 h 343858"/>
                <a:gd name="connsiteX271" fmla="*/ 472578 w 608129"/>
                <a:gd name="connsiteY271" fmla="*/ 127741 h 343858"/>
                <a:gd name="connsiteX272" fmla="*/ 473338 w 608129"/>
                <a:gd name="connsiteY272" fmla="*/ 132291 h 343858"/>
                <a:gd name="connsiteX273" fmla="*/ 492326 w 608129"/>
                <a:gd name="connsiteY273" fmla="*/ 157315 h 343858"/>
                <a:gd name="connsiteX274" fmla="*/ 519669 w 608129"/>
                <a:gd name="connsiteY274" fmla="*/ 176273 h 343858"/>
                <a:gd name="connsiteX275" fmla="*/ 524226 w 608129"/>
                <a:gd name="connsiteY275" fmla="*/ 177031 h 343858"/>
                <a:gd name="connsiteX276" fmla="*/ 547771 w 608129"/>
                <a:gd name="connsiteY276" fmla="*/ 199780 h 343858"/>
                <a:gd name="connsiteX277" fmla="*/ 548531 w 608129"/>
                <a:gd name="connsiteY277" fmla="*/ 210396 h 343858"/>
                <a:gd name="connsiteX278" fmla="*/ 553848 w 608129"/>
                <a:gd name="connsiteY278" fmla="*/ 219496 h 343858"/>
                <a:gd name="connsiteX279" fmla="*/ 564481 w 608129"/>
                <a:gd name="connsiteY279" fmla="*/ 232387 h 343858"/>
                <a:gd name="connsiteX280" fmla="*/ 588786 w 608129"/>
                <a:gd name="connsiteY280" fmla="*/ 232387 h 343858"/>
                <a:gd name="connsiteX281" fmla="*/ 606255 w 608129"/>
                <a:gd name="connsiteY281" fmla="*/ 243003 h 343858"/>
                <a:gd name="connsiteX282" fmla="*/ 604736 w 608129"/>
                <a:gd name="connsiteY282" fmla="*/ 263478 h 343858"/>
                <a:gd name="connsiteX283" fmla="*/ 603217 w 608129"/>
                <a:gd name="connsiteY283" fmla="*/ 264994 h 343858"/>
                <a:gd name="connsiteX284" fmla="*/ 550809 w 608129"/>
                <a:gd name="connsiteY284" fmla="*/ 296843 h 343858"/>
                <a:gd name="connsiteX285" fmla="*/ 544733 w 608129"/>
                <a:gd name="connsiteY285" fmla="*/ 312768 h 343858"/>
                <a:gd name="connsiteX286" fmla="*/ 516631 w 608129"/>
                <a:gd name="connsiteY286" fmla="*/ 343858 h 343858"/>
                <a:gd name="connsiteX287" fmla="*/ 91295 w 608129"/>
                <a:gd name="connsiteY287" fmla="*/ 343858 h 343858"/>
                <a:gd name="connsiteX288" fmla="*/ 63952 w 608129"/>
                <a:gd name="connsiteY288" fmla="*/ 312768 h 343858"/>
                <a:gd name="connsiteX289" fmla="*/ 57876 w 608129"/>
                <a:gd name="connsiteY289" fmla="*/ 296843 h 343858"/>
                <a:gd name="connsiteX290" fmla="*/ 4709 w 608129"/>
                <a:gd name="connsiteY290" fmla="*/ 264994 h 343858"/>
                <a:gd name="connsiteX291" fmla="*/ 3950 w 608129"/>
                <a:gd name="connsiteY291" fmla="*/ 263478 h 343858"/>
                <a:gd name="connsiteX292" fmla="*/ 2431 w 608129"/>
                <a:gd name="connsiteY292" fmla="*/ 243003 h 343858"/>
                <a:gd name="connsiteX293" fmla="*/ 19900 w 608129"/>
                <a:gd name="connsiteY293" fmla="*/ 232387 h 343858"/>
                <a:gd name="connsiteX294" fmla="*/ 31293 w 608129"/>
                <a:gd name="connsiteY294" fmla="*/ 232387 h 343858"/>
                <a:gd name="connsiteX295" fmla="*/ 49521 w 608129"/>
                <a:gd name="connsiteY295" fmla="*/ 208880 h 343858"/>
                <a:gd name="connsiteX296" fmla="*/ 57117 w 608129"/>
                <a:gd name="connsiteY296" fmla="*/ 187647 h 343858"/>
                <a:gd name="connsiteX297" fmla="*/ 68510 w 608129"/>
                <a:gd name="connsiteY297" fmla="*/ 182339 h 343858"/>
                <a:gd name="connsiteX298" fmla="*/ 76864 w 608129"/>
                <a:gd name="connsiteY298" fmla="*/ 177031 h 343858"/>
                <a:gd name="connsiteX299" fmla="*/ 79902 w 608129"/>
                <a:gd name="connsiteY299" fmla="*/ 167931 h 343858"/>
                <a:gd name="connsiteX300" fmla="*/ 79902 w 608129"/>
                <a:gd name="connsiteY300" fmla="*/ 164140 h 343858"/>
                <a:gd name="connsiteX301" fmla="*/ 73826 w 608129"/>
                <a:gd name="connsiteY301" fmla="*/ 139116 h 343858"/>
                <a:gd name="connsiteX302" fmla="*/ 87498 w 608129"/>
                <a:gd name="connsiteY302" fmla="*/ 111817 h 343858"/>
                <a:gd name="connsiteX303" fmla="*/ 99650 w 608129"/>
                <a:gd name="connsiteY303" fmla="*/ 101959 h 343858"/>
                <a:gd name="connsiteX304" fmla="*/ 114841 w 608129"/>
                <a:gd name="connsiteY304" fmla="*/ 103476 h 343858"/>
                <a:gd name="connsiteX305" fmla="*/ 142184 w 608129"/>
                <a:gd name="connsiteY305" fmla="*/ 117125 h 343858"/>
                <a:gd name="connsiteX306" fmla="*/ 152058 w 608129"/>
                <a:gd name="connsiteY306" fmla="*/ 129258 h 343858"/>
                <a:gd name="connsiteX307" fmla="*/ 152817 w 608129"/>
                <a:gd name="connsiteY307" fmla="*/ 136083 h 343858"/>
                <a:gd name="connsiteX308" fmla="*/ 178641 w 608129"/>
                <a:gd name="connsiteY308" fmla="*/ 130016 h 343858"/>
                <a:gd name="connsiteX309" fmla="*/ 220415 w 608129"/>
                <a:gd name="connsiteY309" fmla="*/ 84518 h 343858"/>
                <a:gd name="connsiteX310" fmla="*/ 233042 w 608129"/>
                <a:gd name="connsiteY310" fmla="*/ 78357 h 343858"/>
                <a:gd name="connsiteX311" fmla="*/ 162582 w 608129"/>
                <a:gd name="connsiteY311" fmla="*/ 60954 h 343858"/>
                <a:gd name="connsiteX312" fmla="*/ 142076 w 608129"/>
                <a:gd name="connsiteY312" fmla="*/ 80671 h 343858"/>
                <a:gd name="connsiteX313" fmla="*/ 162582 w 608129"/>
                <a:gd name="connsiteY313" fmla="*/ 101147 h 343858"/>
                <a:gd name="connsiteX314" fmla="*/ 182329 w 608129"/>
                <a:gd name="connsiteY314" fmla="*/ 80671 h 343858"/>
                <a:gd name="connsiteX315" fmla="*/ 162582 w 608129"/>
                <a:gd name="connsiteY315" fmla="*/ 60954 h 343858"/>
                <a:gd name="connsiteX316" fmla="*/ 162582 w 608129"/>
                <a:gd name="connsiteY316" fmla="*/ 40478 h 343858"/>
                <a:gd name="connsiteX317" fmla="*/ 202836 w 608129"/>
                <a:gd name="connsiteY317" fmla="*/ 80671 h 343858"/>
                <a:gd name="connsiteX318" fmla="*/ 162582 w 608129"/>
                <a:gd name="connsiteY318" fmla="*/ 121623 h 343858"/>
                <a:gd name="connsiteX319" fmla="*/ 121569 w 608129"/>
                <a:gd name="connsiteY319" fmla="*/ 80671 h 343858"/>
                <a:gd name="connsiteX320" fmla="*/ 162582 w 608129"/>
                <a:gd name="connsiteY320" fmla="*/ 40478 h 343858"/>
                <a:gd name="connsiteX321" fmla="*/ 285697 w 608129"/>
                <a:gd name="connsiteY321" fmla="*/ 32920 h 343858"/>
                <a:gd name="connsiteX322" fmla="*/ 256860 w 608129"/>
                <a:gd name="connsiteY322" fmla="*/ 41258 h 343858"/>
                <a:gd name="connsiteX323" fmla="*/ 265208 w 608129"/>
                <a:gd name="connsiteY323" fmla="*/ 70819 h 343858"/>
                <a:gd name="connsiteX324" fmla="*/ 294045 w 608129"/>
                <a:gd name="connsiteY324" fmla="*/ 62481 h 343858"/>
                <a:gd name="connsiteX325" fmla="*/ 364659 w 608129"/>
                <a:gd name="connsiteY325" fmla="*/ 20767 h 343858"/>
                <a:gd name="connsiteX326" fmla="*/ 355552 w 608129"/>
                <a:gd name="connsiteY326" fmla="*/ 23799 h 343858"/>
                <a:gd name="connsiteX327" fmla="*/ 376044 w 608129"/>
                <a:gd name="connsiteY327" fmla="*/ 81416 h 343858"/>
                <a:gd name="connsiteX328" fmla="*/ 385910 w 608129"/>
                <a:gd name="connsiteY328" fmla="*/ 77625 h 343858"/>
                <a:gd name="connsiteX329" fmla="*/ 280385 w 608129"/>
                <a:gd name="connsiteY329" fmla="*/ 13971 h 343858"/>
                <a:gd name="connsiteX330" fmla="*/ 295563 w 608129"/>
                <a:gd name="connsiteY330" fmla="*/ 15487 h 343858"/>
                <a:gd name="connsiteX331" fmla="*/ 305428 w 608129"/>
                <a:gd name="connsiteY331" fmla="*/ 27614 h 343858"/>
                <a:gd name="connsiteX332" fmla="*/ 313776 w 608129"/>
                <a:gd name="connsiteY332" fmla="*/ 57176 h 343858"/>
                <a:gd name="connsiteX333" fmla="*/ 311500 w 608129"/>
                <a:gd name="connsiteY333" fmla="*/ 72335 h 343858"/>
                <a:gd name="connsiteX334" fmla="*/ 299357 w 608129"/>
                <a:gd name="connsiteY334" fmla="*/ 82189 h 343858"/>
                <a:gd name="connsiteX335" fmla="*/ 270520 w 608129"/>
                <a:gd name="connsiteY335" fmla="*/ 90527 h 343858"/>
                <a:gd name="connsiteX336" fmla="*/ 265208 w 608129"/>
                <a:gd name="connsiteY336" fmla="*/ 91285 h 343858"/>
                <a:gd name="connsiteX337" fmla="*/ 255342 w 608129"/>
                <a:gd name="connsiteY337" fmla="*/ 88253 h 343858"/>
                <a:gd name="connsiteX338" fmla="*/ 245477 w 608129"/>
                <a:gd name="connsiteY338" fmla="*/ 76125 h 343858"/>
                <a:gd name="connsiteX339" fmla="*/ 237129 w 608129"/>
                <a:gd name="connsiteY339" fmla="*/ 47322 h 343858"/>
                <a:gd name="connsiteX340" fmla="*/ 238647 w 608129"/>
                <a:gd name="connsiteY340" fmla="*/ 32162 h 343858"/>
                <a:gd name="connsiteX341" fmla="*/ 250789 w 608129"/>
                <a:gd name="connsiteY341" fmla="*/ 22309 h 343858"/>
                <a:gd name="connsiteX342" fmla="*/ 359347 w 608129"/>
                <a:gd name="connsiteY342" fmla="*/ 1056 h 343858"/>
                <a:gd name="connsiteX343" fmla="*/ 373767 w 608129"/>
                <a:gd name="connsiteY343" fmla="*/ 1814 h 343858"/>
                <a:gd name="connsiteX344" fmla="*/ 383633 w 608129"/>
                <a:gd name="connsiteY344" fmla="*/ 12428 h 343858"/>
                <a:gd name="connsiteX345" fmla="*/ 404884 w 608129"/>
                <a:gd name="connsiteY345" fmla="*/ 72318 h 343858"/>
                <a:gd name="connsiteX346" fmla="*/ 404884 w 608129"/>
                <a:gd name="connsiteY346" fmla="*/ 86723 h 343858"/>
                <a:gd name="connsiteX347" fmla="*/ 394259 w 608129"/>
                <a:gd name="connsiteY347" fmla="*/ 95820 h 343858"/>
                <a:gd name="connsiteX348" fmla="*/ 381356 w 608129"/>
                <a:gd name="connsiteY348" fmla="*/ 100369 h 343858"/>
                <a:gd name="connsiteX349" fmla="*/ 375285 w 608129"/>
                <a:gd name="connsiteY349" fmla="*/ 101885 h 343858"/>
                <a:gd name="connsiteX350" fmla="*/ 367695 w 608129"/>
                <a:gd name="connsiteY350" fmla="*/ 100369 h 343858"/>
                <a:gd name="connsiteX351" fmla="*/ 357829 w 608129"/>
                <a:gd name="connsiteY351" fmla="*/ 89755 h 343858"/>
                <a:gd name="connsiteX352" fmla="*/ 335819 w 608129"/>
                <a:gd name="connsiteY352" fmla="*/ 29864 h 343858"/>
                <a:gd name="connsiteX353" fmla="*/ 336578 w 608129"/>
                <a:gd name="connsiteY353" fmla="*/ 15460 h 343858"/>
                <a:gd name="connsiteX354" fmla="*/ 347203 w 608129"/>
                <a:gd name="connsiteY354" fmla="*/ 5605 h 34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</a:cxnLst>
              <a:rect l="l" t="t" r="r" b="b"/>
              <a:pathLst>
                <a:path w="72860" h="102345">
                  <a:moveTo>
                    <a:pt x="25046" y="1516"/>
                  </a:moveTo>
                  <a:cubicBezTo>
                    <a:pt x="29599" y="0"/>
                    <a:pt x="34912" y="0"/>
                    <a:pt x="39466" y="2274"/>
                  </a:cubicBezTo>
                  <a:cubicBezTo>
                    <a:pt x="44020" y="4548"/>
                    <a:pt x="47055" y="8339"/>
                    <a:pt x="49332" y="12888"/>
                  </a:cubicBezTo>
                  <a:lnTo>
                    <a:pt x="70583" y="72778"/>
                  </a:lnTo>
                  <a:cubicBezTo>
                    <a:pt x="72860" y="77327"/>
                    <a:pt x="72101" y="82634"/>
                    <a:pt x="70583" y="87183"/>
                  </a:cubicBezTo>
                  <a:cubicBezTo>
                    <a:pt x="68306" y="91731"/>
                    <a:pt x="64511" y="94764"/>
                    <a:pt x="59958" y="96280"/>
                  </a:cubicBezTo>
                  <a:lnTo>
                    <a:pt x="47055" y="100829"/>
                  </a:lnTo>
                  <a:cubicBezTo>
                    <a:pt x="45537" y="101587"/>
                    <a:pt x="43261" y="102345"/>
                    <a:pt x="40984" y="102345"/>
                  </a:cubicBezTo>
                  <a:cubicBezTo>
                    <a:pt x="37948" y="102345"/>
                    <a:pt x="35671" y="101587"/>
                    <a:pt x="33394" y="100829"/>
                  </a:cubicBezTo>
                  <a:cubicBezTo>
                    <a:pt x="28840" y="98554"/>
                    <a:pt x="25046" y="94764"/>
                    <a:pt x="23528" y="90215"/>
                  </a:cubicBezTo>
                  <a:lnTo>
                    <a:pt x="1518" y="30324"/>
                  </a:lnTo>
                  <a:cubicBezTo>
                    <a:pt x="0" y="25017"/>
                    <a:pt x="0" y="20469"/>
                    <a:pt x="2277" y="15920"/>
                  </a:cubicBezTo>
                  <a:cubicBezTo>
                    <a:pt x="4554" y="11371"/>
                    <a:pt x="7590" y="7581"/>
                    <a:pt x="12902" y="6065"/>
                  </a:cubicBezTo>
                </a:path>
              </a:pathLst>
            </a:custGeom>
            <a:noFill/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zh-CN" altLang="en-US">
                <a:gradFill flip="none" rotWithShape="1">
                  <a:gsLst>
                    <a:gs pos="89000">
                      <a:schemeClr val="bg1"/>
                    </a:gs>
                    <a:gs pos="0">
                      <a:schemeClr val="accent2"/>
                    </a:gs>
                  </a:gsLst>
                  <a:lin ang="13500000" scaled="1"/>
                  <a:tileRect/>
                </a:gradFill>
              </a:endParaRPr>
            </a:p>
          </p:txBody>
        </p:sp>
        <p:sp>
          <p:nvSpPr>
            <p:cNvPr id="208" name="任意多边形: 形状 207"/>
            <p:cNvSpPr>
              <a:spLocks/>
            </p:cNvSpPr>
            <p:nvPr userDrawn="1"/>
          </p:nvSpPr>
          <p:spPr bwMode="auto">
            <a:xfrm rot="3028759" flipH="1">
              <a:off x="3216575" y="3527271"/>
              <a:ext cx="45719" cy="64402"/>
            </a:xfrm>
            <a:custGeom>
              <a:avLst/>
              <a:gdLst>
                <a:gd name="connsiteX0" fmla="*/ 193001 w 608129"/>
                <a:gd name="connsiteY0" fmla="*/ 283182 h 343858"/>
                <a:gd name="connsiteX1" fmla="*/ 506699 w 608129"/>
                <a:gd name="connsiteY1" fmla="*/ 283182 h 343858"/>
                <a:gd name="connsiteX2" fmla="*/ 516573 w 608129"/>
                <a:gd name="connsiteY2" fmla="*/ 293038 h 343858"/>
                <a:gd name="connsiteX3" fmla="*/ 506699 w 608129"/>
                <a:gd name="connsiteY3" fmla="*/ 303651 h 343858"/>
                <a:gd name="connsiteX4" fmla="*/ 193001 w 608129"/>
                <a:gd name="connsiteY4" fmla="*/ 303651 h 343858"/>
                <a:gd name="connsiteX5" fmla="*/ 182367 w 608129"/>
                <a:gd name="connsiteY5" fmla="*/ 293038 h 343858"/>
                <a:gd name="connsiteX6" fmla="*/ 193001 w 608129"/>
                <a:gd name="connsiteY6" fmla="*/ 283182 h 343858"/>
                <a:gd name="connsiteX7" fmla="*/ 101866 w 608129"/>
                <a:gd name="connsiteY7" fmla="*/ 283182 h 343858"/>
                <a:gd name="connsiteX8" fmla="*/ 142885 w 608129"/>
                <a:gd name="connsiteY8" fmla="*/ 283182 h 343858"/>
                <a:gd name="connsiteX9" fmla="*/ 152760 w 608129"/>
                <a:gd name="connsiteY9" fmla="*/ 293038 h 343858"/>
                <a:gd name="connsiteX10" fmla="*/ 142885 w 608129"/>
                <a:gd name="connsiteY10" fmla="*/ 303651 h 343858"/>
                <a:gd name="connsiteX11" fmla="*/ 101866 w 608129"/>
                <a:gd name="connsiteY11" fmla="*/ 303651 h 343858"/>
                <a:gd name="connsiteX12" fmla="*/ 91231 w 608129"/>
                <a:gd name="connsiteY12" fmla="*/ 293038 h 343858"/>
                <a:gd name="connsiteX13" fmla="*/ 101866 w 608129"/>
                <a:gd name="connsiteY13" fmla="*/ 283182 h 343858"/>
                <a:gd name="connsiteX14" fmla="*/ 23697 w 608129"/>
                <a:gd name="connsiteY14" fmla="*/ 252861 h 343858"/>
                <a:gd name="connsiteX15" fmla="*/ 72307 w 608129"/>
                <a:gd name="connsiteY15" fmla="*/ 281677 h 343858"/>
                <a:gd name="connsiteX16" fmla="*/ 73826 w 608129"/>
                <a:gd name="connsiteY16" fmla="*/ 283952 h 343858"/>
                <a:gd name="connsiteX17" fmla="*/ 82941 w 608129"/>
                <a:gd name="connsiteY17" fmla="*/ 307460 h 343858"/>
                <a:gd name="connsiteX18" fmla="*/ 91295 w 608129"/>
                <a:gd name="connsiteY18" fmla="*/ 323384 h 343858"/>
                <a:gd name="connsiteX19" fmla="*/ 516631 w 608129"/>
                <a:gd name="connsiteY19" fmla="*/ 323384 h 343858"/>
                <a:gd name="connsiteX20" fmla="*/ 525745 w 608129"/>
                <a:gd name="connsiteY20" fmla="*/ 307460 h 343858"/>
                <a:gd name="connsiteX21" fmla="*/ 534859 w 608129"/>
                <a:gd name="connsiteY21" fmla="*/ 283952 h 343858"/>
                <a:gd name="connsiteX22" fmla="*/ 536378 w 608129"/>
                <a:gd name="connsiteY22" fmla="*/ 281677 h 343858"/>
                <a:gd name="connsiteX23" fmla="*/ 584229 w 608129"/>
                <a:gd name="connsiteY23" fmla="*/ 252861 h 343858"/>
                <a:gd name="connsiteX24" fmla="*/ 569798 w 608129"/>
                <a:gd name="connsiteY24" fmla="*/ 252861 h 343858"/>
                <a:gd name="connsiteX25" fmla="*/ 413335 w 608129"/>
                <a:gd name="connsiteY25" fmla="*/ 252861 h 343858"/>
                <a:gd name="connsiteX26" fmla="*/ 401942 w 608129"/>
                <a:gd name="connsiteY26" fmla="*/ 252861 h 343858"/>
                <a:gd name="connsiteX27" fmla="*/ 35850 w 608129"/>
                <a:gd name="connsiteY27" fmla="*/ 252861 h 343858"/>
                <a:gd name="connsiteX28" fmla="*/ 254526 w 608129"/>
                <a:gd name="connsiteY28" fmla="*/ 201295 h 343858"/>
                <a:gd name="connsiteX29" fmla="*/ 257557 w 608129"/>
                <a:gd name="connsiteY29" fmla="*/ 214952 h 343858"/>
                <a:gd name="connsiteX30" fmla="*/ 249221 w 608129"/>
                <a:gd name="connsiteY30" fmla="*/ 227091 h 343858"/>
                <a:gd name="connsiteX31" fmla="*/ 240886 w 608129"/>
                <a:gd name="connsiteY31" fmla="*/ 231644 h 343858"/>
                <a:gd name="connsiteX32" fmla="*/ 235581 w 608129"/>
                <a:gd name="connsiteY32" fmla="*/ 229368 h 343858"/>
                <a:gd name="connsiteX33" fmla="*/ 232550 w 608129"/>
                <a:gd name="connsiteY33" fmla="*/ 215710 h 343858"/>
                <a:gd name="connsiteX34" fmla="*/ 240886 w 608129"/>
                <a:gd name="connsiteY34" fmla="*/ 203571 h 343858"/>
                <a:gd name="connsiteX35" fmla="*/ 254526 w 608129"/>
                <a:gd name="connsiteY35" fmla="*/ 201295 h 343858"/>
                <a:gd name="connsiteX36" fmla="*/ 293998 w 608129"/>
                <a:gd name="connsiteY36" fmla="*/ 199043 h 343858"/>
                <a:gd name="connsiteX37" fmla="*/ 307670 w 608129"/>
                <a:gd name="connsiteY37" fmla="*/ 202827 h 343858"/>
                <a:gd name="connsiteX38" fmla="*/ 314506 w 608129"/>
                <a:gd name="connsiteY38" fmla="*/ 214937 h 343858"/>
                <a:gd name="connsiteX39" fmla="*/ 304632 w 608129"/>
                <a:gd name="connsiteY39" fmla="*/ 222506 h 343858"/>
                <a:gd name="connsiteX40" fmla="*/ 302353 w 608129"/>
                <a:gd name="connsiteY40" fmla="*/ 221749 h 343858"/>
                <a:gd name="connsiteX41" fmla="*/ 288681 w 608129"/>
                <a:gd name="connsiteY41" fmla="*/ 218721 h 343858"/>
                <a:gd name="connsiteX42" fmla="*/ 281845 w 608129"/>
                <a:gd name="connsiteY42" fmla="*/ 205854 h 343858"/>
                <a:gd name="connsiteX43" fmla="*/ 293998 w 608129"/>
                <a:gd name="connsiteY43" fmla="*/ 199043 h 343858"/>
                <a:gd name="connsiteX44" fmla="*/ 113257 w 608129"/>
                <a:gd name="connsiteY44" fmla="*/ 193732 h 343858"/>
                <a:gd name="connsiteX45" fmla="*/ 125378 w 608129"/>
                <a:gd name="connsiteY45" fmla="*/ 201299 h 343858"/>
                <a:gd name="connsiteX46" fmla="*/ 128408 w 608129"/>
                <a:gd name="connsiteY46" fmla="*/ 214920 h 343858"/>
                <a:gd name="connsiteX47" fmla="*/ 120075 w 608129"/>
                <a:gd name="connsiteY47" fmla="*/ 219460 h 343858"/>
                <a:gd name="connsiteX48" fmla="*/ 114773 w 608129"/>
                <a:gd name="connsiteY48" fmla="*/ 217946 h 343858"/>
                <a:gd name="connsiteX49" fmla="*/ 102652 w 608129"/>
                <a:gd name="connsiteY49" fmla="*/ 211136 h 343858"/>
                <a:gd name="connsiteX50" fmla="*/ 99622 w 608129"/>
                <a:gd name="connsiteY50" fmla="*/ 196759 h 343858"/>
                <a:gd name="connsiteX51" fmla="*/ 113257 w 608129"/>
                <a:gd name="connsiteY51" fmla="*/ 193732 h 343858"/>
                <a:gd name="connsiteX52" fmla="*/ 367752 w 608129"/>
                <a:gd name="connsiteY52" fmla="*/ 192974 h 343858"/>
                <a:gd name="connsiteX53" fmla="*/ 380665 w 608129"/>
                <a:gd name="connsiteY53" fmla="*/ 199023 h 343858"/>
                <a:gd name="connsiteX54" fmla="*/ 373829 w 608129"/>
                <a:gd name="connsiteY54" fmla="*/ 211877 h 343858"/>
                <a:gd name="connsiteX55" fmla="*/ 360917 w 608129"/>
                <a:gd name="connsiteY55" fmla="*/ 216414 h 343858"/>
                <a:gd name="connsiteX56" fmla="*/ 357119 w 608129"/>
                <a:gd name="connsiteY56" fmla="*/ 216414 h 343858"/>
                <a:gd name="connsiteX57" fmla="*/ 348004 w 608129"/>
                <a:gd name="connsiteY57" fmla="*/ 209609 h 343858"/>
                <a:gd name="connsiteX58" fmla="*/ 354081 w 608129"/>
                <a:gd name="connsiteY58" fmla="*/ 196755 h 343858"/>
                <a:gd name="connsiteX59" fmla="*/ 473099 w 608129"/>
                <a:gd name="connsiteY59" fmla="*/ 187878 h 343858"/>
                <a:gd name="connsiteX60" fmla="*/ 480904 w 608129"/>
                <a:gd name="connsiteY60" fmla="*/ 189869 h 343858"/>
                <a:gd name="connsiteX61" fmla="*/ 483189 w 608129"/>
                <a:gd name="connsiteY61" fmla="*/ 203526 h 343858"/>
                <a:gd name="connsiteX62" fmla="*/ 475574 w 608129"/>
                <a:gd name="connsiteY62" fmla="*/ 214907 h 343858"/>
                <a:gd name="connsiteX63" fmla="*/ 467198 w 608129"/>
                <a:gd name="connsiteY63" fmla="*/ 219460 h 343858"/>
                <a:gd name="connsiteX64" fmla="*/ 461106 w 608129"/>
                <a:gd name="connsiteY64" fmla="*/ 217942 h 343858"/>
                <a:gd name="connsiteX65" fmla="*/ 458821 w 608129"/>
                <a:gd name="connsiteY65" fmla="*/ 203526 h 343858"/>
                <a:gd name="connsiteX66" fmla="*/ 466436 w 608129"/>
                <a:gd name="connsiteY66" fmla="*/ 192146 h 343858"/>
                <a:gd name="connsiteX67" fmla="*/ 473099 w 608129"/>
                <a:gd name="connsiteY67" fmla="*/ 187878 h 343858"/>
                <a:gd name="connsiteX68" fmla="*/ 410279 w 608129"/>
                <a:gd name="connsiteY68" fmla="*/ 182352 h 343858"/>
                <a:gd name="connsiteX69" fmla="*/ 422434 w 608129"/>
                <a:gd name="connsiteY69" fmla="*/ 189169 h 343858"/>
                <a:gd name="connsiteX70" fmla="*/ 426233 w 608129"/>
                <a:gd name="connsiteY70" fmla="*/ 202805 h 343858"/>
                <a:gd name="connsiteX71" fmla="*/ 418636 w 608129"/>
                <a:gd name="connsiteY71" fmla="*/ 215683 h 343858"/>
                <a:gd name="connsiteX72" fmla="*/ 416356 w 608129"/>
                <a:gd name="connsiteY72" fmla="*/ 215683 h 343858"/>
                <a:gd name="connsiteX73" fmla="*/ 406480 w 608129"/>
                <a:gd name="connsiteY73" fmla="*/ 208108 h 343858"/>
                <a:gd name="connsiteX74" fmla="*/ 402682 w 608129"/>
                <a:gd name="connsiteY74" fmla="*/ 194472 h 343858"/>
                <a:gd name="connsiteX75" fmla="*/ 410279 w 608129"/>
                <a:gd name="connsiteY75" fmla="*/ 182352 h 343858"/>
                <a:gd name="connsiteX76" fmla="*/ 188501 w 608129"/>
                <a:gd name="connsiteY76" fmla="*/ 179282 h 343858"/>
                <a:gd name="connsiteX77" fmla="*/ 202945 w 608129"/>
                <a:gd name="connsiteY77" fmla="*/ 180043 h 343858"/>
                <a:gd name="connsiteX78" fmla="*/ 212067 w 608129"/>
                <a:gd name="connsiteY78" fmla="*/ 191449 h 343858"/>
                <a:gd name="connsiteX79" fmla="*/ 202185 w 608129"/>
                <a:gd name="connsiteY79" fmla="*/ 200575 h 343858"/>
                <a:gd name="connsiteX80" fmla="*/ 201424 w 608129"/>
                <a:gd name="connsiteY80" fmla="*/ 200575 h 343858"/>
                <a:gd name="connsiteX81" fmla="*/ 186981 w 608129"/>
                <a:gd name="connsiteY81" fmla="*/ 199814 h 343858"/>
                <a:gd name="connsiteX82" fmla="*/ 177859 w 608129"/>
                <a:gd name="connsiteY82" fmla="*/ 188408 h 343858"/>
                <a:gd name="connsiteX83" fmla="*/ 188501 w 608129"/>
                <a:gd name="connsiteY83" fmla="*/ 179282 h 343858"/>
                <a:gd name="connsiteX84" fmla="*/ 160344 w 608129"/>
                <a:gd name="connsiteY84" fmla="*/ 165596 h 343858"/>
                <a:gd name="connsiteX85" fmla="*/ 163375 w 608129"/>
                <a:gd name="connsiteY85" fmla="*/ 180011 h 343858"/>
                <a:gd name="connsiteX86" fmla="*/ 155797 w 608129"/>
                <a:gd name="connsiteY86" fmla="*/ 191392 h 343858"/>
                <a:gd name="connsiteX87" fmla="*/ 147461 w 608129"/>
                <a:gd name="connsiteY87" fmla="*/ 195945 h 343858"/>
                <a:gd name="connsiteX88" fmla="*/ 141399 w 608129"/>
                <a:gd name="connsiteY88" fmla="*/ 194427 h 343858"/>
                <a:gd name="connsiteX89" fmla="*/ 139126 w 608129"/>
                <a:gd name="connsiteY89" fmla="*/ 180011 h 343858"/>
                <a:gd name="connsiteX90" fmla="*/ 146704 w 608129"/>
                <a:gd name="connsiteY90" fmla="*/ 168631 h 343858"/>
                <a:gd name="connsiteX91" fmla="*/ 160344 w 608129"/>
                <a:gd name="connsiteY91" fmla="*/ 165596 h 343858"/>
                <a:gd name="connsiteX92" fmla="*/ 338113 w 608129"/>
                <a:gd name="connsiteY92" fmla="*/ 164888 h 343858"/>
                <a:gd name="connsiteX93" fmla="*/ 352554 w 608129"/>
                <a:gd name="connsiteY93" fmla="*/ 164888 h 343858"/>
                <a:gd name="connsiteX94" fmla="*/ 352554 w 608129"/>
                <a:gd name="connsiteY94" fmla="*/ 179285 h 343858"/>
                <a:gd name="connsiteX95" fmla="*/ 342673 w 608129"/>
                <a:gd name="connsiteY95" fmla="*/ 189137 h 343858"/>
                <a:gd name="connsiteX96" fmla="*/ 335073 w 608129"/>
                <a:gd name="connsiteY96" fmla="*/ 192168 h 343858"/>
                <a:gd name="connsiteX97" fmla="*/ 328232 w 608129"/>
                <a:gd name="connsiteY97" fmla="*/ 189137 h 343858"/>
                <a:gd name="connsiteX98" fmla="*/ 328232 w 608129"/>
                <a:gd name="connsiteY98" fmla="*/ 174739 h 343858"/>
                <a:gd name="connsiteX99" fmla="*/ 438352 w 608129"/>
                <a:gd name="connsiteY99" fmla="*/ 163394 h 343858"/>
                <a:gd name="connsiteX100" fmla="*/ 449715 w 608129"/>
                <a:gd name="connsiteY100" fmla="*/ 170961 h 343858"/>
                <a:gd name="connsiteX101" fmla="*/ 453502 w 608129"/>
                <a:gd name="connsiteY101" fmla="*/ 184582 h 343858"/>
                <a:gd name="connsiteX102" fmla="*/ 444412 w 608129"/>
                <a:gd name="connsiteY102" fmla="*/ 189122 h 343858"/>
                <a:gd name="connsiteX103" fmla="*/ 439110 w 608129"/>
                <a:gd name="connsiteY103" fmla="*/ 187608 h 343858"/>
                <a:gd name="connsiteX104" fmla="*/ 427747 w 608129"/>
                <a:gd name="connsiteY104" fmla="*/ 180798 h 343858"/>
                <a:gd name="connsiteX105" fmla="*/ 423959 w 608129"/>
                <a:gd name="connsiteY105" fmla="*/ 166421 h 343858"/>
                <a:gd name="connsiteX106" fmla="*/ 438352 w 608129"/>
                <a:gd name="connsiteY106" fmla="*/ 163394 h 343858"/>
                <a:gd name="connsiteX107" fmla="*/ 237851 w 608129"/>
                <a:gd name="connsiteY107" fmla="*/ 158043 h 343858"/>
                <a:gd name="connsiteX108" fmla="*/ 249244 w 608129"/>
                <a:gd name="connsiteY108" fmla="*/ 165635 h 343858"/>
                <a:gd name="connsiteX109" fmla="*/ 253042 w 608129"/>
                <a:gd name="connsiteY109" fmla="*/ 179300 h 343858"/>
                <a:gd name="connsiteX110" fmla="*/ 243927 w 608129"/>
                <a:gd name="connsiteY110" fmla="*/ 184614 h 343858"/>
                <a:gd name="connsiteX111" fmla="*/ 238610 w 608129"/>
                <a:gd name="connsiteY111" fmla="*/ 183095 h 343858"/>
                <a:gd name="connsiteX112" fmla="*/ 227217 w 608129"/>
                <a:gd name="connsiteY112" fmla="*/ 175504 h 343858"/>
                <a:gd name="connsiteX113" fmla="*/ 223419 w 608129"/>
                <a:gd name="connsiteY113" fmla="*/ 161839 h 343858"/>
                <a:gd name="connsiteX114" fmla="*/ 237851 w 608129"/>
                <a:gd name="connsiteY114" fmla="*/ 158043 h 343858"/>
                <a:gd name="connsiteX115" fmla="*/ 285637 w 608129"/>
                <a:gd name="connsiteY115" fmla="*/ 155767 h 343858"/>
                <a:gd name="connsiteX116" fmla="*/ 299320 w 608129"/>
                <a:gd name="connsiteY116" fmla="*/ 156528 h 343858"/>
                <a:gd name="connsiteX117" fmla="*/ 308442 w 608129"/>
                <a:gd name="connsiteY117" fmla="*/ 167174 h 343858"/>
                <a:gd name="connsiteX118" fmla="*/ 298560 w 608129"/>
                <a:gd name="connsiteY118" fmla="*/ 177060 h 343858"/>
                <a:gd name="connsiteX119" fmla="*/ 297799 w 608129"/>
                <a:gd name="connsiteY119" fmla="*/ 177060 h 343858"/>
                <a:gd name="connsiteX120" fmla="*/ 284116 w 608129"/>
                <a:gd name="connsiteY120" fmla="*/ 175539 h 343858"/>
                <a:gd name="connsiteX121" fmla="*/ 274234 w 608129"/>
                <a:gd name="connsiteY121" fmla="*/ 164893 h 343858"/>
                <a:gd name="connsiteX122" fmla="*/ 285637 w 608129"/>
                <a:gd name="connsiteY122" fmla="*/ 155767 h 343858"/>
                <a:gd name="connsiteX123" fmla="*/ 374580 w 608129"/>
                <a:gd name="connsiteY123" fmla="*/ 140655 h 343858"/>
                <a:gd name="connsiteX124" fmla="*/ 388263 w 608129"/>
                <a:gd name="connsiteY124" fmla="*/ 141411 h 343858"/>
                <a:gd name="connsiteX125" fmla="*/ 398145 w 608129"/>
                <a:gd name="connsiteY125" fmla="*/ 152755 h 343858"/>
                <a:gd name="connsiteX126" fmla="*/ 387503 w 608129"/>
                <a:gd name="connsiteY126" fmla="*/ 161830 h 343858"/>
                <a:gd name="connsiteX127" fmla="*/ 386742 w 608129"/>
                <a:gd name="connsiteY127" fmla="*/ 161830 h 343858"/>
                <a:gd name="connsiteX128" fmla="*/ 373059 w 608129"/>
                <a:gd name="connsiteY128" fmla="*/ 160317 h 343858"/>
                <a:gd name="connsiteX129" fmla="*/ 363937 w 608129"/>
                <a:gd name="connsiteY129" fmla="*/ 149730 h 343858"/>
                <a:gd name="connsiteX130" fmla="*/ 374580 w 608129"/>
                <a:gd name="connsiteY130" fmla="*/ 140655 h 343858"/>
                <a:gd name="connsiteX131" fmla="*/ 363206 w 608129"/>
                <a:gd name="connsiteY131" fmla="*/ 133808 h 343858"/>
                <a:gd name="connsiteX132" fmla="*/ 362447 w 608129"/>
                <a:gd name="connsiteY132" fmla="*/ 134566 h 343858"/>
                <a:gd name="connsiteX133" fmla="*/ 360168 w 608129"/>
                <a:gd name="connsiteY133" fmla="*/ 139874 h 343858"/>
                <a:gd name="connsiteX134" fmla="*/ 344218 w 608129"/>
                <a:gd name="connsiteY134" fmla="*/ 156557 h 343858"/>
                <a:gd name="connsiteX135" fmla="*/ 341939 w 608129"/>
                <a:gd name="connsiteY135" fmla="*/ 157315 h 343858"/>
                <a:gd name="connsiteX136" fmla="*/ 338142 w 608129"/>
                <a:gd name="connsiteY136" fmla="*/ 158832 h 343858"/>
                <a:gd name="connsiteX137" fmla="*/ 335104 w 608129"/>
                <a:gd name="connsiteY137" fmla="*/ 160348 h 343858"/>
                <a:gd name="connsiteX138" fmla="*/ 332066 w 608129"/>
                <a:gd name="connsiteY138" fmla="*/ 161107 h 343858"/>
                <a:gd name="connsiteX139" fmla="*/ 324470 w 608129"/>
                <a:gd name="connsiteY139" fmla="*/ 161865 h 343858"/>
                <a:gd name="connsiteX140" fmla="*/ 317634 w 608129"/>
                <a:gd name="connsiteY140" fmla="*/ 161107 h 343858"/>
                <a:gd name="connsiteX141" fmla="*/ 314596 w 608129"/>
                <a:gd name="connsiteY141" fmla="*/ 160348 h 343858"/>
                <a:gd name="connsiteX142" fmla="*/ 310799 w 608129"/>
                <a:gd name="connsiteY142" fmla="*/ 158832 h 343858"/>
                <a:gd name="connsiteX143" fmla="*/ 307761 w 608129"/>
                <a:gd name="connsiteY143" fmla="*/ 158073 h 343858"/>
                <a:gd name="connsiteX144" fmla="*/ 304723 w 608129"/>
                <a:gd name="connsiteY144" fmla="*/ 156557 h 343858"/>
                <a:gd name="connsiteX145" fmla="*/ 297887 w 608129"/>
                <a:gd name="connsiteY145" fmla="*/ 151249 h 343858"/>
                <a:gd name="connsiteX146" fmla="*/ 297127 w 608129"/>
                <a:gd name="connsiteY146" fmla="*/ 150490 h 343858"/>
                <a:gd name="connsiteX147" fmla="*/ 294089 w 608129"/>
                <a:gd name="connsiteY147" fmla="*/ 147457 h 343858"/>
                <a:gd name="connsiteX148" fmla="*/ 292570 w 608129"/>
                <a:gd name="connsiteY148" fmla="*/ 145941 h 343858"/>
                <a:gd name="connsiteX149" fmla="*/ 289532 w 608129"/>
                <a:gd name="connsiteY149" fmla="*/ 142149 h 343858"/>
                <a:gd name="connsiteX150" fmla="*/ 289532 w 608129"/>
                <a:gd name="connsiteY150" fmla="*/ 140633 h 343858"/>
                <a:gd name="connsiteX151" fmla="*/ 287253 w 608129"/>
                <a:gd name="connsiteY151" fmla="*/ 136083 h 343858"/>
                <a:gd name="connsiteX152" fmla="*/ 237125 w 608129"/>
                <a:gd name="connsiteY152" fmla="*/ 141391 h 343858"/>
                <a:gd name="connsiteX153" fmla="*/ 215098 w 608129"/>
                <a:gd name="connsiteY153" fmla="*/ 165657 h 343858"/>
                <a:gd name="connsiteX154" fmla="*/ 214339 w 608129"/>
                <a:gd name="connsiteY154" fmla="*/ 166415 h 343858"/>
                <a:gd name="connsiteX155" fmla="*/ 212060 w 608129"/>
                <a:gd name="connsiteY155" fmla="*/ 168690 h 343858"/>
                <a:gd name="connsiteX156" fmla="*/ 211301 w 608129"/>
                <a:gd name="connsiteY156" fmla="*/ 168690 h 343858"/>
                <a:gd name="connsiteX157" fmla="*/ 209022 w 608129"/>
                <a:gd name="connsiteY157" fmla="*/ 170206 h 343858"/>
                <a:gd name="connsiteX158" fmla="*/ 207503 w 608129"/>
                <a:gd name="connsiteY158" fmla="*/ 170965 h 343858"/>
                <a:gd name="connsiteX159" fmla="*/ 205224 w 608129"/>
                <a:gd name="connsiteY159" fmla="*/ 171723 h 343858"/>
                <a:gd name="connsiteX160" fmla="*/ 203705 w 608129"/>
                <a:gd name="connsiteY160" fmla="*/ 171723 h 343858"/>
                <a:gd name="connsiteX161" fmla="*/ 202186 w 608129"/>
                <a:gd name="connsiteY161" fmla="*/ 171723 h 343858"/>
                <a:gd name="connsiteX162" fmla="*/ 201427 w 608129"/>
                <a:gd name="connsiteY162" fmla="*/ 171723 h 343858"/>
                <a:gd name="connsiteX163" fmla="*/ 199148 w 608129"/>
                <a:gd name="connsiteY163" fmla="*/ 171723 h 343858"/>
                <a:gd name="connsiteX164" fmla="*/ 198389 w 608129"/>
                <a:gd name="connsiteY164" fmla="*/ 171723 h 343858"/>
                <a:gd name="connsiteX165" fmla="*/ 191553 w 608129"/>
                <a:gd name="connsiteY165" fmla="*/ 169448 h 343858"/>
                <a:gd name="connsiteX166" fmla="*/ 188515 w 608129"/>
                <a:gd name="connsiteY166" fmla="*/ 167173 h 343858"/>
                <a:gd name="connsiteX167" fmla="*/ 178641 w 608129"/>
                <a:gd name="connsiteY167" fmla="*/ 158073 h 343858"/>
                <a:gd name="connsiteX168" fmla="*/ 176362 w 608129"/>
                <a:gd name="connsiteY168" fmla="*/ 155040 h 343858"/>
                <a:gd name="connsiteX169" fmla="*/ 175603 w 608129"/>
                <a:gd name="connsiteY169" fmla="*/ 154282 h 343858"/>
                <a:gd name="connsiteX170" fmla="*/ 174084 w 608129"/>
                <a:gd name="connsiteY170" fmla="*/ 152007 h 343858"/>
                <a:gd name="connsiteX171" fmla="*/ 142943 w 608129"/>
                <a:gd name="connsiteY171" fmla="*/ 159590 h 343858"/>
                <a:gd name="connsiteX172" fmla="*/ 136107 w 608129"/>
                <a:gd name="connsiteY172" fmla="*/ 171723 h 343858"/>
                <a:gd name="connsiteX173" fmla="*/ 135348 w 608129"/>
                <a:gd name="connsiteY173" fmla="*/ 173998 h 343858"/>
                <a:gd name="connsiteX174" fmla="*/ 134588 w 608129"/>
                <a:gd name="connsiteY174" fmla="*/ 174756 h 343858"/>
                <a:gd name="connsiteX175" fmla="*/ 133069 w 608129"/>
                <a:gd name="connsiteY175" fmla="*/ 175514 h 343858"/>
                <a:gd name="connsiteX176" fmla="*/ 131550 w 608129"/>
                <a:gd name="connsiteY176" fmla="*/ 177789 h 343858"/>
                <a:gd name="connsiteX177" fmla="*/ 130791 w 608129"/>
                <a:gd name="connsiteY177" fmla="*/ 177789 h 343858"/>
                <a:gd name="connsiteX178" fmla="*/ 124715 w 608129"/>
                <a:gd name="connsiteY178" fmla="*/ 181581 h 343858"/>
                <a:gd name="connsiteX179" fmla="*/ 119398 w 608129"/>
                <a:gd name="connsiteY179" fmla="*/ 182339 h 343858"/>
                <a:gd name="connsiteX180" fmla="*/ 118638 w 608129"/>
                <a:gd name="connsiteY180" fmla="*/ 182339 h 343858"/>
                <a:gd name="connsiteX181" fmla="*/ 117879 w 608129"/>
                <a:gd name="connsiteY181" fmla="*/ 182339 h 343858"/>
                <a:gd name="connsiteX182" fmla="*/ 114841 w 608129"/>
                <a:gd name="connsiteY182" fmla="*/ 182339 h 343858"/>
                <a:gd name="connsiteX183" fmla="*/ 113322 w 608129"/>
                <a:gd name="connsiteY183" fmla="*/ 181581 h 343858"/>
                <a:gd name="connsiteX184" fmla="*/ 109524 w 608129"/>
                <a:gd name="connsiteY184" fmla="*/ 180064 h 343858"/>
                <a:gd name="connsiteX185" fmla="*/ 108764 w 608129"/>
                <a:gd name="connsiteY185" fmla="*/ 180064 h 343858"/>
                <a:gd name="connsiteX186" fmla="*/ 99650 w 608129"/>
                <a:gd name="connsiteY186" fmla="*/ 175514 h 343858"/>
                <a:gd name="connsiteX187" fmla="*/ 92814 w 608129"/>
                <a:gd name="connsiteY187" fmla="*/ 189922 h 343858"/>
                <a:gd name="connsiteX188" fmla="*/ 71548 w 608129"/>
                <a:gd name="connsiteY188" fmla="*/ 202813 h 343858"/>
                <a:gd name="connsiteX189" fmla="*/ 70029 w 608129"/>
                <a:gd name="connsiteY189" fmla="*/ 214188 h 343858"/>
                <a:gd name="connsiteX190" fmla="*/ 61674 w 608129"/>
                <a:gd name="connsiteY190" fmla="*/ 225562 h 343858"/>
                <a:gd name="connsiteX191" fmla="*/ 51800 w 608129"/>
                <a:gd name="connsiteY191" fmla="*/ 232387 h 343858"/>
                <a:gd name="connsiteX192" fmla="*/ 159653 w 608129"/>
                <a:gd name="connsiteY192" fmla="*/ 232387 h 343858"/>
                <a:gd name="connsiteX193" fmla="*/ 158134 w 608129"/>
                <a:gd name="connsiteY193" fmla="*/ 224804 h 343858"/>
                <a:gd name="connsiteX194" fmla="*/ 159653 w 608129"/>
                <a:gd name="connsiteY194" fmla="*/ 211155 h 343858"/>
                <a:gd name="connsiteX195" fmla="*/ 171046 w 608129"/>
                <a:gd name="connsiteY195" fmla="*/ 202813 h 343858"/>
                <a:gd name="connsiteX196" fmla="*/ 179401 w 608129"/>
                <a:gd name="connsiteY196" fmla="*/ 213430 h 343858"/>
                <a:gd name="connsiteX197" fmla="*/ 177881 w 608129"/>
                <a:gd name="connsiteY197" fmla="*/ 227837 h 343858"/>
                <a:gd name="connsiteX198" fmla="*/ 175603 w 608129"/>
                <a:gd name="connsiteY198" fmla="*/ 232387 h 343858"/>
                <a:gd name="connsiteX199" fmla="*/ 402702 w 608129"/>
                <a:gd name="connsiteY199" fmla="*/ 232387 h 343858"/>
                <a:gd name="connsiteX200" fmla="*/ 537897 w 608129"/>
                <a:gd name="connsiteY200" fmla="*/ 232387 h 343858"/>
                <a:gd name="connsiteX201" fmla="*/ 528783 w 608129"/>
                <a:gd name="connsiteY201" fmla="*/ 208880 h 343858"/>
                <a:gd name="connsiteX202" fmla="*/ 528783 w 608129"/>
                <a:gd name="connsiteY202" fmla="*/ 205847 h 343858"/>
                <a:gd name="connsiteX203" fmla="*/ 519669 w 608129"/>
                <a:gd name="connsiteY203" fmla="*/ 196747 h 343858"/>
                <a:gd name="connsiteX204" fmla="*/ 512833 w 608129"/>
                <a:gd name="connsiteY204" fmla="*/ 196747 h 343858"/>
                <a:gd name="connsiteX205" fmla="*/ 501440 w 608129"/>
                <a:gd name="connsiteY205" fmla="*/ 186131 h 343858"/>
                <a:gd name="connsiteX206" fmla="*/ 492326 w 608129"/>
                <a:gd name="connsiteY206" fmla="*/ 177789 h 343858"/>
                <a:gd name="connsiteX207" fmla="*/ 472578 w 608129"/>
                <a:gd name="connsiteY207" fmla="*/ 162623 h 343858"/>
                <a:gd name="connsiteX208" fmla="*/ 463464 w 608129"/>
                <a:gd name="connsiteY208" fmla="*/ 150490 h 343858"/>
                <a:gd name="connsiteX209" fmla="*/ 458907 w 608129"/>
                <a:gd name="connsiteY209" fmla="*/ 152765 h 343858"/>
                <a:gd name="connsiteX210" fmla="*/ 429285 w 608129"/>
                <a:gd name="connsiteY210" fmla="*/ 161107 h 343858"/>
                <a:gd name="connsiteX211" fmla="*/ 424728 w 608129"/>
                <a:gd name="connsiteY211" fmla="*/ 161865 h 343858"/>
                <a:gd name="connsiteX212" fmla="*/ 423968 w 608129"/>
                <a:gd name="connsiteY212" fmla="*/ 161865 h 343858"/>
                <a:gd name="connsiteX213" fmla="*/ 423209 w 608129"/>
                <a:gd name="connsiteY213" fmla="*/ 161865 h 343858"/>
                <a:gd name="connsiteX214" fmla="*/ 420171 w 608129"/>
                <a:gd name="connsiteY214" fmla="*/ 161107 h 343858"/>
                <a:gd name="connsiteX215" fmla="*/ 418652 w 608129"/>
                <a:gd name="connsiteY215" fmla="*/ 161107 h 343858"/>
                <a:gd name="connsiteX216" fmla="*/ 414094 w 608129"/>
                <a:gd name="connsiteY216" fmla="*/ 159590 h 343858"/>
                <a:gd name="connsiteX217" fmla="*/ 407259 w 608129"/>
                <a:gd name="connsiteY217" fmla="*/ 152765 h 343858"/>
                <a:gd name="connsiteX218" fmla="*/ 404221 w 608129"/>
                <a:gd name="connsiteY218" fmla="*/ 147457 h 343858"/>
                <a:gd name="connsiteX219" fmla="*/ 401182 w 608129"/>
                <a:gd name="connsiteY219" fmla="*/ 135324 h 343858"/>
                <a:gd name="connsiteX220" fmla="*/ 363206 w 608129"/>
                <a:gd name="connsiteY220" fmla="*/ 133808 h 343858"/>
                <a:gd name="connsiteX221" fmla="*/ 105726 w 608129"/>
                <a:gd name="connsiteY221" fmla="*/ 121675 h 343858"/>
                <a:gd name="connsiteX222" fmla="*/ 91295 w 608129"/>
                <a:gd name="connsiteY222" fmla="*/ 148216 h 343858"/>
                <a:gd name="connsiteX223" fmla="*/ 117119 w 608129"/>
                <a:gd name="connsiteY223" fmla="*/ 161865 h 343858"/>
                <a:gd name="connsiteX224" fmla="*/ 118638 w 608129"/>
                <a:gd name="connsiteY224" fmla="*/ 162623 h 343858"/>
                <a:gd name="connsiteX225" fmla="*/ 132310 w 608129"/>
                <a:gd name="connsiteY225" fmla="*/ 135324 h 343858"/>
                <a:gd name="connsiteX226" fmla="*/ 445235 w 608129"/>
                <a:gd name="connsiteY226" fmla="*/ 104234 h 343858"/>
                <a:gd name="connsiteX227" fmla="*/ 415614 w 608129"/>
                <a:gd name="connsiteY227" fmla="*/ 112575 h 343858"/>
                <a:gd name="connsiteX228" fmla="*/ 423968 w 608129"/>
                <a:gd name="connsiteY228" fmla="*/ 141391 h 343858"/>
                <a:gd name="connsiteX229" fmla="*/ 453590 w 608129"/>
                <a:gd name="connsiteY229" fmla="*/ 133049 h 343858"/>
                <a:gd name="connsiteX230" fmla="*/ 324470 w 608129"/>
                <a:gd name="connsiteY230" fmla="*/ 101201 h 343858"/>
                <a:gd name="connsiteX231" fmla="*/ 303963 w 608129"/>
                <a:gd name="connsiteY231" fmla="*/ 121675 h 343858"/>
                <a:gd name="connsiteX232" fmla="*/ 304723 w 608129"/>
                <a:gd name="connsiteY232" fmla="*/ 123192 h 343858"/>
                <a:gd name="connsiteX233" fmla="*/ 304723 w 608129"/>
                <a:gd name="connsiteY233" fmla="*/ 123950 h 343858"/>
                <a:gd name="connsiteX234" fmla="*/ 311558 w 608129"/>
                <a:gd name="connsiteY234" fmla="*/ 136841 h 343858"/>
                <a:gd name="connsiteX235" fmla="*/ 313837 w 608129"/>
                <a:gd name="connsiteY235" fmla="*/ 138358 h 343858"/>
                <a:gd name="connsiteX236" fmla="*/ 314596 w 608129"/>
                <a:gd name="connsiteY236" fmla="*/ 139116 h 343858"/>
                <a:gd name="connsiteX237" fmla="*/ 317634 w 608129"/>
                <a:gd name="connsiteY237" fmla="*/ 139874 h 343858"/>
                <a:gd name="connsiteX238" fmla="*/ 318394 w 608129"/>
                <a:gd name="connsiteY238" fmla="*/ 140633 h 343858"/>
                <a:gd name="connsiteX239" fmla="*/ 320673 w 608129"/>
                <a:gd name="connsiteY239" fmla="*/ 141391 h 343858"/>
                <a:gd name="connsiteX240" fmla="*/ 324470 w 608129"/>
                <a:gd name="connsiteY240" fmla="*/ 141391 h 343858"/>
                <a:gd name="connsiteX241" fmla="*/ 328268 w 608129"/>
                <a:gd name="connsiteY241" fmla="*/ 141391 h 343858"/>
                <a:gd name="connsiteX242" fmla="*/ 329787 w 608129"/>
                <a:gd name="connsiteY242" fmla="*/ 140633 h 343858"/>
                <a:gd name="connsiteX243" fmla="*/ 332066 w 608129"/>
                <a:gd name="connsiteY243" fmla="*/ 139874 h 343858"/>
                <a:gd name="connsiteX244" fmla="*/ 333585 w 608129"/>
                <a:gd name="connsiteY244" fmla="*/ 139116 h 343858"/>
                <a:gd name="connsiteX245" fmla="*/ 335863 w 608129"/>
                <a:gd name="connsiteY245" fmla="*/ 138358 h 343858"/>
                <a:gd name="connsiteX246" fmla="*/ 337382 w 608129"/>
                <a:gd name="connsiteY246" fmla="*/ 136841 h 343858"/>
                <a:gd name="connsiteX247" fmla="*/ 338142 w 608129"/>
                <a:gd name="connsiteY247" fmla="*/ 136083 h 343858"/>
                <a:gd name="connsiteX248" fmla="*/ 340420 w 608129"/>
                <a:gd name="connsiteY248" fmla="*/ 133808 h 343858"/>
                <a:gd name="connsiteX249" fmla="*/ 340420 w 608129"/>
                <a:gd name="connsiteY249" fmla="*/ 133049 h 343858"/>
                <a:gd name="connsiteX250" fmla="*/ 344218 w 608129"/>
                <a:gd name="connsiteY250" fmla="*/ 123192 h 343858"/>
                <a:gd name="connsiteX251" fmla="*/ 344977 w 608129"/>
                <a:gd name="connsiteY251" fmla="*/ 120917 h 343858"/>
                <a:gd name="connsiteX252" fmla="*/ 324470 w 608129"/>
                <a:gd name="connsiteY252" fmla="*/ 101201 h 343858"/>
                <a:gd name="connsiteX253" fmla="*/ 234086 w 608129"/>
                <a:gd name="connsiteY253" fmla="*/ 98926 h 343858"/>
                <a:gd name="connsiteX254" fmla="*/ 193832 w 608129"/>
                <a:gd name="connsiteY254" fmla="*/ 144424 h 343858"/>
                <a:gd name="connsiteX255" fmla="*/ 201427 w 608129"/>
                <a:gd name="connsiteY255" fmla="*/ 151249 h 343858"/>
                <a:gd name="connsiteX256" fmla="*/ 227251 w 608129"/>
                <a:gd name="connsiteY256" fmla="*/ 121675 h 343858"/>
                <a:gd name="connsiteX257" fmla="*/ 241682 w 608129"/>
                <a:gd name="connsiteY257" fmla="*/ 105751 h 343858"/>
                <a:gd name="connsiteX258" fmla="*/ 233042 w 608129"/>
                <a:gd name="connsiteY258" fmla="*/ 78357 h 343858"/>
                <a:gd name="connsiteX259" fmla="*/ 246239 w 608129"/>
                <a:gd name="connsiteY259" fmla="*/ 83001 h 343858"/>
                <a:gd name="connsiteX260" fmla="*/ 256872 w 608129"/>
                <a:gd name="connsiteY260" fmla="*/ 92101 h 343858"/>
                <a:gd name="connsiteX261" fmla="*/ 257632 w 608129"/>
                <a:gd name="connsiteY261" fmla="*/ 118642 h 343858"/>
                <a:gd name="connsiteX262" fmla="*/ 284215 w 608129"/>
                <a:gd name="connsiteY262" fmla="*/ 116367 h 343858"/>
                <a:gd name="connsiteX263" fmla="*/ 324470 w 608129"/>
                <a:gd name="connsiteY263" fmla="*/ 80727 h 343858"/>
                <a:gd name="connsiteX264" fmla="*/ 363966 w 608129"/>
                <a:gd name="connsiteY264" fmla="*/ 114092 h 343858"/>
                <a:gd name="connsiteX265" fmla="*/ 395866 w 608129"/>
                <a:gd name="connsiteY265" fmla="*/ 114850 h 343858"/>
                <a:gd name="connsiteX266" fmla="*/ 398144 w 608129"/>
                <a:gd name="connsiteY266" fmla="*/ 102717 h 343858"/>
                <a:gd name="connsiteX267" fmla="*/ 410297 w 608129"/>
                <a:gd name="connsiteY267" fmla="*/ 92859 h 343858"/>
                <a:gd name="connsiteX268" fmla="*/ 439159 w 608129"/>
                <a:gd name="connsiteY268" fmla="*/ 84518 h 343858"/>
                <a:gd name="connsiteX269" fmla="*/ 454349 w 608129"/>
                <a:gd name="connsiteY269" fmla="*/ 86035 h 343858"/>
                <a:gd name="connsiteX270" fmla="*/ 464223 w 608129"/>
                <a:gd name="connsiteY270" fmla="*/ 98168 h 343858"/>
                <a:gd name="connsiteX271" fmla="*/ 472578 w 608129"/>
                <a:gd name="connsiteY271" fmla="*/ 127741 h 343858"/>
                <a:gd name="connsiteX272" fmla="*/ 473338 w 608129"/>
                <a:gd name="connsiteY272" fmla="*/ 132291 h 343858"/>
                <a:gd name="connsiteX273" fmla="*/ 492326 w 608129"/>
                <a:gd name="connsiteY273" fmla="*/ 157315 h 343858"/>
                <a:gd name="connsiteX274" fmla="*/ 519669 w 608129"/>
                <a:gd name="connsiteY274" fmla="*/ 176273 h 343858"/>
                <a:gd name="connsiteX275" fmla="*/ 524226 w 608129"/>
                <a:gd name="connsiteY275" fmla="*/ 177031 h 343858"/>
                <a:gd name="connsiteX276" fmla="*/ 547771 w 608129"/>
                <a:gd name="connsiteY276" fmla="*/ 199780 h 343858"/>
                <a:gd name="connsiteX277" fmla="*/ 548531 w 608129"/>
                <a:gd name="connsiteY277" fmla="*/ 210396 h 343858"/>
                <a:gd name="connsiteX278" fmla="*/ 553848 w 608129"/>
                <a:gd name="connsiteY278" fmla="*/ 219496 h 343858"/>
                <a:gd name="connsiteX279" fmla="*/ 564481 w 608129"/>
                <a:gd name="connsiteY279" fmla="*/ 232387 h 343858"/>
                <a:gd name="connsiteX280" fmla="*/ 588786 w 608129"/>
                <a:gd name="connsiteY280" fmla="*/ 232387 h 343858"/>
                <a:gd name="connsiteX281" fmla="*/ 606255 w 608129"/>
                <a:gd name="connsiteY281" fmla="*/ 243003 h 343858"/>
                <a:gd name="connsiteX282" fmla="*/ 604736 w 608129"/>
                <a:gd name="connsiteY282" fmla="*/ 263478 h 343858"/>
                <a:gd name="connsiteX283" fmla="*/ 603217 w 608129"/>
                <a:gd name="connsiteY283" fmla="*/ 264994 h 343858"/>
                <a:gd name="connsiteX284" fmla="*/ 550809 w 608129"/>
                <a:gd name="connsiteY284" fmla="*/ 296843 h 343858"/>
                <a:gd name="connsiteX285" fmla="*/ 544733 w 608129"/>
                <a:gd name="connsiteY285" fmla="*/ 312768 h 343858"/>
                <a:gd name="connsiteX286" fmla="*/ 516631 w 608129"/>
                <a:gd name="connsiteY286" fmla="*/ 343858 h 343858"/>
                <a:gd name="connsiteX287" fmla="*/ 91295 w 608129"/>
                <a:gd name="connsiteY287" fmla="*/ 343858 h 343858"/>
                <a:gd name="connsiteX288" fmla="*/ 63952 w 608129"/>
                <a:gd name="connsiteY288" fmla="*/ 312768 h 343858"/>
                <a:gd name="connsiteX289" fmla="*/ 57876 w 608129"/>
                <a:gd name="connsiteY289" fmla="*/ 296843 h 343858"/>
                <a:gd name="connsiteX290" fmla="*/ 4709 w 608129"/>
                <a:gd name="connsiteY290" fmla="*/ 264994 h 343858"/>
                <a:gd name="connsiteX291" fmla="*/ 3950 w 608129"/>
                <a:gd name="connsiteY291" fmla="*/ 263478 h 343858"/>
                <a:gd name="connsiteX292" fmla="*/ 2431 w 608129"/>
                <a:gd name="connsiteY292" fmla="*/ 243003 h 343858"/>
                <a:gd name="connsiteX293" fmla="*/ 19900 w 608129"/>
                <a:gd name="connsiteY293" fmla="*/ 232387 h 343858"/>
                <a:gd name="connsiteX294" fmla="*/ 31293 w 608129"/>
                <a:gd name="connsiteY294" fmla="*/ 232387 h 343858"/>
                <a:gd name="connsiteX295" fmla="*/ 49521 w 608129"/>
                <a:gd name="connsiteY295" fmla="*/ 208880 h 343858"/>
                <a:gd name="connsiteX296" fmla="*/ 57117 w 608129"/>
                <a:gd name="connsiteY296" fmla="*/ 187647 h 343858"/>
                <a:gd name="connsiteX297" fmla="*/ 68510 w 608129"/>
                <a:gd name="connsiteY297" fmla="*/ 182339 h 343858"/>
                <a:gd name="connsiteX298" fmla="*/ 76864 w 608129"/>
                <a:gd name="connsiteY298" fmla="*/ 177031 h 343858"/>
                <a:gd name="connsiteX299" fmla="*/ 79902 w 608129"/>
                <a:gd name="connsiteY299" fmla="*/ 167931 h 343858"/>
                <a:gd name="connsiteX300" fmla="*/ 79902 w 608129"/>
                <a:gd name="connsiteY300" fmla="*/ 164140 h 343858"/>
                <a:gd name="connsiteX301" fmla="*/ 73826 w 608129"/>
                <a:gd name="connsiteY301" fmla="*/ 139116 h 343858"/>
                <a:gd name="connsiteX302" fmla="*/ 87498 w 608129"/>
                <a:gd name="connsiteY302" fmla="*/ 111817 h 343858"/>
                <a:gd name="connsiteX303" fmla="*/ 99650 w 608129"/>
                <a:gd name="connsiteY303" fmla="*/ 101959 h 343858"/>
                <a:gd name="connsiteX304" fmla="*/ 114841 w 608129"/>
                <a:gd name="connsiteY304" fmla="*/ 103476 h 343858"/>
                <a:gd name="connsiteX305" fmla="*/ 142184 w 608129"/>
                <a:gd name="connsiteY305" fmla="*/ 117125 h 343858"/>
                <a:gd name="connsiteX306" fmla="*/ 152058 w 608129"/>
                <a:gd name="connsiteY306" fmla="*/ 129258 h 343858"/>
                <a:gd name="connsiteX307" fmla="*/ 152817 w 608129"/>
                <a:gd name="connsiteY307" fmla="*/ 136083 h 343858"/>
                <a:gd name="connsiteX308" fmla="*/ 178641 w 608129"/>
                <a:gd name="connsiteY308" fmla="*/ 130016 h 343858"/>
                <a:gd name="connsiteX309" fmla="*/ 220415 w 608129"/>
                <a:gd name="connsiteY309" fmla="*/ 84518 h 343858"/>
                <a:gd name="connsiteX310" fmla="*/ 233042 w 608129"/>
                <a:gd name="connsiteY310" fmla="*/ 78357 h 343858"/>
                <a:gd name="connsiteX311" fmla="*/ 162582 w 608129"/>
                <a:gd name="connsiteY311" fmla="*/ 60954 h 343858"/>
                <a:gd name="connsiteX312" fmla="*/ 142076 w 608129"/>
                <a:gd name="connsiteY312" fmla="*/ 80671 h 343858"/>
                <a:gd name="connsiteX313" fmla="*/ 162582 w 608129"/>
                <a:gd name="connsiteY313" fmla="*/ 101147 h 343858"/>
                <a:gd name="connsiteX314" fmla="*/ 182329 w 608129"/>
                <a:gd name="connsiteY314" fmla="*/ 80671 h 343858"/>
                <a:gd name="connsiteX315" fmla="*/ 162582 w 608129"/>
                <a:gd name="connsiteY315" fmla="*/ 60954 h 343858"/>
                <a:gd name="connsiteX316" fmla="*/ 162582 w 608129"/>
                <a:gd name="connsiteY316" fmla="*/ 40478 h 343858"/>
                <a:gd name="connsiteX317" fmla="*/ 202836 w 608129"/>
                <a:gd name="connsiteY317" fmla="*/ 80671 h 343858"/>
                <a:gd name="connsiteX318" fmla="*/ 162582 w 608129"/>
                <a:gd name="connsiteY318" fmla="*/ 121623 h 343858"/>
                <a:gd name="connsiteX319" fmla="*/ 121569 w 608129"/>
                <a:gd name="connsiteY319" fmla="*/ 80671 h 343858"/>
                <a:gd name="connsiteX320" fmla="*/ 162582 w 608129"/>
                <a:gd name="connsiteY320" fmla="*/ 40478 h 343858"/>
                <a:gd name="connsiteX321" fmla="*/ 285697 w 608129"/>
                <a:gd name="connsiteY321" fmla="*/ 32920 h 343858"/>
                <a:gd name="connsiteX322" fmla="*/ 256860 w 608129"/>
                <a:gd name="connsiteY322" fmla="*/ 41258 h 343858"/>
                <a:gd name="connsiteX323" fmla="*/ 265208 w 608129"/>
                <a:gd name="connsiteY323" fmla="*/ 70819 h 343858"/>
                <a:gd name="connsiteX324" fmla="*/ 294045 w 608129"/>
                <a:gd name="connsiteY324" fmla="*/ 62481 h 343858"/>
                <a:gd name="connsiteX325" fmla="*/ 364659 w 608129"/>
                <a:gd name="connsiteY325" fmla="*/ 20767 h 343858"/>
                <a:gd name="connsiteX326" fmla="*/ 355552 w 608129"/>
                <a:gd name="connsiteY326" fmla="*/ 23799 h 343858"/>
                <a:gd name="connsiteX327" fmla="*/ 376044 w 608129"/>
                <a:gd name="connsiteY327" fmla="*/ 81416 h 343858"/>
                <a:gd name="connsiteX328" fmla="*/ 385910 w 608129"/>
                <a:gd name="connsiteY328" fmla="*/ 77625 h 343858"/>
                <a:gd name="connsiteX329" fmla="*/ 280385 w 608129"/>
                <a:gd name="connsiteY329" fmla="*/ 13971 h 343858"/>
                <a:gd name="connsiteX330" fmla="*/ 295563 w 608129"/>
                <a:gd name="connsiteY330" fmla="*/ 15487 h 343858"/>
                <a:gd name="connsiteX331" fmla="*/ 305428 w 608129"/>
                <a:gd name="connsiteY331" fmla="*/ 27614 h 343858"/>
                <a:gd name="connsiteX332" fmla="*/ 313776 w 608129"/>
                <a:gd name="connsiteY332" fmla="*/ 57176 h 343858"/>
                <a:gd name="connsiteX333" fmla="*/ 311500 w 608129"/>
                <a:gd name="connsiteY333" fmla="*/ 72335 h 343858"/>
                <a:gd name="connsiteX334" fmla="*/ 299357 w 608129"/>
                <a:gd name="connsiteY334" fmla="*/ 82189 h 343858"/>
                <a:gd name="connsiteX335" fmla="*/ 270520 w 608129"/>
                <a:gd name="connsiteY335" fmla="*/ 90527 h 343858"/>
                <a:gd name="connsiteX336" fmla="*/ 265208 w 608129"/>
                <a:gd name="connsiteY336" fmla="*/ 91285 h 343858"/>
                <a:gd name="connsiteX337" fmla="*/ 255342 w 608129"/>
                <a:gd name="connsiteY337" fmla="*/ 88253 h 343858"/>
                <a:gd name="connsiteX338" fmla="*/ 245477 w 608129"/>
                <a:gd name="connsiteY338" fmla="*/ 76125 h 343858"/>
                <a:gd name="connsiteX339" fmla="*/ 237129 w 608129"/>
                <a:gd name="connsiteY339" fmla="*/ 47322 h 343858"/>
                <a:gd name="connsiteX340" fmla="*/ 238647 w 608129"/>
                <a:gd name="connsiteY340" fmla="*/ 32162 h 343858"/>
                <a:gd name="connsiteX341" fmla="*/ 250789 w 608129"/>
                <a:gd name="connsiteY341" fmla="*/ 22309 h 343858"/>
                <a:gd name="connsiteX342" fmla="*/ 359347 w 608129"/>
                <a:gd name="connsiteY342" fmla="*/ 1056 h 343858"/>
                <a:gd name="connsiteX343" fmla="*/ 373767 w 608129"/>
                <a:gd name="connsiteY343" fmla="*/ 1814 h 343858"/>
                <a:gd name="connsiteX344" fmla="*/ 383633 w 608129"/>
                <a:gd name="connsiteY344" fmla="*/ 12428 h 343858"/>
                <a:gd name="connsiteX345" fmla="*/ 404884 w 608129"/>
                <a:gd name="connsiteY345" fmla="*/ 72318 h 343858"/>
                <a:gd name="connsiteX346" fmla="*/ 404884 w 608129"/>
                <a:gd name="connsiteY346" fmla="*/ 86723 h 343858"/>
                <a:gd name="connsiteX347" fmla="*/ 394259 w 608129"/>
                <a:gd name="connsiteY347" fmla="*/ 95820 h 343858"/>
                <a:gd name="connsiteX348" fmla="*/ 381356 w 608129"/>
                <a:gd name="connsiteY348" fmla="*/ 100369 h 343858"/>
                <a:gd name="connsiteX349" fmla="*/ 375285 w 608129"/>
                <a:gd name="connsiteY349" fmla="*/ 101885 h 343858"/>
                <a:gd name="connsiteX350" fmla="*/ 367695 w 608129"/>
                <a:gd name="connsiteY350" fmla="*/ 100369 h 343858"/>
                <a:gd name="connsiteX351" fmla="*/ 357829 w 608129"/>
                <a:gd name="connsiteY351" fmla="*/ 89755 h 343858"/>
                <a:gd name="connsiteX352" fmla="*/ 335819 w 608129"/>
                <a:gd name="connsiteY352" fmla="*/ 29864 h 343858"/>
                <a:gd name="connsiteX353" fmla="*/ 336578 w 608129"/>
                <a:gd name="connsiteY353" fmla="*/ 15460 h 343858"/>
                <a:gd name="connsiteX354" fmla="*/ 347203 w 608129"/>
                <a:gd name="connsiteY354" fmla="*/ 5605 h 343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</a:cxnLst>
              <a:rect l="l" t="t" r="r" b="b"/>
              <a:pathLst>
                <a:path w="72860" h="102345">
                  <a:moveTo>
                    <a:pt x="25046" y="1516"/>
                  </a:moveTo>
                  <a:cubicBezTo>
                    <a:pt x="29599" y="0"/>
                    <a:pt x="34912" y="0"/>
                    <a:pt x="39466" y="2274"/>
                  </a:cubicBezTo>
                  <a:cubicBezTo>
                    <a:pt x="44020" y="4548"/>
                    <a:pt x="47055" y="8339"/>
                    <a:pt x="49332" y="12888"/>
                  </a:cubicBezTo>
                  <a:lnTo>
                    <a:pt x="70583" y="72778"/>
                  </a:lnTo>
                  <a:cubicBezTo>
                    <a:pt x="72860" y="77327"/>
                    <a:pt x="72101" y="82634"/>
                    <a:pt x="70583" y="87183"/>
                  </a:cubicBezTo>
                  <a:cubicBezTo>
                    <a:pt x="68306" y="91731"/>
                    <a:pt x="64511" y="94764"/>
                    <a:pt x="59958" y="96280"/>
                  </a:cubicBezTo>
                  <a:lnTo>
                    <a:pt x="47055" y="100829"/>
                  </a:lnTo>
                  <a:cubicBezTo>
                    <a:pt x="45537" y="101587"/>
                    <a:pt x="43261" y="102345"/>
                    <a:pt x="40984" y="102345"/>
                  </a:cubicBezTo>
                  <a:cubicBezTo>
                    <a:pt x="37948" y="102345"/>
                    <a:pt x="35671" y="101587"/>
                    <a:pt x="33394" y="100829"/>
                  </a:cubicBezTo>
                  <a:cubicBezTo>
                    <a:pt x="28840" y="98554"/>
                    <a:pt x="25046" y="94764"/>
                    <a:pt x="23528" y="90215"/>
                  </a:cubicBezTo>
                  <a:lnTo>
                    <a:pt x="1518" y="30324"/>
                  </a:lnTo>
                  <a:cubicBezTo>
                    <a:pt x="0" y="25017"/>
                    <a:pt x="0" y="20469"/>
                    <a:pt x="2277" y="15920"/>
                  </a:cubicBezTo>
                  <a:cubicBezTo>
                    <a:pt x="4554" y="11371"/>
                    <a:pt x="7590" y="7581"/>
                    <a:pt x="12902" y="6065"/>
                  </a:cubicBezTo>
                </a:path>
              </a:pathLst>
            </a:custGeom>
            <a:noFill/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lvl="0" algn="ctr"/>
              <a:endParaRPr lang="zh-CN" altLang="en-US">
                <a:gradFill flip="none" rotWithShape="1">
                  <a:gsLst>
                    <a:gs pos="89000">
                      <a:schemeClr val="bg1"/>
                    </a:gs>
                    <a:gs pos="0">
                      <a:schemeClr val="accent2"/>
                    </a:gs>
                  </a:gsLst>
                  <a:lin ang="13500000" scaled="1"/>
                  <a:tileRect/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73100" y="1445342"/>
            <a:ext cx="5978424" cy="3088558"/>
          </a:xfrm>
        </p:spPr>
        <p:txBody>
          <a:bodyPr>
            <a:normAutofit/>
          </a:bodyPr>
          <a:lstStyle/>
          <a:p>
            <a:r>
              <a:rPr lang="en-US" altLang="zh-CN" sz="54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[</a:t>
            </a:r>
            <a:r>
              <a:rPr lang="zh-CN" altLang="en-US" sz="54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防控</a:t>
            </a:r>
            <a:r>
              <a:rPr lang="en-US" altLang="zh-CN" sz="54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]</a:t>
            </a:r>
            <a:r>
              <a:rPr lang="zh-CN" altLang="en-US" sz="5400" b="0" dirty="0"/>
              <a:t>新型冠状病毒感染</a:t>
            </a:r>
            <a:r>
              <a:rPr lang="en-US" altLang="zh-CN" sz="5400" b="0" dirty="0"/>
              <a:t>——</a:t>
            </a:r>
            <a:br>
              <a:rPr lang="en-US" altLang="zh-CN" sz="5400" b="0" dirty="0"/>
            </a:br>
            <a:r>
              <a:rPr lang="zh-CN" altLang="en-US" b="0" dirty="0"/>
              <a:t>防</a:t>
            </a:r>
            <a:r>
              <a:rPr lang="en-US" altLang="zh-CN" b="0" dirty="0"/>
              <a:t>/</a:t>
            </a:r>
            <a:r>
              <a:rPr lang="zh-CN" altLang="en-US" b="0" dirty="0"/>
              <a:t>护</a:t>
            </a:r>
            <a:r>
              <a:rPr lang="en-US" altLang="zh-CN" b="0" dirty="0"/>
              <a:t>/</a:t>
            </a:r>
            <a:r>
              <a:rPr lang="zh-CN" altLang="en-US" b="0" dirty="0"/>
              <a:t>信</a:t>
            </a:r>
            <a:r>
              <a:rPr lang="en-US" altLang="zh-CN" b="0" dirty="0"/>
              <a:t>/</a:t>
            </a:r>
            <a:r>
              <a:rPr lang="zh-CN" altLang="en-US" b="0" dirty="0"/>
              <a:t>息</a:t>
            </a:r>
            <a:r>
              <a:rPr lang="en-US" altLang="zh-CN" b="0" dirty="0"/>
              <a:t>/</a:t>
            </a:r>
            <a:r>
              <a:rPr lang="zh-CN" altLang="en-US" b="0" dirty="0"/>
              <a:t>宣</a:t>
            </a:r>
            <a:r>
              <a:rPr lang="en-US" altLang="zh-CN" b="0" dirty="0"/>
              <a:t>/</a:t>
            </a:r>
            <a:r>
              <a:rPr lang="zh-CN" altLang="en-US" b="0" dirty="0"/>
              <a:t>传</a:t>
            </a:r>
            <a:r>
              <a:rPr lang="en-US" altLang="zh-CN" b="0" dirty="0"/>
              <a:t>/</a:t>
            </a:r>
            <a:r>
              <a:rPr lang="zh-CN" altLang="en-US" b="0" dirty="0"/>
              <a:t>手</a:t>
            </a:r>
            <a:r>
              <a:rPr lang="en-US" altLang="zh-CN" b="0" dirty="0"/>
              <a:t>/</a:t>
            </a:r>
            <a:r>
              <a:rPr lang="zh-CN" altLang="en-US" b="0" dirty="0"/>
              <a:t>册</a:t>
            </a:r>
            <a:r>
              <a:rPr lang="en-US" altLang="zh-CN" b="0" dirty="0"/>
              <a:t>/</a:t>
            </a:r>
            <a:endParaRPr lang="zh-CN" altLang="en-US" sz="36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73099" y="4953592"/>
            <a:ext cx="7048501" cy="296271"/>
          </a:xfrm>
        </p:spPr>
        <p:txBody>
          <a:bodyPr/>
          <a:lstStyle/>
          <a:p>
            <a:r>
              <a:rPr lang="en-US" altLang="zh-CN" dirty="0">
                <a:solidFill>
                  <a:schemeClr val="accent2"/>
                </a:solidFill>
              </a:rPr>
              <a:t>Speak</a:t>
            </a:r>
            <a:r>
              <a:rPr lang="en-US" altLang="zh-CN" sz="100" dirty="0">
                <a:solidFill>
                  <a:schemeClr val="accent2"/>
                </a:solidFill>
              </a:rPr>
              <a:t> </a:t>
            </a:r>
            <a:r>
              <a:rPr lang="en-US" altLang="zh-CN" dirty="0" err="1">
                <a:solidFill>
                  <a:schemeClr val="accent2"/>
                </a:solidFill>
              </a:rPr>
              <a:t>er</a:t>
            </a:r>
            <a:r>
              <a:rPr lang="en-US" altLang="zh-CN" dirty="0">
                <a:solidFill>
                  <a:schemeClr val="accent2"/>
                </a:solidFill>
              </a:rPr>
              <a:t> name and title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 err="1">
                <a:solidFill>
                  <a:schemeClr val="accent2"/>
                </a:solidFill>
              </a:rPr>
              <a:t>OfficePLUS</a:t>
            </a:r>
            <a:endParaRPr lang="en-US" altLang="en-US" dirty="0">
              <a:solidFill>
                <a:schemeClr val="accent2"/>
              </a:solidFill>
            </a:endParaRPr>
          </a:p>
        </p:txBody>
      </p:sp>
      <p:sp>
        <p:nvSpPr>
          <p:cNvPr id="35" name="任意多边形: 形状 34">
            <a:extLst>
              <a:ext uri="{FF2B5EF4-FFF2-40B4-BE49-F238E27FC236}">
                <a16:creationId xmlns:a16="http://schemas.microsoft.com/office/drawing/2014/main" id="{91D9704B-2AB1-4B9E-B7EA-229C832C1F52}"/>
              </a:ext>
            </a:extLst>
          </p:cNvPr>
          <p:cNvSpPr/>
          <p:nvPr/>
        </p:nvSpPr>
        <p:spPr bwMode="auto">
          <a:xfrm>
            <a:off x="10373591" y="2048364"/>
            <a:ext cx="161925" cy="303213"/>
          </a:xfrm>
          <a:custGeom>
            <a:avLst/>
            <a:gdLst>
              <a:gd name="T0" fmla="*/ 44 w 66"/>
              <a:gd name="T1" fmla="*/ 27 h 123"/>
              <a:gd name="T2" fmla="*/ 45 w 66"/>
              <a:gd name="T3" fmla="*/ 32 h 123"/>
              <a:gd name="T4" fmla="*/ 42 w 66"/>
              <a:gd name="T5" fmla="*/ 35 h 123"/>
              <a:gd name="T6" fmla="*/ 40 w 66"/>
              <a:gd name="T7" fmla="*/ 37 h 123"/>
              <a:gd name="T8" fmla="*/ 37 w 66"/>
              <a:gd name="T9" fmla="*/ 42 h 123"/>
              <a:gd name="T10" fmla="*/ 44 w 66"/>
              <a:gd name="T11" fmla="*/ 49 h 123"/>
              <a:gd name="T12" fmla="*/ 40 w 66"/>
              <a:gd name="T13" fmla="*/ 55 h 123"/>
              <a:gd name="T14" fmla="*/ 32 w 66"/>
              <a:gd name="T15" fmla="*/ 53 h 123"/>
              <a:gd name="T16" fmla="*/ 35 w 66"/>
              <a:gd name="T17" fmla="*/ 57 h 123"/>
              <a:gd name="T18" fmla="*/ 29 w 66"/>
              <a:gd name="T19" fmla="*/ 60 h 123"/>
              <a:gd name="T20" fmla="*/ 26 w 66"/>
              <a:gd name="T21" fmla="*/ 66 h 123"/>
              <a:gd name="T22" fmla="*/ 25 w 66"/>
              <a:gd name="T23" fmla="*/ 71 h 123"/>
              <a:gd name="T24" fmla="*/ 28 w 66"/>
              <a:gd name="T25" fmla="*/ 79 h 123"/>
              <a:gd name="T26" fmla="*/ 22 w 66"/>
              <a:gd name="T27" fmla="*/ 80 h 123"/>
              <a:gd name="T28" fmla="*/ 23 w 66"/>
              <a:gd name="T29" fmla="*/ 89 h 123"/>
              <a:gd name="T30" fmla="*/ 12 w 66"/>
              <a:gd name="T31" fmla="*/ 111 h 123"/>
              <a:gd name="T32" fmla="*/ 8 w 66"/>
              <a:gd name="T33" fmla="*/ 122 h 123"/>
              <a:gd name="T34" fmla="*/ 51 w 66"/>
              <a:gd name="T35" fmla="*/ 33 h 123"/>
              <a:gd name="T36" fmla="*/ 48 w 66"/>
              <a:gd name="T37" fmla="*/ 38 h 123"/>
              <a:gd name="T38" fmla="*/ 49 w 66"/>
              <a:gd name="T39" fmla="*/ 32 h 123"/>
              <a:gd name="T40" fmla="*/ 45 w 66"/>
              <a:gd name="T41" fmla="*/ 35 h 123"/>
              <a:gd name="T42" fmla="*/ 49 w 66"/>
              <a:gd name="T43" fmla="*/ 26 h 123"/>
              <a:gd name="T44" fmla="*/ 46 w 66"/>
              <a:gd name="T45" fmla="*/ 24 h 123"/>
              <a:gd name="T46" fmla="*/ 47 w 66"/>
              <a:gd name="T47" fmla="*/ 14 h 123"/>
              <a:gd name="T48" fmla="*/ 47 w 66"/>
              <a:gd name="T49" fmla="*/ 18 h 123"/>
              <a:gd name="T50" fmla="*/ 48 w 66"/>
              <a:gd name="T51" fmla="*/ 24 h 123"/>
              <a:gd name="T52" fmla="*/ 46 w 66"/>
              <a:gd name="T53" fmla="*/ 34 h 123"/>
              <a:gd name="T54" fmla="*/ 52 w 66"/>
              <a:gd name="T55" fmla="*/ 27 h 123"/>
              <a:gd name="T56" fmla="*/ 54 w 66"/>
              <a:gd name="T57" fmla="*/ 27 h 123"/>
              <a:gd name="T58" fmla="*/ 44 w 66"/>
              <a:gd name="T59" fmla="*/ 29 h 123"/>
              <a:gd name="T60" fmla="*/ 43 w 66"/>
              <a:gd name="T61" fmla="*/ 34 h 123"/>
              <a:gd name="T62" fmla="*/ 45 w 66"/>
              <a:gd name="T63" fmla="*/ 45 h 123"/>
              <a:gd name="T64" fmla="*/ 43 w 66"/>
              <a:gd name="T65" fmla="*/ 49 h 123"/>
              <a:gd name="T66" fmla="*/ 41 w 66"/>
              <a:gd name="T67" fmla="*/ 51 h 123"/>
              <a:gd name="T68" fmla="*/ 40 w 66"/>
              <a:gd name="T69" fmla="*/ 48 h 123"/>
              <a:gd name="T70" fmla="*/ 41 w 66"/>
              <a:gd name="T71" fmla="*/ 49 h 123"/>
              <a:gd name="T72" fmla="*/ 34 w 66"/>
              <a:gd name="T73" fmla="*/ 48 h 123"/>
              <a:gd name="T74" fmla="*/ 25 w 66"/>
              <a:gd name="T75" fmla="*/ 76 h 123"/>
              <a:gd name="T76" fmla="*/ 28 w 66"/>
              <a:gd name="T77" fmla="*/ 70 h 123"/>
              <a:gd name="T78" fmla="*/ 27 w 66"/>
              <a:gd name="T79" fmla="*/ 68 h 123"/>
              <a:gd name="T80" fmla="*/ 31 w 66"/>
              <a:gd name="T81" fmla="*/ 63 h 123"/>
              <a:gd name="T82" fmla="*/ 38 w 66"/>
              <a:gd name="T83" fmla="*/ 57 h 123"/>
              <a:gd name="T84" fmla="*/ 41 w 66"/>
              <a:gd name="T85" fmla="*/ 57 h 123"/>
              <a:gd name="T86" fmla="*/ 34 w 66"/>
              <a:gd name="T87" fmla="*/ 67 h 123"/>
              <a:gd name="T88" fmla="*/ 29 w 66"/>
              <a:gd name="T89" fmla="*/ 76 h 123"/>
              <a:gd name="T90" fmla="*/ 27 w 66"/>
              <a:gd name="T91" fmla="*/ 72 h 123"/>
              <a:gd name="T92" fmla="*/ 38 w 66"/>
              <a:gd name="T93" fmla="*/ 57 h 123"/>
              <a:gd name="T94" fmla="*/ 31 w 66"/>
              <a:gd name="T95" fmla="*/ 65 h 123"/>
              <a:gd name="T96" fmla="*/ 32 w 66"/>
              <a:gd name="T97" fmla="*/ 67 h 123"/>
              <a:gd name="T98" fmla="*/ 29 w 66"/>
              <a:gd name="T99" fmla="*/ 76 h 123"/>
              <a:gd name="T100" fmla="*/ 32 w 66"/>
              <a:gd name="T101" fmla="*/ 67 h 123"/>
              <a:gd name="T102" fmla="*/ 35 w 66"/>
              <a:gd name="T103" fmla="*/ 61 h 123"/>
              <a:gd name="T104" fmla="*/ 27 w 66"/>
              <a:gd name="T105" fmla="*/ 73 h 123"/>
              <a:gd name="T106" fmla="*/ 37 w 66"/>
              <a:gd name="T107" fmla="*/ 55 h 123"/>
              <a:gd name="T108" fmla="*/ 34 w 66"/>
              <a:gd name="T109" fmla="*/ 55 h 123"/>
              <a:gd name="T110" fmla="*/ 31 w 66"/>
              <a:gd name="T111" fmla="*/ 54 h 123"/>
              <a:gd name="T112" fmla="*/ 28 w 66"/>
              <a:gd name="T113" fmla="*/ 58 h 123"/>
              <a:gd name="T114" fmla="*/ 28 w 66"/>
              <a:gd name="T115" fmla="*/ 63 h 123"/>
              <a:gd name="T116" fmla="*/ 28 w 66"/>
              <a:gd name="T117" fmla="*/ 77 h 123"/>
              <a:gd name="T118" fmla="*/ 28 w 66"/>
              <a:gd name="T119" fmla="*/ 79 h 123"/>
              <a:gd name="T120" fmla="*/ 22 w 66"/>
              <a:gd name="T121" fmla="*/ 90 h 123"/>
              <a:gd name="T122" fmla="*/ 12 w 66"/>
              <a:gd name="T123" fmla="*/ 112 h 123"/>
              <a:gd name="T124" fmla="*/ 32 w 66"/>
              <a:gd name="T125" fmla="*/ 52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6" h="123">
                <a:moveTo>
                  <a:pt x="65" y="4"/>
                </a:moveTo>
                <a:cubicBezTo>
                  <a:pt x="65" y="4"/>
                  <a:pt x="65" y="4"/>
                  <a:pt x="65" y="4"/>
                </a:cubicBezTo>
                <a:cubicBezTo>
                  <a:pt x="65" y="4"/>
                  <a:pt x="65" y="4"/>
                  <a:pt x="65" y="4"/>
                </a:cubicBezTo>
                <a:cubicBezTo>
                  <a:pt x="65" y="4"/>
                  <a:pt x="65" y="4"/>
                  <a:pt x="65" y="4"/>
                </a:cubicBezTo>
                <a:close/>
                <a:moveTo>
                  <a:pt x="50" y="8"/>
                </a:moveTo>
                <a:cubicBezTo>
                  <a:pt x="50" y="7"/>
                  <a:pt x="50" y="8"/>
                  <a:pt x="50" y="7"/>
                </a:cubicBezTo>
                <a:cubicBezTo>
                  <a:pt x="50" y="8"/>
                  <a:pt x="51" y="8"/>
                  <a:pt x="51" y="8"/>
                </a:cubicBezTo>
                <a:cubicBezTo>
                  <a:pt x="50" y="8"/>
                  <a:pt x="50" y="8"/>
                  <a:pt x="50" y="8"/>
                </a:cubicBezTo>
                <a:close/>
                <a:moveTo>
                  <a:pt x="49" y="10"/>
                </a:moveTo>
                <a:cubicBezTo>
                  <a:pt x="49" y="10"/>
                  <a:pt x="49" y="10"/>
                  <a:pt x="49" y="10"/>
                </a:cubicBezTo>
                <a:cubicBezTo>
                  <a:pt x="49" y="10"/>
                  <a:pt x="49" y="10"/>
                  <a:pt x="49" y="10"/>
                </a:cubicBezTo>
                <a:cubicBezTo>
                  <a:pt x="49" y="9"/>
                  <a:pt x="49" y="9"/>
                  <a:pt x="49" y="10"/>
                </a:cubicBezTo>
                <a:close/>
                <a:moveTo>
                  <a:pt x="48" y="10"/>
                </a:moveTo>
                <a:cubicBezTo>
                  <a:pt x="49" y="10"/>
                  <a:pt x="49" y="11"/>
                  <a:pt x="49" y="10"/>
                </a:cubicBezTo>
                <a:cubicBezTo>
                  <a:pt x="49" y="10"/>
                  <a:pt x="49" y="10"/>
                  <a:pt x="49" y="10"/>
                </a:cubicBezTo>
                <a:cubicBezTo>
                  <a:pt x="49" y="11"/>
                  <a:pt x="49" y="10"/>
                  <a:pt x="48" y="10"/>
                </a:cubicBezTo>
                <a:close/>
                <a:moveTo>
                  <a:pt x="47" y="12"/>
                </a:moveTo>
                <a:cubicBezTo>
                  <a:pt x="47" y="12"/>
                  <a:pt x="47" y="12"/>
                  <a:pt x="47" y="13"/>
                </a:cubicBezTo>
                <a:cubicBezTo>
                  <a:pt x="47" y="13"/>
                  <a:pt x="47" y="13"/>
                  <a:pt x="47" y="13"/>
                </a:cubicBezTo>
                <a:cubicBezTo>
                  <a:pt x="47" y="13"/>
                  <a:pt x="47" y="13"/>
                  <a:pt x="47" y="12"/>
                </a:cubicBezTo>
                <a:close/>
                <a:moveTo>
                  <a:pt x="46" y="15"/>
                </a:moveTo>
                <a:cubicBezTo>
                  <a:pt x="46" y="16"/>
                  <a:pt x="46" y="16"/>
                  <a:pt x="45" y="16"/>
                </a:cubicBezTo>
                <a:cubicBezTo>
                  <a:pt x="45" y="16"/>
                  <a:pt x="45" y="16"/>
                  <a:pt x="45" y="16"/>
                </a:cubicBezTo>
                <a:cubicBezTo>
                  <a:pt x="45" y="16"/>
                  <a:pt x="45" y="15"/>
                  <a:pt x="46" y="15"/>
                </a:cubicBezTo>
                <a:close/>
                <a:moveTo>
                  <a:pt x="45" y="16"/>
                </a:moveTo>
                <a:cubicBezTo>
                  <a:pt x="45" y="16"/>
                  <a:pt x="45" y="16"/>
                  <a:pt x="45" y="16"/>
                </a:cubicBezTo>
                <a:cubicBezTo>
                  <a:pt x="45" y="16"/>
                  <a:pt x="45" y="16"/>
                  <a:pt x="45" y="16"/>
                </a:cubicBezTo>
                <a:close/>
                <a:moveTo>
                  <a:pt x="46" y="17"/>
                </a:moveTo>
                <a:cubicBezTo>
                  <a:pt x="46" y="17"/>
                  <a:pt x="46" y="17"/>
                  <a:pt x="46" y="17"/>
                </a:cubicBezTo>
                <a:cubicBezTo>
                  <a:pt x="46" y="17"/>
                  <a:pt x="46" y="17"/>
                  <a:pt x="46" y="17"/>
                </a:cubicBezTo>
                <a:close/>
                <a:moveTo>
                  <a:pt x="46" y="21"/>
                </a:moveTo>
                <a:cubicBezTo>
                  <a:pt x="46" y="20"/>
                  <a:pt x="46" y="20"/>
                  <a:pt x="46" y="20"/>
                </a:cubicBezTo>
                <a:cubicBezTo>
                  <a:pt x="46" y="20"/>
                  <a:pt x="46" y="20"/>
                  <a:pt x="46" y="20"/>
                </a:cubicBezTo>
                <a:cubicBezTo>
                  <a:pt x="46" y="20"/>
                  <a:pt x="46" y="20"/>
                  <a:pt x="46" y="19"/>
                </a:cubicBezTo>
                <a:cubicBezTo>
                  <a:pt x="46" y="20"/>
                  <a:pt x="46" y="20"/>
                  <a:pt x="46" y="20"/>
                </a:cubicBezTo>
                <a:cubicBezTo>
                  <a:pt x="46" y="20"/>
                  <a:pt x="46" y="20"/>
                  <a:pt x="46" y="21"/>
                </a:cubicBezTo>
                <a:close/>
                <a:moveTo>
                  <a:pt x="45" y="20"/>
                </a:moveTo>
                <a:cubicBezTo>
                  <a:pt x="45" y="20"/>
                  <a:pt x="45" y="20"/>
                  <a:pt x="45" y="20"/>
                </a:cubicBezTo>
                <a:cubicBezTo>
                  <a:pt x="45" y="20"/>
                  <a:pt x="45" y="20"/>
                  <a:pt x="45" y="20"/>
                </a:cubicBezTo>
                <a:cubicBezTo>
                  <a:pt x="45" y="20"/>
                  <a:pt x="45" y="20"/>
                  <a:pt x="45" y="20"/>
                </a:cubicBezTo>
                <a:close/>
                <a:moveTo>
                  <a:pt x="45" y="21"/>
                </a:moveTo>
                <a:cubicBezTo>
                  <a:pt x="45" y="21"/>
                  <a:pt x="45" y="22"/>
                  <a:pt x="44" y="22"/>
                </a:cubicBezTo>
                <a:cubicBezTo>
                  <a:pt x="44" y="22"/>
                  <a:pt x="45" y="22"/>
                  <a:pt x="45" y="21"/>
                </a:cubicBezTo>
                <a:cubicBezTo>
                  <a:pt x="45" y="21"/>
                  <a:pt x="45" y="21"/>
                  <a:pt x="45" y="21"/>
                </a:cubicBezTo>
                <a:close/>
                <a:moveTo>
                  <a:pt x="44" y="23"/>
                </a:moveTo>
                <a:cubicBezTo>
                  <a:pt x="44" y="23"/>
                  <a:pt x="44" y="23"/>
                  <a:pt x="44" y="23"/>
                </a:cubicBezTo>
                <a:cubicBezTo>
                  <a:pt x="44" y="22"/>
                  <a:pt x="44" y="22"/>
                  <a:pt x="44" y="22"/>
                </a:cubicBezTo>
                <a:cubicBezTo>
                  <a:pt x="44" y="22"/>
                  <a:pt x="44" y="23"/>
                  <a:pt x="44" y="23"/>
                </a:cubicBezTo>
                <a:close/>
                <a:moveTo>
                  <a:pt x="43" y="23"/>
                </a:moveTo>
                <a:cubicBezTo>
                  <a:pt x="43" y="23"/>
                  <a:pt x="43" y="22"/>
                  <a:pt x="44" y="22"/>
                </a:cubicBezTo>
                <a:cubicBezTo>
                  <a:pt x="43" y="22"/>
                  <a:pt x="43" y="23"/>
                  <a:pt x="43" y="23"/>
                </a:cubicBezTo>
                <a:close/>
                <a:moveTo>
                  <a:pt x="43" y="23"/>
                </a:moveTo>
                <a:cubicBezTo>
                  <a:pt x="43" y="23"/>
                  <a:pt x="43" y="23"/>
                  <a:pt x="43" y="23"/>
                </a:cubicBezTo>
                <a:cubicBezTo>
                  <a:pt x="43" y="23"/>
                  <a:pt x="43" y="23"/>
                  <a:pt x="43" y="23"/>
                </a:cubicBezTo>
                <a:close/>
                <a:moveTo>
                  <a:pt x="48" y="26"/>
                </a:moveTo>
                <a:cubicBezTo>
                  <a:pt x="48" y="26"/>
                  <a:pt x="48" y="26"/>
                  <a:pt x="48" y="26"/>
                </a:cubicBezTo>
                <a:cubicBezTo>
                  <a:pt x="48" y="26"/>
                  <a:pt x="48" y="26"/>
                  <a:pt x="48" y="26"/>
                </a:cubicBezTo>
                <a:close/>
                <a:moveTo>
                  <a:pt x="44" y="25"/>
                </a:moveTo>
                <a:cubicBezTo>
                  <a:pt x="45" y="25"/>
                  <a:pt x="45" y="25"/>
                  <a:pt x="45" y="25"/>
                </a:cubicBezTo>
                <a:cubicBezTo>
                  <a:pt x="45" y="25"/>
                  <a:pt x="45" y="25"/>
                  <a:pt x="45" y="25"/>
                </a:cubicBezTo>
                <a:cubicBezTo>
                  <a:pt x="45" y="25"/>
                  <a:pt x="45" y="25"/>
                  <a:pt x="44" y="25"/>
                </a:cubicBezTo>
                <a:close/>
                <a:moveTo>
                  <a:pt x="47" y="26"/>
                </a:moveTo>
                <a:cubicBezTo>
                  <a:pt x="47" y="26"/>
                  <a:pt x="47" y="26"/>
                  <a:pt x="47" y="26"/>
                </a:cubicBezTo>
                <a:cubicBezTo>
                  <a:pt x="48" y="26"/>
                  <a:pt x="47" y="26"/>
                  <a:pt x="47" y="26"/>
                </a:cubicBezTo>
                <a:cubicBezTo>
                  <a:pt x="47" y="26"/>
                  <a:pt x="47" y="26"/>
                  <a:pt x="47" y="26"/>
                </a:cubicBezTo>
                <a:close/>
                <a:moveTo>
                  <a:pt x="52" y="29"/>
                </a:moveTo>
                <a:cubicBezTo>
                  <a:pt x="52" y="29"/>
                  <a:pt x="52" y="29"/>
                  <a:pt x="52" y="29"/>
                </a:cubicBezTo>
                <a:cubicBezTo>
                  <a:pt x="52" y="29"/>
                  <a:pt x="52" y="29"/>
                  <a:pt x="52" y="29"/>
                </a:cubicBezTo>
                <a:close/>
                <a:moveTo>
                  <a:pt x="48" y="28"/>
                </a:moveTo>
                <a:cubicBezTo>
                  <a:pt x="48" y="28"/>
                  <a:pt x="48" y="28"/>
                  <a:pt x="48" y="28"/>
                </a:cubicBezTo>
                <a:cubicBezTo>
                  <a:pt x="48" y="28"/>
                  <a:pt x="48" y="28"/>
                  <a:pt x="48" y="28"/>
                </a:cubicBezTo>
                <a:cubicBezTo>
                  <a:pt x="48" y="28"/>
                  <a:pt x="48" y="28"/>
                  <a:pt x="48" y="28"/>
                </a:cubicBezTo>
                <a:close/>
                <a:moveTo>
                  <a:pt x="45" y="27"/>
                </a:moveTo>
                <a:cubicBezTo>
                  <a:pt x="45" y="27"/>
                  <a:pt x="45" y="27"/>
                  <a:pt x="45" y="26"/>
                </a:cubicBezTo>
                <a:cubicBezTo>
                  <a:pt x="45" y="27"/>
                  <a:pt x="45" y="26"/>
                  <a:pt x="45" y="27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4" y="27"/>
                  <a:pt x="44" y="27"/>
                </a:cubicBezTo>
                <a:cubicBezTo>
                  <a:pt x="44" y="27"/>
                  <a:pt x="44" y="27"/>
                  <a:pt x="44" y="27"/>
                </a:cubicBezTo>
                <a:cubicBezTo>
                  <a:pt x="44" y="27"/>
                  <a:pt x="44" y="27"/>
                  <a:pt x="45" y="27"/>
                </a:cubicBezTo>
                <a:close/>
                <a:moveTo>
                  <a:pt x="48" y="28"/>
                </a:moveTo>
                <a:cubicBezTo>
                  <a:pt x="48" y="28"/>
                  <a:pt x="48" y="28"/>
                  <a:pt x="48" y="29"/>
                </a:cubicBezTo>
                <a:cubicBezTo>
                  <a:pt x="48" y="28"/>
                  <a:pt x="48" y="28"/>
                  <a:pt x="48" y="28"/>
                </a:cubicBezTo>
                <a:cubicBezTo>
                  <a:pt x="48" y="28"/>
                  <a:pt x="48" y="28"/>
                  <a:pt x="48" y="28"/>
                </a:cubicBezTo>
                <a:close/>
                <a:moveTo>
                  <a:pt x="44" y="26"/>
                </a:moveTo>
                <a:cubicBezTo>
                  <a:pt x="44" y="26"/>
                  <a:pt x="44" y="26"/>
                  <a:pt x="44" y="26"/>
                </a:cubicBezTo>
                <a:cubicBezTo>
                  <a:pt x="44" y="27"/>
                  <a:pt x="44" y="26"/>
                  <a:pt x="44" y="27"/>
                </a:cubicBezTo>
                <a:cubicBezTo>
                  <a:pt x="44" y="27"/>
                  <a:pt x="44" y="26"/>
                  <a:pt x="44" y="26"/>
                </a:cubicBezTo>
                <a:close/>
                <a:moveTo>
                  <a:pt x="47" y="28"/>
                </a:moveTo>
                <a:cubicBezTo>
                  <a:pt x="47" y="28"/>
                  <a:pt x="47" y="28"/>
                  <a:pt x="47" y="28"/>
                </a:cubicBezTo>
                <a:cubicBezTo>
                  <a:pt x="47" y="28"/>
                  <a:pt x="47" y="28"/>
                  <a:pt x="47" y="28"/>
                </a:cubicBezTo>
                <a:cubicBezTo>
                  <a:pt x="47" y="28"/>
                  <a:pt x="47" y="28"/>
                  <a:pt x="47" y="28"/>
                </a:cubicBezTo>
                <a:close/>
                <a:moveTo>
                  <a:pt x="44" y="27"/>
                </a:moveTo>
                <a:cubicBezTo>
                  <a:pt x="44" y="27"/>
                  <a:pt x="44" y="27"/>
                  <a:pt x="44" y="27"/>
                </a:cubicBezTo>
                <a:cubicBezTo>
                  <a:pt x="44" y="27"/>
                  <a:pt x="44" y="27"/>
                  <a:pt x="44" y="27"/>
                </a:cubicBezTo>
                <a:close/>
                <a:moveTo>
                  <a:pt x="53" y="31"/>
                </a:moveTo>
                <a:cubicBezTo>
                  <a:pt x="53" y="31"/>
                  <a:pt x="53" y="31"/>
                  <a:pt x="53" y="31"/>
                </a:cubicBezTo>
                <a:cubicBezTo>
                  <a:pt x="53" y="31"/>
                  <a:pt x="53" y="32"/>
                  <a:pt x="53" y="32"/>
                </a:cubicBezTo>
                <a:cubicBezTo>
                  <a:pt x="53" y="32"/>
                  <a:pt x="52" y="32"/>
                  <a:pt x="52" y="32"/>
                </a:cubicBezTo>
                <a:cubicBezTo>
                  <a:pt x="52" y="32"/>
                  <a:pt x="52" y="32"/>
                  <a:pt x="52" y="32"/>
                </a:cubicBezTo>
                <a:cubicBezTo>
                  <a:pt x="52" y="32"/>
                  <a:pt x="53" y="32"/>
                  <a:pt x="53" y="31"/>
                </a:cubicBezTo>
                <a:close/>
                <a:moveTo>
                  <a:pt x="47" y="29"/>
                </a:moveTo>
                <a:cubicBezTo>
                  <a:pt x="47" y="29"/>
                  <a:pt x="47" y="30"/>
                  <a:pt x="46" y="30"/>
                </a:cubicBezTo>
                <a:cubicBezTo>
                  <a:pt x="47" y="29"/>
                  <a:pt x="47" y="29"/>
                  <a:pt x="47" y="29"/>
                </a:cubicBezTo>
                <a:close/>
                <a:moveTo>
                  <a:pt x="43" y="28"/>
                </a:moveTo>
                <a:cubicBezTo>
                  <a:pt x="43" y="27"/>
                  <a:pt x="43" y="27"/>
                  <a:pt x="43" y="27"/>
                </a:cubicBezTo>
                <a:cubicBezTo>
                  <a:pt x="44" y="27"/>
                  <a:pt x="44" y="27"/>
                  <a:pt x="44" y="27"/>
                </a:cubicBezTo>
                <a:lnTo>
                  <a:pt x="43" y="28"/>
                </a:lnTo>
                <a:close/>
                <a:moveTo>
                  <a:pt x="41" y="26"/>
                </a:moveTo>
                <a:cubicBezTo>
                  <a:pt x="41" y="26"/>
                  <a:pt x="41" y="26"/>
                  <a:pt x="41" y="26"/>
                </a:cubicBezTo>
                <a:cubicBezTo>
                  <a:pt x="41" y="26"/>
                  <a:pt x="41" y="26"/>
                  <a:pt x="41" y="27"/>
                </a:cubicBezTo>
                <a:cubicBezTo>
                  <a:pt x="41" y="26"/>
                  <a:pt x="41" y="26"/>
                  <a:pt x="41" y="26"/>
                </a:cubicBezTo>
                <a:close/>
                <a:moveTo>
                  <a:pt x="52" y="32"/>
                </a:moveTo>
                <a:cubicBezTo>
                  <a:pt x="52" y="32"/>
                  <a:pt x="52" y="32"/>
                  <a:pt x="52" y="32"/>
                </a:cubicBezTo>
                <a:cubicBezTo>
                  <a:pt x="52" y="32"/>
                  <a:pt x="52" y="32"/>
                  <a:pt x="52" y="32"/>
                </a:cubicBezTo>
                <a:cubicBezTo>
                  <a:pt x="52" y="32"/>
                  <a:pt x="52" y="32"/>
                  <a:pt x="52" y="32"/>
                </a:cubicBezTo>
                <a:close/>
                <a:moveTo>
                  <a:pt x="48" y="30"/>
                </a:moveTo>
                <a:cubicBezTo>
                  <a:pt x="48" y="30"/>
                  <a:pt x="48" y="30"/>
                  <a:pt x="48" y="30"/>
                </a:cubicBezTo>
                <a:cubicBezTo>
                  <a:pt x="48" y="30"/>
                  <a:pt x="48" y="30"/>
                  <a:pt x="48" y="30"/>
                </a:cubicBezTo>
                <a:cubicBezTo>
                  <a:pt x="48" y="30"/>
                  <a:pt x="48" y="30"/>
                  <a:pt x="48" y="30"/>
                </a:cubicBezTo>
                <a:cubicBezTo>
                  <a:pt x="48" y="30"/>
                  <a:pt x="48" y="30"/>
                  <a:pt x="48" y="30"/>
                </a:cubicBezTo>
                <a:close/>
                <a:moveTo>
                  <a:pt x="45" y="29"/>
                </a:moveTo>
                <a:cubicBezTo>
                  <a:pt x="45" y="29"/>
                  <a:pt x="45" y="29"/>
                  <a:pt x="44" y="29"/>
                </a:cubicBezTo>
                <a:cubicBezTo>
                  <a:pt x="45" y="28"/>
                  <a:pt x="45" y="28"/>
                  <a:pt x="45" y="28"/>
                </a:cubicBezTo>
                <a:cubicBezTo>
                  <a:pt x="45" y="28"/>
                  <a:pt x="45" y="28"/>
                  <a:pt x="45" y="29"/>
                </a:cubicBezTo>
                <a:close/>
                <a:moveTo>
                  <a:pt x="47" y="30"/>
                </a:moveTo>
                <a:cubicBezTo>
                  <a:pt x="47" y="30"/>
                  <a:pt x="47" y="30"/>
                  <a:pt x="47" y="30"/>
                </a:cubicBezTo>
                <a:cubicBezTo>
                  <a:pt x="47" y="30"/>
                  <a:pt x="47" y="30"/>
                  <a:pt x="47" y="30"/>
                </a:cubicBezTo>
                <a:cubicBezTo>
                  <a:pt x="47" y="30"/>
                  <a:pt x="47" y="30"/>
                  <a:pt x="47" y="30"/>
                </a:cubicBezTo>
                <a:cubicBezTo>
                  <a:pt x="47" y="30"/>
                  <a:pt x="47" y="30"/>
                  <a:pt x="46" y="30"/>
                </a:cubicBezTo>
                <a:cubicBezTo>
                  <a:pt x="47" y="30"/>
                  <a:pt x="46" y="30"/>
                  <a:pt x="47" y="30"/>
                </a:cubicBezTo>
                <a:close/>
                <a:moveTo>
                  <a:pt x="43" y="28"/>
                </a:moveTo>
                <a:cubicBezTo>
                  <a:pt x="43" y="28"/>
                  <a:pt x="43" y="29"/>
                  <a:pt x="43" y="29"/>
                </a:cubicBezTo>
                <a:cubicBezTo>
                  <a:pt x="43" y="28"/>
                  <a:pt x="43" y="28"/>
                  <a:pt x="43" y="28"/>
                </a:cubicBezTo>
                <a:close/>
                <a:moveTo>
                  <a:pt x="45" y="29"/>
                </a:moveTo>
                <a:cubicBezTo>
                  <a:pt x="45" y="29"/>
                  <a:pt x="45" y="29"/>
                  <a:pt x="45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45" y="29"/>
                  <a:pt x="45" y="29"/>
                  <a:pt x="45" y="29"/>
                </a:cubicBezTo>
                <a:close/>
                <a:moveTo>
                  <a:pt x="45" y="29"/>
                </a:moveTo>
                <a:cubicBezTo>
                  <a:pt x="45" y="29"/>
                  <a:pt x="45" y="30"/>
                  <a:pt x="45" y="30"/>
                </a:cubicBezTo>
                <a:cubicBezTo>
                  <a:pt x="44" y="30"/>
                  <a:pt x="44" y="30"/>
                  <a:pt x="44" y="30"/>
                </a:cubicBezTo>
                <a:cubicBezTo>
                  <a:pt x="44" y="30"/>
                  <a:pt x="45" y="30"/>
                  <a:pt x="45" y="29"/>
                </a:cubicBezTo>
                <a:close/>
                <a:moveTo>
                  <a:pt x="47" y="32"/>
                </a:moveTo>
                <a:cubicBezTo>
                  <a:pt x="47" y="31"/>
                  <a:pt x="47" y="31"/>
                  <a:pt x="47" y="31"/>
                </a:cubicBezTo>
                <a:cubicBezTo>
                  <a:pt x="47" y="31"/>
                  <a:pt x="47" y="31"/>
                  <a:pt x="47" y="31"/>
                </a:cubicBezTo>
                <a:cubicBezTo>
                  <a:pt x="47" y="31"/>
                  <a:pt x="47" y="31"/>
                  <a:pt x="47" y="32"/>
                </a:cubicBezTo>
                <a:close/>
                <a:moveTo>
                  <a:pt x="40" y="28"/>
                </a:moveTo>
                <a:cubicBezTo>
                  <a:pt x="40" y="29"/>
                  <a:pt x="40" y="29"/>
                  <a:pt x="40" y="29"/>
                </a:cubicBezTo>
                <a:cubicBezTo>
                  <a:pt x="40" y="29"/>
                  <a:pt x="40" y="29"/>
                  <a:pt x="40" y="29"/>
                </a:cubicBezTo>
                <a:cubicBezTo>
                  <a:pt x="40" y="28"/>
                  <a:pt x="40" y="28"/>
                  <a:pt x="40" y="28"/>
                </a:cubicBezTo>
                <a:cubicBezTo>
                  <a:pt x="40" y="28"/>
                  <a:pt x="40" y="28"/>
                  <a:pt x="40" y="28"/>
                </a:cubicBezTo>
                <a:cubicBezTo>
                  <a:pt x="40" y="28"/>
                  <a:pt x="40" y="28"/>
                  <a:pt x="40" y="28"/>
                </a:cubicBezTo>
                <a:cubicBezTo>
                  <a:pt x="40" y="28"/>
                  <a:pt x="40" y="28"/>
                  <a:pt x="40" y="28"/>
                </a:cubicBezTo>
                <a:cubicBezTo>
                  <a:pt x="40" y="28"/>
                  <a:pt x="40" y="28"/>
                  <a:pt x="40" y="28"/>
                </a:cubicBezTo>
                <a:close/>
                <a:moveTo>
                  <a:pt x="46" y="32"/>
                </a:moveTo>
                <a:cubicBezTo>
                  <a:pt x="47" y="32"/>
                  <a:pt x="47" y="32"/>
                  <a:pt x="47" y="32"/>
                </a:cubicBezTo>
                <a:cubicBezTo>
                  <a:pt x="47" y="32"/>
                  <a:pt x="47" y="32"/>
                  <a:pt x="47" y="32"/>
                </a:cubicBezTo>
                <a:cubicBezTo>
                  <a:pt x="47" y="32"/>
                  <a:pt x="47" y="32"/>
                  <a:pt x="47" y="32"/>
                </a:cubicBezTo>
                <a:cubicBezTo>
                  <a:pt x="47" y="32"/>
                  <a:pt x="47" y="32"/>
                  <a:pt x="46" y="32"/>
                </a:cubicBezTo>
                <a:close/>
                <a:moveTo>
                  <a:pt x="49" y="33"/>
                </a:moveTo>
                <a:cubicBezTo>
                  <a:pt x="50" y="34"/>
                  <a:pt x="49" y="34"/>
                  <a:pt x="49" y="34"/>
                </a:cubicBezTo>
                <a:cubicBezTo>
                  <a:pt x="49" y="34"/>
                  <a:pt x="49" y="34"/>
                  <a:pt x="49" y="33"/>
                </a:cubicBezTo>
                <a:close/>
                <a:moveTo>
                  <a:pt x="47" y="32"/>
                </a:moveTo>
                <a:cubicBezTo>
                  <a:pt x="46" y="32"/>
                  <a:pt x="46" y="33"/>
                  <a:pt x="46" y="33"/>
                </a:cubicBezTo>
                <a:cubicBezTo>
                  <a:pt x="46" y="32"/>
                  <a:pt x="46" y="32"/>
                  <a:pt x="46" y="33"/>
                </a:cubicBezTo>
                <a:cubicBezTo>
                  <a:pt x="46" y="32"/>
                  <a:pt x="46" y="32"/>
                  <a:pt x="46" y="32"/>
                </a:cubicBezTo>
                <a:cubicBezTo>
                  <a:pt x="46" y="32"/>
                  <a:pt x="46" y="32"/>
                  <a:pt x="47" y="32"/>
                </a:cubicBezTo>
                <a:close/>
                <a:moveTo>
                  <a:pt x="44" y="32"/>
                </a:moveTo>
                <a:cubicBezTo>
                  <a:pt x="44" y="31"/>
                  <a:pt x="44" y="31"/>
                  <a:pt x="44" y="31"/>
                </a:cubicBezTo>
                <a:cubicBezTo>
                  <a:pt x="44" y="31"/>
                  <a:pt x="44" y="31"/>
                  <a:pt x="44" y="31"/>
                </a:cubicBezTo>
                <a:cubicBezTo>
                  <a:pt x="44" y="32"/>
                  <a:pt x="44" y="31"/>
                  <a:pt x="44" y="32"/>
                </a:cubicBezTo>
                <a:close/>
                <a:moveTo>
                  <a:pt x="42" y="30"/>
                </a:moveTo>
                <a:cubicBezTo>
                  <a:pt x="42" y="30"/>
                  <a:pt x="42" y="30"/>
                  <a:pt x="42" y="30"/>
                </a:cubicBezTo>
                <a:cubicBezTo>
                  <a:pt x="42" y="30"/>
                  <a:pt x="42" y="30"/>
                  <a:pt x="42" y="30"/>
                </a:cubicBezTo>
                <a:close/>
                <a:moveTo>
                  <a:pt x="45" y="33"/>
                </a:moveTo>
                <a:cubicBezTo>
                  <a:pt x="45" y="32"/>
                  <a:pt x="45" y="32"/>
                  <a:pt x="46" y="32"/>
                </a:cubicBezTo>
                <a:cubicBezTo>
                  <a:pt x="46" y="32"/>
                  <a:pt x="45" y="33"/>
                  <a:pt x="45" y="33"/>
                </a:cubicBezTo>
                <a:close/>
                <a:moveTo>
                  <a:pt x="46" y="33"/>
                </a:moveTo>
                <a:cubicBezTo>
                  <a:pt x="46" y="33"/>
                  <a:pt x="47" y="33"/>
                  <a:pt x="47" y="33"/>
                </a:cubicBezTo>
                <a:cubicBezTo>
                  <a:pt x="47" y="33"/>
                  <a:pt x="47" y="33"/>
                  <a:pt x="47" y="33"/>
                </a:cubicBezTo>
                <a:cubicBezTo>
                  <a:pt x="47" y="33"/>
                  <a:pt x="46" y="33"/>
                  <a:pt x="46" y="33"/>
                </a:cubicBezTo>
                <a:close/>
                <a:moveTo>
                  <a:pt x="45" y="32"/>
                </a:moveTo>
                <a:cubicBezTo>
                  <a:pt x="45" y="32"/>
                  <a:pt x="45" y="32"/>
                  <a:pt x="45" y="32"/>
                </a:cubicBezTo>
                <a:cubicBezTo>
                  <a:pt x="45" y="32"/>
                  <a:pt x="45" y="32"/>
                  <a:pt x="45" y="32"/>
                </a:cubicBezTo>
                <a:cubicBezTo>
                  <a:pt x="45" y="32"/>
                  <a:pt x="45" y="32"/>
                  <a:pt x="45" y="32"/>
                </a:cubicBezTo>
                <a:cubicBezTo>
                  <a:pt x="45" y="32"/>
                  <a:pt x="45" y="32"/>
                  <a:pt x="45" y="33"/>
                </a:cubicBezTo>
                <a:cubicBezTo>
                  <a:pt x="45" y="32"/>
                  <a:pt x="45" y="32"/>
                  <a:pt x="45" y="32"/>
                </a:cubicBezTo>
                <a:close/>
                <a:moveTo>
                  <a:pt x="48" y="34"/>
                </a:moveTo>
                <a:cubicBezTo>
                  <a:pt x="48" y="33"/>
                  <a:pt x="48" y="33"/>
                  <a:pt x="48" y="33"/>
                </a:cubicBezTo>
                <a:cubicBezTo>
                  <a:pt x="48" y="33"/>
                  <a:pt x="48" y="34"/>
                  <a:pt x="48" y="34"/>
                </a:cubicBezTo>
                <a:close/>
                <a:moveTo>
                  <a:pt x="44" y="32"/>
                </a:moveTo>
                <a:cubicBezTo>
                  <a:pt x="44" y="32"/>
                  <a:pt x="44" y="32"/>
                  <a:pt x="44" y="32"/>
                </a:cubicBezTo>
                <a:cubicBezTo>
                  <a:pt x="44" y="32"/>
                  <a:pt x="44" y="32"/>
                  <a:pt x="44" y="32"/>
                </a:cubicBezTo>
                <a:cubicBezTo>
                  <a:pt x="43" y="32"/>
                  <a:pt x="44" y="32"/>
                  <a:pt x="44" y="32"/>
                </a:cubicBezTo>
                <a:close/>
                <a:moveTo>
                  <a:pt x="46" y="34"/>
                </a:moveTo>
                <a:cubicBezTo>
                  <a:pt x="45" y="34"/>
                  <a:pt x="46" y="33"/>
                  <a:pt x="46" y="33"/>
                </a:cubicBezTo>
                <a:cubicBezTo>
                  <a:pt x="46" y="33"/>
                  <a:pt x="46" y="33"/>
                  <a:pt x="46" y="33"/>
                </a:cubicBezTo>
                <a:cubicBezTo>
                  <a:pt x="46" y="33"/>
                  <a:pt x="46" y="34"/>
                  <a:pt x="46" y="34"/>
                </a:cubicBezTo>
                <a:close/>
                <a:moveTo>
                  <a:pt x="41" y="31"/>
                </a:moveTo>
                <a:cubicBezTo>
                  <a:pt x="41" y="31"/>
                  <a:pt x="42" y="31"/>
                  <a:pt x="41" y="31"/>
                </a:cubicBezTo>
                <a:cubicBezTo>
                  <a:pt x="41" y="31"/>
                  <a:pt x="41" y="31"/>
                  <a:pt x="41" y="31"/>
                </a:cubicBezTo>
                <a:cubicBezTo>
                  <a:pt x="41" y="31"/>
                  <a:pt x="41" y="31"/>
                  <a:pt x="41" y="31"/>
                </a:cubicBezTo>
                <a:cubicBezTo>
                  <a:pt x="41" y="31"/>
                  <a:pt x="41" y="31"/>
                  <a:pt x="41" y="31"/>
                </a:cubicBezTo>
                <a:cubicBezTo>
                  <a:pt x="41" y="31"/>
                  <a:pt x="41" y="31"/>
                  <a:pt x="41" y="31"/>
                </a:cubicBezTo>
                <a:close/>
                <a:moveTo>
                  <a:pt x="45" y="33"/>
                </a:moveTo>
                <a:cubicBezTo>
                  <a:pt x="45" y="33"/>
                  <a:pt x="45" y="33"/>
                  <a:pt x="45" y="33"/>
                </a:cubicBezTo>
                <a:cubicBezTo>
                  <a:pt x="45" y="33"/>
                  <a:pt x="45" y="33"/>
                  <a:pt x="45" y="33"/>
                </a:cubicBezTo>
                <a:cubicBezTo>
                  <a:pt x="45" y="33"/>
                  <a:pt x="45" y="33"/>
                  <a:pt x="45" y="33"/>
                </a:cubicBezTo>
                <a:cubicBezTo>
                  <a:pt x="45" y="33"/>
                  <a:pt x="45" y="33"/>
                  <a:pt x="45" y="33"/>
                </a:cubicBezTo>
                <a:cubicBezTo>
                  <a:pt x="45" y="33"/>
                  <a:pt x="45" y="33"/>
                  <a:pt x="45" y="33"/>
                </a:cubicBezTo>
                <a:close/>
                <a:moveTo>
                  <a:pt x="45" y="33"/>
                </a:moveTo>
                <a:cubicBezTo>
                  <a:pt x="45" y="34"/>
                  <a:pt x="45" y="34"/>
                  <a:pt x="45" y="34"/>
                </a:cubicBezTo>
                <a:cubicBezTo>
                  <a:pt x="44" y="34"/>
                  <a:pt x="45" y="34"/>
                  <a:pt x="45" y="33"/>
                </a:cubicBezTo>
                <a:close/>
                <a:moveTo>
                  <a:pt x="40" y="31"/>
                </a:moveTo>
                <a:cubicBezTo>
                  <a:pt x="40" y="31"/>
                  <a:pt x="40" y="31"/>
                  <a:pt x="40" y="31"/>
                </a:cubicBezTo>
                <a:cubicBezTo>
                  <a:pt x="40" y="31"/>
                  <a:pt x="40" y="31"/>
                  <a:pt x="39" y="31"/>
                </a:cubicBezTo>
                <a:cubicBezTo>
                  <a:pt x="39" y="31"/>
                  <a:pt x="40" y="31"/>
                  <a:pt x="40" y="31"/>
                </a:cubicBezTo>
                <a:close/>
                <a:moveTo>
                  <a:pt x="43" y="33"/>
                </a:moveTo>
                <a:cubicBezTo>
                  <a:pt x="43" y="33"/>
                  <a:pt x="43" y="33"/>
                  <a:pt x="43" y="33"/>
                </a:cubicBezTo>
                <a:cubicBezTo>
                  <a:pt x="43" y="33"/>
                  <a:pt x="43" y="33"/>
                  <a:pt x="43" y="33"/>
                </a:cubicBezTo>
                <a:cubicBezTo>
                  <a:pt x="43" y="33"/>
                  <a:pt x="43" y="33"/>
                  <a:pt x="43" y="33"/>
                </a:cubicBezTo>
                <a:close/>
                <a:moveTo>
                  <a:pt x="45" y="34"/>
                </a:moveTo>
                <a:cubicBezTo>
                  <a:pt x="45" y="34"/>
                  <a:pt x="45" y="34"/>
                  <a:pt x="45" y="34"/>
                </a:cubicBezTo>
                <a:cubicBezTo>
                  <a:pt x="45" y="34"/>
                  <a:pt x="45" y="34"/>
                  <a:pt x="45" y="34"/>
                </a:cubicBezTo>
                <a:close/>
                <a:moveTo>
                  <a:pt x="41" y="32"/>
                </a:moveTo>
                <a:cubicBezTo>
                  <a:pt x="41" y="32"/>
                  <a:pt x="41" y="32"/>
                  <a:pt x="41" y="32"/>
                </a:cubicBezTo>
                <a:cubicBezTo>
                  <a:pt x="41" y="32"/>
                  <a:pt x="41" y="32"/>
                  <a:pt x="41" y="32"/>
                </a:cubicBezTo>
                <a:cubicBezTo>
                  <a:pt x="41" y="32"/>
                  <a:pt x="41" y="32"/>
                  <a:pt x="41" y="32"/>
                </a:cubicBezTo>
                <a:close/>
                <a:moveTo>
                  <a:pt x="42" y="33"/>
                </a:moveTo>
                <a:cubicBezTo>
                  <a:pt x="42" y="33"/>
                  <a:pt x="42" y="33"/>
                  <a:pt x="42" y="33"/>
                </a:cubicBezTo>
                <a:cubicBezTo>
                  <a:pt x="42" y="33"/>
                  <a:pt x="42" y="33"/>
                  <a:pt x="42" y="33"/>
                </a:cubicBezTo>
                <a:close/>
                <a:moveTo>
                  <a:pt x="44" y="34"/>
                </a:moveTo>
                <a:cubicBezTo>
                  <a:pt x="44" y="34"/>
                  <a:pt x="44" y="34"/>
                  <a:pt x="44" y="35"/>
                </a:cubicBezTo>
                <a:cubicBezTo>
                  <a:pt x="44" y="35"/>
                  <a:pt x="44" y="35"/>
                  <a:pt x="44" y="35"/>
                </a:cubicBezTo>
                <a:cubicBezTo>
                  <a:pt x="44" y="35"/>
                  <a:pt x="44" y="35"/>
                  <a:pt x="44" y="34"/>
                </a:cubicBezTo>
                <a:cubicBezTo>
                  <a:pt x="44" y="34"/>
                  <a:pt x="44" y="35"/>
                  <a:pt x="44" y="34"/>
                </a:cubicBezTo>
                <a:cubicBezTo>
                  <a:pt x="44" y="34"/>
                  <a:pt x="44" y="34"/>
                  <a:pt x="44" y="34"/>
                </a:cubicBezTo>
                <a:close/>
                <a:moveTo>
                  <a:pt x="47" y="36"/>
                </a:moveTo>
                <a:cubicBezTo>
                  <a:pt x="47" y="36"/>
                  <a:pt x="47" y="36"/>
                  <a:pt x="47" y="36"/>
                </a:cubicBezTo>
                <a:cubicBezTo>
                  <a:pt x="47" y="36"/>
                  <a:pt x="47" y="36"/>
                  <a:pt x="47" y="36"/>
                </a:cubicBezTo>
                <a:cubicBezTo>
                  <a:pt x="47" y="36"/>
                  <a:pt x="47" y="36"/>
                  <a:pt x="47" y="36"/>
                </a:cubicBezTo>
                <a:close/>
                <a:moveTo>
                  <a:pt x="41" y="33"/>
                </a:moveTo>
                <a:cubicBezTo>
                  <a:pt x="41" y="33"/>
                  <a:pt x="41" y="33"/>
                  <a:pt x="41" y="33"/>
                </a:cubicBezTo>
                <a:cubicBezTo>
                  <a:pt x="41" y="33"/>
                  <a:pt x="41" y="33"/>
                  <a:pt x="41" y="33"/>
                </a:cubicBezTo>
                <a:cubicBezTo>
                  <a:pt x="41" y="33"/>
                  <a:pt x="41" y="33"/>
                  <a:pt x="41" y="33"/>
                </a:cubicBezTo>
                <a:close/>
                <a:moveTo>
                  <a:pt x="49" y="37"/>
                </a:moveTo>
                <a:cubicBezTo>
                  <a:pt x="49" y="37"/>
                  <a:pt x="49" y="37"/>
                  <a:pt x="49" y="38"/>
                </a:cubicBezTo>
                <a:cubicBezTo>
                  <a:pt x="49" y="37"/>
                  <a:pt x="49" y="37"/>
                  <a:pt x="49" y="37"/>
                </a:cubicBezTo>
                <a:cubicBezTo>
                  <a:pt x="49" y="37"/>
                  <a:pt x="49" y="37"/>
                  <a:pt x="49" y="38"/>
                </a:cubicBezTo>
                <a:cubicBezTo>
                  <a:pt x="49" y="37"/>
                  <a:pt x="49" y="37"/>
                  <a:pt x="49" y="37"/>
                </a:cubicBezTo>
                <a:cubicBezTo>
                  <a:pt x="49" y="37"/>
                  <a:pt x="49" y="37"/>
                  <a:pt x="49" y="37"/>
                </a:cubicBezTo>
                <a:close/>
                <a:moveTo>
                  <a:pt x="43" y="34"/>
                </a:moveTo>
                <a:cubicBezTo>
                  <a:pt x="42" y="34"/>
                  <a:pt x="42" y="34"/>
                  <a:pt x="42" y="34"/>
                </a:cubicBezTo>
                <a:cubicBezTo>
                  <a:pt x="42" y="34"/>
                  <a:pt x="42" y="34"/>
                  <a:pt x="42" y="34"/>
                </a:cubicBezTo>
                <a:cubicBezTo>
                  <a:pt x="43" y="34"/>
                  <a:pt x="42" y="34"/>
                  <a:pt x="43" y="34"/>
                </a:cubicBezTo>
                <a:close/>
                <a:moveTo>
                  <a:pt x="42" y="34"/>
                </a:moveTo>
                <a:cubicBezTo>
                  <a:pt x="42" y="34"/>
                  <a:pt x="42" y="34"/>
                  <a:pt x="42" y="34"/>
                </a:cubicBezTo>
                <a:cubicBezTo>
                  <a:pt x="42" y="34"/>
                  <a:pt x="42" y="34"/>
                  <a:pt x="42" y="34"/>
                </a:cubicBezTo>
                <a:cubicBezTo>
                  <a:pt x="42" y="34"/>
                  <a:pt x="42" y="34"/>
                  <a:pt x="42" y="34"/>
                </a:cubicBezTo>
                <a:cubicBezTo>
                  <a:pt x="42" y="34"/>
                  <a:pt x="42" y="34"/>
                  <a:pt x="42" y="34"/>
                </a:cubicBezTo>
                <a:close/>
                <a:moveTo>
                  <a:pt x="42" y="34"/>
                </a:moveTo>
                <a:cubicBezTo>
                  <a:pt x="42" y="34"/>
                  <a:pt x="42" y="34"/>
                  <a:pt x="42" y="34"/>
                </a:cubicBezTo>
                <a:cubicBezTo>
                  <a:pt x="42" y="34"/>
                  <a:pt x="42" y="34"/>
                  <a:pt x="42" y="34"/>
                </a:cubicBezTo>
                <a:cubicBezTo>
                  <a:pt x="41" y="34"/>
                  <a:pt x="42" y="34"/>
                  <a:pt x="42" y="34"/>
                </a:cubicBezTo>
                <a:cubicBezTo>
                  <a:pt x="42" y="34"/>
                  <a:pt x="42" y="34"/>
                  <a:pt x="42" y="34"/>
                </a:cubicBezTo>
                <a:close/>
                <a:moveTo>
                  <a:pt x="44" y="35"/>
                </a:moveTo>
                <a:cubicBezTo>
                  <a:pt x="44" y="35"/>
                  <a:pt x="43" y="35"/>
                  <a:pt x="43" y="36"/>
                </a:cubicBezTo>
                <a:cubicBezTo>
                  <a:pt x="43" y="36"/>
                  <a:pt x="43" y="36"/>
                  <a:pt x="43" y="36"/>
                </a:cubicBezTo>
                <a:cubicBezTo>
                  <a:pt x="43" y="36"/>
                  <a:pt x="43" y="36"/>
                  <a:pt x="43" y="36"/>
                </a:cubicBezTo>
                <a:cubicBezTo>
                  <a:pt x="43" y="36"/>
                  <a:pt x="43" y="35"/>
                  <a:pt x="43" y="35"/>
                </a:cubicBezTo>
                <a:cubicBezTo>
                  <a:pt x="44" y="35"/>
                  <a:pt x="44" y="35"/>
                  <a:pt x="44" y="35"/>
                </a:cubicBezTo>
                <a:cubicBezTo>
                  <a:pt x="44" y="35"/>
                  <a:pt x="44" y="35"/>
                  <a:pt x="44" y="35"/>
                </a:cubicBezTo>
                <a:close/>
                <a:moveTo>
                  <a:pt x="49" y="39"/>
                </a:moveTo>
                <a:cubicBezTo>
                  <a:pt x="49" y="38"/>
                  <a:pt x="49" y="38"/>
                  <a:pt x="49" y="38"/>
                </a:cubicBezTo>
                <a:cubicBezTo>
                  <a:pt x="49" y="38"/>
                  <a:pt x="49" y="38"/>
                  <a:pt x="49" y="39"/>
                </a:cubicBezTo>
                <a:close/>
                <a:moveTo>
                  <a:pt x="42" y="35"/>
                </a:moveTo>
                <a:cubicBezTo>
                  <a:pt x="42" y="35"/>
                  <a:pt x="42" y="35"/>
                  <a:pt x="42" y="35"/>
                </a:cubicBezTo>
                <a:cubicBezTo>
                  <a:pt x="42" y="35"/>
                  <a:pt x="42" y="35"/>
                  <a:pt x="42" y="35"/>
                </a:cubicBezTo>
                <a:cubicBezTo>
                  <a:pt x="42" y="35"/>
                  <a:pt x="42" y="35"/>
                  <a:pt x="42" y="35"/>
                </a:cubicBezTo>
                <a:close/>
                <a:moveTo>
                  <a:pt x="42" y="36"/>
                </a:moveTo>
                <a:cubicBezTo>
                  <a:pt x="42" y="36"/>
                  <a:pt x="42" y="35"/>
                  <a:pt x="42" y="35"/>
                </a:cubicBezTo>
                <a:cubicBezTo>
                  <a:pt x="43" y="35"/>
                  <a:pt x="42" y="36"/>
                  <a:pt x="42" y="36"/>
                </a:cubicBezTo>
                <a:close/>
                <a:moveTo>
                  <a:pt x="45" y="37"/>
                </a:moveTo>
                <a:cubicBezTo>
                  <a:pt x="45" y="37"/>
                  <a:pt x="45" y="37"/>
                  <a:pt x="45" y="37"/>
                </a:cubicBezTo>
                <a:cubicBezTo>
                  <a:pt x="45" y="37"/>
                  <a:pt x="45" y="37"/>
                  <a:pt x="45" y="37"/>
                </a:cubicBezTo>
                <a:cubicBezTo>
                  <a:pt x="45" y="37"/>
                  <a:pt x="45" y="37"/>
                  <a:pt x="44" y="37"/>
                </a:cubicBezTo>
                <a:cubicBezTo>
                  <a:pt x="44" y="37"/>
                  <a:pt x="44" y="37"/>
                  <a:pt x="45" y="37"/>
                </a:cubicBezTo>
                <a:close/>
                <a:moveTo>
                  <a:pt x="48" y="38"/>
                </a:moveTo>
                <a:cubicBezTo>
                  <a:pt x="48" y="38"/>
                  <a:pt x="48" y="38"/>
                  <a:pt x="48" y="38"/>
                </a:cubicBezTo>
                <a:cubicBezTo>
                  <a:pt x="48" y="39"/>
                  <a:pt x="48" y="39"/>
                  <a:pt x="48" y="39"/>
                </a:cubicBezTo>
                <a:cubicBezTo>
                  <a:pt x="48" y="39"/>
                  <a:pt x="48" y="39"/>
                  <a:pt x="48" y="39"/>
                </a:cubicBezTo>
                <a:cubicBezTo>
                  <a:pt x="48" y="39"/>
                  <a:pt x="48" y="39"/>
                  <a:pt x="48" y="38"/>
                </a:cubicBezTo>
                <a:close/>
                <a:moveTo>
                  <a:pt x="41" y="35"/>
                </a:moveTo>
                <a:cubicBezTo>
                  <a:pt x="41" y="35"/>
                  <a:pt x="41" y="36"/>
                  <a:pt x="41" y="36"/>
                </a:cubicBezTo>
                <a:cubicBezTo>
                  <a:pt x="41" y="36"/>
                  <a:pt x="41" y="35"/>
                  <a:pt x="41" y="35"/>
                </a:cubicBezTo>
                <a:close/>
                <a:moveTo>
                  <a:pt x="37" y="34"/>
                </a:moveTo>
                <a:cubicBezTo>
                  <a:pt x="37" y="34"/>
                  <a:pt x="37" y="34"/>
                  <a:pt x="37" y="33"/>
                </a:cubicBezTo>
                <a:cubicBezTo>
                  <a:pt x="38" y="33"/>
                  <a:pt x="37" y="34"/>
                  <a:pt x="37" y="34"/>
                </a:cubicBezTo>
                <a:close/>
                <a:moveTo>
                  <a:pt x="44" y="37"/>
                </a:moveTo>
                <a:cubicBezTo>
                  <a:pt x="44" y="37"/>
                  <a:pt x="44" y="37"/>
                  <a:pt x="44" y="37"/>
                </a:cubicBezTo>
                <a:cubicBezTo>
                  <a:pt x="44" y="37"/>
                  <a:pt x="44" y="37"/>
                  <a:pt x="44" y="37"/>
                </a:cubicBezTo>
                <a:close/>
                <a:moveTo>
                  <a:pt x="48" y="39"/>
                </a:moveTo>
                <a:cubicBezTo>
                  <a:pt x="48" y="39"/>
                  <a:pt x="48" y="39"/>
                  <a:pt x="48" y="39"/>
                </a:cubicBezTo>
                <a:cubicBezTo>
                  <a:pt x="49" y="39"/>
                  <a:pt x="48" y="39"/>
                  <a:pt x="48" y="39"/>
                </a:cubicBezTo>
                <a:cubicBezTo>
                  <a:pt x="48" y="39"/>
                  <a:pt x="48" y="39"/>
                  <a:pt x="48" y="39"/>
                </a:cubicBezTo>
                <a:cubicBezTo>
                  <a:pt x="48" y="39"/>
                  <a:pt x="48" y="39"/>
                  <a:pt x="48" y="39"/>
                </a:cubicBezTo>
                <a:close/>
                <a:moveTo>
                  <a:pt x="48" y="39"/>
                </a:moveTo>
                <a:cubicBezTo>
                  <a:pt x="48" y="39"/>
                  <a:pt x="48" y="39"/>
                  <a:pt x="48" y="39"/>
                </a:cubicBezTo>
                <a:cubicBezTo>
                  <a:pt x="48" y="39"/>
                  <a:pt x="48" y="39"/>
                  <a:pt x="48" y="39"/>
                </a:cubicBezTo>
                <a:cubicBezTo>
                  <a:pt x="48" y="39"/>
                  <a:pt x="48" y="39"/>
                  <a:pt x="48" y="40"/>
                </a:cubicBezTo>
                <a:cubicBezTo>
                  <a:pt x="48" y="39"/>
                  <a:pt x="48" y="39"/>
                  <a:pt x="48" y="39"/>
                </a:cubicBezTo>
                <a:cubicBezTo>
                  <a:pt x="48" y="40"/>
                  <a:pt x="47" y="40"/>
                  <a:pt x="47" y="40"/>
                </a:cubicBezTo>
                <a:cubicBezTo>
                  <a:pt x="47" y="40"/>
                  <a:pt x="48" y="39"/>
                  <a:pt x="48" y="39"/>
                </a:cubicBezTo>
                <a:close/>
                <a:moveTo>
                  <a:pt x="41" y="36"/>
                </a:moveTo>
                <a:cubicBezTo>
                  <a:pt x="41" y="36"/>
                  <a:pt x="41" y="36"/>
                  <a:pt x="41" y="36"/>
                </a:cubicBezTo>
                <a:cubicBezTo>
                  <a:pt x="41" y="36"/>
                  <a:pt x="41" y="36"/>
                  <a:pt x="41" y="37"/>
                </a:cubicBezTo>
                <a:lnTo>
                  <a:pt x="41" y="36"/>
                </a:lnTo>
                <a:close/>
                <a:moveTo>
                  <a:pt x="48" y="39"/>
                </a:moveTo>
                <a:cubicBezTo>
                  <a:pt x="48" y="40"/>
                  <a:pt x="48" y="40"/>
                  <a:pt x="48" y="40"/>
                </a:cubicBezTo>
                <a:cubicBezTo>
                  <a:pt x="48" y="40"/>
                  <a:pt x="48" y="40"/>
                  <a:pt x="48" y="39"/>
                </a:cubicBezTo>
                <a:close/>
                <a:moveTo>
                  <a:pt x="41" y="37"/>
                </a:moveTo>
                <a:cubicBezTo>
                  <a:pt x="41" y="37"/>
                  <a:pt x="41" y="37"/>
                  <a:pt x="41" y="37"/>
                </a:cubicBezTo>
                <a:cubicBezTo>
                  <a:pt x="41" y="37"/>
                  <a:pt x="41" y="37"/>
                  <a:pt x="41" y="37"/>
                </a:cubicBezTo>
                <a:cubicBezTo>
                  <a:pt x="41" y="37"/>
                  <a:pt x="41" y="37"/>
                  <a:pt x="41" y="37"/>
                </a:cubicBezTo>
                <a:close/>
                <a:moveTo>
                  <a:pt x="42" y="38"/>
                </a:moveTo>
                <a:cubicBezTo>
                  <a:pt x="42" y="38"/>
                  <a:pt x="42" y="38"/>
                  <a:pt x="42" y="38"/>
                </a:cubicBezTo>
                <a:cubicBezTo>
                  <a:pt x="42" y="38"/>
                  <a:pt x="42" y="37"/>
                  <a:pt x="42" y="37"/>
                </a:cubicBezTo>
                <a:cubicBezTo>
                  <a:pt x="42" y="38"/>
                  <a:pt x="42" y="37"/>
                  <a:pt x="43" y="37"/>
                </a:cubicBezTo>
                <a:cubicBezTo>
                  <a:pt x="42" y="38"/>
                  <a:pt x="42" y="38"/>
                  <a:pt x="42" y="38"/>
                </a:cubicBezTo>
                <a:cubicBezTo>
                  <a:pt x="42" y="38"/>
                  <a:pt x="42" y="38"/>
                  <a:pt x="42" y="38"/>
                </a:cubicBezTo>
                <a:cubicBezTo>
                  <a:pt x="42" y="38"/>
                  <a:pt x="42" y="38"/>
                  <a:pt x="42" y="38"/>
                </a:cubicBezTo>
                <a:cubicBezTo>
                  <a:pt x="42" y="38"/>
                  <a:pt x="42" y="38"/>
                  <a:pt x="42" y="38"/>
                </a:cubicBezTo>
                <a:cubicBezTo>
                  <a:pt x="42" y="38"/>
                  <a:pt x="42" y="38"/>
                  <a:pt x="42" y="38"/>
                </a:cubicBezTo>
                <a:close/>
                <a:moveTo>
                  <a:pt x="48" y="40"/>
                </a:moveTo>
                <a:cubicBezTo>
                  <a:pt x="48" y="40"/>
                  <a:pt x="48" y="40"/>
                  <a:pt x="48" y="40"/>
                </a:cubicBezTo>
                <a:cubicBezTo>
                  <a:pt x="48" y="41"/>
                  <a:pt x="48" y="40"/>
                  <a:pt x="48" y="40"/>
                </a:cubicBezTo>
                <a:close/>
                <a:moveTo>
                  <a:pt x="46" y="40"/>
                </a:moveTo>
                <a:cubicBezTo>
                  <a:pt x="46" y="40"/>
                  <a:pt x="46" y="40"/>
                  <a:pt x="46" y="40"/>
                </a:cubicBezTo>
                <a:cubicBezTo>
                  <a:pt x="46" y="40"/>
                  <a:pt x="46" y="40"/>
                  <a:pt x="46" y="40"/>
                </a:cubicBezTo>
                <a:cubicBezTo>
                  <a:pt x="46" y="40"/>
                  <a:pt x="46" y="40"/>
                  <a:pt x="46" y="40"/>
                </a:cubicBezTo>
                <a:cubicBezTo>
                  <a:pt x="46" y="40"/>
                  <a:pt x="46" y="40"/>
                  <a:pt x="46" y="40"/>
                </a:cubicBezTo>
                <a:cubicBezTo>
                  <a:pt x="46" y="40"/>
                  <a:pt x="46" y="41"/>
                  <a:pt x="46" y="41"/>
                </a:cubicBezTo>
                <a:cubicBezTo>
                  <a:pt x="46" y="41"/>
                  <a:pt x="46" y="40"/>
                  <a:pt x="46" y="40"/>
                </a:cubicBezTo>
                <a:cubicBezTo>
                  <a:pt x="46" y="40"/>
                  <a:pt x="46" y="40"/>
                  <a:pt x="46" y="40"/>
                </a:cubicBezTo>
                <a:cubicBezTo>
                  <a:pt x="46" y="40"/>
                  <a:pt x="46" y="40"/>
                  <a:pt x="46" y="39"/>
                </a:cubicBezTo>
                <a:cubicBezTo>
                  <a:pt x="46" y="39"/>
                  <a:pt x="46" y="40"/>
                  <a:pt x="46" y="40"/>
                </a:cubicBezTo>
                <a:cubicBezTo>
                  <a:pt x="46" y="40"/>
                  <a:pt x="46" y="40"/>
                  <a:pt x="46" y="40"/>
                </a:cubicBezTo>
                <a:cubicBezTo>
                  <a:pt x="46" y="40"/>
                  <a:pt x="46" y="40"/>
                  <a:pt x="46" y="40"/>
                </a:cubicBezTo>
                <a:cubicBezTo>
                  <a:pt x="46" y="40"/>
                  <a:pt x="46" y="40"/>
                  <a:pt x="46" y="40"/>
                </a:cubicBezTo>
                <a:cubicBezTo>
                  <a:pt x="46" y="40"/>
                  <a:pt x="46" y="40"/>
                  <a:pt x="46" y="40"/>
                </a:cubicBezTo>
                <a:close/>
                <a:moveTo>
                  <a:pt x="47" y="41"/>
                </a:moveTo>
                <a:cubicBezTo>
                  <a:pt x="47" y="40"/>
                  <a:pt x="47" y="40"/>
                  <a:pt x="47" y="40"/>
                </a:cubicBezTo>
                <a:cubicBezTo>
                  <a:pt x="47" y="40"/>
                  <a:pt x="47" y="40"/>
                  <a:pt x="47" y="40"/>
                </a:cubicBezTo>
                <a:cubicBezTo>
                  <a:pt x="47" y="40"/>
                  <a:pt x="47" y="40"/>
                  <a:pt x="47" y="40"/>
                </a:cubicBezTo>
                <a:cubicBezTo>
                  <a:pt x="47" y="40"/>
                  <a:pt x="47" y="40"/>
                  <a:pt x="47" y="40"/>
                </a:cubicBezTo>
                <a:cubicBezTo>
                  <a:pt x="47" y="40"/>
                  <a:pt x="47" y="40"/>
                  <a:pt x="48" y="40"/>
                </a:cubicBezTo>
                <a:cubicBezTo>
                  <a:pt x="48" y="40"/>
                  <a:pt x="47" y="40"/>
                  <a:pt x="47" y="40"/>
                </a:cubicBezTo>
                <a:cubicBezTo>
                  <a:pt x="47" y="41"/>
                  <a:pt x="47" y="41"/>
                  <a:pt x="47" y="41"/>
                </a:cubicBezTo>
                <a:cubicBezTo>
                  <a:pt x="47" y="41"/>
                  <a:pt x="47" y="41"/>
                  <a:pt x="47" y="41"/>
                </a:cubicBezTo>
                <a:cubicBezTo>
                  <a:pt x="47" y="41"/>
                  <a:pt x="47" y="41"/>
                  <a:pt x="47" y="41"/>
                </a:cubicBezTo>
                <a:cubicBezTo>
                  <a:pt x="47" y="41"/>
                  <a:pt x="47" y="41"/>
                  <a:pt x="47" y="41"/>
                </a:cubicBezTo>
                <a:cubicBezTo>
                  <a:pt x="47" y="41"/>
                  <a:pt x="47" y="41"/>
                  <a:pt x="47" y="41"/>
                </a:cubicBezTo>
                <a:close/>
                <a:moveTo>
                  <a:pt x="48" y="41"/>
                </a:moveTo>
                <a:cubicBezTo>
                  <a:pt x="48" y="41"/>
                  <a:pt x="48" y="41"/>
                  <a:pt x="48" y="41"/>
                </a:cubicBezTo>
                <a:cubicBezTo>
                  <a:pt x="48" y="41"/>
                  <a:pt x="48" y="41"/>
                  <a:pt x="48" y="41"/>
                </a:cubicBezTo>
                <a:cubicBezTo>
                  <a:pt x="48" y="41"/>
                  <a:pt x="48" y="41"/>
                  <a:pt x="48" y="41"/>
                </a:cubicBezTo>
                <a:close/>
                <a:moveTo>
                  <a:pt x="40" y="37"/>
                </a:moveTo>
                <a:cubicBezTo>
                  <a:pt x="40" y="37"/>
                  <a:pt x="40" y="37"/>
                  <a:pt x="40" y="37"/>
                </a:cubicBezTo>
                <a:cubicBezTo>
                  <a:pt x="40" y="37"/>
                  <a:pt x="40" y="37"/>
                  <a:pt x="40" y="37"/>
                </a:cubicBezTo>
                <a:cubicBezTo>
                  <a:pt x="40" y="37"/>
                  <a:pt x="40" y="37"/>
                  <a:pt x="40" y="37"/>
                </a:cubicBezTo>
                <a:close/>
                <a:moveTo>
                  <a:pt x="36" y="35"/>
                </a:moveTo>
                <a:cubicBezTo>
                  <a:pt x="36" y="35"/>
                  <a:pt x="36" y="35"/>
                  <a:pt x="36" y="35"/>
                </a:cubicBezTo>
                <a:cubicBezTo>
                  <a:pt x="36" y="35"/>
                  <a:pt x="36" y="35"/>
                  <a:pt x="37" y="35"/>
                </a:cubicBezTo>
                <a:cubicBezTo>
                  <a:pt x="37" y="35"/>
                  <a:pt x="36" y="35"/>
                  <a:pt x="36" y="35"/>
                </a:cubicBezTo>
                <a:close/>
                <a:moveTo>
                  <a:pt x="40" y="38"/>
                </a:moveTo>
                <a:cubicBezTo>
                  <a:pt x="40" y="38"/>
                  <a:pt x="40" y="38"/>
                  <a:pt x="40" y="38"/>
                </a:cubicBezTo>
                <a:cubicBezTo>
                  <a:pt x="40" y="38"/>
                  <a:pt x="40" y="38"/>
                  <a:pt x="40" y="38"/>
                </a:cubicBezTo>
                <a:cubicBezTo>
                  <a:pt x="41" y="38"/>
                  <a:pt x="40" y="38"/>
                  <a:pt x="40" y="38"/>
                </a:cubicBezTo>
                <a:cubicBezTo>
                  <a:pt x="40" y="38"/>
                  <a:pt x="40" y="38"/>
                  <a:pt x="40" y="38"/>
                </a:cubicBezTo>
                <a:close/>
                <a:moveTo>
                  <a:pt x="45" y="40"/>
                </a:moveTo>
                <a:cubicBezTo>
                  <a:pt x="46" y="40"/>
                  <a:pt x="46" y="40"/>
                  <a:pt x="46" y="40"/>
                </a:cubicBezTo>
                <a:cubicBezTo>
                  <a:pt x="46" y="41"/>
                  <a:pt x="45" y="41"/>
                  <a:pt x="45" y="42"/>
                </a:cubicBezTo>
                <a:cubicBezTo>
                  <a:pt x="45" y="41"/>
                  <a:pt x="45" y="41"/>
                  <a:pt x="46" y="41"/>
                </a:cubicBezTo>
                <a:cubicBezTo>
                  <a:pt x="46" y="40"/>
                  <a:pt x="45" y="41"/>
                  <a:pt x="45" y="41"/>
                </a:cubicBezTo>
                <a:cubicBezTo>
                  <a:pt x="45" y="40"/>
                  <a:pt x="45" y="40"/>
                  <a:pt x="45" y="40"/>
                </a:cubicBezTo>
                <a:close/>
                <a:moveTo>
                  <a:pt x="46" y="41"/>
                </a:moveTo>
                <a:cubicBezTo>
                  <a:pt x="46" y="41"/>
                  <a:pt x="46" y="41"/>
                  <a:pt x="46" y="41"/>
                </a:cubicBezTo>
                <a:cubicBezTo>
                  <a:pt x="46" y="41"/>
                  <a:pt x="46" y="41"/>
                  <a:pt x="46" y="41"/>
                </a:cubicBezTo>
                <a:cubicBezTo>
                  <a:pt x="46" y="41"/>
                  <a:pt x="46" y="41"/>
                  <a:pt x="46" y="41"/>
                </a:cubicBezTo>
                <a:cubicBezTo>
                  <a:pt x="46" y="41"/>
                  <a:pt x="46" y="41"/>
                  <a:pt x="46" y="41"/>
                </a:cubicBezTo>
                <a:cubicBezTo>
                  <a:pt x="46" y="41"/>
                  <a:pt x="46" y="41"/>
                  <a:pt x="46" y="41"/>
                </a:cubicBezTo>
                <a:close/>
                <a:moveTo>
                  <a:pt x="41" y="38"/>
                </a:moveTo>
                <a:cubicBezTo>
                  <a:pt x="41" y="38"/>
                  <a:pt x="41" y="38"/>
                  <a:pt x="41" y="39"/>
                </a:cubicBezTo>
                <a:cubicBezTo>
                  <a:pt x="41" y="39"/>
                  <a:pt x="41" y="38"/>
                  <a:pt x="41" y="38"/>
                </a:cubicBezTo>
                <a:close/>
                <a:moveTo>
                  <a:pt x="40" y="38"/>
                </a:moveTo>
                <a:cubicBezTo>
                  <a:pt x="40" y="38"/>
                  <a:pt x="40" y="38"/>
                  <a:pt x="40" y="38"/>
                </a:cubicBezTo>
                <a:cubicBezTo>
                  <a:pt x="40" y="38"/>
                  <a:pt x="40" y="38"/>
                  <a:pt x="40" y="38"/>
                </a:cubicBezTo>
                <a:cubicBezTo>
                  <a:pt x="40" y="38"/>
                  <a:pt x="40" y="38"/>
                  <a:pt x="40" y="38"/>
                </a:cubicBezTo>
                <a:close/>
                <a:moveTo>
                  <a:pt x="46" y="41"/>
                </a:moveTo>
                <a:cubicBezTo>
                  <a:pt x="46" y="41"/>
                  <a:pt x="46" y="41"/>
                  <a:pt x="46" y="41"/>
                </a:cubicBezTo>
                <a:cubicBezTo>
                  <a:pt x="45" y="41"/>
                  <a:pt x="46" y="41"/>
                  <a:pt x="46" y="41"/>
                </a:cubicBezTo>
                <a:close/>
                <a:moveTo>
                  <a:pt x="40" y="39"/>
                </a:moveTo>
                <a:cubicBezTo>
                  <a:pt x="40" y="39"/>
                  <a:pt x="40" y="38"/>
                  <a:pt x="40" y="39"/>
                </a:cubicBezTo>
                <a:cubicBezTo>
                  <a:pt x="40" y="38"/>
                  <a:pt x="40" y="39"/>
                  <a:pt x="40" y="39"/>
                </a:cubicBezTo>
                <a:cubicBezTo>
                  <a:pt x="40" y="39"/>
                  <a:pt x="40" y="39"/>
                  <a:pt x="40" y="39"/>
                </a:cubicBezTo>
                <a:close/>
                <a:moveTo>
                  <a:pt x="39" y="39"/>
                </a:moveTo>
                <a:cubicBezTo>
                  <a:pt x="39" y="39"/>
                  <a:pt x="39" y="38"/>
                  <a:pt x="39" y="38"/>
                </a:cubicBezTo>
                <a:cubicBezTo>
                  <a:pt x="39" y="38"/>
                  <a:pt x="39" y="38"/>
                  <a:pt x="39" y="38"/>
                </a:cubicBezTo>
                <a:cubicBezTo>
                  <a:pt x="39" y="38"/>
                  <a:pt x="39" y="38"/>
                  <a:pt x="39" y="39"/>
                </a:cubicBezTo>
                <a:close/>
                <a:moveTo>
                  <a:pt x="44" y="41"/>
                </a:moveTo>
                <a:cubicBezTo>
                  <a:pt x="44" y="41"/>
                  <a:pt x="44" y="41"/>
                  <a:pt x="44" y="41"/>
                </a:cubicBezTo>
                <a:cubicBezTo>
                  <a:pt x="44" y="41"/>
                  <a:pt x="44" y="41"/>
                  <a:pt x="44" y="41"/>
                </a:cubicBezTo>
                <a:close/>
                <a:moveTo>
                  <a:pt x="40" y="39"/>
                </a:moveTo>
                <a:cubicBezTo>
                  <a:pt x="40" y="39"/>
                  <a:pt x="40" y="39"/>
                  <a:pt x="40" y="39"/>
                </a:cubicBezTo>
                <a:cubicBezTo>
                  <a:pt x="40" y="39"/>
                  <a:pt x="40" y="39"/>
                  <a:pt x="40" y="39"/>
                </a:cubicBezTo>
                <a:cubicBezTo>
                  <a:pt x="40" y="39"/>
                  <a:pt x="40" y="39"/>
                  <a:pt x="40" y="39"/>
                </a:cubicBezTo>
                <a:close/>
                <a:moveTo>
                  <a:pt x="39" y="39"/>
                </a:moveTo>
                <a:cubicBezTo>
                  <a:pt x="39" y="39"/>
                  <a:pt x="39" y="40"/>
                  <a:pt x="39" y="39"/>
                </a:cubicBezTo>
                <a:cubicBezTo>
                  <a:pt x="39" y="40"/>
                  <a:pt x="39" y="40"/>
                  <a:pt x="39" y="40"/>
                </a:cubicBezTo>
                <a:cubicBezTo>
                  <a:pt x="38" y="40"/>
                  <a:pt x="39" y="40"/>
                  <a:pt x="38" y="40"/>
                </a:cubicBezTo>
                <a:cubicBezTo>
                  <a:pt x="38" y="40"/>
                  <a:pt x="38" y="41"/>
                  <a:pt x="38" y="41"/>
                </a:cubicBezTo>
                <a:cubicBezTo>
                  <a:pt x="38" y="41"/>
                  <a:pt x="38" y="40"/>
                  <a:pt x="38" y="41"/>
                </a:cubicBezTo>
                <a:cubicBezTo>
                  <a:pt x="38" y="40"/>
                  <a:pt x="38" y="40"/>
                  <a:pt x="38" y="40"/>
                </a:cubicBezTo>
                <a:cubicBezTo>
                  <a:pt x="38" y="40"/>
                  <a:pt x="38" y="39"/>
                  <a:pt x="39" y="39"/>
                </a:cubicBezTo>
                <a:cubicBezTo>
                  <a:pt x="39" y="39"/>
                  <a:pt x="39" y="39"/>
                  <a:pt x="39" y="39"/>
                </a:cubicBezTo>
                <a:cubicBezTo>
                  <a:pt x="39" y="39"/>
                  <a:pt x="39" y="39"/>
                  <a:pt x="39" y="39"/>
                </a:cubicBezTo>
                <a:cubicBezTo>
                  <a:pt x="39" y="39"/>
                  <a:pt x="39" y="39"/>
                  <a:pt x="39" y="39"/>
                </a:cubicBezTo>
                <a:close/>
                <a:moveTo>
                  <a:pt x="46" y="43"/>
                </a:moveTo>
                <a:cubicBezTo>
                  <a:pt x="46" y="43"/>
                  <a:pt x="46" y="43"/>
                  <a:pt x="46" y="43"/>
                </a:cubicBezTo>
                <a:cubicBezTo>
                  <a:pt x="46" y="43"/>
                  <a:pt x="46" y="43"/>
                  <a:pt x="46" y="43"/>
                </a:cubicBezTo>
                <a:close/>
                <a:moveTo>
                  <a:pt x="41" y="40"/>
                </a:moveTo>
                <a:cubicBezTo>
                  <a:pt x="41" y="40"/>
                  <a:pt x="41" y="41"/>
                  <a:pt x="41" y="41"/>
                </a:cubicBezTo>
                <a:cubicBezTo>
                  <a:pt x="41" y="41"/>
                  <a:pt x="41" y="40"/>
                  <a:pt x="41" y="40"/>
                </a:cubicBezTo>
                <a:close/>
                <a:moveTo>
                  <a:pt x="47" y="43"/>
                </a:moveTo>
                <a:cubicBezTo>
                  <a:pt x="47" y="43"/>
                  <a:pt x="47" y="43"/>
                  <a:pt x="46" y="43"/>
                </a:cubicBezTo>
                <a:cubicBezTo>
                  <a:pt x="46" y="43"/>
                  <a:pt x="46" y="43"/>
                  <a:pt x="47" y="43"/>
                </a:cubicBezTo>
                <a:cubicBezTo>
                  <a:pt x="47" y="43"/>
                  <a:pt x="47" y="43"/>
                  <a:pt x="47" y="43"/>
                </a:cubicBezTo>
                <a:close/>
                <a:moveTo>
                  <a:pt x="43" y="42"/>
                </a:moveTo>
                <a:cubicBezTo>
                  <a:pt x="43" y="42"/>
                  <a:pt x="43" y="42"/>
                  <a:pt x="43" y="42"/>
                </a:cubicBezTo>
                <a:cubicBezTo>
                  <a:pt x="43" y="42"/>
                  <a:pt x="43" y="42"/>
                  <a:pt x="43" y="42"/>
                </a:cubicBezTo>
                <a:cubicBezTo>
                  <a:pt x="43" y="42"/>
                  <a:pt x="43" y="42"/>
                  <a:pt x="43" y="42"/>
                </a:cubicBezTo>
                <a:close/>
                <a:moveTo>
                  <a:pt x="46" y="44"/>
                </a:moveTo>
                <a:cubicBezTo>
                  <a:pt x="47" y="44"/>
                  <a:pt x="47" y="44"/>
                  <a:pt x="47" y="44"/>
                </a:cubicBezTo>
                <a:cubicBezTo>
                  <a:pt x="46" y="44"/>
                  <a:pt x="46" y="44"/>
                  <a:pt x="46" y="44"/>
                </a:cubicBezTo>
                <a:close/>
                <a:moveTo>
                  <a:pt x="42" y="42"/>
                </a:moveTo>
                <a:cubicBezTo>
                  <a:pt x="42" y="42"/>
                  <a:pt x="42" y="42"/>
                  <a:pt x="42" y="42"/>
                </a:cubicBezTo>
                <a:cubicBezTo>
                  <a:pt x="42" y="42"/>
                  <a:pt x="42" y="42"/>
                  <a:pt x="42" y="42"/>
                </a:cubicBezTo>
                <a:close/>
                <a:moveTo>
                  <a:pt x="46" y="44"/>
                </a:moveTo>
                <a:cubicBezTo>
                  <a:pt x="46" y="44"/>
                  <a:pt x="46" y="44"/>
                  <a:pt x="46" y="44"/>
                </a:cubicBezTo>
                <a:cubicBezTo>
                  <a:pt x="46" y="44"/>
                  <a:pt x="46" y="44"/>
                  <a:pt x="46" y="44"/>
                </a:cubicBezTo>
                <a:cubicBezTo>
                  <a:pt x="46" y="44"/>
                  <a:pt x="46" y="44"/>
                  <a:pt x="46" y="44"/>
                </a:cubicBezTo>
                <a:close/>
                <a:moveTo>
                  <a:pt x="35" y="39"/>
                </a:moveTo>
                <a:cubicBezTo>
                  <a:pt x="36" y="39"/>
                  <a:pt x="35" y="39"/>
                  <a:pt x="35" y="39"/>
                </a:cubicBezTo>
                <a:cubicBezTo>
                  <a:pt x="35" y="39"/>
                  <a:pt x="35" y="39"/>
                  <a:pt x="35" y="39"/>
                </a:cubicBezTo>
                <a:close/>
                <a:moveTo>
                  <a:pt x="38" y="41"/>
                </a:moveTo>
                <a:cubicBezTo>
                  <a:pt x="38" y="41"/>
                  <a:pt x="38" y="41"/>
                  <a:pt x="38" y="41"/>
                </a:cubicBezTo>
                <a:cubicBezTo>
                  <a:pt x="39" y="41"/>
                  <a:pt x="38" y="41"/>
                  <a:pt x="38" y="41"/>
                </a:cubicBezTo>
                <a:close/>
                <a:moveTo>
                  <a:pt x="37" y="41"/>
                </a:moveTo>
                <a:cubicBezTo>
                  <a:pt x="37" y="41"/>
                  <a:pt x="37" y="41"/>
                  <a:pt x="37" y="41"/>
                </a:cubicBezTo>
                <a:cubicBezTo>
                  <a:pt x="38" y="41"/>
                  <a:pt x="37" y="41"/>
                  <a:pt x="37" y="42"/>
                </a:cubicBezTo>
                <a:cubicBezTo>
                  <a:pt x="37" y="42"/>
                  <a:pt x="37" y="42"/>
                  <a:pt x="37" y="42"/>
                </a:cubicBezTo>
                <a:cubicBezTo>
                  <a:pt x="37" y="42"/>
                  <a:pt x="37" y="42"/>
                  <a:pt x="37" y="42"/>
                </a:cubicBezTo>
                <a:cubicBezTo>
                  <a:pt x="37" y="42"/>
                  <a:pt x="37" y="42"/>
                  <a:pt x="37" y="42"/>
                </a:cubicBezTo>
                <a:cubicBezTo>
                  <a:pt x="37" y="42"/>
                  <a:pt x="37" y="41"/>
                  <a:pt x="37" y="41"/>
                </a:cubicBezTo>
                <a:close/>
                <a:moveTo>
                  <a:pt x="43" y="44"/>
                </a:moveTo>
                <a:cubicBezTo>
                  <a:pt x="43" y="44"/>
                  <a:pt x="43" y="44"/>
                  <a:pt x="43" y="44"/>
                </a:cubicBezTo>
                <a:cubicBezTo>
                  <a:pt x="42" y="44"/>
                  <a:pt x="42" y="44"/>
                  <a:pt x="42" y="44"/>
                </a:cubicBezTo>
                <a:cubicBezTo>
                  <a:pt x="42" y="44"/>
                  <a:pt x="42" y="43"/>
                  <a:pt x="43" y="44"/>
                </a:cubicBezTo>
                <a:close/>
                <a:moveTo>
                  <a:pt x="40" y="43"/>
                </a:moveTo>
                <a:cubicBezTo>
                  <a:pt x="40" y="43"/>
                  <a:pt x="41" y="43"/>
                  <a:pt x="40" y="43"/>
                </a:cubicBezTo>
                <a:cubicBezTo>
                  <a:pt x="40" y="43"/>
                  <a:pt x="41" y="43"/>
                  <a:pt x="41" y="43"/>
                </a:cubicBezTo>
                <a:cubicBezTo>
                  <a:pt x="41" y="43"/>
                  <a:pt x="40" y="43"/>
                  <a:pt x="41" y="44"/>
                </a:cubicBezTo>
                <a:cubicBezTo>
                  <a:pt x="40" y="44"/>
                  <a:pt x="40" y="43"/>
                  <a:pt x="40" y="43"/>
                </a:cubicBezTo>
                <a:close/>
                <a:moveTo>
                  <a:pt x="37" y="42"/>
                </a:moveTo>
                <a:cubicBezTo>
                  <a:pt x="37" y="42"/>
                  <a:pt x="37" y="42"/>
                  <a:pt x="38" y="42"/>
                </a:cubicBezTo>
                <a:cubicBezTo>
                  <a:pt x="38" y="42"/>
                  <a:pt x="38" y="42"/>
                  <a:pt x="37" y="42"/>
                </a:cubicBezTo>
                <a:close/>
                <a:moveTo>
                  <a:pt x="42" y="45"/>
                </a:moveTo>
                <a:cubicBezTo>
                  <a:pt x="42" y="44"/>
                  <a:pt x="42" y="44"/>
                  <a:pt x="42" y="44"/>
                </a:cubicBezTo>
                <a:cubicBezTo>
                  <a:pt x="42" y="44"/>
                  <a:pt x="42" y="45"/>
                  <a:pt x="42" y="45"/>
                </a:cubicBezTo>
                <a:close/>
                <a:moveTo>
                  <a:pt x="37" y="42"/>
                </a:moveTo>
                <a:cubicBezTo>
                  <a:pt x="37" y="42"/>
                  <a:pt x="37" y="42"/>
                  <a:pt x="37" y="42"/>
                </a:cubicBezTo>
                <a:cubicBezTo>
                  <a:pt x="37" y="42"/>
                  <a:pt x="37" y="42"/>
                  <a:pt x="37" y="42"/>
                </a:cubicBezTo>
                <a:close/>
                <a:moveTo>
                  <a:pt x="41" y="44"/>
                </a:moveTo>
                <a:cubicBezTo>
                  <a:pt x="41" y="44"/>
                  <a:pt x="41" y="44"/>
                  <a:pt x="41" y="44"/>
                </a:cubicBezTo>
                <a:cubicBezTo>
                  <a:pt x="41" y="44"/>
                  <a:pt x="41" y="44"/>
                  <a:pt x="41" y="44"/>
                </a:cubicBezTo>
                <a:cubicBezTo>
                  <a:pt x="41" y="44"/>
                  <a:pt x="41" y="44"/>
                  <a:pt x="41" y="44"/>
                </a:cubicBezTo>
                <a:close/>
                <a:moveTo>
                  <a:pt x="39" y="43"/>
                </a:moveTo>
                <a:cubicBezTo>
                  <a:pt x="39" y="43"/>
                  <a:pt x="38" y="44"/>
                  <a:pt x="38" y="44"/>
                </a:cubicBezTo>
                <a:cubicBezTo>
                  <a:pt x="38" y="43"/>
                  <a:pt x="38" y="43"/>
                  <a:pt x="39" y="43"/>
                </a:cubicBezTo>
                <a:close/>
                <a:moveTo>
                  <a:pt x="38" y="43"/>
                </a:moveTo>
                <a:cubicBezTo>
                  <a:pt x="37" y="43"/>
                  <a:pt x="38" y="43"/>
                  <a:pt x="38" y="43"/>
                </a:cubicBezTo>
                <a:cubicBezTo>
                  <a:pt x="38" y="43"/>
                  <a:pt x="38" y="43"/>
                  <a:pt x="38" y="43"/>
                </a:cubicBezTo>
                <a:close/>
                <a:moveTo>
                  <a:pt x="35" y="42"/>
                </a:moveTo>
                <a:cubicBezTo>
                  <a:pt x="35" y="42"/>
                  <a:pt x="35" y="42"/>
                  <a:pt x="35" y="42"/>
                </a:cubicBezTo>
                <a:cubicBezTo>
                  <a:pt x="35" y="42"/>
                  <a:pt x="35" y="42"/>
                  <a:pt x="35" y="42"/>
                </a:cubicBezTo>
                <a:close/>
                <a:moveTo>
                  <a:pt x="42" y="46"/>
                </a:moveTo>
                <a:cubicBezTo>
                  <a:pt x="42" y="46"/>
                  <a:pt x="42" y="46"/>
                  <a:pt x="42" y="45"/>
                </a:cubicBezTo>
                <a:cubicBezTo>
                  <a:pt x="42" y="46"/>
                  <a:pt x="42" y="46"/>
                  <a:pt x="42" y="46"/>
                </a:cubicBezTo>
                <a:close/>
                <a:moveTo>
                  <a:pt x="44" y="47"/>
                </a:moveTo>
                <a:cubicBezTo>
                  <a:pt x="44" y="47"/>
                  <a:pt x="44" y="47"/>
                  <a:pt x="44" y="47"/>
                </a:cubicBezTo>
                <a:cubicBezTo>
                  <a:pt x="45" y="47"/>
                  <a:pt x="45" y="47"/>
                  <a:pt x="45" y="47"/>
                </a:cubicBezTo>
                <a:cubicBezTo>
                  <a:pt x="44" y="47"/>
                  <a:pt x="44" y="47"/>
                  <a:pt x="44" y="47"/>
                </a:cubicBezTo>
                <a:close/>
                <a:moveTo>
                  <a:pt x="40" y="45"/>
                </a:moveTo>
                <a:cubicBezTo>
                  <a:pt x="40" y="45"/>
                  <a:pt x="40" y="45"/>
                  <a:pt x="40" y="45"/>
                </a:cubicBezTo>
                <a:cubicBezTo>
                  <a:pt x="40" y="46"/>
                  <a:pt x="40" y="46"/>
                  <a:pt x="40" y="46"/>
                </a:cubicBezTo>
                <a:cubicBezTo>
                  <a:pt x="40" y="46"/>
                  <a:pt x="40" y="46"/>
                  <a:pt x="40" y="46"/>
                </a:cubicBezTo>
                <a:cubicBezTo>
                  <a:pt x="40" y="46"/>
                  <a:pt x="40" y="46"/>
                  <a:pt x="40" y="46"/>
                </a:cubicBezTo>
                <a:cubicBezTo>
                  <a:pt x="40" y="46"/>
                  <a:pt x="40" y="46"/>
                  <a:pt x="40" y="46"/>
                </a:cubicBezTo>
                <a:cubicBezTo>
                  <a:pt x="40" y="46"/>
                  <a:pt x="40" y="46"/>
                  <a:pt x="40" y="46"/>
                </a:cubicBezTo>
                <a:cubicBezTo>
                  <a:pt x="39" y="46"/>
                  <a:pt x="40" y="46"/>
                  <a:pt x="40" y="46"/>
                </a:cubicBezTo>
                <a:cubicBezTo>
                  <a:pt x="40" y="45"/>
                  <a:pt x="40" y="45"/>
                  <a:pt x="40" y="45"/>
                </a:cubicBezTo>
                <a:cubicBezTo>
                  <a:pt x="40" y="45"/>
                  <a:pt x="40" y="45"/>
                  <a:pt x="40" y="45"/>
                </a:cubicBezTo>
                <a:cubicBezTo>
                  <a:pt x="40" y="45"/>
                  <a:pt x="40" y="45"/>
                  <a:pt x="40" y="45"/>
                </a:cubicBezTo>
                <a:close/>
                <a:moveTo>
                  <a:pt x="42" y="46"/>
                </a:moveTo>
                <a:cubicBezTo>
                  <a:pt x="42" y="46"/>
                  <a:pt x="42" y="46"/>
                  <a:pt x="42" y="46"/>
                </a:cubicBezTo>
                <a:cubicBezTo>
                  <a:pt x="42" y="46"/>
                  <a:pt x="42" y="46"/>
                  <a:pt x="41" y="46"/>
                </a:cubicBezTo>
                <a:cubicBezTo>
                  <a:pt x="42" y="46"/>
                  <a:pt x="42" y="46"/>
                  <a:pt x="42" y="46"/>
                </a:cubicBezTo>
                <a:cubicBezTo>
                  <a:pt x="42" y="46"/>
                  <a:pt x="42" y="46"/>
                  <a:pt x="42" y="46"/>
                </a:cubicBezTo>
                <a:cubicBezTo>
                  <a:pt x="41" y="46"/>
                  <a:pt x="42" y="46"/>
                  <a:pt x="42" y="47"/>
                </a:cubicBezTo>
                <a:cubicBezTo>
                  <a:pt x="41" y="46"/>
                  <a:pt x="41" y="46"/>
                  <a:pt x="41" y="46"/>
                </a:cubicBezTo>
                <a:cubicBezTo>
                  <a:pt x="41" y="46"/>
                  <a:pt x="41" y="46"/>
                  <a:pt x="41" y="46"/>
                </a:cubicBezTo>
                <a:cubicBezTo>
                  <a:pt x="42" y="46"/>
                  <a:pt x="42" y="46"/>
                  <a:pt x="42" y="46"/>
                </a:cubicBezTo>
                <a:cubicBezTo>
                  <a:pt x="42" y="46"/>
                  <a:pt x="42" y="46"/>
                  <a:pt x="42" y="46"/>
                </a:cubicBezTo>
                <a:close/>
                <a:moveTo>
                  <a:pt x="40" y="46"/>
                </a:moveTo>
                <a:cubicBezTo>
                  <a:pt x="40" y="46"/>
                  <a:pt x="40" y="46"/>
                  <a:pt x="41" y="46"/>
                </a:cubicBezTo>
                <a:cubicBezTo>
                  <a:pt x="41" y="46"/>
                  <a:pt x="40" y="46"/>
                  <a:pt x="41" y="46"/>
                </a:cubicBezTo>
                <a:cubicBezTo>
                  <a:pt x="40" y="46"/>
                  <a:pt x="40" y="46"/>
                  <a:pt x="40" y="46"/>
                </a:cubicBezTo>
                <a:cubicBezTo>
                  <a:pt x="40" y="46"/>
                  <a:pt x="40" y="46"/>
                  <a:pt x="40" y="46"/>
                </a:cubicBezTo>
                <a:close/>
                <a:moveTo>
                  <a:pt x="42" y="47"/>
                </a:moveTo>
                <a:cubicBezTo>
                  <a:pt x="42" y="47"/>
                  <a:pt x="42" y="47"/>
                  <a:pt x="43" y="47"/>
                </a:cubicBezTo>
                <a:cubicBezTo>
                  <a:pt x="43" y="47"/>
                  <a:pt x="42" y="47"/>
                  <a:pt x="43" y="47"/>
                </a:cubicBezTo>
                <a:cubicBezTo>
                  <a:pt x="43" y="47"/>
                  <a:pt x="42" y="47"/>
                  <a:pt x="42" y="47"/>
                </a:cubicBezTo>
                <a:cubicBezTo>
                  <a:pt x="42" y="47"/>
                  <a:pt x="42" y="47"/>
                  <a:pt x="42" y="47"/>
                </a:cubicBezTo>
                <a:cubicBezTo>
                  <a:pt x="42" y="47"/>
                  <a:pt x="42" y="47"/>
                  <a:pt x="42" y="47"/>
                </a:cubicBezTo>
                <a:cubicBezTo>
                  <a:pt x="42" y="47"/>
                  <a:pt x="42" y="47"/>
                  <a:pt x="42" y="47"/>
                </a:cubicBezTo>
                <a:close/>
                <a:moveTo>
                  <a:pt x="37" y="44"/>
                </a:moveTo>
                <a:cubicBezTo>
                  <a:pt x="37" y="44"/>
                  <a:pt x="36" y="44"/>
                  <a:pt x="36" y="44"/>
                </a:cubicBezTo>
                <a:cubicBezTo>
                  <a:pt x="36" y="44"/>
                  <a:pt x="37" y="44"/>
                  <a:pt x="37" y="44"/>
                </a:cubicBezTo>
                <a:close/>
                <a:moveTo>
                  <a:pt x="39" y="45"/>
                </a:moveTo>
                <a:cubicBezTo>
                  <a:pt x="39" y="45"/>
                  <a:pt x="39" y="46"/>
                  <a:pt x="39" y="46"/>
                </a:cubicBezTo>
                <a:cubicBezTo>
                  <a:pt x="39" y="46"/>
                  <a:pt x="39" y="45"/>
                  <a:pt x="39" y="45"/>
                </a:cubicBezTo>
                <a:close/>
                <a:moveTo>
                  <a:pt x="40" y="46"/>
                </a:moveTo>
                <a:cubicBezTo>
                  <a:pt x="40" y="46"/>
                  <a:pt x="40" y="47"/>
                  <a:pt x="40" y="46"/>
                </a:cubicBezTo>
                <a:cubicBezTo>
                  <a:pt x="40" y="46"/>
                  <a:pt x="40" y="47"/>
                  <a:pt x="40" y="46"/>
                </a:cubicBezTo>
                <a:close/>
                <a:moveTo>
                  <a:pt x="38" y="46"/>
                </a:moveTo>
                <a:cubicBezTo>
                  <a:pt x="39" y="46"/>
                  <a:pt x="39" y="46"/>
                  <a:pt x="39" y="46"/>
                </a:cubicBezTo>
                <a:cubicBezTo>
                  <a:pt x="39" y="46"/>
                  <a:pt x="39" y="47"/>
                  <a:pt x="38" y="46"/>
                </a:cubicBezTo>
                <a:cubicBezTo>
                  <a:pt x="38" y="47"/>
                  <a:pt x="38" y="47"/>
                  <a:pt x="38" y="47"/>
                </a:cubicBezTo>
                <a:cubicBezTo>
                  <a:pt x="38" y="47"/>
                  <a:pt x="38" y="47"/>
                  <a:pt x="38" y="47"/>
                </a:cubicBezTo>
                <a:cubicBezTo>
                  <a:pt x="38" y="46"/>
                  <a:pt x="38" y="46"/>
                  <a:pt x="38" y="46"/>
                </a:cubicBezTo>
                <a:close/>
                <a:moveTo>
                  <a:pt x="44" y="48"/>
                </a:moveTo>
                <a:cubicBezTo>
                  <a:pt x="44" y="49"/>
                  <a:pt x="44" y="49"/>
                  <a:pt x="44" y="49"/>
                </a:cubicBezTo>
                <a:cubicBezTo>
                  <a:pt x="44" y="49"/>
                  <a:pt x="44" y="49"/>
                  <a:pt x="44" y="49"/>
                </a:cubicBezTo>
                <a:cubicBezTo>
                  <a:pt x="44" y="49"/>
                  <a:pt x="44" y="48"/>
                  <a:pt x="44" y="48"/>
                </a:cubicBezTo>
                <a:close/>
                <a:moveTo>
                  <a:pt x="42" y="48"/>
                </a:moveTo>
                <a:cubicBezTo>
                  <a:pt x="42" y="48"/>
                  <a:pt x="42" y="48"/>
                  <a:pt x="42" y="48"/>
                </a:cubicBezTo>
                <a:cubicBezTo>
                  <a:pt x="42" y="48"/>
                  <a:pt x="42" y="48"/>
                  <a:pt x="42" y="48"/>
                </a:cubicBezTo>
                <a:close/>
                <a:moveTo>
                  <a:pt x="44" y="50"/>
                </a:moveTo>
                <a:cubicBezTo>
                  <a:pt x="44" y="50"/>
                  <a:pt x="43" y="51"/>
                  <a:pt x="43" y="51"/>
                </a:cubicBezTo>
                <a:cubicBezTo>
                  <a:pt x="43" y="50"/>
                  <a:pt x="44" y="50"/>
                  <a:pt x="44" y="49"/>
                </a:cubicBezTo>
                <a:cubicBezTo>
                  <a:pt x="44" y="49"/>
                  <a:pt x="44" y="50"/>
                  <a:pt x="44" y="50"/>
                </a:cubicBezTo>
                <a:close/>
                <a:moveTo>
                  <a:pt x="36" y="46"/>
                </a:moveTo>
                <a:cubicBezTo>
                  <a:pt x="36" y="46"/>
                  <a:pt x="36" y="46"/>
                  <a:pt x="36" y="45"/>
                </a:cubicBezTo>
                <a:cubicBezTo>
                  <a:pt x="36" y="46"/>
                  <a:pt x="36" y="46"/>
                  <a:pt x="36" y="46"/>
                </a:cubicBezTo>
                <a:close/>
                <a:moveTo>
                  <a:pt x="41" y="48"/>
                </a:moveTo>
                <a:cubicBezTo>
                  <a:pt x="41" y="48"/>
                  <a:pt x="41" y="49"/>
                  <a:pt x="41" y="49"/>
                </a:cubicBezTo>
                <a:cubicBezTo>
                  <a:pt x="41" y="48"/>
                  <a:pt x="41" y="48"/>
                  <a:pt x="41" y="48"/>
                </a:cubicBezTo>
                <a:cubicBezTo>
                  <a:pt x="41" y="48"/>
                  <a:pt x="41" y="48"/>
                  <a:pt x="41" y="48"/>
                </a:cubicBezTo>
                <a:close/>
                <a:moveTo>
                  <a:pt x="37" y="47"/>
                </a:moveTo>
                <a:cubicBezTo>
                  <a:pt x="37" y="47"/>
                  <a:pt x="37" y="47"/>
                  <a:pt x="37" y="47"/>
                </a:cubicBezTo>
                <a:cubicBezTo>
                  <a:pt x="37" y="47"/>
                  <a:pt x="37" y="47"/>
                  <a:pt x="37" y="48"/>
                </a:cubicBezTo>
                <a:cubicBezTo>
                  <a:pt x="37" y="47"/>
                  <a:pt x="37" y="47"/>
                  <a:pt x="37" y="47"/>
                </a:cubicBezTo>
                <a:close/>
                <a:moveTo>
                  <a:pt x="37" y="47"/>
                </a:moveTo>
                <a:cubicBezTo>
                  <a:pt x="37" y="47"/>
                  <a:pt x="37" y="47"/>
                  <a:pt x="37" y="47"/>
                </a:cubicBezTo>
                <a:cubicBezTo>
                  <a:pt x="37" y="47"/>
                  <a:pt x="37" y="47"/>
                  <a:pt x="37" y="47"/>
                </a:cubicBezTo>
                <a:cubicBezTo>
                  <a:pt x="37" y="47"/>
                  <a:pt x="37" y="47"/>
                  <a:pt x="37" y="48"/>
                </a:cubicBezTo>
                <a:cubicBezTo>
                  <a:pt x="37" y="47"/>
                  <a:pt x="37" y="47"/>
                  <a:pt x="37" y="47"/>
                </a:cubicBezTo>
                <a:close/>
                <a:moveTo>
                  <a:pt x="43" y="52"/>
                </a:moveTo>
                <a:cubicBezTo>
                  <a:pt x="42" y="52"/>
                  <a:pt x="43" y="52"/>
                  <a:pt x="43" y="52"/>
                </a:cubicBezTo>
                <a:close/>
                <a:moveTo>
                  <a:pt x="39" y="50"/>
                </a:moveTo>
                <a:cubicBezTo>
                  <a:pt x="39" y="50"/>
                  <a:pt x="39" y="50"/>
                  <a:pt x="39" y="51"/>
                </a:cubicBezTo>
                <a:cubicBezTo>
                  <a:pt x="39" y="51"/>
                  <a:pt x="39" y="51"/>
                  <a:pt x="39" y="51"/>
                </a:cubicBezTo>
                <a:cubicBezTo>
                  <a:pt x="39" y="50"/>
                  <a:pt x="39" y="50"/>
                  <a:pt x="39" y="50"/>
                </a:cubicBezTo>
                <a:close/>
                <a:moveTo>
                  <a:pt x="37" y="50"/>
                </a:moveTo>
                <a:cubicBezTo>
                  <a:pt x="36" y="49"/>
                  <a:pt x="37" y="49"/>
                  <a:pt x="37" y="49"/>
                </a:cubicBezTo>
                <a:cubicBezTo>
                  <a:pt x="37" y="49"/>
                  <a:pt x="37" y="49"/>
                  <a:pt x="37" y="50"/>
                </a:cubicBezTo>
                <a:close/>
                <a:moveTo>
                  <a:pt x="40" y="51"/>
                </a:moveTo>
                <a:cubicBezTo>
                  <a:pt x="40" y="51"/>
                  <a:pt x="40" y="51"/>
                  <a:pt x="40" y="51"/>
                </a:cubicBezTo>
                <a:cubicBezTo>
                  <a:pt x="40" y="51"/>
                  <a:pt x="40" y="51"/>
                  <a:pt x="40" y="51"/>
                </a:cubicBezTo>
                <a:close/>
                <a:moveTo>
                  <a:pt x="35" y="49"/>
                </a:moveTo>
                <a:cubicBezTo>
                  <a:pt x="35" y="49"/>
                  <a:pt x="35" y="49"/>
                  <a:pt x="35" y="49"/>
                </a:cubicBezTo>
                <a:cubicBezTo>
                  <a:pt x="35" y="49"/>
                  <a:pt x="35" y="49"/>
                  <a:pt x="35" y="49"/>
                </a:cubicBezTo>
                <a:close/>
                <a:moveTo>
                  <a:pt x="37" y="51"/>
                </a:moveTo>
                <a:cubicBezTo>
                  <a:pt x="37" y="51"/>
                  <a:pt x="37" y="51"/>
                  <a:pt x="36" y="51"/>
                </a:cubicBezTo>
                <a:cubicBezTo>
                  <a:pt x="36" y="51"/>
                  <a:pt x="37" y="50"/>
                  <a:pt x="36" y="50"/>
                </a:cubicBezTo>
                <a:cubicBezTo>
                  <a:pt x="37" y="50"/>
                  <a:pt x="37" y="50"/>
                  <a:pt x="37" y="50"/>
                </a:cubicBezTo>
                <a:cubicBezTo>
                  <a:pt x="37" y="50"/>
                  <a:pt x="37" y="50"/>
                  <a:pt x="37" y="51"/>
                </a:cubicBezTo>
                <a:close/>
                <a:moveTo>
                  <a:pt x="36" y="50"/>
                </a:moveTo>
                <a:cubicBezTo>
                  <a:pt x="36" y="50"/>
                  <a:pt x="36" y="50"/>
                  <a:pt x="36" y="50"/>
                </a:cubicBezTo>
                <a:cubicBezTo>
                  <a:pt x="36" y="50"/>
                  <a:pt x="36" y="50"/>
                  <a:pt x="36" y="50"/>
                </a:cubicBezTo>
                <a:close/>
                <a:moveTo>
                  <a:pt x="38" y="51"/>
                </a:moveTo>
                <a:cubicBezTo>
                  <a:pt x="38" y="51"/>
                  <a:pt x="38" y="51"/>
                  <a:pt x="38" y="51"/>
                </a:cubicBezTo>
                <a:cubicBezTo>
                  <a:pt x="38" y="51"/>
                  <a:pt x="38" y="51"/>
                  <a:pt x="38" y="51"/>
                </a:cubicBezTo>
                <a:cubicBezTo>
                  <a:pt x="38" y="51"/>
                  <a:pt x="38" y="51"/>
                  <a:pt x="38" y="51"/>
                </a:cubicBezTo>
                <a:cubicBezTo>
                  <a:pt x="39" y="51"/>
                  <a:pt x="38" y="51"/>
                  <a:pt x="38" y="51"/>
                </a:cubicBezTo>
                <a:close/>
                <a:moveTo>
                  <a:pt x="38" y="52"/>
                </a:moveTo>
                <a:cubicBezTo>
                  <a:pt x="39" y="51"/>
                  <a:pt x="39" y="51"/>
                  <a:pt x="39" y="51"/>
                </a:cubicBezTo>
                <a:cubicBezTo>
                  <a:pt x="39" y="51"/>
                  <a:pt x="39" y="52"/>
                  <a:pt x="38" y="52"/>
                </a:cubicBezTo>
                <a:close/>
                <a:moveTo>
                  <a:pt x="37" y="51"/>
                </a:moveTo>
                <a:cubicBezTo>
                  <a:pt x="37" y="51"/>
                  <a:pt x="37" y="51"/>
                  <a:pt x="37" y="51"/>
                </a:cubicBezTo>
                <a:cubicBezTo>
                  <a:pt x="37" y="51"/>
                  <a:pt x="37" y="51"/>
                  <a:pt x="37" y="51"/>
                </a:cubicBezTo>
                <a:close/>
                <a:moveTo>
                  <a:pt x="42" y="54"/>
                </a:moveTo>
                <a:cubicBezTo>
                  <a:pt x="42" y="54"/>
                  <a:pt x="42" y="54"/>
                  <a:pt x="42" y="53"/>
                </a:cubicBezTo>
                <a:cubicBezTo>
                  <a:pt x="42" y="54"/>
                  <a:pt x="42" y="54"/>
                  <a:pt x="42" y="54"/>
                </a:cubicBezTo>
                <a:close/>
                <a:moveTo>
                  <a:pt x="32" y="49"/>
                </a:moveTo>
                <a:cubicBezTo>
                  <a:pt x="32" y="49"/>
                  <a:pt x="32" y="49"/>
                  <a:pt x="32" y="49"/>
                </a:cubicBezTo>
                <a:cubicBezTo>
                  <a:pt x="32" y="49"/>
                  <a:pt x="32" y="49"/>
                  <a:pt x="32" y="49"/>
                </a:cubicBezTo>
                <a:cubicBezTo>
                  <a:pt x="32" y="49"/>
                  <a:pt x="32" y="49"/>
                  <a:pt x="32" y="49"/>
                </a:cubicBezTo>
                <a:close/>
                <a:moveTo>
                  <a:pt x="38" y="52"/>
                </a:moveTo>
                <a:cubicBezTo>
                  <a:pt x="38" y="52"/>
                  <a:pt x="38" y="52"/>
                  <a:pt x="38" y="52"/>
                </a:cubicBezTo>
                <a:cubicBezTo>
                  <a:pt x="38" y="52"/>
                  <a:pt x="38" y="52"/>
                  <a:pt x="38" y="52"/>
                </a:cubicBezTo>
                <a:cubicBezTo>
                  <a:pt x="37" y="52"/>
                  <a:pt x="38" y="52"/>
                  <a:pt x="38" y="51"/>
                </a:cubicBezTo>
                <a:cubicBezTo>
                  <a:pt x="38" y="51"/>
                  <a:pt x="38" y="51"/>
                  <a:pt x="38" y="52"/>
                </a:cubicBezTo>
                <a:close/>
                <a:moveTo>
                  <a:pt x="34" y="50"/>
                </a:moveTo>
                <a:cubicBezTo>
                  <a:pt x="34" y="50"/>
                  <a:pt x="34" y="50"/>
                  <a:pt x="33" y="50"/>
                </a:cubicBezTo>
                <a:cubicBezTo>
                  <a:pt x="34" y="50"/>
                  <a:pt x="34" y="50"/>
                  <a:pt x="34" y="50"/>
                </a:cubicBezTo>
                <a:cubicBezTo>
                  <a:pt x="34" y="50"/>
                  <a:pt x="34" y="50"/>
                  <a:pt x="34" y="50"/>
                </a:cubicBezTo>
                <a:close/>
                <a:moveTo>
                  <a:pt x="35" y="50"/>
                </a:moveTo>
                <a:cubicBezTo>
                  <a:pt x="35" y="51"/>
                  <a:pt x="35" y="51"/>
                  <a:pt x="35" y="51"/>
                </a:cubicBezTo>
                <a:cubicBezTo>
                  <a:pt x="35" y="51"/>
                  <a:pt x="35" y="50"/>
                  <a:pt x="35" y="50"/>
                </a:cubicBezTo>
                <a:close/>
                <a:moveTo>
                  <a:pt x="40" y="53"/>
                </a:moveTo>
                <a:cubicBezTo>
                  <a:pt x="40" y="54"/>
                  <a:pt x="40" y="54"/>
                  <a:pt x="40" y="54"/>
                </a:cubicBezTo>
                <a:cubicBezTo>
                  <a:pt x="40" y="54"/>
                  <a:pt x="40" y="54"/>
                  <a:pt x="40" y="53"/>
                </a:cubicBezTo>
                <a:close/>
                <a:moveTo>
                  <a:pt x="37" y="52"/>
                </a:moveTo>
                <a:cubicBezTo>
                  <a:pt x="37" y="52"/>
                  <a:pt x="36" y="52"/>
                  <a:pt x="36" y="52"/>
                </a:cubicBezTo>
                <a:cubicBezTo>
                  <a:pt x="36" y="52"/>
                  <a:pt x="36" y="52"/>
                  <a:pt x="37" y="52"/>
                </a:cubicBezTo>
                <a:close/>
                <a:moveTo>
                  <a:pt x="37" y="52"/>
                </a:moveTo>
                <a:cubicBezTo>
                  <a:pt x="37" y="52"/>
                  <a:pt x="37" y="52"/>
                  <a:pt x="37" y="52"/>
                </a:cubicBezTo>
                <a:cubicBezTo>
                  <a:pt x="37" y="52"/>
                  <a:pt x="37" y="52"/>
                  <a:pt x="37" y="52"/>
                </a:cubicBezTo>
                <a:close/>
                <a:moveTo>
                  <a:pt x="33" y="50"/>
                </a:moveTo>
                <a:cubicBezTo>
                  <a:pt x="33" y="50"/>
                  <a:pt x="33" y="50"/>
                  <a:pt x="33" y="50"/>
                </a:cubicBezTo>
                <a:cubicBezTo>
                  <a:pt x="33" y="50"/>
                  <a:pt x="33" y="50"/>
                  <a:pt x="33" y="50"/>
                </a:cubicBezTo>
                <a:close/>
                <a:moveTo>
                  <a:pt x="40" y="54"/>
                </a:moveTo>
                <a:cubicBezTo>
                  <a:pt x="40" y="54"/>
                  <a:pt x="40" y="54"/>
                  <a:pt x="40" y="55"/>
                </a:cubicBezTo>
                <a:cubicBezTo>
                  <a:pt x="40" y="54"/>
                  <a:pt x="40" y="54"/>
                  <a:pt x="40" y="54"/>
                </a:cubicBezTo>
                <a:cubicBezTo>
                  <a:pt x="40" y="54"/>
                  <a:pt x="40" y="54"/>
                  <a:pt x="40" y="54"/>
                </a:cubicBezTo>
                <a:cubicBezTo>
                  <a:pt x="40" y="54"/>
                  <a:pt x="40" y="54"/>
                  <a:pt x="40" y="54"/>
                </a:cubicBezTo>
                <a:cubicBezTo>
                  <a:pt x="40" y="54"/>
                  <a:pt x="40" y="54"/>
                  <a:pt x="40" y="54"/>
                </a:cubicBezTo>
                <a:cubicBezTo>
                  <a:pt x="40" y="54"/>
                  <a:pt x="40" y="54"/>
                  <a:pt x="40" y="54"/>
                </a:cubicBezTo>
                <a:close/>
                <a:moveTo>
                  <a:pt x="34" y="51"/>
                </a:moveTo>
                <a:cubicBezTo>
                  <a:pt x="34" y="51"/>
                  <a:pt x="33" y="51"/>
                  <a:pt x="33" y="51"/>
                </a:cubicBezTo>
                <a:cubicBezTo>
                  <a:pt x="33" y="51"/>
                  <a:pt x="34" y="51"/>
                  <a:pt x="34" y="51"/>
                </a:cubicBezTo>
                <a:cubicBezTo>
                  <a:pt x="34" y="51"/>
                  <a:pt x="34" y="51"/>
                  <a:pt x="34" y="51"/>
                </a:cubicBezTo>
                <a:close/>
                <a:moveTo>
                  <a:pt x="31" y="49"/>
                </a:moveTo>
                <a:cubicBezTo>
                  <a:pt x="31" y="49"/>
                  <a:pt x="31" y="50"/>
                  <a:pt x="31" y="50"/>
                </a:cubicBezTo>
                <a:cubicBezTo>
                  <a:pt x="30" y="50"/>
                  <a:pt x="30" y="49"/>
                  <a:pt x="31" y="49"/>
                </a:cubicBezTo>
                <a:cubicBezTo>
                  <a:pt x="31" y="49"/>
                  <a:pt x="31" y="49"/>
                  <a:pt x="31" y="49"/>
                </a:cubicBezTo>
                <a:close/>
                <a:moveTo>
                  <a:pt x="31" y="51"/>
                </a:moveTo>
                <a:cubicBezTo>
                  <a:pt x="30" y="51"/>
                  <a:pt x="30" y="52"/>
                  <a:pt x="30" y="52"/>
                </a:cubicBezTo>
                <a:cubicBezTo>
                  <a:pt x="30" y="51"/>
                  <a:pt x="30" y="51"/>
                  <a:pt x="31" y="50"/>
                </a:cubicBezTo>
                <a:cubicBezTo>
                  <a:pt x="31" y="50"/>
                  <a:pt x="31" y="50"/>
                  <a:pt x="31" y="50"/>
                </a:cubicBezTo>
                <a:cubicBezTo>
                  <a:pt x="31" y="50"/>
                  <a:pt x="31" y="50"/>
                  <a:pt x="31" y="51"/>
                </a:cubicBezTo>
                <a:close/>
                <a:moveTo>
                  <a:pt x="34" y="52"/>
                </a:moveTo>
                <a:cubicBezTo>
                  <a:pt x="35" y="51"/>
                  <a:pt x="34" y="52"/>
                  <a:pt x="34" y="52"/>
                </a:cubicBezTo>
                <a:cubicBezTo>
                  <a:pt x="34" y="52"/>
                  <a:pt x="34" y="52"/>
                  <a:pt x="34" y="52"/>
                </a:cubicBezTo>
                <a:close/>
                <a:moveTo>
                  <a:pt x="35" y="52"/>
                </a:moveTo>
                <a:cubicBezTo>
                  <a:pt x="35" y="52"/>
                  <a:pt x="35" y="52"/>
                  <a:pt x="35" y="52"/>
                </a:cubicBezTo>
                <a:cubicBezTo>
                  <a:pt x="35" y="52"/>
                  <a:pt x="35" y="52"/>
                  <a:pt x="35" y="52"/>
                </a:cubicBezTo>
                <a:cubicBezTo>
                  <a:pt x="35" y="52"/>
                  <a:pt x="35" y="52"/>
                  <a:pt x="35" y="52"/>
                </a:cubicBezTo>
                <a:close/>
                <a:moveTo>
                  <a:pt x="31" y="50"/>
                </a:moveTo>
                <a:cubicBezTo>
                  <a:pt x="31" y="50"/>
                  <a:pt x="31" y="50"/>
                  <a:pt x="31" y="50"/>
                </a:cubicBezTo>
                <a:cubicBezTo>
                  <a:pt x="30" y="50"/>
                  <a:pt x="31" y="50"/>
                  <a:pt x="31" y="50"/>
                </a:cubicBezTo>
                <a:close/>
                <a:moveTo>
                  <a:pt x="33" y="51"/>
                </a:moveTo>
                <a:cubicBezTo>
                  <a:pt x="33" y="51"/>
                  <a:pt x="33" y="51"/>
                  <a:pt x="33" y="51"/>
                </a:cubicBezTo>
                <a:cubicBezTo>
                  <a:pt x="33" y="51"/>
                  <a:pt x="33" y="51"/>
                  <a:pt x="33" y="51"/>
                </a:cubicBezTo>
                <a:cubicBezTo>
                  <a:pt x="33" y="51"/>
                  <a:pt x="33" y="51"/>
                  <a:pt x="33" y="51"/>
                </a:cubicBezTo>
                <a:close/>
                <a:moveTo>
                  <a:pt x="33" y="51"/>
                </a:moveTo>
                <a:cubicBezTo>
                  <a:pt x="33" y="51"/>
                  <a:pt x="33" y="51"/>
                  <a:pt x="33" y="51"/>
                </a:cubicBezTo>
                <a:cubicBezTo>
                  <a:pt x="33" y="51"/>
                  <a:pt x="33" y="52"/>
                  <a:pt x="33" y="51"/>
                </a:cubicBezTo>
                <a:cubicBezTo>
                  <a:pt x="33" y="51"/>
                  <a:pt x="33" y="51"/>
                  <a:pt x="33" y="51"/>
                </a:cubicBezTo>
                <a:cubicBezTo>
                  <a:pt x="33" y="51"/>
                  <a:pt x="33" y="51"/>
                  <a:pt x="33" y="51"/>
                </a:cubicBezTo>
                <a:close/>
                <a:moveTo>
                  <a:pt x="31" y="51"/>
                </a:moveTo>
                <a:cubicBezTo>
                  <a:pt x="31" y="51"/>
                  <a:pt x="31" y="51"/>
                  <a:pt x="31" y="50"/>
                </a:cubicBezTo>
                <a:cubicBezTo>
                  <a:pt x="31" y="50"/>
                  <a:pt x="31" y="51"/>
                  <a:pt x="31" y="51"/>
                </a:cubicBezTo>
                <a:cubicBezTo>
                  <a:pt x="31" y="51"/>
                  <a:pt x="31" y="51"/>
                  <a:pt x="31" y="51"/>
                </a:cubicBezTo>
                <a:close/>
                <a:moveTo>
                  <a:pt x="31" y="51"/>
                </a:moveTo>
                <a:cubicBezTo>
                  <a:pt x="31" y="51"/>
                  <a:pt x="31" y="51"/>
                  <a:pt x="31" y="51"/>
                </a:cubicBezTo>
                <a:cubicBezTo>
                  <a:pt x="31" y="51"/>
                  <a:pt x="31" y="51"/>
                  <a:pt x="31" y="50"/>
                </a:cubicBezTo>
                <a:cubicBezTo>
                  <a:pt x="31" y="51"/>
                  <a:pt x="31" y="51"/>
                  <a:pt x="31" y="51"/>
                </a:cubicBezTo>
                <a:close/>
                <a:moveTo>
                  <a:pt x="35" y="53"/>
                </a:moveTo>
                <a:cubicBezTo>
                  <a:pt x="35" y="53"/>
                  <a:pt x="35" y="53"/>
                  <a:pt x="35" y="53"/>
                </a:cubicBezTo>
                <a:cubicBezTo>
                  <a:pt x="35" y="53"/>
                  <a:pt x="35" y="53"/>
                  <a:pt x="35" y="52"/>
                </a:cubicBezTo>
                <a:cubicBezTo>
                  <a:pt x="35" y="53"/>
                  <a:pt x="35" y="53"/>
                  <a:pt x="35" y="53"/>
                </a:cubicBezTo>
                <a:cubicBezTo>
                  <a:pt x="36" y="53"/>
                  <a:pt x="35" y="53"/>
                  <a:pt x="35" y="53"/>
                </a:cubicBezTo>
                <a:close/>
                <a:moveTo>
                  <a:pt x="37" y="53"/>
                </a:moveTo>
                <a:cubicBezTo>
                  <a:pt x="37" y="53"/>
                  <a:pt x="37" y="54"/>
                  <a:pt x="37" y="54"/>
                </a:cubicBezTo>
                <a:cubicBezTo>
                  <a:pt x="37" y="54"/>
                  <a:pt x="37" y="53"/>
                  <a:pt x="37" y="53"/>
                </a:cubicBezTo>
                <a:close/>
                <a:moveTo>
                  <a:pt x="36" y="54"/>
                </a:moveTo>
                <a:cubicBezTo>
                  <a:pt x="36" y="53"/>
                  <a:pt x="36" y="53"/>
                  <a:pt x="36" y="53"/>
                </a:cubicBezTo>
                <a:cubicBezTo>
                  <a:pt x="37" y="53"/>
                  <a:pt x="36" y="54"/>
                  <a:pt x="36" y="54"/>
                </a:cubicBezTo>
                <a:close/>
                <a:moveTo>
                  <a:pt x="34" y="52"/>
                </a:moveTo>
                <a:cubicBezTo>
                  <a:pt x="34" y="52"/>
                  <a:pt x="34" y="52"/>
                  <a:pt x="34" y="53"/>
                </a:cubicBezTo>
                <a:cubicBezTo>
                  <a:pt x="34" y="53"/>
                  <a:pt x="34" y="53"/>
                  <a:pt x="34" y="53"/>
                </a:cubicBezTo>
                <a:cubicBezTo>
                  <a:pt x="34" y="53"/>
                  <a:pt x="34" y="52"/>
                  <a:pt x="34" y="52"/>
                </a:cubicBezTo>
                <a:cubicBezTo>
                  <a:pt x="34" y="52"/>
                  <a:pt x="34" y="52"/>
                  <a:pt x="34" y="52"/>
                </a:cubicBezTo>
                <a:close/>
                <a:moveTo>
                  <a:pt x="35" y="53"/>
                </a:moveTo>
                <a:cubicBezTo>
                  <a:pt x="35" y="53"/>
                  <a:pt x="35" y="53"/>
                  <a:pt x="35" y="53"/>
                </a:cubicBezTo>
                <a:cubicBezTo>
                  <a:pt x="35" y="53"/>
                  <a:pt x="35" y="53"/>
                  <a:pt x="35" y="53"/>
                </a:cubicBezTo>
                <a:cubicBezTo>
                  <a:pt x="35" y="53"/>
                  <a:pt x="35" y="53"/>
                  <a:pt x="35" y="53"/>
                </a:cubicBezTo>
                <a:cubicBezTo>
                  <a:pt x="35" y="53"/>
                  <a:pt x="35" y="53"/>
                  <a:pt x="35" y="53"/>
                </a:cubicBezTo>
                <a:close/>
                <a:moveTo>
                  <a:pt x="36" y="53"/>
                </a:moveTo>
                <a:cubicBezTo>
                  <a:pt x="36" y="54"/>
                  <a:pt x="36" y="54"/>
                  <a:pt x="36" y="54"/>
                </a:cubicBezTo>
                <a:cubicBezTo>
                  <a:pt x="36" y="54"/>
                  <a:pt x="36" y="54"/>
                  <a:pt x="36" y="53"/>
                </a:cubicBezTo>
                <a:close/>
                <a:moveTo>
                  <a:pt x="36" y="54"/>
                </a:moveTo>
                <a:cubicBezTo>
                  <a:pt x="37" y="54"/>
                  <a:pt x="37" y="54"/>
                  <a:pt x="37" y="54"/>
                </a:cubicBezTo>
                <a:cubicBezTo>
                  <a:pt x="37" y="54"/>
                  <a:pt x="36" y="54"/>
                  <a:pt x="36" y="54"/>
                </a:cubicBezTo>
                <a:close/>
                <a:moveTo>
                  <a:pt x="31" y="52"/>
                </a:moveTo>
                <a:cubicBezTo>
                  <a:pt x="31" y="51"/>
                  <a:pt x="31" y="51"/>
                  <a:pt x="31" y="51"/>
                </a:cubicBezTo>
                <a:cubicBezTo>
                  <a:pt x="31" y="51"/>
                  <a:pt x="31" y="51"/>
                  <a:pt x="31" y="52"/>
                </a:cubicBezTo>
                <a:close/>
                <a:moveTo>
                  <a:pt x="31" y="52"/>
                </a:moveTo>
                <a:cubicBezTo>
                  <a:pt x="31" y="52"/>
                  <a:pt x="31" y="52"/>
                  <a:pt x="31" y="52"/>
                </a:cubicBezTo>
                <a:cubicBezTo>
                  <a:pt x="31" y="52"/>
                  <a:pt x="31" y="52"/>
                  <a:pt x="31" y="52"/>
                </a:cubicBezTo>
                <a:close/>
                <a:moveTo>
                  <a:pt x="35" y="54"/>
                </a:moveTo>
                <a:cubicBezTo>
                  <a:pt x="35" y="54"/>
                  <a:pt x="35" y="54"/>
                  <a:pt x="34" y="54"/>
                </a:cubicBezTo>
                <a:cubicBezTo>
                  <a:pt x="34" y="54"/>
                  <a:pt x="34" y="54"/>
                  <a:pt x="35" y="54"/>
                </a:cubicBezTo>
                <a:cubicBezTo>
                  <a:pt x="34" y="54"/>
                  <a:pt x="34" y="54"/>
                  <a:pt x="34" y="54"/>
                </a:cubicBezTo>
                <a:cubicBezTo>
                  <a:pt x="34" y="54"/>
                  <a:pt x="34" y="54"/>
                  <a:pt x="34" y="54"/>
                </a:cubicBezTo>
                <a:cubicBezTo>
                  <a:pt x="34" y="54"/>
                  <a:pt x="34" y="54"/>
                  <a:pt x="34" y="54"/>
                </a:cubicBezTo>
                <a:cubicBezTo>
                  <a:pt x="35" y="54"/>
                  <a:pt x="34" y="54"/>
                  <a:pt x="35" y="54"/>
                </a:cubicBezTo>
                <a:close/>
                <a:moveTo>
                  <a:pt x="32" y="53"/>
                </a:moveTo>
                <a:cubicBezTo>
                  <a:pt x="32" y="53"/>
                  <a:pt x="32" y="53"/>
                  <a:pt x="32" y="53"/>
                </a:cubicBezTo>
                <a:cubicBezTo>
                  <a:pt x="32" y="53"/>
                  <a:pt x="32" y="52"/>
                  <a:pt x="32" y="53"/>
                </a:cubicBezTo>
                <a:cubicBezTo>
                  <a:pt x="32" y="53"/>
                  <a:pt x="32" y="53"/>
                  <a:pt x="32" y="54"/>
                </a:cubicBezTo>
                <a:cubicBezTo>
                  <a:pt x="32" y="53"/>
                  <a:pt x="32" y="53"/>
                  <a:pt x="32" y="53"/>
                </a:cubicBezTo>
                <a:cubicBezTo>
                  <a:pt x="32" y="53"/>
                  <a:pt x="32" y="53"/>
                  <a:pt x="32" y="53"/>
                </a:cubicBezTo>
                <a:cubicBezTo>
                  <a:pt x="32" y="53"/>
                  <a:pt x="32" y="53"/>
                  <a:pt x="32" y="53"/>
                </a:cubicBezTo>
                <a:close/>
                <a:moveTo>
                  <a:pt x="32" y="53"/>
                </a:moveTo>
                <a:cubicBezTo>
                  <a:pt x="32" y="53"/>
                  <a:pt x="32" y="53"/>
                  <a:pt x="32" y="53"/>
                </a:cubicBezTo>
                <a:cubicBezTo>
                  <a:pt x="32" y="53"/>
                  <a:pt x="32" y="53"/>
                  <a:pt x="32" y="53"/>
                </a:cubicBezTo>
                <a:close/>
                <a:moveTo>
                  <a:pt x="35" y="54"/>
                </a:moveTo>
                <a:cubicBezTo>
                  <a:pt x="34" y="54"/>
                  <a:pt x="34" y="55"/>
                  <a:pt x="34" y="55"/>
                </a:cubicBezTo>
                <a:cubicBezTo>
                  <a:pt x="34" y="55"/>
                  <a:pt x="34" y="55"/>
                  <a:pt x="34" y="55"/>
                </a:cubicBezTo>
                <a:cubicBezTo>
                  <a:pt x="34" y="55"/>
                  <a:pt x="34" y="55"/>
                  <a:pt x="34" y="54"/>
                </a:cubicBezTo>
                <a:cubicBezTo>
                  <a:pt x="34" y="54"/>
                  <a:pt x="34" y="54"/>
                  <a:pt x="34" y="54"/>
                </a:cubicBezTo>
                <a:cubicBezTo>
                  <a:pt x="34" y="54"/>
                  <a:pt x="35" y="54"/>
                  <a:pt x="35" y="54"/>
                </a:cubicBezTo>
                <a:cubicBezTo>
                  <a:pt x="35" y="54"/>
                  <a:pt x="35" y="54"/>
                  <a:pt x="35" y="54"/>
                </a:cubicBezTo>
                <a:close/>
                <a:moveTo>
                  <a:pt x="31" y="52"/>
                </a:moveTo>
                <a:cubicBezTo>
                  <a:pt x="31" y="53"/>
                  <a:pt x="31" y="53"/>
                  <a:pt x="31" y="52"/>
                </a:cubicBezTo>
                <a:cubicBezTo>
                  <a:pt x="31" y="53"/>
                  <a:pt x="31" y="52"/>
                  <a:pt x="31" y="52"/>
                </a:cubicBezTo>
                <a:close/>
                <a:moveTo>
                  <a:pt x="36" y="56"/>
                </a:moveTo>
                <a:cubicBezTo>
                  <a:pt x="36" y="55"/>
                  <a:pt x="36" y="55"/>
                  <a:pt x="36" y="55"/>
                </a:cubicBezTo>
                <a:cubicBezTo>
                  <a:pt x="36" y="55"/>
                  <a:pt x="36" y="56"/>
                  <a:pt x="36" y="56"/>
                </a:cubicBezTo>
                <a:close/>
                <a:moveTo>
                  <a:pt x="37" y="56"/>
                </a:moveTo>
                <a:cubicBezTo>
                  <a:pt x="37" y="56"/>
                  <a:pt x="38" y="56"/>
                  <a:pt x="38" y="56"/>
                </a:cubicBezTo>
                <a:cubicBezTo>
                  <a:pt x="37" y="56"/>
                  <a:pt x="37" y="56"/>
                  <a:pt x="37" y="57"/>
                </a:cubicBezTo>
                <a:cubicBezTo>
                  <a:pt x="37" y="57"/>
                  <a:pt x="37" y="57"/>
                  <a:pt x="37" y="57"/>
                </a:cubicBezTo>
                <a:cubicBezTo>
                  <a:pt x="37" y="57"/>
                  <a:pt x="37" y="57"/>
                  <a:pt x="37" y="57"/>
                </a:cubicBezTo>
                <a:cubicBezTo>
                  <a:pt x="37" y="56"/>
                  <a:pt x="37" y="56"/>
                  <a:pt x="37" y="57"/>
                </a:cubicBezTo>
                <a:cubicBezTo>
                  <a:pt x="37" y="56"/>
                  <a:pt x="37" y="56"/>
                  <a:pt x="37" y="56"/>
                </a:cubicBezTo>
                <a:cubicBezTo>
                  <a:pt x="37" y="56"/>
                  <a:pt x="38" y="56"/>
                  <a:pt x="38" y="56"/>
                </a:cubicBezTo>
                <a:cubicBezTo>
                  <a:pt x="38" y="56"/>
                  <a:pt x="38" y="56"/>
                  <a:pt x="37" y="56"/>
                </a:cubicBezTo>
                <a:cubicBezTo>
                  <a:pt x="38" y="55"/>
                  <a:pt x="38" y="55"/>
                  <a:pt x="38" y="55"/>
                </a:cubicBezTo>
                <a:cubicBezTo>
                  <a:pt x="38" y="55"/>
                  <a:pt x="38" y="54"/>
                  <a:pt x="38" y="54"/>
                </a:cubicBezTo>
                <a:cubicBezTo>
                  <a:pt x="38" y="54"/>
                  <a:pt x="38" y="54"/>
                  <a:pt x="38" y="54"/>
                </a:cubicBezTo>
                <a:cubicBezTo>
                  <a:pt x="38" y="55"/>
                  <a:pt x="38" y="55"/>
                  <a:pt x="38" y="56"/>
                </a:cubicBezTo>
                <a:cubicBezTo>
                  <a:pt x="38" y="56"/>
                  <a:pt x="38" y="56"/>
                  <a:pt x="38" y="56"/>
                </a:cubicBezTo>
                <a:cubicBezTo>
                  <a:pt x="38" y="56"/>
                  <a:pt x="38" y="56"/>
                  <a:pt x="38" y="56"/>
                </a:cubicBezTo>
                <a:cubicBezTo>
                  <a:pt x="38" y="56"/>
                  <a:pt x="37" y="56"/>
                  <a:pt x="37" y="56"/>
                </a:cubicBezTo>
                <a:close/>
                <a:moveTo>
                  <a:pt x="30" y="53"/>
                </a:moveTo>
                <a:cubicBezTo>
                  <a:pt x="30" y="53"/>
                  <a:pt x="30" y="53"/>
                  <a:pt x="30" y="53"/>
                </a:cubicBezTo>
                <a:cubicBezTo>
                  <a:pt x="31" y="53"/>
                  <a:pt x="31" y="53"/>
                  <a:pt x="31" y="53"/>
                </a:cubicBezTo>
                <a:cubicBezTo>
                  <a:pt x="31" y="53"/>
                  <a:pt x="31" y="53"/>
                  <a:pt x="31" y="53"/>
                </a:cubicBezTo>
                <a:cubicBezTo>
                  <a:pt x="30" y="53"/>
                  <a:pt x="30" y="53"/>
                  <a:pt x="30" y="53"/>
                </a:cubicBezTo>
                <a:close/>
                <a:moveTo>
                  <a:pt x="35" y="55"/>
                </a:moveTo>
                <a:cubicBezTo>
                  <a:pt x="35" y="55"/>
                  <a:pt x="35" y="55"/>
                  <a:pt x="35" y="55"/>
                </a:cubicBezTo>
                <a:cubicBezTo>
                  <a:pt x="35" y="55"/>
                  <a:pt x="35" y="55"/>
                  <a:pt x="35" y="55"/>
                </a:cubicBezTo>
                <a:close/>
                <a:moveTo>
                  <a:pt x="29" y="53"/>
                </a:moveTo>
                <a:cubicBezTo>
                  <a:pt x="29" y="52"/>
                  <a:pt x="30" y="53"/>
                  <a:pt x="30" y="52"/>
                </a:cubicBezTo>
                <a:cubicBezTo>
                  <a:pt x="30" y="52"/>
                  <a:pt x="30" y="53"/>
                  <a:pt x="29" y="53"/>
                </a:cubicBezTo>
                <a:close/>
                <a:moveTo>
                  <a:pt x="30" y="53"/>
                </a:moveTo>
                <a:cubicBezTo>
                  <a:pt x="30" y="53"/>
                  <a:pt x="30" y="53"/>
                  <a:pt x="30" y="53"/>
                </a:cubicBezTo>
                <a:cubicBezTo>
                  <a:pt x="30" y="53"/>
                  <a:pt x="30" y="53"/>
                  <a:pt x="30" y="53"/>
                </a:cubicBezTo>
                <a:cubicBezTo>
                  <a:pt x="30" y="53"/>
                  <a:pt x="30" y="53"/>
                  <a:pt x="30" y="53"/>
                </a:cubicBezTo>
                <a:close/>
                <a:moveTo>
                  <a:pt x="34" y="55"/>
                </a:moveTo>
                <a:cubicBezTo>
                  <a:pt x="34" y="55"/>
                  <a:pt x="35" y="55"/>
                  <a:pt x="35" y="55"/>
                </a:cubicBezTo>
                <a:cubicBezTo>
                  <a:pt x="35" y="55"/>
                  <a:pt x="34" y="55"/>
                  <a:pt x="34" y="55"/>
                </a:cubicBezTo>
                <a:close/>
                <a:moveTo>
                  <a:pt x="33" y="55"/>
                </a:moveTo>
                <a:cubicBezTo>
                  <a:pt x="33" y="55"/>
                  <a:pt x="33" y="55"/>
                  <a:pt x="33" y="55"/>
                </a:cubicBezTo>
                <a:cubicBezTo>
                  <a:pt x="33" y="55"/>
                  <a:pt x="33" y="55"/>
                  <a:pt x="33" y="55"/>
                </a:cubicBezTo>
                <a:cubicBezTo>
                  <a:pt x="33" y="55"/>
                  <a:pt x="33" y="55"/>
                  <a:pt x="33" y="54"/>
                </a:cubicBezTo>
                <a:cubicBezTo>
                  <a:pt x="33" y="54"/>
                  <a:pt x="33" y="55"/>
                  <a:pt x="33" y="55"/>
                </a:cubicBezTo>
                <a:cubicBezTo>
                  <a:pt x="33" y="55"/>
                  <a:pt x="33" y="55"/>
                  <a:pt x="33" y="55"/>
                </a:cubicBezTo>
                <a:close/>
                <a:moveTo>
                  <a:pt x="36" y="57"/>
                </a:moveTo>
                <a:cubicBezTo>
                  <a:pt x="36" y="57"/>
                  <a:pt x="36" y="57"/>
                  <a:pt x="36" y="56"/>
                </a:cubicBezTo>
                <a:cubicBezTo>
                  <a:pt x="36" y="57"/>
                  <a:pt x="36" y="57"/>
                  <a:pt x="36" y="57"/>
                </a:cubicBezTo>
                <a:cubicBezTo>
                  <a:pt x="36" y="56"/>
                  <a:pt x="36" y="56"/>
                  <a:pt x="36" y="56"/>
                </a:cubicBezTo>
                <a:cubicBezTo>
                  <a:pt x="36" y="56"/>
                  <a:pt x="36" y="56"/>
                  <a:pt x="36" y="57"/>
                </a:cubicBezTo>
                <a:cubicBezTo>
                  <a:pt x="36" y="57"/>
                  <a:pt x="36" y="57"/>
                  <a:pt x="36" y="57"/>
                </a:cubicBezTo>
                <a:cubicBezTo>
                  <a:pt x="36" y="57"/>
                  <a:pt x="36" y="57"/>
                  <a:pt x="36" y="57"/>
                </a:cubicBezTo>
                <a:close/>
                <a:moveTo>
                  <a:pt x="34" y="56"/>
                </a:moveTo>
                <a:cubicBezTo>
                  <a:pt x="34" y="55"/>
                  <a:pt x="34" y="55"/>
                  <a:pt x="34" y="55"/>
                </a:cubicBezTo>
                <a:cubicBezTo>
                  <a:pt x="34" y="55"/>
                  <a:pt x="34" y="55"/>
                  <a:pt x="34" y="56"/>
                </a:cubicBezTo>
                <a:cubicBezTo>
                  <a:pt x="34" y="56"/>
                  <a:pt x="34" y="56"/>
                  <a:pt x="34" y="56"/>
                </a:cubicBezTo>
                <a:cubicBezTo>
                  <a:pt x="34" y="56"/>
                  <a:pt x="34" y="56"/>
                  <a:pt x="34" y="56"/>
                </a:cubicBezTo>
                <a:close/>
                <a:moveTo>
                  <a:pt x="31" y="54"/>
                </a:moveTo>
                <a:cubicBezTo>
                  <a:pt x="31" y="54"/>
                  <a:pt x="31" y="54"/>
                  <a:pt x="31" y="54"/>
                </a:cubicBezTo>
                <a:cubicBezTo>
                  <a:pt x="31" y="54"/>
                  <a:pt x="31" y="54"/>
                  <a:pt x="31" y="54"/>
                </a:cubicBezTo>
                <a:cubicBezTo>
                  <a:pt x="31" y="55"/>
                  <a:pt x="31" y="54"/>
                  <a:pt x="31" y="54"/>
                </a:cubicBezTo>
                <a:close/>
                <a:moveTo>
                  <a:pt x="29" y="54"/>
                </a:moveTo>
                <a:cubicBezTo>
                  <a:pt x="29" y="54"/>
                  <a:pt x="30" y="54"/>
                  <a:pt x="30" y="53"/>
                </a:cubicBezTo>
                <a:cubicBezTo>
                  <a:pt x="30" y="53"/>
                  <a:pt x="29" y="54"/>
                  <a:pt x="29" y="54"/>
                </a:cubicBezTo>
                <a:close/>
                <a:moveTo>
                  <a:pt x="31" y="55"/>
                </a:moveTo>
                <a:cubicBezTo>
                  <a:pt x="31" y="55"/>
                  <a:pt x="31" y="55"/>
                  <a:pt x="31" y="55"/>
                </a:cubicBezTo>
                <a:cubicBezTo>
                  <a:pt x="31" y="55"/>
                  <a:pt x="31" y="55"/>
                  <a:pt x="31" y="55"/>
                </a:cubicBezTo>
                <a:close/>
                <a:moveTo>
                  <a:pt x="33" y="57"/>
                </a:moveTo>
                <a:cubicBezTo>
                  <a:pt x="34" y="57"/>
                  <a:pt x="34" y="57"/>
                  <a:pt x="34" y="56"/>
                </a:cubicBezTo>
                <a:cubicBezTo>
                  <a:pt x="34" y="56"/>
                  <a:pt x="34" y="57"/>
                  <a:pt x="34" y="57"/>
                </a:cubicBezTo>
                <a:cubicBezTo>
                  <a:pt x="34" y="57"/>
                  <a:pt x="34" y="57"/>
                  <a:pt x="34" y="57"/>
                </a:cubicBezTo>
                <a:cubicBezTo>
                  <a:pt x="34" y="57"/>
                  <a:pt x="34" y="57"/>
                  <a:pt x="34" y="57"/>
                </a:cubicBezTo>
                <a:cubicBezTo>
                  <a:pt x="34" y="57"/>
                  <a:pt x="34" y="57"/>
                  <a:pt x="33" y="57"/>
                </a:cubicBezTo>
                <a:close/>
                <a:moveTo>
                  <a:pt x="34" y="57"/>
                </a:moveTo>
                <a:cubicBezTo>
                  <a:pt x="34" y="57"/>
                  <a:pt x="34" y="57"/>
                  <a:pt x="35" y="57"/>
                </a:cubicBezTo>
                <a:cubicBezTo>
                  <a:pt x="35" y="57"/>
                  <a:pt x="34" y="57"/>
                  <a:pt x="34" y="57"/>
                </a:cubicBezTo>
                <a:close/>
                <a:moveTo>
                  <a:pt x="29" y="54"/>
                </a:moveTo>
                <a:cubicBezTo>
                  <a:pt x="30" y="54"/>
                  <a:pt x="29" y="54"/>
                  <a:pt x="30" y="55"/>
                </a:cubicBezTo>
                <a:cubicBezTo>
                  <a:pt x="29" y="55"/>
                  <a:pt x="29" y="55"/>
                  <a:pt x="29" y="54"/>
                </a:cubicBezTo>
                <a:cubicBezTo>
                  <a:pt x="29" y="54"/>
                  <a:pt x="29" y="54"/>
                  <a:pt x="29" y="54"/>
                </a:cubicBezTo>
                <a:close/>
                <a:moveTo>
                  <a:pt x="35" y="57"/>
                </a:moveTo>
                <a:cubicBezTo>
                  <a:pt x="35" y="58"/>
                  <a:pt x="35" y="58"/>
                  <a:pt x="35" y="58"/>
                </a:cubicBezTo>
                <a:cubicBezTo>
                  <a:pt x="34" y="58"/>
                  <a:pt x="35" y="58"/>
                  <a:pt x="35" y="57"/>
                </a:cubicBezTo>
                <a:close/>
                <a:moveTo>
                  <a:pt x="33" y="57"/>
                </a:moveTo>
                <a:cubicBezTo>
                  <a:pt x="33" y="57"/>
                  <a:pt x="33" y="57"/>
                  <a:pt x="33" y="57"/>
                </a:cubicBezTo>
                <a:cubicBezTo>
                  <a:pt x="34" y="57"/>
                  <a:pt x="33" y="58"/>
                  <a:pt x="33" y="58"/>
                </a:cubicBezTo>
                <a:cubicBezTo>
                  <a:pt x="33" y="58"/>
                  <a:pt x="33" y="57"/>
                  <a:pt x="33" y="57"/>
                </a:cubicBezTo>
                <a:close/>
                <a:moveTo>
                  <a:pt x="31" y="56"/>
                </a:moveTo>
                <a:cubicBezTo>
                  <a:pt x="31" y="56"/>
                  <a:pt x="31" y="56"/>
                  <a:pt x="31" y="56"/>
                </a:cubicBezTo>
                <a:cubicBezTo>
                  <a:pt x="31" y="56"/>
                  <a:pt x="31" y="56"/>
                  <a:pt x="31" y="56"/>
                </a:cubicBezTo>
                <a:close/>
                <a:moveTo>
                  <a:pt x="35" y="59"/>
                </a:moveTo>
                <a:cubicBezTo>
                  <a:pt x="35" y="59"/>
                  <a:pt x="35" y="58"/>
                  <a:pt x="35" y="58"/>
                </a:cubicBezTo>
                <a:cubicBezTo>
                  <a:pt x="35" y="58"/>
                  <a:pt x="35" y="59"/>
                  <a:pt x="35" y="59"/>
                </a:cubicBezTo>
                <a:close/>
                <a:moveTo>
                  <a:pt x="35" y="59"/>
                </a:moveTo>
                <a:cubicBezTo>
                  <a:pt x="35" y="59"/>
                  <a:pt x="35" y="59"/>
                  <a:pt x="35" y="59"/>
                </a:cubicBezTo>
                <a:cubicBezTo>
                  <a:pt x="35" y="59"/>
                  <a:pt x="35" y="58"/>
                  <a:pt x="35" y="58"/>
                </a:cubicBezTo>
                <a:cubicBezTo>
                  <a:pt x="36" y="58"/>
                  <a:pt x="35" y="59"/>
                  <a:pt x="35" y="59"/>
                </a:cubicBezTo>
                <a:cubicBezTo>
                  <a:pt x="35" y="59"/>
                  <a:pt x="35" y="59"/>
                  <a:pt x="35" y="59"/>
                </a:cubicBezTo>
                <a:close/>
                <a:moveTo>
                  <a:pt x="29" y="56"/>
                </a:moveTo>
                <a:cubicBezTo>
                  <a:pt x="29" y="56"/>
                  <a:pt x="29" y="56"/>
                  <a:pt x="29" y="55"/>
                </a:cubicBezTo>
                <a:cubicBezTo>
                  <a:pt x="29" y="56"/>
                  <a:pt x="29" y="56"/>
                  <a:pt x="29" y="56"/>
                </a:cubicBezTo>
                <a:cubicBezTo>
                  <a:pt x="29" y="56"/>
                  <a:pt x="29" y="56"/>
                  <a:pt x="29" y="56"/>
                </a:cubicBezTo>
                <a:cubicBezTo>
                  <a:pt x="29" y="56"/>
                  <a:pt x="29" y="56"/>
                  <a:pt x="29" y="56"/>
                </a:cubicBezTo>
                <a:close/>
                <a:moveTo>
                  <a:pt x="33" y="58"/>
                </a:moveTo>
                <a:cubicBezTo>
                  <a:pt x="33" y="58"/>
                  <a:pt x="33" y="58"/>
                  <a:pt x="33" y="58"/>
                </a:cubicBezTo>
                <a:cubicBezTo>
                  <a:pt x="33" y="58"/>
                  <a:pt x="33" y="58"/>
                  <a:pt x="33" y="58"/>
                </a:cubicBezTo>
                <a:cubicBezTo>
                  <a:pt x="33" y="58"/>
                  <a:pt x="33" y="58"/>
                  <a:pt x="33" y="58"/>
                </a:cubicBezTo>
                <a:close/>
                <a:moveTo>
                  <a:pt x="28" y="56"/>
                </a:moveTo>
                <a:cubicBezTo>
                  <a:pt x="28" y="56"/>
                  <a:pt x="28" y="56"/>
                  <a:pt x="28" y="57"/>
                </a:cubicBezTo>
                <a:cubicBezTo>
                  <a:pt x="28" y="57"/>
                  <a:pt x="28" y="56"/>
                  <a:pt x="28" y="56"/>
                </a:cubicBezTo>
                <a:close/>
                <a:moveTo>
                  <a:pt x="30" y="57"/>
                </a:moveTo>
                <a:cubicBezTo>
                  <a:pt x="30" y="57"/>
                  <a:pt x="30" y="57"/>
                  <a:pt x="30" y="57"/>
                </a:cubicBezTo>
                <a:cubicBezTo>
                  <a:pt x="30" y="57"/>
                  <a:pt x="30" y="57"/>
                  <a:pt x="30" y="57"/>
                </a:cubicBezTo>
                <a:cubicBezTo>
                  <a:pt x="30" y="57"/>
                  <a:pt x="30" y="57"/>
                  <a:pt x="30" y="57"/>
                </a:cubicBezTo>
                <a:close/>
                <a:moveTo>
                  <a:pt x="33" y="59"/>
                </a:moveTo>
                <a:cubicBezTo>
                  <a:pt x="33" y="59"/>
                  <a:pt x="33" y="59"/>
                  <a:pt x="33" y="59"/>
                </a:cubicBezTo>
                <a:cubicBezTo>
                  <a:pt x="33" y="59"/>
                  <a:pt x="33" y="59"/>
                  <a:pt x="33" y="59"/>
                </a:cubicBezTo>
                <a:close/>
                <a:moveTo>
                  <a:pt x="30" y="58"/>
                </a:moveTo>
                <a:cubicBezTo>
                  <a:pt x="30" y="58"/>
                  <a:pt x="30" y="58"/>
                  <a:pt x="30" y="58"/>
                </a:cubicBezTo>
                <a:cubicBezTo>
                  <a:pt x="30" y="58"/>
                  <a:pt x="30" y="58"/>
                  <a:pt x="30" y="58"/>
                </a:cubicBezTo>
                <a:close/>
                <a:moveTo>
                  <a:pt x="32" y="59"/>
                </a:moveTo>
                <a:cubicBezTo>
                  <a:pt x="32" y="59"/>
                  <a:pt x="32" y="59"/>
                  <a:pt x="32" y="59"/>
                </a:cubicBezTo>
                <a:cubicBezTo>
                  <a:pt x="32" y="59"/>
                  <a:pt x="32" y="59"/>
                  <a:pt x="32" y="59"/>
                </a:cubicBezTo>
                <a:close/>
                <a:moveTo>
                  <a:pt x="30" y="58"/>
                </a:moveTo>
                <a:cubicBezTo>
                  <a:pt x="30" y="58"/>
                  <a:pt x="30" y="58"/>
                  <a:pt x="30" y="58"/>
                </a:cubicBezTo>
                <a:cubicBezTo>
                  <a:pt x="30" y="58"/>
                  <a:pt x="30" y="58"/>
                  <a:pt x="30" y="58"/>
                </a:cubicBezTo>
                <a:close/>
                <a:moveTo>
                  <a:pt x="28" y="59"/>
                </a:moveTo>
                <a:cubicBezTo>
                  <a:pt x="28" y="58"/>
                  <a:pt x="28" y="58"/>
                  <a:pt x="28" y="58"/>
                </a:cubicBezTo>
                <a:cubicBezTo>
                  <a:pt x="28" y="58"/>
                  <a:pt x="28" y="58"/>
                  <a:pt x="28" y="59"/>
                </a:cubicBezTo>
                <a:close/>
                <a:moveTo>
                  <a:pt x="29" y="59"/>
                </a:moveTo>
                <a:cubicBezTo>
                  <a:pt x="29" y="59"/>
                  <a:pt x="29" y="59"/>
                  <a:pt x="29" y="59"/>
                </a:cubicBezTo>
                <a:cubicBezTo>
                  <a:pt x="29" y="59"/>
                  <a:pt x="29" y="59"/>
                  <a:pt x="29" y="59"/>
                </a:cubicBezTo>
                <a:cubicBezTo>
                  <a:pt x="29" y="59"/>
                  <a:pt x="29" y="59"/>
                  <a:pt x="29" y="59"/>
                </a:cubicBezTo>
                <a:cubicBezTo>
                  <a:pt x="29" y="59"/>
                  <a:pt x="29" y="59"/>
                  <a:pt x="29" y="59"/>
                </a:cubicBezTo>
                <a:cubicBezTo>
                  <a:pt x="29" y="59"/>
                  <a:pt x="29" y="59"/>
                  <a:pt x="29" y="59"/>
                </a:cubicBezTo>
                <a:cubicBezTo>
                  <a:pt x="29" y="59"/>
                  <a:pt x="29" y="59"/>
                  <a:pt x="29" y="59"/>
                </a:cubicBezTo>
                <a:cubicBezTo>
                  <a:pt x="29" y="59"/>
                  <a:pt x="29" y="59"/>
                  <a:pt x="29" y="59"/>
                </a:cubicBezTo>
                <a:cubicBezTo>
                  <a:pt x="29" y="59"/>
                  <a:pt x="29" y="59"/>
                  <a:pt x="29" y="59"/>
                </a:cubicBezTo>
                <a:close/>
                <a:moveTo>
                  <a:pt x="33" y="62"/>
                </a:moveTo>
                <a:cubicBezTo>
                  <a:pt x="33" y="61"/>
                  <a:pt x="34" y="61"/>
                  <a:pt x="34" y="61"/>
                </a:cubicBezTo>
                <a:cubicBezTo>
                  <a:pt x="34" y="62"/>
                  <a:pt x="33" y="61"/>
                  <a:pt x="33" y="62"/>
                </a:cubicBezTo>
                <a:close/>
                <a:moveTo>
                  <a:pt x="30" y="60"/>
                </a:moveTo>
                <a:cubicBezTo>
                  <a:pt x="30" y="60"/>
                  <a:pt x="30" y="60"/>
                  <a:pt x="30" y="60"/>
                </a:cubicBezTo>
                <a:cubicBezTo>
                  <a:pt x="30" y="60"/>
                  <a:pt x="30" y="60"/>
                  <a:pt x="30" y="60"/>
                </a:cubicBezTo>
                <a:cubicBezTo>
                  <a:pt x="30" y="59"/>
                  <a:pt x="30" y="59"/>
                  <a:pt x="30" y="60"/>
                </a:cubicBezTo>
                <a:cubicBezTo>
                  <a:pt x="30" y="60"/>
                  <a:pt x="30" y="60"/>
                  <a:pt x="30" y="60"/>
                </a:cubicBezTo>
                <a:cubicBezTo>
                  <a:pt x="30" y="60"/>
                  <a:pt x="30" y="60"/>
                  <a:pt x="30" y="60"/>
                </a:cubicBezTo>
                <a:close/>
                <a:moveTo>
                  <a:pt x="27" y="58"/>
                </a:moveTo>
                <a:cubicBezTo>
                  <a:pt x="27" y="58"/>
                  <a:pt x="27" y="58"/>
                  <a:pt x="27" y="59"/>
                </a:cubicBezTo>
                <a:cubicBezTo>
                  <a:pt x="27" y="58"/>
                  <a:pt x="27" y="58"/>
                  <a:pt x="27" y="58"/>
                </a:cubicBezTo>
                <a:close/>
                <a:moveTo>
                  <a:pt x="28" y="59"/>
                </a:moveTo>
                <a:cubicBezTo>
                  <a:pt x="28" y="59"/>
                  <a:pt x="28" y="59"/>
                  <a:pt x="28" y="59"/>
                </a:cubicBezTo>
                <a:cubicBezTo>
                  <a:pt x="29" y="59"/>
                  <a:pt x="29" y="59"/>
                  <a:pt x="28" y="60"/>
                </a:cubicBezTo>
                <a:cubicBezTo>
                  <a:pt x="28" y="60"/>
                  <a:pt x="28" y="60"/>
                  <a:pt x="28" y="60"/>
                </a:cubicBezTo>
                <a:cubicBezTo>
                  <a:pt x="28" y="59"/>
                  <a:pt x="28" y="59"/>
                  <a:pt x="28" y="59"/>
                </a:cubicBezTo>
                <a:close/>
                <a:moveTo>
                  <a:pt x="32" y="61"/>
                </a:moveTo>
                <a:cubicBezTo>
                  <a:pt x="32" y="61"/>
                  <a:pt x="32" y="61"/>
                  <a:pt x="32" y="61"/>
                </a:cubicBezTo>
                <a:cubicBezTo>
                  <a:pt x="32" y="61"/>
                  <a:pt x="32" y="61"/>
                  <a:pt x="32" y="61"/>
                </a:cubicBezTo>
                <a:close/>
                <a:moveTo>
                  <a:pt x="29" y="60"/>
                </a:moveTo>
                <a:cubicBezTo>
                  <a:pt x="29" y="60"/>
                  <a:pt x="29" y="60"/>
                  <a:pt x="29" y="60"/>
                </a:cubicBezTo>
                <a:cubicBezTo>
                  <a:pt x="28" y="60"/>
                  <a:pt x="29" y="60"/>
                  <a:pt x="29" y="59"/>
                </a:cubicBezTo>
                <a:cubicBezTo>
                  <a:pt x="29" y="59"/>
                  <a:pt x="29" y="60"/>
                  <a:pt x="29" y="60"/>
                </a:cubicBezTo>
                <a:close/>
                <a:moveTo>
                  <a:pt x="29" y="61"/>
                </a:moveTo>
                <a:cubicBezTo>
                  <a:pt x="29" y="61"/>
                  <a:pt x="30" y="61"/>
                  <a:pt x="30" y="60"/>
                </a:cubicBezTo>
                <a:cubicBezTo>
                  <a:pt x="30" y="60"/>
                  <a:pt x="29" y="61"/>
                  <a:pt x="29" y="61"/>
                </a:cubicBezTo>
                <a:close/>
                <a:moveTo>
                  <a:pt x="33" y="62"/>
                </a:moveTo>
                <a:cubicBezTo>
                  <a:pt x="33" y="62"/>
                  <a:pt x="33" y="62"/>
                  <a:pt x="33" y="62"/>
                </a:cubicBezTo>
                <a:cubicBezTo>
                  <a:pt x="32" y="62"/>
                  <a:pt x="33" y="62"/>
                  <a:pt x="33" y="62"/>
                </a:cubicBezTo>
                <a:close/>
                <a:moveTo>
                  <a:pt x="27" y="59"/>
                </a:moveTo>
                <a:cubicBezTo>
                  <a:pt x="27" y="59"/>
                  <a:pt x="27" y="59"/>
                  <a:pt x="27" y="59"/>
                </a:cubicBezTo>
                <a:cubicBezTo>
                  <a:pt x="27" y="59"/>
                  <a:pt x="27" y="59"/>
                  <a:pt x="27" y="59"/>
                </a:cubicBezTo>
                <a:cubicBezTo>
                  <a:pt x="27" y="59"/>
                  <a:pt x="27" y="59"/>
                  <a:pt x="27" y="59"/>
                </a:cubicBezTo>
                <a:close/>
                <a:moveTo>
                  <a:pt x="29" y="60"/>
                </a:moveTo>
                <a:cubicBezTo>
                  <a:pt x="29" y="60"/>
                  <a:pt x="29" y="60"/>
                  <a:pt x="29" y="60"/>
                </a:cubicBezTo>
                <a:cubicBezTo>
                  <a:pt x="29" y="60"/>
                  <a:pt x="29" y="60"/>
                  <a:pt x="29" y="60"/>
                </a:cubicBezTo>
                <a:cubicBezTo>
                  <a:pt x="29" y="60"/>
                  <a:pt x="29" y="60"/>
                  <a:pt x="29" y="60"/>
                </a:cubicBezTo>
                <a:cubicBezTo>
                  <a:pt x="29" y="60"/>
                  <a:pt x="29" y="60"/>
                  <a:pt x="29" y="60"/>
                </a:cubicBezTo>
                <a:close/>
                <a:moveTo>
                  <a:pt x="31" y="62"/>
                </a:moveTo>
                <a:cubicBezTo>
                  <a:pt x="31" y="62"/>
                  <a:pt x="31" y="62"/>
                  <a:pt x="31" y="62"/>
                </a:cubicBezTo>
                <a:cubicBezTo>
                  <a:pt x="31" y="62"/>
                  <a:pt x="31" y="62"/>
                  <a:pt x="31" y="62"/>
                </a:cubicBezTo>
                <a:cubicBezTo>
                  <a:pt x="31" y="62"/>
                  <a:pt x="31" y="62"/>
                  <a:pt x="31" y="62"/>
                </a:cubicBezTo>
                <a:close/>
                <a:moveTo>
                  <a:pt x="27" y="61"/>
                </a:moveTo>
                <a:cubicBezTo>
                  <a:pt x="27" y="61"/>
                  <a:pt x="27" y="60"/>
                  <a:pt x="27" y="60"/>
                </a:cubicBezTo>
                <a:cubicBezTo>
                  <a:pt x="27" y="60"/>
                  <a:pt x="27" y="61"/>
                  <a:pt x="27" y="61"/>
                </a:cubicBezTo>
                <a:close/>
                <a:moveTo>
                  <a:pt x="36" y="65"/>
                </a:moveTo>
                <a:cubicBezTo>
                  <a:pt x="36" y="65"/>
                  <a:pt x="36" y="65"/>
                  <a:pt x="36" y="65"/>
                </a:cubicBezTo>
                <a:cubicBezTo>
                  <a:pt x="36" y="65"/>
                  <a:pt x="36" y="65"/>
                  <a:pt x="36" y="65"/>
                </a:cubicBezTo>
                <a:cubicBezTo>
                  <a:pt x="36" y="65"/>
                  <a:pt x="37" y="65"/>
                  <a:pt x="36" y="65"/>
                </a:cubicBezTo>
                <a:close/>
                <a:moveTo>
                  <a:pt x="33" y="63"/>
                </a:moveTo>
                <a:cubicBezTo>
                  <a:pt x="33" y="63"/>
                  <a:pt x="33" y="63"/>
                  <a:pt x="32" y="63"/>
                </a:cubicBezTo>
                <a:cubicBezTo>
                  <a:pt x="32" y="63"/>
                  <a:pt x="33" y="63"/>
                  <a:pt x="33" y="63"/>
                </a:cubicBezTo>
                <a:close/>
                <a:moveTo>
                  <a:pt x="35" y="65"/>
                </a:moveTo>
                <a:cubicBezTo>
                  <a:pt x="35" y="65"/>
                  <a:pt x="35" y="65"/>
                  <a:pt x="35" y="65"/>
                </a:cubicBezTo>
                <a:cubicBezTo>
                  <a:pt x="35" y="65"/>
                  <a:pt x="35" y="65"/>
                  <a:pt x="35" y="65"/>
                </a:cubicBezTo>
                <a:cubicBezTo>
                  <a:pt x="35" y="65"/>
                  <a:pt x="35" y="65"/>
                  <a:pt x="35" y="65"/>
                </a:cubicBezTo>
                <a:close/>
                <a:moveTo>
                  <a:pt x="31" y="63"/>
                </a:moveTo>
                <a:cubicBezTo>
                  <a:pt x="31" y="63"/>
                  <a:pt x="31" y="63"/>
                  <a:pt x="31" y="63"/>
                </a:cubicBezTo>
                <a:cubicBezTo>
                  <a:pt x="31" y="63"/>
                  <a:pt x="31" y="63"/>
                  <a:pt x="31" y="63"/>
                </a:cubicBezTo>
                <a:cubicBezTo>
                  <a:pt x="31" y="63"/>
                  <a:pt x="31" y="63"/>
                  <a:pt x="31" y="63"/>
                </a:cubicBezTo>
                <a:close/>
                <a:moveTo>
                  <a:pt x="35" y="65"/>
                </a:moveTo>
                <a:cubicBezTo>
                  <a:pt x="35" y="65"/>
                  <a:pt x="35" y="65"/>
                  <a:pt x="34" y="65"/>
                </a:cubicBezTo>
                <a:cubicBezTo>
                  <a:pt x="34" y="65"/>
                  <a:pt x="35" y="65"/>
                  <a:pt x="35" y="65"/>
                </a:cubicBezTo>
                <a:close/>
                <a:moveTo>
                  <a:pt x="29" y="63"/>
                </a:moveTo>
                <a:cubicBezTo>
                  <a:pt x="29" y="62"/>
                  <a:pt x="29" y="62"/>
                  <a:pt x="29" y="62"/>
                </a:cubicBezTo>
                <a:cubicBezTo>
                  <a:pt x="30" y="62"/>
                  <a:pt x="29" y="63"/>
                  <a:pt x="29" y="63"/>
                </a:cubicBezTo>
                <a:close/>
                <a:moveTo>
                  <a:pt x="27" y="61"/>
                </a:moveTo>
                <a:cubicBezTo>
                  <a:pt x="27" y="61"/>
                  <a:pt x="27" y="61"/>
                  <a:pt x="27" y="61"/>
                </a:cubicBezTo>
                <a:cubicBezTo>
                  <a:pt x="27" y="61"/>
                  <a:pt x="27" y="61"/>
                  <a:pt x="27" y="61"/>
                </a:cubicBezTo>
                <a:cubicBezTo>
                  <a:pt x="27" y="62"/>
                  <a:pt x="27" y="61"/>
                  <a:pt x="27" y="61"/>
                </a:cubicBezTo>
                <a:close/>
                <a:moveTo>
                  <a:pt x="35" y="66"/>
                </a:moveTo>
                <a:cubicBezTo>
                  <a:pt x="35" y="66"/>
                  <a:pt x="35" y="66"/>
                  <a:pt x="35" y="66"/>
                </a:cubicBezTo>
                <a:cubicBezTo>
                  <a:pt x="35" y="66"/>
                  <a:pt x="35" y="66"/>
                  <a:pt x="35" y="66"/>
                </a:cubicBezTo>
                <a:cubicBezTo>
                  <a:pt x="35" y="66"/>
                  <a:pt x="35" y="66"/>
                  <a:pt x="35" y="66"/>
                </a:cubicBezTo>
                <a:cubicBezTo>
                  <a:pt x="35" y="66"/>
                  <a:pt x="35" y="66"/>
                  <a:pt x="35" y="66"/>
                </a:cubicBezTo>
                <a:cubicBezTo>
                  <a:pt x="35" y="66"/>
                  <a:pt x="35" y="66"/>
                  <a:pt x="35" y="66"/>
                </a:cubicBezTo>
                <a:close/>
                <a:moveTo>
                  <a:pt x="26" y="63"/>
                </a:moveTo>
                <a:cubicBezTo>
                  <a:pt x="26" y="62"/>
                  <a:pt x="26" y="62"/>
                  <a:pt x="26" y="62"/>
                </a:cubicBezTo>
                <a:cubicBezTo>
                  <a:pt x="26" y="62"/>
                  <a:pt x="26" y="62"/>
                  <a:pt x="26" y="63"/>
                </a:cubicBezTo>
                <a:close/>
                <a:moveTo>
                  <a:pt x="26" y="63"/>
                </a:moveTo>
                <a:cubicBezTo>
                  <a:pt x="26" y="63"/>
                  <a:pt x="26" y="63"/>
                  <a:pt x="26" y="63"/>
                </a:cubicBezTo>
                <a:cubicBezTo>
                  <a:pt x="26" y="63"/>
                  <a:pt x="26" y="63"/>
                  <a:pt x="26" y="63"/>
                </a:cubicBezTo>
                <a:cubicBezTo>
                  <a:pt x="26" y="63"/>
                  <a:pt x="26" y="63"/>
                  <a:pt x="26" y="63"/>
                </a:cubicBezTo>
                <a:cubicBezTo>
                  <a:pt x="27" y="63"/>
                  <a:pt x="26" y="63"/>
                  <a:pt x="26" y="63"/>
                </a:cubicBezTo>
                <a:close/>
                <a:moveTo>
                  <a:pt x="27" y="63"/>
                </a:moveTo>
                <a:cubicBezTo>
                  <a:pt x="27" y="63"/>
                  <a:pt x="27" y="63"/>
                  <a:pt x="27" y="63"/>
                </a:cubicBezTo>
                <a:cubicBezTo>
                  <a:pt x="27" y="63"/>
                  <a:pt x="27" y="63"/>
                  <a:pt x="27" y="63"/>
                </a:cubicBezTo>
                <a:cubicBezTo>
                  <a:pt x="27" y="63"/>
                  <a:pt x="27" y="63"/>
                  <a:pt x="27" y="63"/>
                </a:cubicBezTo>
                <a:close/>
                <a:moveTo>
                  <a:pt x="26" y="63"/>
                </a:moveTo>
                <a:cubicBezTo>
                  <a:pt x="26" y="63"/>
                  <a:pt x="26" y="63"/>
                  <a:pt x="26" y="63"/>
                </a:cubicBezTo>
                <a:cubicBezTo>
                  <a:pt x="26" y="63"/>
                  <a:pt x="26" y="64"/>
                  <a:pt x="26" y="64"/>
                </a:cubicBezTo>
                <a:cubicBezTo>
                  <a:pt x="26" y="64"/>
                  <a:pt x="26" y="63"/>
                  <a:pt x="26" y="63"/>
                </a:cubicBezTo>
                <a:close/>
                <a:moveTo>
                  <a:pt x="28" y="65"/>
                </a:moveTo>
                <a:cubicBezTo>
                  <a:pt x="28" y="65"/>
                  <a:pt x="28" y="65"/>
                  <a:pt x="28" y="65"/>
                </a:cubicBezTo>
                <a:cubicBezTo>
                  <a:pt x="28" y="65"/>
                  <a:pt x="28" y="65"/>
                  <a:pt x="28" y="65"/>
                </a:cubicBezTo>
                <a:cubicBezTo>
                  <a:pt x="28" y="65"/>
                  <a:pt x="28" y="65"/>
                  <a:pt x="28" y="65"/>
                </a:cubicBezTo>
                <a:close/>
                <a:moveTo>
                  <a:pt x="26" y="64"/>
                </a:moveTo>
                <a:cubicBezTo>
                  <a:pt x="26" y="64"/>
                  <a:pt x="26" y="64"/>
                  <a:pt x="26" y="64"/>
                </a:cubicBezTo>
                <a:cubicBezTo>
                  <a:pt x="26" y="64"/>
                  <a:pt x="26" y="64"/>
                  <a:pt x="26" y="64"/>
                </a:cubicBezTo>
                <a:cubicBezTo>
                  <a:pt x="26" y="64"/>
                  <a:pt x="26" y="64"/>
                  <a:pt x="26" y="64"/>
                </a:cubicBezTo>
                <a:close/>
                <a:moveTo>
                  <a:pt x="30" y="66"/>
                </a:moveTo>
                <a:cubicBezTo>
                  <a:pt x="30" y="66"/>
                  <a:pt x="30" y="66"/>
                  <a:pt x="30" y="66"/>
                </a:cubicBezTo>
                <a:cubicBezTo>
                  <a:pt x="30" y="66"/>
                  <a:pt x="30" y="67"/>
                  <a:pt x="30" y="67"/>
                </a:cubicBezTo>
                <a:cubicBezTo>
                  <a:pt x="30" y="66"/>
                  <a:pt x="30" y="66"/>
                  <a:pt x="30" y="66"/>
                </a:cubicBezTo>
                <a:close/>
                <a:moveTo>
                  <a:pt x="33" y="71"/>
                </a:moveTo>
                <a:cubicBezTo>
                  <a:pt x="33" y="71"/>
                  <a:pt x="33" y="71"/>
                  <a:pt x="33" y="72"/>
                </a:cubicBezTo>
                <a:cubicBezTo>
                  <a:pt x="33" y="71"/>
                  <a:pt x="34" y="70"/>
                  <a:pt x="34" y="69"/>
                </a:cubicBezTo>
                <a:cubicBezTo>
                  <a:pt x="34" y="69"/>
                  <a:pt x="34" y="69"/>
                  <a:pt x="34" y="69"/>
                </a:cubicBezTo>
                <a:cubicBezTo>
                  <a:pt x="34" y="70"/>
                  <a:pt x="34" y="71"/>
                  <a:pt x="33" y="71"/>
                </a:cubicBezTo>
                <a:cubicBezTo>
                  <a:pt x="33" y="71"/>
                  <a:pt x="33" y="71"/>
                  <a:pt x="33" y="71"/>
                </a:cubicBezTo>
                <a:close/>
                <a:moveTo>
                  <a:pt x="26" y="66"/>
                </a:moveTo>
                <a:cubicBezTo>
                  <a:pt x="26" y="66"/>
                  <a:pt x="27" y="66"/>
                  <a:pt x="27" y="66"/>
                </a:cubicBezTo>
                <a:cubicBezTo>
                  <a:pt x="26" y="66"/>
                  <a:pt x="26" y="66"/>
                  <a:pt x="26" y="66"/>
                </a:cubicBezTo>
                <a:cubicBezTo>
                  <a:pt x="26" y="66"/>
                  <a:pt x="26" y="66"/>
                  <a:pt x="26" y="66"/>
                </a:cubicBezTo>
                <a:cubicBezTo>
                  <a:pt x="26" y="66"/>
                  <a:pt x="26" y="66"/>
                  <a:pt x="26" y="66"/>
                </a:cubicBezTo>
                <a:cubicBezTo>
                  <a:pt x="26" y="66"/>
                  <a:pt x="26" y="66"/>
                  <a:pt x="26" y="65"/>
                </a:cubicBezTo>
                <a:cubicBezTo>
                  <a:pt x="26" y="65"/>
                  <a:pt x="26" y="65"/>
                  <a:pt x="27" y="65"/>
                </a:cubicBezTo>
                <a:cubicBezTo>
                  <a:pt x="27" y="65"/>
                  <a:pt x="27" y="65"/>
                  <a:pt x="27" y="66"/>
                </a:cubicBezTo>
                <a:cubicBezTo>
                  <a:pt x="27" y="66"/>
                  <a:pt x="27" y="65"/>
                  <a:pt x="27" y="65"/>
                </a:cubicBezTo>
                <a:cubicBezTo>
                  <a:pt x="27" y="66"/>
                  <a:pt x="27" y="66"/>
                  <a:pt x="26" y="66"/>
                </a:cubicBezTo>
                <a:close/>
                <a:moveTo>
                  <a:pt x="26" y="67"/>
                </a:moveTo>
                <a:cubicBezTo>
                  <a:pt x="26" y="67"/>
                  <a:pt x="26" y="66"/>
                  <a:pt x="26" y="66"/>
                </a:cubicBezTo>
                <a:cubicBezTo>
                  <a:pt x="26" y="67"/>
                  <a:pt x="26" y="67"/>
                  <a:pt x="25" y="67"/>
                </a:cubicBezTo>
                <a:cubicBezTo>
                  <a:pt x="25" y="67"/>
                  <a:pt x="25" y="67"/>
                  <a:pt x="25" y="67"/>
                </a:cubicBezTo>
                <a:cubicBezTo>
                  <a:pt x="25" y="67"/>
                  <a:pt x="25" y="67"/>
                  <a:pt x="25" y="67"/>
                </a:cubicBezTo>
                <a:cubicBezTo>
                  <a:pt x="26" y="67"/>
                  <a:pt x="26" y="66"/>
                  <a:pt x="26" y="66"/>
                </a:cubicBezTo>
                <a:cubicBezTo>
                  <a:pt x="26" y="66"/>
                  <a:pt x="26" y="66"/>
                  <a:pt x="26" y="66"/>
                </a:cubicBezTo>
                <a:cubicBezTo>
                  <a:pt x="26" y="66"/>
                  <a:pt x="26" y="66"/>
                  <a:pt x="26" y="67"/>
                </a:cubicBezTo>
                <a:close/>
                <a:moveTo>
                  <a:pt x="28" y="68"/>
                </a:moveTo>
                <a:cubicBezTo>
                  <a:pt x="29" y="68"/>
                  <a:pt x="29" y="68"/>
                  <a:pt x="29" y="68"/>
                </a:cubicBezTo>
                <a:cubicBezTo>
                  <a:pt x="28" y="68"/>
                  <a:pt x="28" y="68"/>
                  <a:pt x="28" y="68"/>
                </a:cubicBezTo>
                <a:cubicBezTo>
                  <a:pt x="28" y="68"/>
                  <a:pt x="28" y="68"/>
                  <a:pt x="28" y="68"/>
                </a:cubicBezTo>
                <a:close/>
                <a:moveTo>
                  <a:pt x="26" y="67"/>
                </a:moveTo>
                <a:cubicBezTo>
                  <a:pt x="26" y="67"/>
                  <a:pt x="26" y="67"/>
                  <a:pt x="26" y="67"/>
                </a:cubicBezTo>
                <a:cubicBezTo>
                  <a:pt x="26" y="67"/>
                  <a:pt x="26" y="67"/>
                  <a:pt x="26" y="67"/>
                </a:cubicBezTo>
                <a:cubicBezTo>
                  <a:pt x="26" y="67"/>
                  <a:pt x="26" y="67"/>
                  <a:pt x="26" y="67"/>
                </a:cubicBezTo>
                <a:close/>
                <a:moveTo>
                  <a:pt x="25" y="67"/>
                </a:moveTo>
                <a:cubicBezTo>
                  <a:pt x="25" y="67"/>
                  <a:pt x="25" y="67"/>
                  <a:pt x="25" y="66"/>
                </a:cubicBezTo>
                <a:cubicBezTo>
                  <a:pt x="25" y="66"/>
                  <a:pt x="25" y="67"/>
                  <a:pt x="25" y="67"/>
                </a:cubicBezTo>
                <a:close/>
                <a:moveTo>
                  <a:pt x="25" y="67"/>
                </a:moveTo>
                <a:cubicBezTo>
                  <a:pt x="25" y="67"/>
                  <a:pt x="25" y="67"/>
                  <a:pt x="25" y="66"/>
                </a:cubicBezTo>
                <a:cubicBezTo>
                  <a:pt x="25" y="66"/>
                  <a:pt x="25" y="67"/>
                  <a:pt x="25" y="67"/>
                </a:cubicBezTo>
                <a:close/>
                <a:moveTo>
                  <a:pt x="28" y="69"/>
                </a:moveTo>
                <a:cubicBezTo>
                  <a:pt x="28" y="69"/>
                  <a:pt x="28" y="69"/>
                  <a:pt x="28" y="69"/>
                </a:cubicBezTo>
                <a:cubicBezTo>
                  <a:pt x="27" y="69"/>
                  <a:pt x="28" y="69"/>
                  <a:pt x="28" y="69"/>
                </a:cubicBezTo>
                <a:cubicBezTo>
                  <a:pt x="28" y="69"/>
                  <a:pt x="28" y="69"/>
                  <a:pt x="28" y="69"/>
                </a:cubicBezTo>
                <a:close/>
                <a:moveTo>
                  <a:pt x="24" y="68"/>
                </a:moveTo>
                <a:cubicBezTo>
                  <a:pt x="24" y="67"/>
                  <a:pt x="24" y="67"/>
                  <a:pt x="24" y="67"/>
                </a:cubicBezTo>
                <a:cubicBezTo>
                  <a:pt x="24" y="67"/>
                  <a:pt x="24" y="68"/>
                  <a:pt x="24" y="68"/>
                </a:cubicBezTo>
                <a:close/>
                <a:moveTo>
                  <a:pt x="26" y="68"/>
                </a:moveTo>
                <a:cubicBezTo>
                  <a:pt x="25" y="68"/>
                  <a:pt x="25" y="68"/>
                  <a:pt x="25" y="68"/>
                </a:cubicBezTo>
                <a:cubicBezTo>
                  <a:pt x="26" y="68"/>
                  <a:pt x="26" y="68"/>
                  <a:pt x="26" y="68"/>
                </a:cubicBezTo>
                <a:cubicBezTo>
                  <a:pt x="26" y="68"/>
                  <a:pt x="26" y="68"/>
                  <a:pt x="26" y="68"/>
                </a:cubicBezTo>
                <a:close/>
                <a:moveTo>
                  <a:pt x="24" y="68"/>
                </a:moveTo>
                <a:cubicBezTo>
                  <a:pt x="24" y="68"/>
                  <a:pt x="24" y="68"/>
                  <a:pt x="24" y="68"/>
                </a:cubicBezTo>
                <a:cubicBezTo>
                  <a:pt x="23" y="68"/>
                  <a:pt x="24" y="68"/>
                  <a:pt x="24" y="68"/>
                </a:cubicBezTo>
                <a:cubicBezTo>
                  <a:pt x="24" y="67"/>
                  <a:pt x="24" y="67"/>
                  <a:pt x="24" y="67"/>
                </a:cubicBezTo>
                <a:cubicBezTo>
                  <a:pt x="24" y="67"/>
                  <a:pt x="24" y="68"/>
                  <a:pt x="24" y="68"/>
                </a:cubicBezTo>
                <a:cubicBezTo>
                  <a:pt x="24" y="68"/>
                  <a:pt x="24" y="68"/>
                  <a:pt x="24" y="68"/>
                </a:cubicBezTo>
                <a:close/>
                <a:moveTo>
                  <a:pt x="24" y="68"/>
                </a:moveTo>
                <a:cubicBezTo>
                  <a:pt x="24" y="68"/>
                  <a:pt x="24" y="68"/>
                  <a:pt x="24" y="68"/>
                </a:cubicBezTo>
                <a:cubicBezTo>
                  <a:pt x="25" y="68"/>
                  <a:pt x="24" y="68"/>
                  <a:pt x="24" y="68"/>
                </a:cubicBezTo>
                <a:close/>
                <a:moveTo>
                  <a:pt x="28" y="70"/>
                </a:moveTo>
                <a:cubicBezTo>
                  <a:pt x="28" y="70"/>
                  <a:pt x="27" y="71"/>
                  <a:pt x="27" y="71"/>
                </a:cubicBezTo>
                <a:cubicBezTo>
                  <a:pt x="27" y="71"/>
                  <a:pt x="28" y="70"/>
                  <a:pt x="28" y="70"/>
                </a:cubicBezTo>
                <a:cubicBezTo>
                  <a:pt x="28" y="70"/>
                  <a:pt x="28" y="70"/>
                  <a:pt x="28" y="70"/>
                </a:cubicBezTo>
                <a:close/>
                <a:moveTo>
                  <a:pt x="26" y="70"/>
                </a:moveTo>
                <a:cubicBezTo>
                  <a:pt x="26" y="70"/>
                  <a:pt x="26" y="69"/>
                  <a:pt x="26" y="70"/>
                </a:cubicBezTo>
                <a:cubicBezTo>
                  <a:pt x="26" y="69"/>
                  <a:pt x="26" y="69"/>
                  <a:pt x="26" y="69"/>
                </a:cubicBezTo>
                <a:cubicBezTo>
                  <a:pt x="26" y="69"/>
                  <a:pt x="26" y="70"/>
                  <a:pt x="26" y="70"/>
                </a:cubicBezTo>
                <a:cubicBezTo>
                  <a:pt x="26" y="70"/>
                  <a:pt x="26" y="70"/>
                  <a:pt x="26" y="70"/>
                </a:cubicBezTo>
                <a:close/>
                <a:moveTo>
                  <a:pt x="26" y="70"/>
                </a:moveTo>
                <a:cubicBezTo>
                  <a:pt x="26" y="70"/>
                  <a:pt x="26" y="69"/>
                  <a:pt x="26" y="69"/>
                </a:cubicBezTo>
                <a:cubicBezTo>
                  <a:pt x="26" y="69"/>
                  <a:pt x="26" y="69"/>
                  <a:pt x="26" y="69"/>
                </a:cubicBezTo>
                <a:cubicBezTo>
                  <a:pt x="26" y="69"/>
                  <a:pt x="26" y="70"/>
                  <a:pt x="26" y="70"/>
                </a:cubicBezTo>
                <a:close/>
                <a:moveTo>
                  <a:pt x="25" y="69"/>
                </a:moveTo>
                <a:cubicBezTo>
                  <a:pt x="25" y="69"/>
                  <a:pt x="25" y="70"/>
                  <a:pt x="25" y="70"/>
                </a:cubicBezTo>
                <a:cubicBezTo>
                  <a:pt x="25" y="70"/>
                  <a:pt x="25" y="69"/>
                  <a:pt x="25" y="69"/>
                </a:cubicBezTo>
                <a:close/>
                <a:moveTo>
                  <a:pt x="25" y="70"/>
                </a:moveTo>
                <a:cubicBezTo>
                  <a:pt x="25" y="70"/>
                  <a:pt x="25" y="70"/>
                  <a:pt x="25" y="70"/>
                </a:cubicBezTo>
                <a:cubicBezTo>
                  <a:pt x="25" y="70"/>
                  <a:pt x="25" y="70"/>
                  <a:pt x="25" y="70"/>
                </a:cubicBezTo>
                <a:cubicBezTo>
                  <a:pt x="25" y="70"/>
                  <a:pt x="25" y="70"/>
                  <a:pt x="25" y="70"/>
                </a:cubicBezTo>
                <a:close/>
                <a:moveTo>
                  <a:pt x="26" y="71"/>
                </a:moveTo>
                <a:cubicBezTo>
                  <a:pt x="26" y="71"/>
                  <a:pt x="26" y="71"/>
                  <a:pt x="26" y="71"/>
                </a:cubicBezTo>
                <a:cubicBezTo>
                  <a:pt x="26" y="71"/>
                  <a:pt x="26" y="71"/>
                  <a:pt x="26" y="71"/>
                </a:cubicBezTo>
                <a:cubicBezTo>
                  <a:pt x="26" y="71"/>
                  <a:pt x="26" y="71"/>
                  <a:pt x="26" y="71"/>
                </a:cubicBezTo>
                <a:cubicBezTo>
                  <a:pt x="26" y="71"/>
                  <a:pt x="25" y="72"/>
                  <a:pt x="26" y="72"/>
                </a:cubicBezTo>
                <a:cubicBezTo>
                  <a:pt x="25" y="72"/>
                  <a:pt x="25" y="73"/>
                  <a:pt x="25" y="73"/>
                </a:cubicBezTo>
                <a:cubicBezTo>
                  <a:pt x="25" y="72"/>
                  <a:pt x="26" y="71"/>
                  <a:pt x="26" y="70"/>
                </a:cubicBezTo>
                <a:cubicBezTo>
                  <a:pt x="26" y="71"/>
                  <a:pt x="26" y="71"/>
                  <a:pt x="26" y="71"/>
                </a:cubicBezTo>
                <a:close/>
                <a:moveTo>
                  <a:pt x="23" y="69"/>
                </a:moveTo>
                <a:cubicBezTo>
                  <a:pt x="23" y="69"/>
                  <a:pt x="23" y="69"/>
                  <a:pt x="23" y="69"/>
                </a:cubicBezTo>
                <a:cubicBezTo>
                  <a:pt x="23" y="69"/>
                  <a:pt x="23" y="70"/>
                  <a:pt x="23" y="69"/>
                </a:cubicBezTo>
                <a:cubicBezTo>
                  <a:pt x="23" y="69"/>
                  <a:pt x="23" y="69"/>
                  <a:pt x="23" y="69"/>
                </a:cubicBezTo>
                <a:cubicBezTo>
                  <a:pt x="23" y="69"/>
                  <a:pt x="23" y="69"/>
                  <a:pt x="23" y="69"/>
                </a:cubicBezTo>
                <a:close/>
                <a:moveTo>
                  <a:pt x="25" y="71"/>
                </a:moveTo>
                <a:cubicBezTo>
                  <a:pt x="25" y="71"/>
                  <a:pt x="25" y="70"/>
                  <a:pt x="25" y="70"/>
                </a:cubicBezTo>
                <a:cubicBezTo>
                  <a:pt x="26" y="70"/>
                  <a:pt x="25" y="71"/>
                  <a:pt x="25" y="71"/>
                </a:cubicBezTo>
                <a:close/>
                <a:moveTo>
                  <a:pt x="24" y="70"/>
                </a:moveTo>
                <a:cubicBezTo>
                  <a:pt x="24" y="70"/>
                  <a:pt x="24" y="70"/>
                  <a:pt x="24" y="70"/>
                </a:cubicBezTo>
                <a:cubicBezTo>
                  <a:pt x="24" y="70"/>
                  <a:pt x="24" y="70"/>
                  <a:pt x="24" y="70"/>
                </a:cubicBezTo>
                <a:cubicBezTo>
                  <a:pt x="24" y="70"/>
                  <a:pt x="24" y="70"/>
                  <a:pt x="24" y="70"/>
                </a:cubicBezTo>
                <a:cubicBezTo>
                  <a:pt x="23" y="70"/>
                  <a:pt x="24" y="70"/>
                  <a:pt x="24" y="70"/>
                </a:cubicBezTo>
                <a:close/>
                <a:moveTo>
                  <a:pt x="23" y="70"/>
                </a:moveTo>
                <a:cubicBezTo>
                  <a:pt x="23" y="69"/>
                  <a:pt x="23" y="70"/>
                  <a:pt x="23" y="69"/>
                </a:cubicBezTo>
                <a:cubicBezTo>
                  <a:pt x="23" y="69"/>
                  <a:pt x="23" y="70"/>
                  <a:pt x="23" y="70"/>
                </a:cubicBezTo>
                <a:close/>
                <a:moveTo>
                  <a:pt x="28" y="72"/>
                </a:moveTo>
                <a:cubicBezTo>
                  <a:pt x="29" y="72"/>
                  <a:pt x="28" y="73"/>
                  <a:pt x="28" y="73"/>
                </a:cubicBezTo>
                <a:cubicBezTo>
                  <a:pt x="28" y="73"/>
                  <a:pt x="28" y="72"/>
                  <a:pt x="28" y="72"/>
                </a:cubicBezTo>
                <a:cubicBezTo>
                  <a:pt x="28" y="72"/>
                  <a:pt x="28" y="72"/>
                  <a:pt x="28" y="72"/>
                </a:cubicBezTo>
                <a:close/>
                <a:moveTo>
                  <a:pt x="27" y="71"/>
                </a:moveTo>
                <a:cubicBezTo>
                  <a:pt x="27" y="72"/>
                  <a:pt x="27" y="72"/>
                  <a:pt x="27" y="72"/>
                </a:cubicBezTo>
                <a:cubicBezTo>
                  <a:pt x="27" y="71"/>
                  <a:pt x="27" y="71"/>
                  <a:pt x="27" y="71"/>
                </a:cubicBezTo>
                <a:cubicBezTo>
                  <a:pt x="27" y="71"/>
                  <a:pt x="27" y="71"/>
                  <a:pt x="27" y="71"/>
                </a:cubicBezTo>
                <a:close/>
                <a:moveTo>
                  <a:pt x="23" y="70"/>
                </a:moveTo>
                <a:cubicBezTo>
                  <a:pt x="23" y="70"/>
                  <a:pt x="23" y="70"/>
                  <a:pt x="23" y="70"/>
                </a:cubicBezTo>
                <a:cubicBezTo>
                  <a:pt x="23" y="70"/>
                  <a:pt x="23" y="70"/>
                  <a:pt x="23" y="70"/>
                </a:cubicBezTo>
                <a:close/>
                <a:moveTo>
                  <a:pt x="25" y="71"/>
                </a:moveTo>
                <a:cubicBezTo>
                  <a:pt x="25" y="71"/>
                  <a:pt x="25" y="71"/>
                  <a:pt x="25" y="71"/>
                </a:cubicBezTo>
                <a:cubicBezTo>
                  <a:pt x="25" y="71"/>
                  <a:pt x="25" y="71"/>
                  <a:pt x="25" y="71"/>
                </a:cubicBezTo>
                <a:cubicBezTo>
                  <a:pt x="25" y="71"/>
                  <a:pt x="25" y="71"/>
                  <a:pt x="25" y="71"/>
                </a:cubicBezTo>
                <a:close/>
                <a:moveTo>
                  <a:pt x="23" y="71"/>
                </a:moveTo>
                <a:cubicBezTo>
                  <a:pt x="23" y="71"/>
                  <a:pt x="23" y="71"/>
                  <a:pt x="24" y="71"/>
                </a:cubicBezTo>
                <a:cubicBezTo>
                  <a:pt x="24" y="71"/>
                  <a:pt x="23" y="71"/>
                  <a:pt x="23" y="71"/>
                </a:cubicBezTo>
                <a:close/>
                <a:moveTo>
                  <a:pt x="26" y="72"/>
                </a:moveTo>
                <a:cubicBezTo>
                  <a:pt x="27" y="72"/>
                  <a:pt x="27" y="72"/>
                  <a:pt x="27" y="72"/>
                </a:cubicBezTo>
                <a:cubicBezTo>
                  <a:pt x="27" y="72"/>
                  <a:pt x="26" y="72"/>
                  <a:pt x="26" y="72"/>
                </a:cubicBezTo>
                <a:cubicBezTo>
                  <a:pt x="26" y="72"/>
                  <a:pt x="26" y="72"/>
                  <a:pt x="26" y="72"/>
                </a:cubicBezTo>
                <a:close/>
                <a:moveTo>
                  <a:pt x="28" y="73"/>
                </a:moveTo>
                <a:cubicBezTo>
                  <a:pt x="28" y="73"/>
                  <a:pt x="28" y="73"/>
                  <a:pt x="28" y="73"/>
                </a:cubicBezTo>
                <a:cubicBezTo>
                  <a:pt x="28" y="73"/>
                  <a:pt x="28" y="73"/>
                  <a:pt x="28" y="73"/>
                </a:cubicBezTo>
                <a:close/>
                <a:moveTo>
                  <a:pt x="23" y="73"/>
                </a:moveTo>
                <a:cubicBezTo>
                  <a:pt x="23" y="73"/>
                  <a:pt x="23" y="73"/>
                  <a:pt x="23" y="72"/>
                </a:cubicBezTo>
                <a:cubicBezTo>
                  <a:pt x="24" y="72"/>
                  <a:pt x="24" y="73"/>
                  <a:pt x="23" y="73"/>
                </a:cubicBezTo>
                <a:close/>
                <a:moveTo>
                  <a:pt x="27" y="75"/>
                </a:moveTo>
                <a:cubicBezTo>
                  <a:pt x="27" y="75"/>
                  <a:pt x="28" y="74"/>
                  <a:pt x="28" y="75"/>
                </a:cubicBezTo>
                <a:cubicBezTo>
                  <a:pt x="28" y="75"/>
                  <a:pt x="28" y="75"/>
                  <a:pt x="27" y="75"/>
                </a:cubicBezTo>
                <a:close/>
                <a:moveTo>
                  <a:pt x="27" y="75"/>
                </a:moveTo>
                <a:cubicBezTo>
                  <a:pt x="27" y="75"/>
                  <a:pt x="27" y="75"/>
                  <a:pt x="27" y="75"/>
                </a:cubicBezTo>
                <a:cubicBezTo>
                  <a:pt x="27" y="75"/>
                  <a:pt x="27" y="75"/>
                  <a:pt x="27" y="75"/>
                </a:cubicBezTo>
                <a:close/>
                <a:moveTo>
                  <a:pt x="26" y="75"/>
                </a:moveTo>
                <a:cubicBezTo>
                  <a:pt x="26" y="75"/>
                  <a:pt x="26" y="75"/>
                  <a:pt x="26" y="75"/>
                </a:cubicBezTo>
                <a:cubicBezTo>
                  <a:pt x="26" y="75"/>
                  <a:pt x="26" y="75"/>
                  <a:pt x="26" y="75"/>
                </a:cubicBezTo>
                <a:close/>
                <a:moveTo>
                  <a:pt x="23" y="74"/>
                </a:moveTo>
                <a:cubicBezTo>
                  <a:pt x="23" y="74"/>
                  <a:pt x="23" y="74"/>
                  <a:pt x="23" y="74"/>
                </a:cubicBezTo>
                <a:cubicBezTo>
                  <a:pt x="23" y="74"/>
                  <a:pt x="23" y="74"/>
                  <a:pt x="23" y="74"/>
                </a:cubicBezTo>
                <a:close/>
                <a:moveTo>
                  <a:pt x="27" y="78"/>
                </a:moveTo>
                <a:cubicBezTo>
                  <a:pt x="27" y="78"/>
                  <a:pt x="27" y="77"/>
                  <a:pt x="27" y="77"/>
                </a:cubicBezTo>
                <a:cubicBezTo>
                  <a:pt x="28" y="77"/>
                  <a:pt x="27" y="77"/>
                  <a:pt x="27" y="77"/>
                </a:cubicBezTo>
                <a:cubicBezTo>
                  <a:pt x="27" y="77"/>
                  <a:pt x="28" y="77"/>
                  <a:pt x="27" y="77"/>
                </a:cubicBezTo>
                <a:cubicBezTo>
                  <a:pt x="28" y="76"/>
                  <a:pt x="28" y="76"/>
                  <a:pt x="28" y="76"/>
                </a:cubicBezTo>
                <a:cubicBezTo>
                  <a:pt x="28" y="77"/>
                  <a:pt x="28" y="77"/>
                  <a:pt x="28" y="77"/>
                </a:cubicBezTo>
                <a:cubicBezTo>
                  <a:pt x="28" y="77"/>
                  <a:pt x="28" y="77"/>
                  <a:pt x="28" y="77"/>
                </a:cubicBezTo>
                <a:cubicBezTo>
                  <a:pt x="28" y="77"/>
                  <a:pt x="28" y="77"/>
                  <a:pt x="28" y="77"/>
                </a:cubicBezTo>
                <a:cubicBezTo>
                  <a:pt x="28" y="77"/>
                  <a:pt x="27" y="77"/>
                  <a:pt x="27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27" y="78"/>
                  <a:pt x="27" y="78"/>
                  <a:pt x="27" y="78"/>
                </a:cubicBezTo>
                <a:close/>
                <a:moveTo>
                  <a:pt x="26" y="76"/>
                </a:moveTo>
                <a:cubicBezTo>
                  <a:pt x="26" y="76"/>
                  <a:pt x="26" y="76"/>
                  <a:pt x="26" y="76"/>
                </a:cubicBezTo>
                <a:close/>
                <a:moveTo>
                  <a:pt x="26" y="77"/>
                </a:moveTo>
                <a:cubicBezTo>
                  <a:pt x="26" y="77"/>
                  <a:pt x="26" y="77"/>
                  <a:pt x="26" y="76"/>
                </a:cubicBezTo>
                <a:cubicBezTo>
                  <a:pt x="26" y="77"/>
                  <a:pt x="26" y="76"/>
                  <a:pt x="26" y="76"/>
                </a:cubicBezTo>
                <a:cubicBezTo>
                  <a:pt x="27" y="76"/>
                  <a:pt x="26" y="76"/>
                  <a:pt x="27" y="76"/>
                </a:cubicBezTo>
                <a:cubicBezTo>
                  <a:pt x="27" y="77"/>
                  <a:pt x="26" y="76"/>
                  <a:pt x="26" y="77"/>
                </a:cubicBezTo>
                <a:close/>
                <a:moveTo>
                  <a:pt x="27" y="77"/>
                </a:moveTo>
                <a:cubicBezTo>
                  <a:pt x="27" y="77"/>
                  <a:pt x="27" y="77"/>
                  <a:pt x="27" y="77"/>
                </a:cubicBezTo>
                <a:cubicBezTo>
                  <a:pt x="27" y="77"/>
                  <a:pt x="27" y="77"/>
                  <a:pt x="27" y="77"/>
                </a:cubicBezTo>
                <a:close/>
                <a:moveTo>
                  <a:pt x="27" y="77"/>
                </a:moveTo>
                <a:cubicBezTo>
                  <a:pt x="27" y="77"/>
                  <a:pt x="27" y="77"/>
                  <a:pt x="27" y="77"/>
                </a:cubicBezTo>
                <a:cubicBezTo>
                  <a:pt x="27" y="77"/>
                  <a:pt x="27" y="77"/>
                  <a:pt x="27" y="77"/>
                </a:cubicBezTo>
                <a:close/>
                <a:moveTo>
                  <a:pt x="29" y="78"/>
                </a:moveTo>
                <a:cubicBezTo>
                  <a:pt x="29" y="78"/>
                  <a:pt x="29" y="77"/>
                  <a:pt x="29" y="77"/>
                </a:cubicBezTo>
                <a:cubicBezTo>
                  <a:pt x="29" y="77"/>
                  <a:pt x="29" y="77"/>
                  <a:pt x="29" y="78"/>
                </a:cubicBezTo>
                <a:cubicBezTo>
                  <a:pt x="29" y="78"/>
                  <a:pt x="29" y="77"/>
                  <a:pt x="29" y="78"/>
                </a:cubicBezTo>
                <a:close/>
                <a:moveTo>
                  <a:pt x="29" y="78"/>
                </a:moveTo>
                <a:cubicBezTo>
                  <a:pt x="29" y="78"/>
                  <a:pt x="29" y="78"/>
                  <a:pt x="29" y="78"/>
                </a:cubicBezTo>
                <a:cubicBezTo>
                  <a:pt x="29" y="78"/>
                  <a:pt x="29" y="78"/>
                  <a:pt x="29" y="78"/>
                </a:cubicBezTo>
                <a:cubicBezTo>
                  <a:pt x="29" y="78"/>
                  <a:pt x="29" y="78"/>
                  <a:pt x="29" y="78"/>
                </a:cubicBezTo>
                <a:cubicBezTo>
                  <a:pt x="29" y="78"/>
                  <a:pt x="29" y="78"/>
                  <a:pt x="29" y="78"/>
                </a:cubicBezTo>
                <a:close/>
                <a:moveTo>
                  <a:pt x="23" y="76"/>
                </a:moveTo>
                <a:cubicBezTo>
                  <a:pt x="23" y="75"/>
                  <a:pt x="23" y="75"/>
                  <a:pt x="23" y="75"/>
                </a:cubicBezTo>
                <a:cubicBezTo>
                  <a:pt x="24" y="75"/>
                  <a:pt x="23" y="75"/>
                  <a:pt x="23" y="76"/>
                </a:cubicBezTo>
                <a:close/>
                <a:moveTo>
                  <a:pt x="27" y="77"/>
                </a:moveTo>
                <a:cubicBezTo>
                  <a:pt x="27" y="77"/>
                  <a:pt x="27" y="77"/>
                  <a:pt x="27" y="77"/>
                </a:cubicBezTo>
                <a:cubicBezTo>
                  <a:pt x="27" y="77"/>
                  <a:pt x="27" y="77"/>
                  <a:pt x="27" y="77"/>
                </a:cubicBezTo>
                <a:close/>
                <a:moveTo>
                  <a:pt x="26" y="77"/>
                </a:moveTo>
                <a:cubicBezTo>
                  <a:pt x="26" y="77"/>
                  <a:pt x="26" y="77"/>
                  <a:pt x="26" y="77"/>
                </a:cubicBezTo>
                <a:cubicBezTo>
                  <a:pt x="26" y="77"/>
                  <a:pt x="26" y="77"/>
                  <a:pt x="26" y="77"/>
                </a:cubicBezTo>
                <a:close/>
                <a:moveTo>
                  <a:pt x="20" y="74"/>
                </a:moveTo>
                <a:cubicBezTo>
                  <a:pt x="20" y="75"/>
                  <a:pt x="20" y="74"/>
                  <a:pt x="20" y="74"/>
                </a:cubicBezTo>
                <a:cubicBezTo>
                  <a:pt x="20" y="74"/>
                  <a:pt x="20" y="74"/>
                  <a:pt x="20" y="74"/>
                </a:cubicBezTo>
                <a:close/>
                <a:moveTo>
                  <a:pt x="23" y="76"/>
                </a:moveTo>
                <a:cubicBezTo>
                  <a:pt x="23" y="76"/>
                  <a:pt x="23" y="76"/>
                  <a:pt x="24" y="76"/>
                </a:cubicBezTo>
                <a:cubicBezTo>
                  <a:pt x="23" y="76"/>
                  <a:pt x="23" y="76"/>
                  <a:pt x="23" y="76"/>
                </a:cubicBezTo>
                <a:cubicBezTo>
                  <a:pt x="23" y="76"/>
                  <a:pt x="23" y="76"/>
                  <a:pt x="23" y="76"/>
                </a:cubicBezTo>
                <a:close/>
                <a:moveTo>
                  <a:pt x="20" y="75"/>
                </a:moveTo>
                <a:cubicBezTo>
                  <a:pt x="20" y="75"/>
                  <a:pt x="20" y="75"/>
                  <a:pt x="20" y="74"/>
                </a:cubicBezTo>
                <a:cubicBezTo>
                  <a:pt x="20" y="75"/>
                  <a:pt x="20" y="75"/>
                  <a:pt x="20" y="75"/>
                </a:cubicBezTo>
                <a:close/>
                <a:moveTo>
                  <a:pt x="25" y="78"/>
                </a:moveTo>
                <a:cubicBezTo>
                  <a:pt x="25" y="78"/>
                  <a:pt x="25" y="77"/>
                  <a:pt x="25" y="77"/>
                </a:cubicBezTo>
                <a:cubicBezTo>
                  <a:pt x="25" y="77"/>
                  <a:pt x="25" y="77"/>
                  <a:pt x="25" y="77"/>
                </a:cubicBezTo>
                <a:cubicBezTo>
                  <a:pt x="25" y="77"/>
                  <a:pt x="25" y="77"/>
                  <a:pt x="25" y="77"/>
                </a:cubicBezTo>
                <a:cubicBezTo>
                  <a:pt x="25" y="77"/>
                  <a:pt x="25" y="78"/>
                  <a:pt x="25" y="78"/>
                </a:cubicBezTo>
                <a:cubicBezTo>
                  <a:pt x="25" y="78"/>
                  <a:pt x="25" y="78"/>
                  <a:pt x="25" y="78"/>
                </a:cubicBezTo>
                <a:close/>
                <a:moveTo>
                  <a:pt x="28" y="79"/>
                </a:moveTo>
                <a:cubicBezTo>
                  <a:pt x="28" y="79"/>
                  <a:pt x="28" y="79"/>
                  <a:pt x="28" y="79"/>
                </a:cubicBezTo>
                <a:cubicBezTo>
                  <a:pt x="28" y="79"/>
                  <a:pt x="28" y="79"/>
                  <a:pt x="28" y="79"/>
                </a:cubicBezTo>
                <a:cubicBezTo>
                  <a:pt x="27" y="79"/>
                  <a:pt x="28" y="79"/>
                  <a:pt x="28" y="79"/>
                </a:cubicBezTo>
                <a:cubicBezTo>
                  <a:pt x="28" y="79"/>
                  <a:pt x="28" y="79"/>
                  <a:pt x="28" y="79"/>
                </a:cubicBezTo>
                <a:close/>
                <a:moveTo>
                  <a:pt x="24" y="78"/>
                </a:moveTo>
                <a:cubicBezTo>
                  <a:pt x="24" y="78"/>
                  <a:pt x="24" y="78"/>
                  <a:pt x="24" y="78"/>
                </a:cubicBezTo>
                <a:cubicBezTo>
                  <a:pt x="24" y="78"/>
                  <a:pt x="24" y="78"/>
                  <a:pt x="24" y="78"/>
                </a:cubicBezTo>
                <a:cubicBezTo>
                  <a:pt x="24" y="78"/>
                  <a:pt x="24" y="77"/>
                  <a:pt x="24" y="77"/>
                </a:cubicBezTo>
                <a:cubicBezTo>
                  <a:pt x="24" y="77"/>
                  <a:pt x="24" y="78"/>
                  <a:pt x="24" y="78"/>
                </a:cubicBezTo>
                <a:close/>
                <a:moveTo>
                  <a:pt x="27" y="79"/>
                </a:moveTo>
                <a:cubicBezTo>
                  <a:pt x="27" y="79"/>
                  <a:pt x="27" y="80"/>
                  <a:pt x="27" y="80"/>
                </a:cubicBezTo>
                <a:cubicBezTo>
                  <a:pt x="27" y="80"/>
                  <a:pt x="27" y="80"/>
                  <a:pt x="27" y="80"/>
                </a:cubicBezTo>
                <a:cubicBezTo>
                  <a:pt x="27" y="80"/>
                  <a:pt x="27" y="80"/>
                  <a:pt x="27" y="80"/>
                </a:cubicBezTo>
                <a:cubicBezTo>
                  <a:pt x="27" y="80"/>
                  <a:pt x="27" y="79"/>
                  <a:pt x="27" y="79"/>
                </a:cubicBezTo>
                <a:cubicBezTo>
                  <a:pt x="27" y="79"/>
                  <a:pt x="27" y="79"/>
                  <a:pt x="27" y="79"/>
                </a:cubicBezTo>
                <a:cubicBezTo>
                  <a:pt x="27" y="79"/>
                  <a:pt x="27" y="79"/>
                  <a:pt x="27" y="79"/>
                </a:cubicBezTo>
                <a:cubicBezTo>
                  <a:pt x="27" y="79"/>
                  <a:pt x="27" y="80"/>
                  <a:pt x="27" y="79"/>
                </a:cubicBezTo>
                <a:close/>
                <a:moveTo>
                  <a:pt x="28" y="80"/>
                </a:moveTo>
                <a:cubicBezTo>
                  <a:pt x="28" y="80"/>
                  <a:pt x="28" y="80"/>
                  <a:pt x="28" y="79"/>
                </a:cubicBezTo>
                <a:cubicBezTo>
                  <a:pt x="28" y="79"/>
                  <a:pt x="28" y="79"/>
                  <a:pt x="28" y="79"/>
                </a:cubicBezTo>
                <a:cubicBezTo>
                  <a:pt x="28" y="80"/>
                  <a:pt x="28" y="80"/>
                  <a:pt x="28" y="80"/>
                </a:cubicBezTo>
                <a:close/>
                <a:moveTo>
                  <a:pt x="27" y="79"/>
                </a:moveTo>
                <a:cubicBezTo>
                  <a:pt x="27" y="79"/>
                  <a:pt x="27" y="79"/>
                  <a:pt x="27" y="79"/>
                </a:cubicBezTo>
                <a:cubicBezTo>
                  <a:pt x="27" y="79"/>
                  <a:pt x="27" y="79"/>
                  <a:pt x="27" y="79"/>
                </a:cubicBezTo>
                <a:cubicBezTo>
                  <a:pt x="27" y="79"/>
                  <a:pt x="27" y="79"/>
                  <a:pt x="27" y="79"/>
                </a:cubicBezTo>
                <a:cubicBezTo>
                  <a:pt x="27" y="79"/>
                  <a:pt x="27" y="79"/>
                  <a:pt x="27" y="79"/>
                </a:cubicBezTo>
                <a:close/>
                <a:moveTo>
                  <a:pt x="23" y="78"/>
                </a:moveTo>
                <a:cubicBezTo>
                  <a:pt x="23" y="78"/>
                  <a:pt x="23" y="78"/>
                  <a:pt x="23" y="78"/>
                </a:cubicBezTo>
                <a:cubicBezTo>
                  <a:pt x="23" y="77"/>
                  <a:pt x="23" y="77"/>
                  <a:pt x="23" y="77"/>
                </a:cubicBezTo>
                <a:cubicBezTo>
                  <a:pt x="23" y="77"/>
                  <a:pt x="23" y="77"/>
                  <a:pt x="23" y="77"/>
                </a:cubicBezTo>
                <a:cubicBezTo>
                  <a:pt x="23" y="77"/>
                  <a:pt x="23" y="77"/>
                  <a:pt x="23" y="78"/>
                </a:cubicBezTo>
                <a:close/>
                <a:moveTo>
                  <a:pt x="26" y="79"/>
                </a:moveTo>
                <a:cubicBezTo>
                  <a:pt x="26" y="79"/>
                  <a:pt x="26" y="79"/>
                  <a:pt x="26" y="79"/>
                </a:cubicBezTo>
                <a:cubicBezTo>
                  <a:pt x="26" y="79"/>
                  <a:pt x="26" y="79"/>
                  <a:pt x="26" y="79"/>
                </a:cubicBezTo>
                <a:close/>
                <a:moveTo>
                  <a:pt x="27" y="79"/>
                </a:moveTo>
                <a:cubicBezTo>
                  <a:pt x="27" y="80"/>
                  <a:pt x="26" y="79"/>
                  <a:pt x="26" y="80"/>
                </a:cubicBezTo>
                <a:cubicBezTo>
                  <a:pt x="26" y="79"/>
                  <a:pt x="26" y="79"/>
                  <a:pt x="27" y="79"/>
                </a:cubicBezTo>
                <a:close/>
                <a:moveTo>
                  <a:pt x="24" y="79"/>
                </a:moveTo>
                <a:cubicBezTo>
                  <a:pt x="24" y="79"/>
                  <a:pt x="24" y="79"/>
                  <a:pt x="24" y="79"/>
                </a:cubicBezTo>
                <a:cubicBezTo>
                  <a:pt x="24" y="79"/>
                  <a:pt x="24" y="79"/>
                  <a:pt x="24" y="79"/>
                </a:cubicBezTo>
                <a:cubicBezTo>
                  <a:pt x="23" y="79"/>
                  <a:pt x="24" y="79"/>
                  <a:pt x="24" y="79"/>
                </a:cubicBezTo>
                <a:cubicBezTo>
                  <a:pt x="24" y="79"/>
                  <a:pt x="23" y="79"/>
                  <a:pt x="23" y="79"/>
                </a:cubicBezTo>
                <a:cubicBezTo>
                  <a:pt x="23" y="79"/>
                  <a:pt x="23" y="79"/>
                  <a:pt x="24" y="79"/>
                </a:cubicBezTo>
                <a:cubicBezTo>
                  <a:pt x="23" y="79"/>
                  <a:pt x="23" y="79"/>
                  <a:pt x="23" y="79"/>
                </a:cubicBezTo>
                <a:cubicBezTo>
                  <a:pt x="23" y="79"/>
                  <a:pt x="23" y="79"/>
                  <a:pt x="23" y="79"/>
                </a:cubicBezTo>
                <a:cubicBezTo>
                  <a:pt x="23" y="79"/>
                  <a:pt x="23" y="79"/>
                  <a:pt x="23" y="79"/>
                </a:cubicBezTo>
                <a:cubicBezTo>
                  <a:pt x="23" y="79"/>
                  <a:pt x="23" y="79"/>
                  <a:pt x="23" y="79"/>
                </a:cubicBezTo>
                <a:cubicBezTo>
                  <a:pt x="23" y="79"/>
                  <a:pt x="23" y="79"/>
                  <a:pt x="23" y="79"/>
                </a:cubicBezTo>
                <a:cubicBezTo>
                  <a:pt x="24" y="79"/>
                  <a:pt x="23" y="79"/>
                  <a:pt x="24" y="78"/>
                </a:cubicBezTo>
                <a:cubicBezTo>
                  <a:pt x="24" y="79"/>
                  <a:pt x="24" y="79"/>
                  <a:pt x="23" y="79"/>
                </a:cubicBezTo>
                <a:cubicBezTo>
                  <a:pt x="24" y="79"/>
                  <a:pt x="24" y="78"/>
                  <a:pt x="24" y="79"/>
                </a:cubicBezTo>
                <a:cubicBezTo>
                  <a:pt x="24" y="78"/>
                  <a:pt x="24" y="78"/>
                  <a:pt x="24" y="78"/>
                </a:cubicBezTo>
                <a:cubicBezTo>
                  <a:pt x="24" y="78"/>
                  <a:pt x="24" y="79"/>
                  <a:pt x="24" y="79"/>
                </a:cubicBezTo>
                <a:close/>
                <a:moveTo>
                  <a:pt x="26" y="81"/>
                </a:moveTo>
                <a:cubicBezTo>
                  <a:pt x="26" y="80"/>
                  <a:pt x="26" y="80"/>
                  <a:pt x="26" y="80"/>
                </a:cubicBezTo>
                <a:cubicBezTo>
                  <a:pt x="26" y="80"/>
                  <a:pt x="26" y="80"/>
                  <a:pt x="26" y="81"/>
                </a:cubicBezTo>
                <a:close/>
                <a:moveTo>
                  <a:pt x="24" y="79"/>
                </a:moveTo>
                <a:cubicBezTo>
                  <a:pt x="24" y="79"/>
                  <a:pt x="24" y="79"/>
                  <a:pt x="24" y="79"/>
                </a:cubicBezTo>
                <a:cubicBezTo>
                  <a:pt x="25" y="79"/>
                  <a:pt x="24" y="79"/>
                  <a:pt x="24" y="79"/>
                </a:cubicBezTo>
                <a:close/>
                <a:moveTo>
                  <a:pt x="27" y="81"/>
                </a:moveTo>
                <a:cubicBezTo>
                  <a:pt x="27" y="81"/>
                  <a:pt x="28" y="81"/>
                  <a:pt x="28" y="81"/>
                </a:cubicBezTo>
                <a:cubicBezTo>
                  <a:pt x="28" y="81"/>
                  <a:pt x="28" y="81"/>
                  <a:pt x="27" y="81"/>
                </a:cubicBezTo>
                <a:close/>
                <a:moveTo>
                  <a:pt x="23" y="79"/>
                </a:moveTo>
                <a:cubicBezTo>
                  <a:pt x="23" y="79"/>
                  <a:pt x="23" y="79"/>
                  <a:pt x="23" y="79"/>
                </a:cubicBezTo>
                <a:cubicBezTo>
                  <a:pt x="24" y="79"/>
                  <a:pt x="23" y="79"/>
                  <a:pt x="23" y="79"/>
                </a:cubicBezTo>
                <a:close/>
                <a:moveTo>
                  <a:pt x="25" y="80"/>
                </a:moveTo>
                <a:cubicBezTo>
                  <a:pt x="25" y="80"/>
                  <a:pt x="24" y="80"/>
                  <a:pt x="24" y="80"/>
                </a:cubicBezTo>
                <a:cubicBezTo>
                  <a:pt x="24" y="80"/>
                  <a:pt x="24" y="80"/>
                  <a:pt x="24" y="80"/>
                </a:cubicBezTo>
                <a:cubicBezTo>
                  <a:pt x="24" y="80"/>
                  <a:pt x="24" y="80"/>
                  <a:pt x="25" y="80"/>
                </a:cubicBezTo>
                <a:cubicBezTo>
                  <a:pt x="25" y="80"/>
                  <a:pt x="24" y="80"/>
                  <a:pt x="25" y="80"/>
                </a:cubicBezTo>
                <a:close/>
                <a:moveTo>
                  <a:pt x="25" y="80"/>
                </a:moveTo>
                <a:cubicBezTo>
                  <a:pt x="25" y="80"/>
                  <a:pt x="25" y="80"/>
                  <a:pt x="25" y="80"/>
                </a:cubicBezTo>
                <a:cubicBezTo>
                  <a:pt x="25" y="80"/>
                  <a:pt x="25" y="80"/>
                  <a:pt x="25" y="80"/>
                </a:cubicBezTo>
                <a:cubicBezTo>
                  <a:pt x="25" y="80"/>
                  <a:pt x="25" y="80"/>
                  <a:pt x="25" y="80"/>
                </a:cubicBezTo>
                <a:cubicBezTo>
                  <a:pt x="25" y="80"/>
                  <a:pt x="25" y="80"/>
                  <a:pt x="25" y="80"/>
                </a:cubicBezTo>
                <a:close/>
                <a:moveTo>
                  <a:pt x="27" y="82"/>
                </a:moveTo>
                <a:cubicBezTo>
                  <a:pt x="27" y="81"/>
                  <a:pt x="27" y="81"/>
                  <a:pt x="27" y="81"/>
                </a:cubicBezTo>
                <a:cubicBezTo>
                  <a:pt x="28" y="81"/>
                  <a:pt x="27" y="82"/>
                  <a:pt x="27" y="82"/>
                </a:cubicBezTo>
                <a:cubicBezTo>
                  <a:pt x="27" y="82"/>
                  <a:pt x="27" y="82"/>
                  <a:pt x="27" y="82"/>
                </a:cubicBezTo>
                <a:close/>
                <a:moveTo>
                  <a:pt x="27" y="82"/>
                </a:moveTo>
                <a:cubicBezTo>
                  <a:pt x="27" y="82"/>
                  <a:pt x="27" y="82"/>
                  <a:pt x="27" y="82"/>
                </a:cubicBezTo>
                <a:cubicBezTo>
                  <a:pt x="27" y="82"/>
                  <a:pt x="27" y="82"/>
                  <a:pt x="27" y="82"/>
                </a:cubicBezTo>
                <a:close/>
                <a:moveTo>
                  <a:pt x="28" y="82"/>
                </a:moveTo>
                <a:cubicBezTo>
                  <a:pt x="27" y="82"/>
                  <a:pt x="27" y="82"/>
                  <a:pt x="27" y="82"/>
                </a:cubicBezTo>
                <a:cubicBezTo>
                  <a:pt x="27" y="82"/>
                  <a:pt x="27" y="82"/>
                  <a:pt x="27" y="82"/>
                </a:cubicBezTo>
                <a:cubicBezTo>
                  <a:pt x="27" y="82"/>
                  <a:pt x="27" y="82"/>
                  <a:pt x="28" y="82"/>
                </a:cubicBezTo>
                <a:close/>
                <a:moveTo>
                  <a:pt x="21" y="79"/>
                </a:moveTo>
                <a:cubicBezTo>
                  <a:pt x="21" y="79"/>
                  <a:pt x="21" y="79"/>
                  <a:pt x="21" y="79"/>
                </a:cubicBezTo>
                <a:cubicBezTo>
                  <a:pt x="22" y="79"/>
                  <a:pt x="21" y="79"/>
                  <a:pt x="21" y="79"/>
                </a:cubicBezTo>
                <a:close/>
                <a:moveTo>
                  <a:pt x="22" y="80"/>
                </a:moveTo>
                <a:cubicBezTo>
                  <a:pt x="22" y="80"/>
                  <a:pt x="22" y="80"/>
                  <a:pt x="22" y="80"/>
                </a:cubicBezTo>
                <a:cubicBezTo>
                  <a:pt x="22" y="80"/>
                  <a:pt x="22" y="80"/>
                  <a:pt x="22" y="79"/>
                </a:cubicBezTo>
                <a:cubicBezTo>
                  <a:pt x="22" y="80"/>
                  <a:pt x="22" y="80"/>
                  <a:pt x="22" y="80"/>
                </a:cubicBezTo>
                <a:cubicBezTo>
                  <a:pt x="22" y="80"/>
                  <a:pt x="22" y="80"/>
                  <a:pt x="22" y="80"/>
                </a:cubicBezTo>
                <a:cubicBezTo>
                  <a:pt x="22" y="80"/>
                  <a:pt x="22" y="80"/>
                  <a:pt x="22" y="80"/>
                </a:cubicBezTo>
                <a:close/>
                <a:moveTo>
                  <a:pt x="22" y="80"/>
                </a:moveTo>
                <a:cubicBezTo>
                  <a:pt x="22" y="80"/>
                  <a:pt x="22" y="79"/>
                  <a:pt x="22" y="80"/>
                </a:cubicBezTo>
                <a:cubicBezTo>
                  <a:pt x="22" y="80"/>
                  <a:pt x="22" y="80"/>
                  <a:pt x="22" y="80"/>
                </a:cubicBezTo>
                <a:cubicBezTo>
                  <a:pt x="22" y="80"/>
                  <a:pt x="22" y="80"/>
                  <a:pt x="22" y="80"/>
                </a:cubicBezTo>
                <a:close/>
                <a:moveTo>
                  <a:pt x="22" y="80"/>
                </a:moveTo>
                <a:cubicBezTo>
                  <a:pt x="22" y="80"/>
                  <a:pt x="22" y="80"/>
                  <a:pt x="22" y="80"/>
                </a:cubicBezTo>
                <a:cubicBezTo>
                  <a:pt x="22" y="80"/>
                  <a:pt x="22" y="80"/>
                  <a:pt x="22" y="80"/>
                </a:cubicBezTo>
                <a:cubicBezTo>
                  <a:pt x="22" y="80"/>
                  <a:pt x="22" y="80"/>
                  <a:pt x="22" y="80"/>
                </a:cubicBezTo>
                <a:cubicBezTo>
                  <a:pt x="22" y="80"/>
                  <a:pt x="22" y="80"/>
                  <a:pt x="22" y="80"/>
                </a:cubicBezTo>
                <a:close/>
                <a:moveTo>
                  <a:pt x="20" y="79"/>
                </a:moveTo>
                <a:cubicBezTo>
                  <a:pt x="19" y="79"/>
                  <a:pt x="19" y="79"/>
                  <a:pt x="19" y="79"/>
                </a:cubicBezTo>
                <a:cubicBezTo>
                  <a:pt x="19" y="79"/>
                  <a:pt x="20" y="79"/>
                  <a:pt x="20" y="79"/>
                </a:cubicBezTo>
                <a:close/>
                <a:moveTo>
                  <a:pt x="25" y="82"/>
                </a:moveTo>
                <a:cubicBezTo>
                  <a:pt x="26" y="82"/>
                  <a:pt x="26" y="82"/>
                  <a:pt x="26" y="82"/>
                </a:cubicBezTo>
                <a:cubicBezTo>
                  <a:pt x="26" y="82"/>
                  <a:pt x="26" y="82"/>
                  <a:pt x="26" y="82"/>
                </a:cubicBezTo>
                <a:cubicBezTo>
                  <a:pt x="26" y="82"/>
                  <a:pt x="26" y="82"/>
                  <a:pt x="25" y="82"/>
                </a:cubicBezTo>
                <a:cubicBezTo>
                  <a:pt x="26" y="82"/>
                  <a:pt x="25" y="82"/>
                  <a:pt x="25" y="82"/>
                </a:cubicBezTo>
                <a:close/>
                <a:moveTo>
                  <a:pt x="27" y="83"/>
                </a:moveTo>
                <a:cubicBezTo>
                  <a:pt x="27" y="83"/>
                  <a:pt x="27" y="83"/>
                  <a:pt x="27" y="83"/>
                </a:cubicBezTo>
                <a:cubicBezTo>
                  <a:pt x="27" y="83"/>
                  <a:pt x="27" y="83"/>
                  <a:pt x="27" y="82"/>
                </a:cubicBezTo>
                <a:lnTo>
                  <a:pt x="27" y="83"/>
                </a:lnTo>
                <a:close/>
                <a:moveTo>
                  <a:pt x="27" y="82"/>
                </a:moveTo>
                <a:cubicBezTo>
                  <a:pt x="27" y="83"/>
                  <a:pt x="27" y="83"/>
                  <a:pt x="27" y="83"/>
                </a:cubicBezTo>
                <a:cubicBezTo>
                  <a:pt x="27" y="83"/>
                  <a:pt x="27" y="83"/>
                  <a:pt x="27" y="82"/>
                </a:cubicBezTo>
                <a:close/>
                <a:moveTo>
                  <a:pt x="25" y="82"/>
                </a:moveTo>
                <a:cubicBezTo>
                  <a:pt x="26" y="82"/>
                  <a:pt x="25" y="82"/>
                  <a:pt x="25" y="82"/>
                </a:cubicBezTo>
                <a:cubicBezTo>
                  <a:pt x="25" y="82"/>
                  <a:pt x="25" y="82"/>
                  <a:pt x="25" y="82"/>
                </a:cubicBezTo>
                <a:close/>
                <a:moveTo>
                  <a:pt x="26" y="83"/>
                </a:moveTo>
                <a:cubicBezTo>
                  <a:pt x="26" y="83"/>
                  <a:pt x="26" y="83"/>
                  <a:pt x="26" y="83"/>
                </a:cubicBezTo>
                <a:cubicBezTo>
                  <a:pt x="26" y="83"/>
                  <a:pt x="26" y="83"/>
                  <a:pt x="26" y="83"/>
                </a:cubicBezTo>
                <a:cubicBezTo>
                  <a:pt x="26" y="83"/>
                  <a:pt x="26" y="82"/>
                  <a:pt x="26" y="82"/>
                </a:cubicBezTo>
                <a:cubicBezTo>
                  <a:pt x="26" y="82"/>
                  <a:pt x="26" y="82"/>
                  <a:pt x="26" y="83"/>
                </a:cubicBezTo>
                <a:close/>
                <a:moveTo>
                  <a:pt x="21" y="82"/>
                </a:moveTo>
                <a:cubicBezTo>
                  <a:pt x="21" y="81"/>
                  <a:pt x="21" y="82"/>
                  <a:pt x="21" y="81"/>
                </a:cubicBezTo>
                <a:cubicBezTo>
                  <a:pt x="21" y="81"/>
                  <a:pt x="21" y="81"/>
                  <a:pt x="21" y="81"/>
                </a:cubicBezTo>
                <a:cubicBezTo>
                  <a:pt x="22" y="81"/>
                  <a:pt x="21" y="81"/>
                  <a:pt x="21" y="81"/>
                </a:cubicBezTo>
                <a:cubicBezTo>
                  <a:pt x="21" y="81"/>
                  <a:pt x="21" y="81"/>
                  <a:pt x="21" y="82"/>
                </a:cubicBezTo>
                <a:close/>
                <a:moveTo>
                  <a:pt x="21" y="82"/>
                </a:moveTo>
                <a:cubicBezTo>
                  <a:pt x="21" y="82"/>
                  <a:pt x="21" y="82"/>
                  <a:pt x="21" y="82"/>
                </a:cubicBezTo>
                <a:cubicBezTo>
                  <a:pt x="21" y="82"/>
                  <a:pt x="21" y="82"/>
                  <a:pt x="21" y="82"/>
                </a:cubicBezTo>
                <a:cubicBezTo>
                  <a:pt x="21" y="82"/>
                  <a:pt x="21" y="82"/>
                  <a:pt x="21" y="82"/>
                </a:cubicBezTo>
                <a:cubicBezTo>
                  <a:pt x="21" y="82"/>
                  <a:pt x="21" y="82"/>
                  <a:pt x="21" y="82"/>
                </a:cubicBezTo>
                <a:close/>
                <a:moveTo>
                  <a:pt x="23" y="83"/>
                </a:moveTo>
                <a:cubicBezTo>
                  <a:pt x="23" y="83"/>
                  <a:pt x="23" y="83"/>
                  <a:pt x="23" y="83"/>
                </a:cubicBezTo>
                <a:cubicBezTo>
                  <a:pt x="23" y="83"/>
                  <a:pt x="23" y="83"/>
                  <a:pt x="23" y="83"/>
                </a:cubicBezTo>
                <a:close/>
                <a:moveTo>
                  <a:pt x="18" y="81"/>
                </a:moveTo>
                <a:cubicBezTo>
                  <a:pt x="18" y="81"/>
                  <a:pt x="18" y="81"/>
                  <a:pt x="18" y="81"/>
                </a:cubicBezTo>
                <a:cubicBezTo>
                  <a:pt x="18" y="81"/>
                  <a:pt x="18" y="81"/>
                  <a:pt x="18" y="81"/>
                </a:cubicBezTo>
                <a:close/>
                <a:moveTo>
                  <a:pt x="21" y="83"/>
                </a:moveTo>
                <a:cubicBezTo>
                  <a:pt x="21" y="83"/>
                  <a:pt x="21" y="83"/>
                  <a:pt x="21" y="83"/>
                </a:cubicBezTo>
                <a:cubicBezTo>
                  <a:pt x="21" y="83"/>
                  <a:pt x="21" y="83"/>
                  <a:pt x="21" y="83"/>
                </a:cubicBezTo>
                <a:close/>
                <a:moveTo>
                  <a:pt x="20" y="83"/>
                </a:moveTo>
                <a:cubicBezTo>
                  <a:pt x="20" y="83"/>
                  <a:pt x="20" y="83"/>
                  <a:pt x="20" y="83"/>
                </a:cubicBezTo>
                <a:cubicBezTo>
                  <a:pt x="21" y="83"/>
                  <a:pt x="20" y="83"/>
                  <a:pt x="21" y="83"/>
                </a:cubicBezTo>
                <a:cubicBezTo>
                  <a:pt x="20" y="83"/>
                  <a:pt x="20" y="83"/>
                  <a:pt x="20" y="83"/>
                </a:cubicBezTo>
                <a:close/>
                <a:moveTo>
                  <a:pt x="17" y="83"/>
                </a:moveTo>
                <a:cubicBezTo>
                  <a:pt x="17" y="82"/>
                  <a:pt x="17" y="82"/>
                  <a:pt x="17" y="83"/>
                </a:cubicBezTo>
                <a:cubicBezTo>
                  <a:pt x="17" y="82"/>
                  <a:pt x="17" y="82"/>
                  <a:pt x="17" y="82"/>
                </a:cubicBezTo>
                <a:cubicBezTo>
                  <a:pt x="17" y="82"/>
                  <a:pt x="17" y="82"/>
                  <a:pt x="17" y="83"/>
                </a:cubicBezTo>
                <a:close/>
                <a:moveTo>
                  <a:pt x="21" y="84"/>
                </a:moveTo>
                <a:cubicBezTo>
                  <a:pt x="21" y="84"/>
                  <a:pt x="21" y="84"/>
                  <a:pt x="21" y="84"/>
                </a:cubicBezTo>
                <a:cubicBezTo>
                  <a:pt x="20" y="84"/>
                  <a:pt x="21" y="84"/>
                  <a:pt x="21" y="84"/>
                </a:cubicBezTo>
                <a:close/>
                <a:moveTo>
                  <a:pt x="20" y="83"/>
                </a:moveTo>
                <a:cubicBezTo>
                  <a:pt x="20" y="83"/>
                  <a:pt x="20" y="84"/>
                  <a:pt x="20" y="84"/>
                </a:cubicBezTo>
                <a:cubicBezTo>
                  <a:pt x="20" y="84"/>
                  <a:pt x="20" y="83"/>
                  <a:pt x="20" y="83"/>
                </a:cubicBezTo>
                <a:close/>
                <a:moveTo>
                  <a:pt x="20" y="84"/>
                </a:moveTo>
                <a:cubicBezTo>
                  <a:pt x="20" y="84"/>
                  <a:pt x="20" y="84"/>
                  <a:pt x="20" y="84"/>
                </a:cubicBezTo>
                <a:close/>
                <a:moveTo>
                  <a:pt x="16" y="82"/>
                </a:moveTo>
                <a:cubicBezTo>
                  <a:pt x="16" y="82"/>
                  <a:pt x="16" y="82"/>
                  <a:pt x="16" y="82"/>
                </a:cubicBezTo>
                <a:cubicBezTo>
                  <a:pt x="16" y="82"/>
                  <a:pt x="16" y="83"/>
                  <a:pt x="16" y="82"/>
                </a:cubicBezTo>
                <a:close/>
                <a:moveTo>
                  <a:pt x="22" y="86"/>
                </a:moveTo>
                <a:cubicBezTo>
                  <a:pt x="21" y="85"/>
                  <a:pt x="22" y="85"/>
                  <a:pt x="22" y="85"/>
                </a:cubicBezTo>
                <a:cubicBezTo>
                  <a:pt x="22" y="85"/>
                  <a:pt x="22" y="85"/>
                  <a:pt x="22" y="86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17" y="85"/>
                </a:moveTo>
                <a:cubicBezTo>
                  <a:pt x="18" y="85"/>
                  <a:pt x="18" y="85"/>
                  <a:pt x="18" y="85"/>
                </a:cubicBezTo>
                <a:cubicBezTo>
                  <a:pt x="18" y="85"/>
                  <a:pt x="18" y="86"/>
                  <a:pt x="17" y="85"/>
                </a:cubicBezTo>
                <a:close/>
                <a:moveTo>
                  <a:pt x="19" y="86"/>
                </a:moveTo>
                <a:cubicBezTo>
                  <a:pt x="18" y="86"/>
                  <a:pt x="19" y="86"/>
                  <a:pt x="19" y="86"/>
                </a:cubicBezTo>
                <a:cubicBezTo>
                  <a:pt x="19" y="86"/>
                  <a:pt x="19" y="86"/>
                  <a:pt x="19" y="86"/>
                </a:cubicBezTo>
                <a:close/>
                <a:moveTo>
                  <a:pt x="22" y="88"/>
                </a:moveTo>
                <a:cubicBezTo>
                  <a:pt x="22" y="88"/>
                  <a:pt x="22" y="88"/>
                  <a:pt x="22" y="88"/>
                </a:cubicBezTo>
                <a:cubicBezTo>
                  <a:pt x="22" y="88"/>
                  <a:pt x="22" y="88"/>
                  <a:pt x="22" y="88"/>
                </a:cubicBezTo>
                <a:cubicBezTo>
                  <a:pt x="23" y="88"/>
                  <a:pt x="22" y="88"/>
                  <a:pt x="22" y="88"/>
                </a:cubicBezTo>
                <a:close/>
                <a:moveTo>
                  <a:pt x="21" y="88"/>
                </a:moveTo>
                <a:cubicBezTo>
                  <a:pt x="21" y="88"/>
                  <a:pt x="21" y="88"/>
                  <a:pt x="21" y="88"/>
                </a:cubicBezTo>
                <a:cubicBezTo>
                  <a:pt x="21" y="88"/>
                  <a:pt x="21" y="88"/>
                  <a:pt x="21" y="88"/>
                </a:cubicBezTo>
                <a:close/>
                <a:moveTo>
                  <a:pt x="23" y="89"/>
                </a:moveTo>
                <a:cubicBezTo>
                  <a:pt x="23" y="89"/>
                  <a:pt x="23" y="89"/>
                  <a:pt x="23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23" y="89"/>
                  <a:pt x="23" y="89"/>
                  <a:pt x="23" y="89"/>
                </a:cubicBezTo>
                <a:close/>
                <a:moveTo>
                  <a:pt x="17" y="87"/>
                </a:moveTo>
                <a:cubicBezTo>
                  <a:pt x="17" y="86"/>
                  <a:pt x="17" y="86"/>
                  <a:pt x="17" y="86"/>
                </a:cubicBezTo>
                <a:cubicBezTo>
                  <a:pt x="17" y="86"/>
                  <a:pt x="17" y="87"/>
                  <a:pt x="17" y="87"/>
                </a:cubicBezTo>
                <a:close/>
                <a:moveTo>
                  <a:pt x="23" y="90"/>
                </a:moveTo>
                <a:cubicBezTo>
                  <a:pt x="23" y="90"/>
                  <a:pt x="23" y="90"/>
                  <a:pt x="24" y="90"/>
                </a:cubicBezTo>
                <a:cubicBezTo>
                  <a:pt x="24" y="90"/>
                  <a:pt x="23" y="90"/>
                  <a:pt x="23" y="90"/>
                </a:cubicBezTo>
                <a:close/>
                <a:moveTo>
                  <a:pt x="21" y="89"/>
                </a:moveTo>
                <a:cubicBezTo>
                  <a:pt x="21" y="89"/>
                  <a:pt x="21" y="89"/>
                  <a:pt x="21" y="89"/>
                </a:cubicBezTo>
                <a:cubicBezTo>
                  <a:pt x="21" y="89"/>
                  <a:pt x="21" y="89"/>
                  <a:pt x="21" y="89"/>
                </a:cubicBezTo>
                <a:close/>
                <a:moveTo>
                  <a:pt x="16" y="90"/>
                </a:moveTo>
                <a:cubicBezTo>
                  <a:pt x="16" y="90"/>
                  <a:pt x="16" y="90"/>
                  <a:pt x="16" y="91"/>
                </a:cubicBezTo>
                <a:cubicBezTo>
                  <a:pt x="16" y="90"/>
                  <a:pt x="16" y="90"/>
                  <a:pt x="16" y="90"/>
                </a:cubicBezTo>
                <a:close/>
                <a:moveTo>
                  <a:pt x="18" y="96"/>
                </a:moveTo>
                <a:cubicBezTo>
                  <a:pt x="18" y="96"/>
                  <a:pt x="18" y="96"/>
                  <a:pt x="18" y="96"/>
                </a:cubicBezTo>
                <a:cubicBezTo>
                  <a:pt x="18" y="96"/>
                  <a:pt x="18" y="96"/>
                  <a:pt x="18" y="96"/>
                </a:cubicBezTo>
                <a:close/>
                <a:moveTo>
                  <a:pt x="14" y="95"/>
                </a:moveTo>
                <a:cubicBezTo>
                  <a:pt x="15" y="95"/>
                  <a:pt x="14" y="95"/>
                  <a:pt x="14" y="95"/>
                </a:cubicBezTo>
                <a:cubicBezTo>
                  <a:pt x="14" y="95"/>
                  <a:pt x="14" y="95"/>
                  <a:pt x="14" y="95"/>
                </a:cubicBezTo>
                <a:close/>
                <a:moveTo>
                  <a:pt x="18" y="98"/>
                </a:moveTo>
                <a:cubicBezTo>
                  <a:pt x="18" y="97"/>
                  <a:pt x="18" y="98"/>
                  <a:pt x="17" y="98"/>
                </a:cubicBezTo>
                <a:cubicBezTo>
                  <a:pt x="18" y="98"/>
                  <a:pt x="17" y="98"/>
                  <a:pt x="17" y="97"/>
                </a:cubicBezTo>
                <a:cubicBezTo>
                  <a:pt x="18" y="97"/>
                  <a:pt x="18" y="98"/>
                  <a:pt x="18" y="97"/>
                </a:cubicBezTo>
                <a:cubicBezTo>
                  <a:pt x="18" y="97"/>
                  <a:pt x="18" y="97"/>
                  <a:pt x="18" y="98"/>
                </a:cubicBezTo>
                <a:close/>
                <a:moveTo>
                  <a:pt x="16" y="100"/>
                </a:moveTo>
                <a:cubicBezTo>
                  <a:pt x="16" y="101"/>
                  <a:pt x="16" y="101"/>
                  <a:pt x="16" y="101"/>
                </a:cubicBezTo>
                <a:cubicBezTo>
                  <a:pt x="16" y="101"/>
                  <a:pt x="16" y="100"/>
                  <a:pt x="16" y="100"/>
                </a:cubicBezTo>
                <a:close/>
                <a:moveTo>
                  <a:pt x="17" y="102"/>
                </a:moveTo>
                <a:cubicBezTo>
                  <a:pt x="17" y="102"/>
                  <a:pt x="17" y="102"/>
                  <a:pt x="16" y="103"/>
                </a:cubicBezTo>
                <a:cubicBezTo>
                  <a:pt x="16" y="102"/>
                  <a:pt x="17" y="102"/>
                  <a:pt x="17" y="102"/>
                </a:cubicBezTo>
                <a:close/>
                <a:moveTo>
                  <a:pt x="16" y="103"/>
                </a:moveTo>
                <a:cubicBezTo>
                  <a:pt x="16" y="104"/>
                  <a:pt x="16" y="104"/>
                  <a:pt x="16" y="104"/>
                </a:cubicBezTo>
                <a:cubicBezTo>
                  <a:pt x="16" y="104"/>
                  <a:pt x="16" y="104"/>
                  <a:pt x="16" y="103"/>
                </a:cubicBezTo>
                <a:close/>
                <a:moveTo>
                  <a:pt x="16" y="104"/>
                </a:moveTo>
                <a:cubicBezTo>
                  <a:pt x="16" y="104"/>
                  <a:pt x="16" y="104"/>
                  <a:pt x="16" y="104"/>
                </a:cubicBezTo>
                <a:cubicBezTo>
                  <a:pt x="16" y="104"/>
                  <a:pt x="16" y="104"/>
                  <a:pt x="16" y="104"/>
                </a:cubicBezTo>
                <a:cubicBezTo>
                  <a:pt x="15" y="104"/>
                  <a:pt x="16" y="104"/>
                  <a:pt x="16" y="104"/>
                </a:cubicBezTo>
                <a:close/>
                <a:moveTo>
                  <a:pt x="15" y="104"/>
                </a:moveTo>
                <a:cubicBezTo>
                  <a:pt x="15" y="104"/>
                  <a:pt x="15" y="104"/>
                  <a:pt x="15" y="104"/>
                </a:cubicBezTo>
                <a:cubicBezTo>
                  <a:pt x="15" y="104"/>
                  <a:pt x="15" y="104"/>
                  <a:pt x="15" y="103"/>
                </a:cubicBezTo>
                <a:cubicBezTo>
                  <a:pt x="15" y="103"/>
                  <a:pt x="15" y="104"/>
                  <a:pt x="15" y="104"/>
                </a:cubicBezTo>
                <a:close/>
                <a:moveTo>
                  <a:pt x="12" y="104"/>
                </a:moveTo>
                <a:cubicBezTo>
                  <a:pt x="12" y="104"/>
                  <a:pt x="13" y="104"/>
                  <a:pt x="13" y="103"/>
                </a:cubicBezTo>
                <a:cubicBezTo>
                  <a:pt x="13" y="104"/>
                  <a:pt x="13" y="104"/>
                  <a:pt x="12" y="104"/>
                </a:cubicBezTo>
                <a:close/>
                <a:moveTo>
                  <a:pt x="14" y="107"/>
                </a:moveTo>
                <a:cubicBezTo>
                  <a:pt x="14" y="107"/>
                  <a:pt x="14" y="107"/>
                  <a:pt x="14" y="107"/>
                </a:cubicBezTo>
                <a:cubicBezTo>
                  <a:pt x="14" y="106"/>
                  <a:pt x="15" y="106"/>
                  <a:pt x="15" y="105"/>
                </a:cubicBezTo>
                <a:cubicBezTo>
                  <a:pt x="15" y="106"/>
                  <a:pt x="15" y="106"/>
                  <a:pt x="14" y="107"/>
                </a:cubicBezTo>
                <a:close/>
                <a:moveTo>
                  <a:pt x="12" y="105"/>
                </a:moveTo>
                <a:cubicBezTo>
                  <a:pt x="12" y="105"/>
                  <a:pt x="12" y="105"/>
                  <a:pt x="12" y="105"/>
                </a:cubicBezTo>
                <a:cubicBezTo>
                  <a:pt x="12" y="105"/>
                  <a:pt x="12" y="105"/>
                  <a:pt x="12" y="105"/>
                </a:cubicBezTo>
                <a:close/>
                <a:moveTo>
                  <a:pt x="14" y="107"/>
                </a:moveTo>
                <a:cubicBezTo>
                  <a:pt x="14" y="108"/>
                  <a:pt x="14" y="108"/>
                  <a:pt x="14" y="108"/>
                </a:cubicBezTo>
                <a:cubicBezTo>
                  <a:pt x="13" y="108"/>
                  <a:pt x="14" y="107"/>
                  <a:pt x="14" y="107"/>
                </a:cubicBezTo>
                <a:close/>
                <a:moveTo>
                  <a:pt x="13" y="110"/>
                </a:moveTo>
                <a:cubicBezTo>
                  <a:pt x="13" y="110"/>
                  <a:pt x="13" y="110"/>
                  <a:pt x="13" y="110"/>
                </a:cubicBezTo>
                <a:cubicBezTo>
                  <a:pt x="13" y="110"/>
                  <a:pt x="13" y="110"/>
                  <a:pt x="13" y="110"/>
                </a:cubicBezTo>
                <a:cubicBezTo>
                  <a:pt x="13" y="110"/>
                  <a:pt x="13" y="110"/>
                  <a:pt x="13" y="110"/>
                </a:cubicBezTo>
                <a:close/>
                <a:moveTo>
                  <a:pt x="13" y="110"/>
                </a:moveTo>
                <a:cubicBezTo>
                  <a:pt x="13" y="110"/>
                  <a:pt x="13" y="110"/>
                  <a:pt x="13" y="110"/>
                </a:cubicBezTo>
                <a:cubicBezTo>
                  <a:pt x="13" y="110"/>
                  <a:pt x="13" y="110"/>
                  <a:pt x="13" y="110"/>
                </a:cubicBezTo>
                <a:close/>
                <a:moveTo>
                  <a:pt x="12" y="110"/>
                </a:moveTo>
                <a:cubicBezTo>
                  <a:pt x="12" y="110"/>
                  <a:pt x="12" y="110"/>
                  <a:pt x="12" y="110"/>
                </a:cubicBezTo>
                <a:cubicBezTo>
                  <a:pt x="12" y="110"/>
                  <a:pt x="12" y="110"/>
                  <a:pt x="12" y="109"/>
                </a:cubicBezTo>
                <a:cubicBezTo>
                  <a:pt x="12" y="109"/>
                  <a:pt x="12" y="110"/>
                  <a:pt x="12" y="110"/>
                </a:cubicBezTo>
                <a:cubicBezTo>
                  <a:pt x="12" y="110"/>
                  <a:pt x="12" y="110"/>
                  <a:pt x="12" y="109"/>
                </a:cubicBezTo>
                <a:cubicBezTo>
                  <a:pt x="12" y="110"/>
                  <a:pt x="12" y="110"/>
                  <a:pt x="12" y="110"/>
                </a:cubicBezTo>
                <a:close/>
                <a:moveTo>
                  <a:pt x="8" y="108"/>
                </a:moveTo>
                <a:cubicBezTo>
                  <a:pt x="8" y="108"/>
                  <a:pt x="8" y="108"/>
                  <a:pt x="8" y="108"/>
                </a:cubicBezTo>
                <a:cubicBezTo>
                  <a:pt x="8" y="108"/>
                  <a:pt x="8" y="108"/>
                  <a:pt x="8" y="108"/>
                </a:cubicBezTo>
                <a:close/>
                <a:moveTo>
                  <a:pt x="11" y="110"/>
                </a:moveTo>
                <a:cubicBezTo>
                  <a:pt x="11" y="110"/>
                  <a:pt x="11" y="110"/>
                  <a:pt x="11" y="110"/>
                </a:cubicBezTo>
                <a:cubicBezTo>
                  <a:pt x="11" y="110"/>
                  <a:pt x="11" y="110"/>
                  <a:pt x="11" y="110"/>
                </a:cubicBezTo>
                <a:close/>
                <a:moveTo>
                  <a:pt x="12" y="110"/>
                </a:moveTo>
                <a:cubicBezTo>
                  <a:pt x="12" y="110"/>
                  <a:pt x="12" y="111"/>
                  <a:pt x="12" y="110"/>
                </a:cubicBezTo>
                <a:cubicBezTo>
                  <a:pt x="12" y="110"/>
                  <a:pt x="12" y="110"/>
                  <a:pt x="12" y="110"/>
                </a:cubicBezTo>
                <a:close/>
                <a:moveTo>
                  <a:pt x="12" y="110"/>
                </a:moveTo>
                <a:cubicBezTo>
                  <a:pt x="12" y="110"/>
                  <a:pt x="12" y="110"/>
                  <a:pt x="12" y="110"/>
                </a:cubicBezTo>
                <a:cubicBezTo>
                  <a:pt x="12" y="110"/>
                  <a:pt x="12" y="111"/>
                  <a:pt x="12" y="111"/>
                </a:cubicBezTo>
                <a:cubicBezTo>
                  <a:pt x="11" y="111"/>
                  <a:pt x="12" y="110"/>
                  <a:pt x="12" y="110"/>
                </a:cubicBezTo>
                <a:close/>
                <a:moveTo>
                  <a:pt x="10" y="111"/>
                </a:moveTo>
                <a:cubicBezTo>
                  <a:pt x="10" y="111"/>
                  <a:pt x="11" y="111"/>
                  <a:pt x="11" y="110"/>
                </a:cubicBezTo>
                <a:cubicBezTo>
                  <a:pt x="11" y="111"/>
                  <a:pt x="11" y="111"/>
                  <a:pt x="10" y="111"/>
                </a:cubicBezTo>
                <a:close/>
                <a:moveTo>
                  <a:pt x="11" y="111"/>
                </a:moveTo>
                <a:cubicBezTo>
                  <a:pt x="11" y="111"/>
                  <a:pt x="11" y="111"/>
                  <a:pt x="11" y="111"/>
                </a:cubicBezTo>
                <a:cubicBezTo>
                  <a:pt x="11" y="111"/>
                  <a:pt x="11" y="111"/>
                  <a:pt x="11" y="111"/>
                </a:cubicBezTo>
                <a:close/>
                <a:moveTo>
                  <a:pt x="11" y="111"/>
                </a:moveTo>
                <a:cubicBezTo>
                  <a:pt x="11" y="111"/>
                  <a:pt x="11" y="111"/>
                  <a:pt x="11" y="111"/>
                </a:cubicBezTo>
                <a:cubicBezTo>
                  <a:pt x="11" y="111"/>
                  <a:pt x="11" y="111"/>
                  <a:pt x="12" y="111"/>
                </a:cubicBezTo>
                <a:cubicBezTo>
                  <a:pt x="12" y="111"/>
                  <a:pt x="12" y="111"/>
                  <a:pt x="12" y="111"/>
                </a:cubicBezTo>
                <a:cubicBezTo>
                  <a:pt x="11" y="111"/>
                  <a:pt x="11" y="111"/>
                  <a:pt x="11" y="111"/>
                </a:cubicBezTo>
                <a:close/>
                <a:moveTo>
                  <a:pt x="12" y="112"/>
                </a:moveTo>
                <a:cubicBezTo>
                  <a:pt x="12" y="112"/>
                  <a:pt x="12" y="112"/>
                  <a:pt x="12" y="112"/>
                </a:cubicBezTo>
                <a:cubicBezTo>
                  <a:pt x="12" y="112"/>
                  <a:pt x="12" y="112"/>
                  <a:pt x="12" y="112"/>
                </a:cubicBezTo>
                <a:close/>
                <a:moveTo>
                  <a:pt x="6" y="110"/>
                </a:moveTo>
                <a:cubicBezTo>
                  <a:pt x="6" y="110"/>
                  <a:pt x="6" y="110"/>
                  <a:pt x="6" y="110"/>
                </a:cubicBezTo>
                <a:cubicBezTo>
                  <a:pt x="7" y="110"/>
                  <a:pt x="7" y="110"/>
                  <a:pt x="6" y="110"/>
                </a:cubicBezTo>
                <a:close/>
                <a:moveTo>
                  <a:pt x="6" y="111"/>
                </a:moveTo>
                <a:cubicBezTo>
                  <a:pt x="6" y="111"/>
                  <a:pt x="6" y="111"/>
                  <a:pt x="6" y="111"/>
                </a:cubicBezTo>
                <a:cubicBezTo>
                  <a:pt x="6" y="111"/>
                  <a:pt x="6" y="111"/>
                  <a:pt x="6" y="111"/>
                </a:cubicBezTo>
                <a:close/>
                <a:moveTo>
                  <a:pt x="10" y="114"/>
                </a:moveTo>
                <a:cubicBezTo>
                  <a:pt x="10" y="114"/>
                  <a:pt x="10" y="115"/>
                  <a:pt x="9" y="116"/>
                </a:cubicBezTo>
                <a:cubicBezTo>
                  <a:pt x="9" y="116"/>
                  <a:pt x="9" y="117"/>
                  <a:pt x="8" y="118"/>
                </a:cubicBezTo>
                <a:cubicBezTo>
                  <a:pt x="9" y="117"/>
                  <a:pt x="10" y="115"/>
                  <a:pt x="10" y="114"/>
                </a:cubicBezTo>
                <a:close/>
                <a:moveTo>
                  <a:pt x="11" y="115"/>
                </a:moveTo>
                <a:cubicBezTo>
                  <a:pt x="11" y="115"/>
                  <a:pt x="11" y="115"/>
                  <a:pt x="11" y="115"/>
                </a:cubicBezTo>
                <a:cubicBezTo>
                  <a:pt x="11" y="115"/>
                  <a:pt x="11" y="115"/>
                  <a:pt x="11" y="115"/>
                </a:cubicBezTo>
                <a:close/>
                <a:moveTo>
                  <a:pt x="9" y="114"/>
                </a:moveTo>
                <a:cubicBezTo>
                  <a:pt x="9" y="114"/>
                  <a:pt x="9" y="114"/>
                  <a:pt x="9" y="114"/>
                </a:cubicBezTo>
                <a:cubicBezTo>
                  <a:pt x="9" y="114"/>
                  <a:pt x="9" y="114"/>
                  <a:pt x="9" y="115"/>
                </a:cubicBezTo>
                <a:cubicBezTo>
                  <a:pt x="8" y="114"/>
                  <a:pt x="8" y="114"/>
                  <a:pt x="9" y="114"/>
                </a:cubicBezTo>
                <a:close/>
                <a:moveTo>
                  <a:pt x="11" y="116"/>
                </a:moveTo>
                <a:cubicBezTo>
                  <a:pt x="11" y="116"/>
                  <a:pt x="11" y="115"/>
                  <a:pt x="11" y="115"/>
                </a:cubicBezTo>
                <a:cubicBezTo>
                  <a:pt x="11" y="115"/>
                  <a:pt x="11" y="116"/>
                  <a:pt x="11" y="116"/>
                </a:cubicBezTo>
                <a:close/>
                <a:moveTo>
                  <a:pt x="10" y="116"/>
                </a:moveTo>
                <a:cubicBezTo>
                  <a:pt x="10" y="116"/>
                  <a:pt x="10" y="115"/>
                  <a:pt x="10" y="115"/>
                </a:cubicBezTo>
                <a:cubicBezTo>
                  <a:pt x="10" y="115"/>
                  <a:pt x="10" y="116"/>
                  <a:pt x="10" y="116"/>
                </a:cubicBezTo>
                <a:close/>
                <a:moveTo>
                  <a:pt x="11" y="116"/>
                </a:moveTo>
                <a:cubicBezTo>
                  <a:pt x="11" y="116"/>
                  <a:pt x="11" y="116"/>
                  <a:pt x="10" y="117"/>
                </a:cubicBezTo>
                <a:cubicBezTo>
                  <a:pt x="10" y="116"/>
                  <a:pt x="10" y="116"/>
                  <a:pt x="10" y="116"/>
                </a:cubicBezTo>
                <a:cubicBezTo>
                  <a:pt x="10" y="116"/>
                  <a:pt x="10" y="116"/>
                  <a:pt x="11" y="116"/>
                </a:cubicBezTo>
                <a:close/>
                <a:moveTo>
                  <a:pt x="8" y="115"/>
                </a:moveTo>
                <a:cubicBezTo>
                  <a:pt x="8" y="115"/>
                  <a:pt x="8" y="115"/>
                  <a:pt x="8" y="115"/>
                </a:cubicBezTo>
                <a:cubicBezTo>
                  <a:pt x="9" y="115"/>
                  <a:pt x="8" y="115"/>
                  <a:pt x="8" y="115"/>
                </a:cubicBezTo>
                <a:close/>
                <a:moveTo>
                  <a:pt x="4" y="114"/>
                </a:moveTo>
                <a:cubicBezTo>
                  <a:pt x="4" y="114"/>
                  <a:pt x="3" y="114"/>
                  <a:pt x="3" y="114"/>
                </a:cubicBezTo>
                <a:cubicBezTo>
                  <a:pt x="3" y="114"/>
                  <a:pt x="3" y="114"/>
                  <a:pt x="4" y="114"/>
                </a:cubicBezTo>
                <a:close/>
                <a:moveTo>
                  <a:pt x="7" y="117"/>
                </a:moveTo>
                <a:cubicBezTo>
                  <a:pt x="7" y="117"/>
                  <a:pt x="7" y="117"/>
                  <a:pt x="7" y="117"/>
                </a:cubicBezTo>
                <a:cubicBezTo>
                  <a:pt x="7" y="117"/>
                  <a:pt x="7" y="116"/>
                  <a:pt x="7" y="116"/>
                </a:cubicBezTo>
                <a:cubicBezTo>
                  <a:pt x="8" y="116"/>
                  <a:pt x="7" y="116"/>
                  <a:pt x="7" y="117"/>
                </a:cubicBezTo>
                <a:close/>
                <a:moveTo>
                  <a:pt x="7" y="117"/>
                </a:moveTo>
                <a:cubicBezTo>
                  <a:pt x="7" y="117"/>
                  <a:pt x="7" y="117"/>
                  <a:pt x="7" y="117"/>
                </a:cubicBezTo>
                <a:cubicBezTo>
                  <a:pt x="7" y="117"/>
                  <a:pt x="7" y="117"/>
                  <a:pt x="7" y="117"/>
                </a:cubicBezTo>
                <a:cubicBezTo>
                  <a:pt x="7" y="117"/>
                  <a:pt x="7" y="117"/>
                  <a:pt x="7" y="117"/>
                </a:cubicBezTo>
                <a:cubicBezTo>
                  <a:pt x="7" y="117"/>
                  <a:pt x="7" y="117"/>
                  <a:pt x="7" y="117"/>
                </a:cubicBezTo>
                <a:close/>
                <a:moveTo>
                  <a:pt x="7" y="117"/>
                </a:moveTo>
                <a:cubicBezTo>
                  <a:pt x="8" y="117"/>
                  <a:pt x="8" y="117"/>
                  <a:pt x="8" y="117"/>
                </a:cubicBezTo>
                <a:cubicBezTo>
                  <a:pt x="7" y="117"/>
                  <a:pt x="7" y="117"/>
                  <a:pt x="7" y="118"/>
                </a:cubicBezTo>
                <a:cubicBezTo>
                  <a:pt x="7" y="117"/>
                  <a:pt x="7" y="118"/>
                  <a:pt x="7" y="117"/>
                </a:cubicBezTo>
                <a:close/>
                <a:moveTo>
                  <a:pt x="9" y="119"/>
                </a:moveTo>
                <a:cubicBezTo>
                  <a:pt x="9" y="119"/>
                  <a:pt x="9" y="118"/>
                  <a:pt x="9" y="118"/>
                </a:cubicBezTo>
                <a:cubicBezTo>
                  <a:pt x="10" y="118"/>
                  <a:pt x="9" y="119"/>
                  <a:pt x="9" y="119"/>
                </a:cubicBezTo>
                <a:close/>
                <a:moveTo>
                  <a:pt x="2" y="116"/>
                </a:moveTo>
                <a:cubicBezTo>
                  <a:pt x="2" y="116"/>
                  <a:pt x="3" y="116"/>
                  <a:pt x="3" y="115"/>
                </a:cubicBezTo>
                <a:cubicBezTo>
                  <a:pt x="3" y="116"/>
                  <a:pt x="2" y="116"/>
                  <a:pt x="2" y="116"/>
                </a:cubicBezTo>
                <a:close/>
                <a:moveTo>
                  <a:pt x="7" y="118"/>
                </a:moveTo>
                <a:cubicBezTo>
                  <a:pt x="7" y="118"/>
                  <a:pt x="7" y="118"/>
                  <a:pt x="7" y="118"/>
                </a:cubicBezTo>
                <a:cubicBezTo>
                  <a:pt x="7" y="118"/>
                  <a:pt x="7" y="118"/>
                  <a:pt x="7" y="118"/>
                </a:cubicBezTo>
                <a:cubicBezTo>
                  <a:pt x="7" y="118"/>
                  <a:pt x="7" y="118"/>
                  <a:pt x="7" y="118"/>
                </a:cubicBezTo>
                <a:cubicBezTo>
                  <a:pt x="7" y="118"/>
                  <a:pt x="7" y="118"/>
                  <a:pt x="7" y="118"/>
                </a:cubicBezTo>
                <a:cubicBezTo>
                  <a:pt x="7" y="118"/>
                  <a:pt x="7" y="118"/>
                  <a:pt x="7" y="118"/>
                </a:cubicBezTo>
                <a:close/>
                <a:moveTo>
                  <a:pt x="9" y="119"/>
                </a:moveTo>
                <a:cubicBezTo>
                  <a:pt x="9" y="119"/>
                  <a:pt x="9" y="120"/>
                  <a:pt x="9" y="120"/>
                </a:cubicBezTo>
                <a:cubicBezTo>
                  <a:pt x="9" y="119"/>
                  <a:pt x="9" y="119"/>
                  <a:pt x="9" y="119"/>
                </a:cubicBezTo>
                <a:close/>
                <a:moveTo>
                  <a:pt x="8" y="118"/>
                </a:moveTo>
                <a:cubicBezTo>
                  <a:pt x="8" y="118"/>
                  <a:pt x="8" y="119"/>
                  <a:pt x="8" y="119"/>
                </a:cubicBezTo>
                <a:cubicBezTo>
                  <a:pt x="8" y="119"/>
                  <a:pt x="8" y="119"/>
                  <a:pt x="8" y="118"/>
                </a:cubicBezTo>
                <a:close/>
                <a:moveTo>
                  <a:pt x="3" y="116"/>
                </a:moveTo>
                <a:cubicBezTo>
                  <a:pt x="3" y="116"/>
                  <a:pt x="2" y="117"/>
                  <a:pt x="2" y="117"/>
                </a:cubicBezTo>
                <a:cubicBezTo>
                  <a:pt x="2" y="117"/>
                  <a:pt x="2" y="116"/>
                  <a:pt x="3" y="116"/>
                </a:cubicBezTo>
                <a:close/>
                <a:moveTo>
                  <a:pt x="5" y="118"/>
                </a:moveTo>
                <a:cubicBezTo>
                  <a:pt x="5" y="118"/>
                  <a:pt x="5" y="118"/>
                  <a:pt x="5" y="117"/>
                </a:cubicBezTo>
                <a:cubicBezTo>
                  <a:pt x="5" y="118"/>
                  <a:pt x="5" y="118"/>
                  <a:pt x="5" y="118"/>
                </a:cubicBezTo>
                <a:close/>
                <a:moveTo>
                  <a:pt x="6" y="118"/>
                </a:moveTo>
                <a:cubicBezTo>
                  <a:pt x="6" y="119"/>
                  <a:pt x="6" y="119"/>
                  <a:pt x="6" y="119"/>
                </a:cubicBezTo>
                <a:cubicBezTo>
                  <a:pt x="6" y="119"/>
                  <a:pt x="6" y="119"/>
                  <a:pt x="6" y="118"/>
                </a:cubicBezTo>
                <a:close/>
                <a:moveTo>
                  <a:pt x="8" y="120"/>
                </a:moveTo>
                <a:cubicBezTo>
                  <a:pt x="8" y="120"/>
                  <a:pt x="9" y="120"/>
                  <a:pt x="9" y="120"/>
                </a:cubicBezTo>
                <a:cubicBezTo>
                  <a:pt x="9" y="120"/>
                  <a:pt x="9" y="120"/>
                  <a:pt x="8" y="120"/>
                </a:cubicBezTo>
                <a:close/>
                <a:moveTo>
                  <a:pt x="4" y="119"/>
                </a:moveTo>
                <a:cubicBezTo>
                  <a:pt x="4" y="118"/>
                  <a:pt x="4" y="118"/>
                  <a:pt x="5" y="118"/>
                </a:cubicBezTo>
                <a:cubicBezTo>
                  <a:pt x="5" y="118"/>
                  <a:pt x="4" y="118"/>
                  <a:pt x="4" y="119"/>
                </a:cubicBezTo>
                <a:close/>
                <a:moveTo>
                  <a:pt x="2" y="117"/>
                </a:moveTo>
                <a:cubicBezTo>
                  <a:pt x="2" y="117"/>
                  <a:pt x="2" y="117"/>
                  <a:pt x="2" y="117"/>
                </a:cubicBezTo>
                <a:cubicBezTo>
                  <a:pt x="2" y="117"/>
                  <a:pt x="2" y="117"/>
                  <a:pt x="2" y="117"/>
                </a:cubicBezTo>
                <a:close/>
                <a:moveTo>
                  <a:pt x="8" y="122"/>
                </a:moveTo>
                <a:cubicBezTo>
                  <a:pt x="8" y="121"/>
                  <a:pt x="8" y="121"/>
                  <a:pt x="8" y="121"/>
                </a:cubicBezTo>
                <a:cubicBezTo>
                  <a:pt x="8" y="121"/>
                  <a:pt x="8" y="121"/>
                  <a:pt x="8" y="121"/>
                </a:cubicBezTo>
                <a:cubicBezTo>
                  <a:pt x="8" y="121"/>
                  <a:pt x="8" y="121"/>
                  <a:pt x="8" y="121"/>
                </a:cubicBezTo>
                <a:cubicBezTo>
                  <a:pt x="8" y="121"/>
                  <a:pt x="8" y="121"/>
                  <a:pt x="8" y="120"/>
                </a:cubicBezTo>
                <a:cubicBezTo>
                  <a:pt x="8" y="121"/>
                  <a:pt x="8" y="121"/>
                  <a:pt x="8" y="122"/>
                </a:cubicBezTo>
                <a:close/>
                <a:moveTo>
                  <a:pt x="1" y="118"/>
                </a:moveTo>
                <a:cubicBezTo>
                  <a:pt x="1" y="118"/>
                  <a:pt x="1" y="118"/>
                  <a:pt x="1" y="117"/>
                </a:cubicBezTo>
                <a:cubicBezTo>
                  <a:pt x="1" y="117"/>
                  <a:pt x="1" y="117"/>
                  <a:pt x="1" y="117"/>
                </a:cubicBezTo>
                <a:cubicBezTo>
                  <a:pt x="1" y="117"/>
                  <a:pt x="1" y="118"/>
                  <a:pt x="1" y="118"/>
                </a:cubicBezTo>
                <a:cubicBezTo>
                  <a:pt x="1" y="118"/>
                  <a:pt x="1" y="118"/>
                  <a:pt x="1" y="118"/>
                </a:cubicBezTo>
                <a:close/>
                <a:moveTo>
                  <a:pt x="6" y="120"/>
                </a:moveTo>
                <a:cubicBezTo>
                  <a:pt x="6" y="120"/>
                  <a:pt x="6" y="120"/>
                  <a:pt x="6" y="120"/>
                </a:cubicBezTo>
                <a:cubicBezTo>
                  <a:pt x="6" y="120"/>
                  <a:pt x="6" y="120"/>
                  <a:pt x="6" y="120"/>
                </a:cubicBezTo>
                <a:close/>
                <a:moveTo>
                  <a:pt x="6" y="120"/>
                </a:moveTo>
                <a:cubicBezTo>
                  <a:pt x="5" y="120"/>
                  <a:pt x="6" y="120"/>
                  <a:pt x="6" y="120"/>
                </a:cubicBezTo>
                <a:cubicBezTo>
                  <a:pt x="6" y="120"/>
                  <a:pt x="6" y="120"/>
                  <a:pt x="6" y="120"/>
                </a:cubicBezTo>
                <a:close/>
                <a:moveTo>
                  <a:pt x="1" y="118"/>
                </a:moveTo>
                <a:cubicBezTo>
                  <a:pt x="1" y="118"/>
                  <a:pt x="1" y="118"/>
                  <a:pt x="1" y="118"/>
                </a:cubicBezTo>
                <a:cubicBezTo>
                  <a:pt x="1" y="118"/>
                  <a:pt x="1" y="118"/>
                  <a:pt x="1" y="118"/>
                </a:cubicBezTo>
                <a:close/>
                <a:moveTo>
                  <a:pt x="1" y="118"/>
                </a:moveTo>
                <a:cubicBezTo>
                  <a:pt x="1" y="118"/>
                  <a:pt x="1" y="118"/>
                  <a:pt x="1" y="118"/>
                </a:cubicBezTo>
                <a:cubicBezTo>
                  <a:pt x="0" y="118"/>
                  <a:pt x="1" y="118"/>
                  <a:pt x="1" y="118"/>
                </a:cubicBezTo>
                <a:cubicBezTo>
                  <a:pt x="1" y="118"/>
                  <a:pt x="1" y="118"/>
                  <a:pt x="1" y="118"/>
                </a:cubicBezTo>
                <a:close/>
                <a:moveTo>
                  <a:pt x="3" y="121"/>
                </a:moveTo>
                <a:cubicBezTo>
                  <a:pt x="3" y="120"/>
                  <a:pt x="3" y="120"/>
                  <a:pt x="3" y="120"/>
                </a:cubicBezTo>
                <a:cubicBezTo>
                  <a:pt x="3" y="120"/>
                  <a:pt x="4" y="120"/>
                  <a:pt x="4" y="120"/>
                </a:cubicBezTo>
                <a:cubicBezTo>
                  <a:pt x="3" y="120"/>
                  <a:pt x="3" y="120"/>
                  <a:pt x="3" y="121"/>
                </a:cubicBezTo>
                <a:close/>
                <a:moveTo>
                  <a:pt x="0" y="119"/>
                </a:moveTo>
                <a:cubicBezTo>
                  <a:pt x="0" y="119"/>
                  <a:pt x="0" y="119"/>
                  <a:pt x="0" y="119"/>
                </a:cubicBezTo>
                <a:cubicBezTo>
                  <a:pt x="0" y="119"/>
                  <a:pt x="0" y="119"/>
                  <a:pt x="0" y="119"/>
                </a:cubicBezTo>
                <a:close/>
                <a:moveTo>
                  <a:pt x="7" y="123"/>
                </a:moveTo>
                <a:cubicBezTo>
                  <a:pt x="7" y="122"/>
                  <a:pt x="7" y="122"/>
                  <a:pt x="7" y="122"/>
                </a:cubicBezTo>
                <a:cubicBezTo>
                  <a:pt x="7" y="122"/>
                  <a:pt x="7" y="123"/>
                  <a:pt x="7" y="122"/>
                </a:cubicBezTo>
                <a:cubicBezTo>
                  <a:pt x="7" y="122"/>
                  <a:pt x="7" y="123"/>
                  <a:pt x="7" y="123"/>
                </a:cubicBezTo>
                <a:close/>
                <a:moveTo>
                  <a:pt x="5" y="123"/>
                </a:moveTo>
                <a:cubicBezTo>
                  <a:pt x="5" y="123"/>
                  <a:pt x="6" y="123"/>
                  <a:pt x="6" y="123"/>
                </a:cubicBezTo>
                <a:cubicBezTo>
                  <a:pt x="6" y="123"/>
                  <a:pt x="5" y="123"/>
                  <a:pt x="5" y="123"/>
                </a:cubicBezTo>
                <a:close/>
                <a:moveTo>
                  <a:pt x="46" y="36"/>
                </a:moveTo>
                <a:cubicBezTo>
                  <a:pt x="46" y="36"/>
                  <a:pt x="46" y="36"/>
                  <a:pt x="46" y="36"/>
                </a:cubicBezTo>
                <a:cubicBezTo>
                  <a:pt x="46" y="36"/>
                  <a:pt x="46" y="36"/>
                  <a:pt x="46" y="36"/>
                </a:cubicBezTo>
                <a:close/>
                <a:moveTo>
                  <a:pt x="63" y="17"/>
                </a:moveTo>
                <a:cubicBezTo>
                  <a:pt x="63" y="18"/>
                  <a:pt x="63" y="18"/>
                  <a:pt x="62" y="18"/>
                </a:cubicBezTo>
                <a:cubicBezTo>
                  <a:pt x="62" y="18"/>
                  <a:pt x="62" y="18"/>
                  <a:pt x="62" y="18"/>
                </a:cubicBezTo>
                <a:cubicBezTo>
                  <a:pt x="62" y="18"/>
                  <a:pt x="62" y="18"/>
                  <a:pt x="62" y="19"/>
                </a:cubicBezTo>
                <a:cubicBezTo>
                  <a:pt x="62" y="19"/>
                  <a:pt x="61" y="20"/>
                  <a:pt x="61" y="20"/>
                </a:cubicBezTo>
                <a:cubicBezTo>
                  <a:pt x="61" y="20"/>
                  <a:pt x="61" y="20"/>
                  <a:pt x="61" y="20"/>
                </a:cubicBezTo>
                <a:cubicBezTo>
                  <a:pt x="60" y="21"/>
                  <a:pt x="61" y="21"/>
                  <a:pt x="60" y="22"/>
                </a:cubicBezTo>
                <a:cubicBezTo>
                  <a:pt x="60" y="22"/>
                  <a:pt x="60" y="22"/>
                  <a:pt x="60" y="22"/>
                </a:cubicBezTo>
                <a:cubicBezTo>
                  <a:pt x="60" y="22"/>
                  <a:pt x="60" y="22"/>
                  <a:pt x="60" y="22"/>
                </a:cubicBezTo>
                <a:cubicBezTo>
                  <a:pt x="60" y="22"/>
                  <a:pt x="60" y="22"/>
                  <a:pt x="60" y="22"/>
                </a:cubicBezTo>
                <a:cubicBezTo>
                  <a:pt x="60" y="22"/>
                  <a:pt x="59" y="22"/>
                  <a:pt x="59" y="23"/>
                </a:cubicBezTo>
                <a:cubicBezTo>
                  <a:pt x="59" y="23"/>
                  <a:pt x="59" y="23"/>
                  <a:pt x="59" y="23"/>
                </a:cubicBezTo>
                <a:cubicBezTo>
                  <a:pt x="59" y="23"/>
                  <a:pt x="59" y="23"/>
                  <a:pt x="59" y="23"/>
                </a:cubicBezTo>
                <a:cubicBezTo>
                  <a:pt x="59" y="23"/>
                  <a:pt x="59" y="23"/>
                  <a:pt x="59" y="23"/>
                </a:cubicBezTo>
                <a:cubicBezTo>
                  <a:pt x="59" y="23"/>
                  <a:pt x="59" y="24"/>
                  <a:pt x="59" y="24"/>
                </a:cubicBezTo>
                <a:cubicBezTo>
                  <a:pt x="58" y="24"/>
                  <a:pt x="59" y="24"/>
                  <a:pt x="59" y="24"/>
                </a:cubicBezTo>
                <a:cubicBezTo>
                  <a:pt x="58" y="24"/>
                  <a:pt x="59" y="24"/>
                  <a:pt x="58" y="24"/>
                </a:cubicBezTo>
                <a:cubicBezTo>
                  <a:pt x="58" y="24"/>
                  <a:pt x="58" y="24"/>
                  <a:pt x="58" y="24"/>
                </a:cubicBezTo>
                <a:cubicBezTo>
                  <a:pt x="58" y="24"/>
                  <a:pt x="58" y="24"/>
                  <a:pt x="58" y="24"/>
                </a:cubicBezTo>
                <a:cubicBezTo>
                  <a:pt x="58" y="24"/>
                  <a:pt x="58" y="24"/>
                  <a:pt x="58" y="24"/>
                </a:cubicBezTo>
                <a:cubicBezTo>
                  <a:pt x="58" y="24"/>
                  <a:pt x="58" y="24"/>
                  <a:pt x="58" y="24"/>
                </a:cubicBezTo>
                <a:cubicBezTo>
                  <a:pt x="58" y="24"/>
                  <a:pt x="57" y="25"/>
                  <a:pt x="57" y="25"/>
                </a:cubicBezTo>
                <a:cubicBezTo>
                  <a:pt x="57" y="25"/>
                  <a:pt x="57" y="25"/>
                  <a:pt x="57" y="25"/>
                </a:cubicBezTo>
                <a:cubicBezTo>
                  <a:pt x="57" y="25"/>
                  <a:pt x="56" y="25"/>
                  <a:pt x="57" y="26"/>
                </a:cubicBezTo>
                <a:cubicBezTo>
                  <a:pt x="56" y="26"/>
                  <a:pt x="56" y="26"/>
                  <a:pt x="56" y="27"/>
                </a:cubicBezTo>
                <a:cubicBezTo>
                  <a:pt x="56" y="27"/>
                  <a:pt x="56" y="27"/>
                  <a:pt x="56" y="27"/>
                </a:cubicBezTo>
                <a:cubicBezTo>
                  <a:pt x="56" y="27"/>
                  <a:pt x="56" y="27"/>
                  <a:pt x="56" y="27"/>
                </a:cubicBezTo>
                <a:cubicBezTo>
                  <a:pt x="56" y="27"/>
                  <a:pt x="56" y="27"/>
                  <a:pt x="56" y="27"/>
                </a:cubicBezTo>
                <a:cubicBezTo>
                  <a:pt x="55" y="27"/>
                  <a:pt x="55" y="27"/>
                  <a:pt x="55" y="28"/>
                </a:cubicBezTo>
                <a:cubicBezTo>
                  <a:pt x="55" y="28"/>
                  <a:pt x="55" y="28"/>
                  <a:pt x="55" y="28"/>
                </a:cubicBezTo>
                <a:cubicBezTo>
                  <a:pt x="55" y="28"/>
                  <a:pt x="55" y="28"/>
                  <a:pt x="55" y="28"/>
                </a:cubicBezTo>
                <a:cubicBezTo>
                  <a:pt x="55" y="28"/>
                  <a:pt x="55" y="28"/>
                  <a:pt x="55" y="28"/>
                </a:cubicBezTo>
                <a:cubicBezTo>
                  <a:pt x="55" y="28"/>
                  <a:pt x="55" y="28"/>
                  <a:pt x="55" y="28"/>
                </a:cubicBezTo>
                <a:cubicBezTo>
                  <a:pt x="55" y="28"/>
                  <a:pt x="55" y="28"/>
                  <a:pt x="55" y="28"/>
                </a:cubicBezTo>
                <a:cubicBezTo>
                  <a:pt x="55" y="28"/>
                  <a:pt x="55" y="28"/>
                  <a:pt x="55" y="28"/>
                </a:cubicBezTo>
                <a:cubicBezTo>
                  <a:pt x="55" y="28"/>
                  <a:pt x="55" y="28"/>
                  <a:pt x="55" y="28"/>
                </a:cubicBezTo>
                <a:cubicBezTo>
                  <a:pt x="55" y="28"/>
                  <a:pt x="55" y="28"/>
                  <a:pt x="55" y="28"/>
                </a:cubicBezTo>
                <a:cubicBezTo>
                  <a:pt x="54" y="28"/>
                  <a:pt x="54" y="28"/>
                  <a:pt x="55" y="28"/>
                </a:cubicBezTo>
                <a:cubicBezTo>
                  <a:pt x="54" y="29"/>
                  <a:pt x="54" y="30"/>
                  <a:pt x="53" y="30"/>
                </a:cubicBezTo>
                <a:cubicBezTo>
                  <a:pt x="54" y="30"/>
                  <a:pt x="54" y="30"/>
                  <a:pt x="54" y="29"/>
                </a:cubicBezTo>
                <a:cubicBezTo>
                  <a:pt x="54" y="29"/>
                  <a:pt x="53" y="30"/>
                  <a:pt x="54" y="30"/>
                </a:cubicBezTo>
                <a:cubicBezTo>
                  <a:pt x="53" y="30"/>
                  <a:pt x="53" y="30"/>
                  <a:pt x="53" y="30"/>
                </a:cubicBezTo>
                <a:cubicBezTo>
                  <a:pt x="53" y="30"/>
                  <a:pt x="53" y="30"/>
                  <a:pt x="53" y="30"/>
                </a:cubicBezTo>
                <a:cubicBezTo>
                  <a:pt x="53" y="30"/>
                  <a:pt x="53" y="30"/>
                  <a:pt x="53" y="30"/>
                </a:cubicBezTo>
                <a:cubicBezTo>
                  <a:pt x="53" y="30"/>
                  <a:pt x="53" y="30"/>
                  <a:pt x="53" y="31"/>
                </a:cubicBezTo>
                <a:cubicBezTo>
                  <a:pt x="53" y="31"/>
                  <a:pt x="53" y="31"/>
                  <a:pt x="53" y="31"/>
                </a:cubicBezTo>
                <a:cubicBezTo>
                  <a:pt x="53" y="31"/>
                  <a:pt x="53" y="31"/>
                  <a:pt x="53" y="31"/>
                </a:cubicBezTo>
                <a:cubicBezTo>
                  <a:pt x="53" y="31"/>
                  <a:pt x="53" y="31"/>
                  <a:pt x="53" y="31"/>
                </a:cubicBezTo>
                <a:cubicBezTo>
                  <a:pt x="53" y="31"/>
                  <a:pt x="53" y="31"/>
                  <a:pt x="53" y="31"/>
                </a:cubicBezTo>
                <a:cubicBezTo>
                  <a:pt x="53" y="31"/>
                  <a:pt x="53" y="31"/>
                  <a:pt x="53" y="31"/>
                </a:cubicBezTo>
                <a:cubicBezTo>
                  <a:pt x="52" y="31"/>
                  <a:pt x="53" y="31"/>
                  <a:pt x="53" y="31"/>
                </a:cubicBezTo>
                <a:cubicBezTo>
                  <a:pt x="52" y="31"/>
                  <a:pt x="52" y="31"/>
                  <a:pt x="52" y="31"/>
                </a:cubicBezTo>
                <a:cubicBezTo>
                  <a:pt x="52" y="31"/>
                  <a:pt x="52" y="32"/>
                  <a:pt x="52" y="32"/>
                </a:cubicBezTo>
                <a:cubicBezTo>
                  <a:pt x="52" y="32"/>
                  <a:pt x="52" y="32"/>
                  <a:pt x="52" y="32"/>
                </a:cubicBezTo>
                <a:cubicBezTo>
                  <a:pt x="52" y="32"/>
                  <a:pt x="52" y="32"/>
                  <a:pt x="52" y="32"/>
                </a:cubicBezTo>
                <a:cubicBezTo>
                  <a:pt x="52" y="32"/>
                  <a:pt x="52" y="33"/>
                  <a:pt x="52" y="33"/>
                </a:cubicBezTo>
                <a:cubicBezTo>
                  <a:pt x="52" y="33"/>
                  <a:pt x="51" y="33"/>
                  <a:pt x="51" y="33"/>
                </a:cubicBezTo>
                <a:cubicBezTo>
                  <a:pt x="51" y="33"/>
                  <a:pt x="51" y="33"/>
                  <a:pt x="51" y="33"/>
                </a:cubicBezTo>
                <a:cubicBezTo>
                  <a:pt x="51" y="33"/>
                  <a:pt x="51" y="33"/>
                  <a:pt x="51" y="33"/>
                </a:cubicBezTo>
                <a:cubicBezTo>
                  <a:pt x="52" y="33"/>
                  <a:pt x="52" y="31"/>
                  <a:pt x="52" y="31"/>
                </a:cubicBezTo>
                <a:cubicBezTo>
                  <a:pt x="52" y="31"/>
                  <a:pt x="52" y="31"/>
                  <a:pt x="52" y="31"/>
                </a:cubicBezTo>
                <a:cubicBezTo>
                  <a:pt x="52" y="31"/>
                  <a:pt x="52" y="31"/>
                  <a:pt x="52" y="31"/>
                </a:cubicBezTo>
                <a:cubicBezTo>
                  <a:pt x="52" y="31"/>
                  <a:pt x="52" y="31"/>
                  <a:pt x="52" y="31"/>
                </a:cubicBezTo>
                <a:cubicBezTo>
                  <a:pt x="52" y="31"/>
                  <a:pt x="52" y="31"/>
                  <a:pt x="52" y="31"/>
                </a:cubicBezTo>
                <a:cubicBezTo>
                  <a:pt x="52" y="31"/>
                  <a:pt x="52" y="31"/>
                  <a:pt x="52" y="31"/>
                </a:cubicBezTo>
                <a:cubicBezTo>
                  <a:pt x="52" y="31"/>
                  <a:pt x="52" y="32"/>
                  <a:pt x="52" y="32"/>
                </a:cubicBezTo>
                <a:cubicBezTo>
                  <a:pt x="52" y="32"/>
                  <a:pt x="52" y="32"/>
                  <a:pt x="52" y="32"/>
                </a:cubicBezTo>
                <a:cubicBezTo>
                  <a:pt x="51" y="32"/>
                  <a:pt x="52" y="32"/>
                  <a:pt x="51" y="32"/>
                </a:cubicBezTo>
                <a:cubicBezTo>
                  <a:pt x="51" y="32"/>
                  <a:pt x="52" y="32"/>
                  <a:pt x="51" y="32"/>
                </a:cubicBezTo>
                <a:cubicBezTo>
                  <a:pt x="51" y="32"/>
                  <a:pt x="51" y="32"/>
                  <a:pt x="51" y="33"/>
                </a:cubicBezTo>
                <a:cubicBezTo>
                  <a:pt x="51" y="33"/>
                  <a:pt x="51" y="33"/>
                  <a:pt x="51" y="33"/>
                </a:cubicBezTo>
                <a:cubicBezTo>
                  <a:pt x="51" y="33"/>
                  <a:pt x="51" y="33"/>
                  <a:pt x="51" y="33"/>
                </a:cubicBezTo>
                <a:cubicBezTo>
                  <a:pt x="51" y="33"/>
                  <a:pt x="51" y="33"/>
                  <a:pt x="51" y="33"/>
                </a:cubicBezTo>
                <a:cubicBezTo>
                  <a:pt x="51" y="33"/>
                  <a:pt x="51" y="33"/>
                  <a:pt x="50" y="33"/>
                </a:cubicBezTo>
                <a:cubicBezTo>
                  <a:pt x="50" y="33"/>
                  <a:pt x="50" y="33"/>
                  <a:pt x="50" y="34"/>
                </a:cubicBezTo>
                <a:cubicBezTo>
                  <a:pt x="50" y="33"/>
                  <a:pt x="51" y="33"/>
                  <a:pt x="51" y="33"/>
                </a:cubicBezTo>
                <a:cubicBezTo>
                  <a:pt x="51" y="33"/>
                  <a:pt x="51" y="33"/>
                  <a:pt x="51" y="33"/>
                </a:cubicBezTo>
                <a:cubicBezTo>
                  <a:pt x="51" y="33"/>
                  <a:pt x="50" y="34"/>
                  <a:pt x="51" y="34"/>
                </a:cubicBezTo>
                <a:cubicBezTo>
                  <a:pt x="50" y="34"/>
                  <a:pt x="50" y="34"/>
                  <a:pt x="50" y="34"/>
                </a:cubicBezTo>
                <a:cubicBezTo>
                  <a:pt x="50" y="34"/>
                  <a:pt x="50" y="34"/>
                  <a:pt x="50" y="34"/>
                </a:cubicBezTo>
                <a:cubicBezTo>
                  <a:pt x="50" y="34"/>
                  <a:pt x="50" y="34"/>
                  <a:pt x="50" y="34"/>
                </a:cubicBezTo>
                <a:cubicBezTo>
                  <a:pt x="50" y="34"/>
                  <a:pt x="50" y="34"/>
                  <a:pt x="50" y="34"/>
                </a:cubicBezTo>
                <a:cubicBezTo>
                  <a:pt x="50" y="34"/>
                  <a:pt x="50" y="34"/>
                  <a:pt x="50" y="34"/>
                </a:cubicBezTo>
                <a:cubicBezTo>
                  <a:pt x="51" y="34"/>
                  <a:pt x="51" y="33"/>
                  <a:pt x="51" y="33"/>
                </a:cubicBezTo>
                <a:cubicBezTo>
                  <a:pt x="51" y="34"/>
                  <a:pt x="51" y="35"/>
                  <a:pt x="50" y="35"/>
                </a:cubicBezTo>
                <a:cubicBezTo>
                  <a:pt x="50" y="35"/>
                  <a:pt x="50" y="35"/>
                  <a:pt x="50" y="35"/>
                </a:cubicBezTo>
                <a:cubicBezTo>
                  <a:pt x="50" y="35"/>
                  <a:pt x="50" y="35"/>
                  <a:pt x="50" y="36"/>
                </a:cubicBezTo>
                <a:cubicBezTo>
                  <a:pt x="50" y="35"/>
                  <a:pt x="50" y="35"/>
                  <a:pt x="50" y="36"/>
                </a:cubicBezTo>
                <a:cubicBezTo>
                  <a:pt x="50" y="36"/>
                  <a:pt x="50" y="36"/>
                  <a:pt x="50" y="36"/>
                </a:cubicBezTo>
                <a:cubicBezTo>
                  <a:pt x="50" y="36"/>
                  <a:pt x="50" y="36"/>
                  <a:pt x="50" y="36"/>
                </a:cubicBezTo>
                <a:cubicBezTo>
                  <a:pt x="50" y="36"/>
                  <a:pt x="50" y="36"/>
                  <a:pt x="50" y="36"/>
                </a:cubicBezTo>
                <a:cubicBezTo>
                  <a:pt x="50" y="36"/>
                  <a:pt x="50" y="36"/>
                  <a:pt x="50" y="36"/>
                </a:cubicBezTo>
                <a:cubicBezTo>
                  <a:pt x="50" y="36"/>
                  <a:pt x="50" y="36"/>
                  <a:pt x="50" y="36"/>
                </a:cubicBezTo>
                <a:cubicBezTo>
                  <a:pt x="50" y="36"/>
                  <a:pt x="50" y="36"/>
                  <a:pt x="49" y="36"/>
                </a:cubicBezTo>
                <a:cubicBezTo>
                  <a:pt x="49" y="36"/>
                  <a:pt x="49" y="36"/>
                  <a:pt x="49" y="37"/>
                </a:cubicBezTo>
                <a:cubicBezTo>
                  <a:pt x="49" y="37"/>
                  <a:pt x="49" y="36"/>
                  <a:pt x="50" y="36"/>
                </a:cubicBezTo>
                <a:cubicBezTo>
                  <a:pt x="49" y="37"/>
                  <a:pt x="49" y="37"/>
                  <a:pt x="49" y="37"/>
                </a:cubicBezTo>
                <a:cubicBezTo>
                  <a:pt x="49" y="37"/>
                  <a:pt x="49" y="37"/>
                  <a:pt x="49" y="37"/>
                </a:cubicBezTo>
                <a:cubicBezTo>
                  <a:pt x="49" y="37"/>
                  <a:pt x="49" y="37"/>
                  <a:pt x="49" y="37"/>
                </a:cubicBezTo>
                <a:cubicBezTo>
                  <a:pt x="49" y="37"/>
                  <a:pt x="49" y="37"/>
                  <a:pt x="49" y="37"/>
                </a:cubicBezTo>
                <a:cubicBezTo>
                  <a:pt x="49" y="37"/>
                  <a:pt x="49" y="37"/>
                  <a:pt x="49" y="37"/>
                </a:cubicBezTo>
                <a:cubicBezTo>
                  <a:pt x="49" y="37"/>
                  <a:pt x="49" y="36"/>
                  <a:pt x="49" y="36"/>
                </a:cubicBezTo>
                <a:cubicBezTo>
                  <a:pt x="49" y="36"/>
                  <a:pt x="49" y="36"/>
                  <a:pt x="49" y="36"/>
                </a:cubicBezTo>
                <a:cubicBezTo>
                  <a:pt x="49" y="36"/>
                  <a:pt x="49" y="37"/>
                  <a:pt x="49" y="37"/>
                </a:cubicBezTo>
                <a:cubicBezTo>
                  <a:pt x="49" y="37"/>
                  <a:pt x="49" y="37"/>
                  <a:pt x="49" y="37"/>
                </a:cubicBezTo>
                <a:cubicBezTo>
                  <a:pt x="49" y="37"/>
                  <a:pt x="48" y="37"/>
                  <a:pt x="49" y="37"/>
                </a:cubicBezTo>
                <a:cubicBezTo>
                  <a:pt x="48" y="37"/>
                  <a:pt x="48" y="38"/>
                  <a:pt x="48" y="38"/>
                </a:cubicBezTo>
                <a:cubicBezTo>
                  <a:pt x="48" y="38"/>
                  <a:pt x="48" y="38"/>
                  <a:pt x="48" y="38"/>
                </a:cubicBezTo>
                <a:cubicBezTo>
                  <a:pt x="48" y="38"/>
                  <a:pt x="48" y="38"/>
                  <a:pt x="48" y="38"/>
                </a:cubicBezTo>
                <a:cubicBezTo>
                  <a:pt x="48" y="38"/>
                  <a:pt x="48" y="38"/>
                  <a:pt x="48" y="38"/>
                </a:cubicBezTo>
                <a:cubicBezTo>
                  <a:pt x="48" y="38"/>
                  <a:pt x="48" y="39"/>
                  <a:pt x="48" y="39"/>
                </a:cubicBezTo>
                <a:cubicBezTo>
                  <a:pt x="47" y="39"/>
                  <a:pt x="47" y="39"/>
                  <a:pt x="47" y="39"/>
                </a:cubicBezTo>
                <a:cubicBezTo>
                  <a:pt x="48" y="39"/>
                  <a:pt x="47" y="39"/>
                  <a:pt x="47" y="39"/>
                </a:cubicBezTo>
                <a:cubicBezTo>
                  <a:pt x="47" y="39"/>
                  <a:pt x="47" y="40"/>
                  <a:pt x="47" y="39"/>
                </a:cubicBezTo>
                <a:cubicBezTo>
                  <a:pt x="47" y="40"/>
                  <a:pt x="47" y="41"/>
                  <a:pt x="47" y="41"/>
                </a:cubicBezTo>
                <a:cubicBezTo>
                  <a:pt x="47" y="41"/>
                  <a:pt x="47" y="41"/>
                  <a:pt x="47" y="41"/>
                </a:cubicBezTo>
                <a:cubicBezTo>
                  <a:pt x="47" y="41"/>
                  <a:pt x="47" y="41"/>
                  <a:pt x="46" y="41"/>
                </a:cubicBezTo>
                <a:cubicBezTo>
                  <a:pt x="46" y="42"/>
                  <a:pt x="47" y="41"/>
                  <a:pt x="47" y="42"/>
                </a:cubicBezTo>
                <a:cubicBezTo>
                  <a:pt x="46" y="42"/>
                  <a:pt x="46" y="43"/>
                  <a:pt x="45" y="43"/>
                </a:cubicBezTo>
                <a:cubicBezTo>
                  <a:pt x="45" y="43"/>
                  <a:pt x="45" y="43"/>
                  <a:pt x="45" y="43"/>
                </a:cubicBezTo>
                <a:cubicBezTo>
                  <a:pt x="45" y="43"/>
                  <a:pt x="45" y="43"/>
                  <a:pt x="45" y="44"/>
                </a:cubicBezTo>
                <a:cubicBezTo>
                  <a:pt x="45" y="43"/>
                  <a:pt x="45" y="43"/>
                  <a:pt x="45" y="43"/>
                </a:cubicBezTo>
                <a:cubicBezTo>
                  <a:pt x="45" y="43"/>
                  <a:pt x="45" y="43"/>
                  <a:pt x="46" y="42"/>
                </a:cubicBezTo>
                <a:cubicBezTo>
                  <a:pt x="46" y="42"/>
                  <a:pt x="45" y="42"/>
                  <a:pt x="45" y="42"/>
                </a:cubicBezTo>
                <a:cubicBezTo>
                  <a:pt x="46" y="41"/>
                  <a:pt x="46" y="40"/>
                  <a:pt x="47" y="39"/>
                </a:cubicBezTo>
                <a:cubicBezTo>
                  <a:pt x="47" y="39"/>
                  <a:pt x="47" y="39"/>
                  <a:pt x="47" y="39"/>
                </a:cubicBezTo>
                <a:cubicBezTo>
                  <a:pt x="47" y="39"/>
                  <a:pt x="47" y="39"/>
                  <a:pt x="47" y="39"/>
                </a:cubicBezTo>
                <a:cubicBezTo>
                  <a:pt x="47" y="39"/>
                  <a:pt x="47" y="39"/>
                  <a:pt x="47" y="39"/>
                </a:cubicBezTo>
                <a:cubicBezTo>
                  <a:pt x="47" y="39"/>
                  <a:pt x="48" y="39"/>
                  <a:pt x="47" y="39"/>
                </a:cubicBezTo>
                <a:cubicBezTo>
                  <a:pt x="48" y="38"/>
                  <a:pt x="48" y="39"/>
                  <a:pt x="48" y="39"/>
                </a:cubicBezTo>
                <a:cubicBezTo>
                  <a:pt x="48" y="39"/>
                  <a:pt x="48" y="38"/>
                  <a:pt x="48" y="38"/>
                </a:cubicBezTo>
                <a:cubicBezTo>
                  <a:pt x="48" y="38"/>
                  <a:pt x="48" y="38"/>
                  <a:pt x="48" y="38"/>
                </a:cubicBezTo>
                <a:cubicBezTo>
                  <a:pt x="48" y="38"/>
                  <a:pt x="48" y="38"/>
                  <a:pt x="48" y="38"/>
                </a:cubicBezTo>
                <a:cubicBezTo>
                  <a:pt x="48" y="38"/>
                  <a:pt x="48" y="38"/>
                  <a:pt x="48" y="38"/>
                </a:cubicBezTo>
                <a:cubicBezTo>
                  <a:pt x="48" y="38"/>
                  <a:pt x="48" y="38"/>
                  <a:pt x="48" y="38"/>
                </a:cubicBezTo>
                <a:cubicBezTo>
                  <a:pt x="48" y="38"/>
                  <a:pt x="48" y="38"/>
                  <a:pt x="48" y="37"/>
                </a:cubicBezTo>
                <a:cubicBezTo>
                  <a:pt x="48" y="38"/>
                  <a:pt x="48" y="38"/>
                  <a:pt x="48" y="38"/>
                </a:cubicBezTo>
                <a:cubicBezTo>
                  <a:pt x="48" y="37"/>
                  <a:pt x="48" y="37"/>
                  <a:pt x="48" y="37"/>
                </a:cubicBezTo>
                <a:cubicBezTo>
                  <a:pt x="48" y="37"/>
                  <a:pt x="48" y="37"/>
                  <a:pt x="48" y="37"/>
                </a:cubicBezTo>
                <a:cubicBezTo>
                  <a:pt x="48" y="37"/>
                  <a:pt x="48" y="37"/>
                  <a:pt x="48" y="37"/>
                </a:cubicBezTo>
                <a:cubicBezTo>
                  <a:pt x="48" y="37"/>
                  <a:pt x="48" y="37"/>
                  <a:pt x="48" y="37"/>
                </a:cubicBezTo>
                <a:cubicBezTo>
                  <a:pt x="48" y="37"/>
                  <a:pt x="48" y="37"/>
                  <a:pt x="48" y="37"/>
                </a:cubicBezTo>
                <a:cubicBezTo>
                  <a:pt x="48" y="37"/>
                  <a:pt x="48" y="37"/>
                  <a:pt x="48" y="37"/>
                </a:cubicBezTo>
                <a:cubicBezTo>
                  <a:pt x="48" y="37"/>
                  <a:pt x="48" y="37"/>
                  <a:pt x="48" y="37"/>
                </a:cubicBezTo>
                <a:cubicBezTo>
                  <a:pt x="48" y="37"/>
                  <a:pt x="48" y="37"/>
                  <a:pt x="47" y="37"/>
                </a:cubicBezTo>
                <a:cubicBezTo>
                  <a:pt x="48" y="37"/>
                  <a:pt x="48" y="37"/>
                  <a:pt x="48" y="37"/>
                </a:cubicBezTo>
                <a:cubicBezTo>
                  <a:pt x="48" y="37"/>
                  <a:pt x="48" y="37"/>
                  <a:pt x="48" y="37"/>
                </a:cubicBezTo>
                <a:cubicBezTo>
                  <a:pt x="48" y="37"/>
                  <a:pt x="48" y="37"/>
                  <a:pt x="48" y="37"/>
                </a:cubicBezTo>
                <a:cubicBezTo>
                  <a:pt x="48" y="38"/>
                  <a:pt x="48" y="38"/>
                  <a:pt x="48" y="38"/>
                </a:cubicBezTo>
                <a:cubicBezTo>
                  <a:pt x="47" y="38"/>
                  <a:pt x="47" y="38"/>
                  <a:pt x="47" y="38"/>
                </a:cubicBezTo>
                <a:cubicBezTo>
                  <a:pt x="47" y="38"/>
                  <a:pt x="48" y="38"/>
                  <a:pt x="47" y="38"/>
                </a:cubicBezTo>
                <a:cubicBezTo>
                  <a:pt x="47" y="38"/>
                  <a:pt x="47" y="38"/>
                  <a:pt x="47" y="38"/>
                </a:cubicBezTo>
                <a:cubicBezTo>
                  <a:pt x="47" y="38"/>
                  <a:pt x="47" y="38"/>
                  <a:pt x="47" y="38"/>
                </a:cubicBezTo>
                <a:cubicBezTo>
                  <a:pt x="47" y="38"/>
                  <a:pt x="47" y="39"/>
                  <a:pt x="47" y="39"/>
                </a:cubicBezTo>
                <a:cubicBezTo>
                  <a:pt x="47" y="38"/>
                  <a:pt x="47" y="38"/>
                  <a:pt x="47" y="38"/>
                </a:cubicBezTo>
                <a:cubicBezTo>
                  <a:pt x="47" y="38"/>
                  <a:pt x="47" y="38"/>
                  <a:pt x="47" y="38"/>
                </a:cubicBezTo>
                <a:cubicBezTo>
                  <a:pt x="47" y="38"/>
                  <a:pt x="47" y="38"/>
                  <a:pt x="47" y="38"/>
                </a:cubicBezTo>
                <a:cubicBezTo>
                  <a:pt x="47" y="38"/>
                  <a:pt x="47" y="38"/>
                  <a:pt x="47" y="39"/>
                </a:cubicBezTo>
                <a:cubicBezTo>
                  <a:pt x="47" y="39"/>
                  <a:pt x="47" y="39"/>
                  <a:pt x="47" y="38"/>
                </a:cubicBezTo>
                <a:cubicBezTo>
                  <a:pt x="47" y="39"/>
                  <a:pt x="46" y="39"/>
                  <a:pt x="46" y="39"/>
                </a:cubicBezTo>
                <a:cubicBezTo>
                  <a:pt x="46" y="39"/>
                  <a:pt x="46" y="39"/>
                  <a:pt x="46" y="39"/>
                </a:cubicBezTo>
                <a:cubicBezTo>
                  <a:pt x="46" y="39"/>
                  <a:pt x="46" y="39"/>
                  <a:pt x="46" y="39"/>
                </a:cubicBezTo>
                <a:cubicBezTo>
                  <a:pt x="46" y="39"/>
                  <a:pt x="46" y="39"/>
                  <a:pt x="46" y="39"/>
                </a:cubicBezTo>
                <a:cubicBezTo>
                  <a:pt x="47" y="38"/>
                  <a:pt x="46" y="38"/>
                  <a:pt x="47" y="37"/>
                </a:cubicBezTo>
                <a:cubicBezTo>
                  <a:pt x="47" y="37"/>
                  <a:pt x="47" y="37"/>
                  <a:pt x="47" y="37"/>
                </a:cubicBezTo>
                <a:cubicBezTo>
                  <a:pt x="47" y="38"/>
                  <a:pt x="47" y="37"/>
                  <a:pt x="47" y="37"/>
                </a:cubicBezTo>
                <a:cubicBezTo>
                  <a:pt x="47" y="37"/>
                  <a:pt x="47" y="37"/>
                  <a:pt x="47" y="36"/>
                </a:cubicBezTo>
                <a:cubicBezTo>
                  <a:pt x="47" y="36"/>
                  <a:pt x="47" y="36"/>
                  <a:pt x="47" y="37"/>
                </a:cubicBezTo>
                <a:cubicBezTo>
                  <a:pt x="47" y="36"/>
                  <a:pt x="47" y="36"/>
                  <a:pt x="47" y="36"/>
                </a:cubicBezTo>
                <a:cubicBezTo>
                  <a:pt x="48" y="36"/>
                  <a:pt x="48" y="36"/>
                  <a:pt x="48" y="36"/>
                </a:cubicBezTo>
                <a:cubicBezTo>
                  <a:pt x="48" y="36"/>
                  <a:pt x="48" y="35"/>
                  <a:pt x="48" y="35"/>
                </a:cubicBezTo>
                <a:cubicBezTo>
                  <a:pt x="48" y="35"/>
                  <a:pt x="48" y="36"/>
                  <a:pt x="48" y="36"/>
                </a:cubicBezTo>
                <a:cubicBezTo>
                  <a:pt x="48" y="36"/>
                  <a:pt x="47" y="37"/>
                  <a:pt x="47" y="37"/>
                </a:cubicBezTo>
                <a:cubicBezTo>
                  <a:pt x="48" y="37"/>
                  <a:pt x="48" y="36"/>
                  <a:pt x="48" y="36"/>
                </a:cubicBezTo>
                <a:cubicBezTo>
                  <a:pt x="48" y="36"/>
                  <a:pt x="48" y="36"/>
                  <a:pt x="48" y="36"/>
                </a:cubicBezTo>
                <a:cubicBezTo>
                  <a:pt x="49" y="36"/>
                  <a:pt x="48" y="36"/>
                  <a:pt x="48" y="37"/>
                </a:cubicBezTo>
                <a:cubicBezTo>
                  <a:pt x="48" y="37"/>
                  <a:pt x="49" y="36"/>
                  <a:pt x="49" y="36"/>
                </a:cubicBezTo>
                <a:cubicBezTo>
                  <a:pt x="49" y="36"/>
                  <a:pt x="49" y="36"/>
                  <a:pt x="48" y="36"/>
                </a:cubicBezTo>
                <a:cubicBezTo>
                  <a:pt x="49" y="36"/>
                  <a:pt x="49" y="36"/>
                  <a:pt x="49" y="36"/>
                </a:cubicBezTo>
                <a:cubicBezTo>
                  <a:pt x="49" y="36"/>
                  <a:pt x="49" y="36"/>
                  <a:pt x="49" y="36"/>
                </a:cubicBezTo>
                <a:cubicBezTo>
                  <a:pt x="49" y="36"/>
                  <a:pt x="49" y="36"/>
                  <a:pt x="49" y="36"/>
                </a:cubicBezTo>
                <a:cubicBezTo>
                  <a:pt x="49" y="35"/>
                  <a:pt x="49" y="35"/>
                  <a:pt x="49" y="35"/>
                </a:cubicBezTo>
                <a:cubicBezTo>
                  <a:pt x="49" y="35"/>
                  <a:pt x="49" y="35"/>
                  <a:pt x="49" y="35"/>
                </a:cubicBezTo>
                <a:cubicBezTo>
                  <a:pt x="49" y="35"/>
                  <a:pt x="49" y="35"/>
                  <a:pt x="49" y="35"/>
                </a:cubicBezTo>
                <a:cubicBezTo>
                  <a:pt x="49" y="35"/>
                  <a:pt x="49" y="35"/>
                  <a:pt x="49" y="35"/>
                </a:cubicBezTo>
                <a:cubicBezTo>
                  <a:pt x="49" y="35"/>
                  <a:pt x="49" y="35"/>
                  <a:pt x="49" y="35"/>
                </a:cubicBezTo>
                <a:cubicBezTo>
                  <a:pt x="49" y="35"/>
                  <a:pt x="49" y="34"/>
                  <a:pt x="49" y="35"/>
                </a:cubicBezTo>
                <a:cubicBezTo>
                  <a:pt x="50" y="34"/>
                  <a:pt x="50" y="33"/>
                  <a:pt x="50" y="33"/>
                </a:cubicBezTo>
                <a:cubicBezTo>
                  <a:pt x="50" y="33"/>
                  <a:pt x="50" y="33"/>
                  <a:pt x="50" y="33"/>
                </a:cubicBezTo>
                <a:cubicBezTo>
                  <a:pt x="50" y="33"/>
                  <a:pt x="50" y="32"/>
                  <a:pt x="50" y="32"/>
                </a:cubicBezTo>
                <a:cubicBezTo>
                  <a:pt x="50" y="32"/>
                  <a:pt x="50" y="32"/>
                  <a:pt x="50" y="32"/>
                </a:cubicBezTo>
                <a:cubicBezTo>
                  <a:pt x="50" y="32"/>
                  <a:pt x="50" y="32"/>
                  <a:pt x="51" y="32"/>
                </a:cubicBezTo>
                <a:cubicBezTo>
                  <a:pt x="51" y="32"/>
                  <a:pt x="51" y="32"/>
                  <a:pt x="50" y="32"/>
                </a:cubicBezTo>
                <a:cubicBezTo>
                  <a:pt x="51" y="32"/>
                  <a:pt x="51" y="32"/>
                  <a:pt x="51" y="32"/>
                </a:cubicBezTo>
                <a:cubicBezTo>
                  <a:pt x="51" y="32"/>
                  <a:pt x="51" y="31"/>
                  <a:pt x="51" y="31"/>
                </a:cubicBezTo>
                <a:cubicBezTo>
                  <a:pt x="51" y="31"/>
                  <a:pt x="51" y="31"/>
                  <a:pt x="51" y="31"/>
                </a:cubicBezTo>
                <a:cubicBezTo>
                  <a:pt x="51" y="31"/>
                  <a:pt x="51" y="31"/>
                  <a:pt x="51" y="31"/>
                </a:cubicBezTo>
                <a:cubicBezTo>
                  <a:pt x="51" y="31"/>
                  <a:pt x="51" y="31"/>
                  <a:pt x="51" y="31"/>
                </a:cubicBezTo>
                <a:cubicBezTo>
                  <a:pt x="51" y="31"/>
                  <a:pt x="51" y="31"/>
                  <a:pt x="51" y="31"/>
                </a:cubicBezTo>
                <a:cubicBezTo>
                  <a:pt x="51" y="31"/>
                  <a:pt x="51" y="30"/>
                  <a:pt x="51" y="31"/>
                </a:cubicBezTo>
                <a:cubicBezTo>
                  <a:pt x="51" y="30"/>
                  <a:pt x="51" y="30"/>
                  <a:pt x="51" y="30"/>
                </a:cubicBezTo>
                <a:cubicBezTo>
                  <a:pt x="52" y="30"/>
                  <a:pt x="52" y="30"/>
                  <a:pt x="52" y="30"/>
                </a:cubicBezTo>
                <a:cubicBezTo>
                  <a:pt x="52" y="30"/>
                  <a:pt x="52" y="30"/>
                  <a:pt x="52" y="30"/>
                </a:cubicBezTo>
                <a:cubicBezTo>
                  <a:pt x="52" y="30"/>
                  <a:pt x="52" y="30"/>
                  <a:pt x="52" y="30"/>
                </a:cubicBezTo>
                <a:cubicBezTo>
                  <a:pt x="52" y="30"/>
                  <a:pt x="52" y="30"/>
                  <a:pt x="52" y="30"/>
                </a:cubicBezTo>
                <a:cubicBezTo>
                  <a:pt x="52" y="30"/>
                  <a:pt x="52" y="30"/>
                  <a:pt x="52" y="29"/>
                </a:cubicBezTo>
                <a:cubicBezTo>
                  <a:pt x="53" y="29"/>
                  <a:pt x="52" y="29"/>
                  <a:pt x="52" y="29"/>
                </a:cubicBezTo>
                <a:cubicBezTo>
                  <a:pt x="53" y="28"/>
                  <a:pt x="53" y="28"/>
                  <a:pt x="53" y="27"/>
                </a:cubicBezTo>
                <a:cubicBezTo>
                  <a:pt x="53" y="27"/>
                  <a:pt x="54" y="27"/>
                  <a:pt x="53" y="27"/>
                </a:cubicBezTo>
                <a:cubicBezTo>
                  <a:pt x="53" y="27"/>
                  <a:pt x="53" y="27"/>
                  <a:pt x="53" y="27"/>
                </a:cubicBezTo>
                <a:cubicBezTo>
                  <a:pt x="53" y="27"/>
                  <a:pt x="53" y="27"/>
                  <a:pt x="53" y="27"/>
                </a:cubicBezTo>
                <a:cubicBezTo>
                  <a:pt x="53" y="27"/>
                  <a:pt x="53" y="27"/>
                  <a:pt x="53" y="27"/>
                </a:cubicBezTo>
                <a:cubicBezTo>
                  <a:pt x="53" y="27"/>
                  <a:pt x="53" y="27"/>
                  <a:pt x="53" y="27"/>
                </a:cubicBezTo>
                <a:cubicBezTo>
                  <a:pt x="53" y="28"/>
                  <a:pt x="53" y="28"/>
                  <a:pt x="53" y="28"/>
                </a:cubicBezTo>
                <a:cubicBezTo>
                  <a:pt x="53" y="28"/>
                  <a:pt x="53" y="28"/>
                  <a:pt x="53" y="28"/>
                </a:cubicBezTo>
                <a:cubicBezTo>
                  <a:pt x="53" y="28"/>
                  <a:pt x="53" y="28"/>
                  <a:pt x="53" y="28"/>
                </a:cubicBezTo>
                <a:cubicBezTo>
                  <a:pt x="53" y="28"/>
                  <a:pt x="53" y="28"/>
                  <a:pt x="53" y="28"/>
                </a:cubicBezTo>
                <a:cubicBezTo>
                  <a:pt x="53" y="28"/>
                  <a:pt x="52" y="29"/>
                  <a:pt x="52" y="29"/>
                </a:cubicBezTo>
                <a:cubicBezTo>
                  <a:pt x="52" y="29"/>
                  <a:pt x="52" y="29"/>
                  <a:pt x="52" y="30"/>
                </a:cubicBezTo>
                <a:cubicBezTo>
                  <a:pt x="52" y="30"/>
                  <a:pt x="52" y="30"/>
                  <a:pt x="52" y="30"/>
                </a:cubicBezTo>
                <a:cubicBezTo>
                  <a:pt x="51" y="30"/>
                  <a:pt x="51" y="30"/>
                  <a:pt x="51" y="30"/>
                </a:cubicBezTo>
                <a:cubicBezTo>
                  <a:pt x="51" y="30"/>
                  <a:pt x="51" y="30"/>
                  <a:pt x="51" y="30"/>
                </a:cubicBezTo>
                <a:cubicBezTo>
                  <a:pt x="51" y="30"/>
                  <a:pt x="51" y="30"/>
                  <a:pt x="51" y="30"/>
                </a:cubicBezTo>
                <a:cubicBezTo>
                  <a:pt x="51" y="30"/>
                  <a:pt x="51" y="30"/>
                  <a:pt x="51" y="30"/>
                </a:cubicBezTo>
                <a:cubicBezTo>
                  <a:pt x="51" y="30"/>
                  <a:pt x="51" y="30"/>
                  <a:pt x="51" y="30"/>
                </a:cubicBezTo>
                <a:cubicBezTo>
                  <a:pt x="51" y="31"/>
                  <a:pt x="51" y="31"/>
                  <a:pt x="51" y="31"/>
                </a:cubicBezTo>
                <a:cubicBezTo>
                  <a:pt x="51" y="31"/>
                  <a:pt x="51" y="31"/>
                  <a:pt x="51" y="31"/>
                </a:cubicBezTo>
                <a:cubicBezTo>
                  <a:pt x="51" y="31"/>
                  <a:pt x="51" y="31"/>
                  <a:pt x="51" y="31"/>
                </a:cubicBezTo>
                <a:cubicBezTo>
                  <a:pt x="50" y="31"/>
                  <a:pt x="50" y="31"/>
                  <a:pt x="50" y="31"/>
                </a:cubicBezTo>
                <a:cubicBezTo>
                  <a:pt x="50" y="31"/>
                  <a:pt x="50" y="31"/>
                  <a:pt x="50" y="32"/>
                </a:cubicBezTo>
                <a:cubicBezTo>
                  <a:pt x="50" y="31"/>
                  <a:pt x="50" y="32"/>
                  <a:pt x="50" y="31"/>
                </a:cubicBezTo>
                <a:cubicBezTo>
                  <a:pt x="50" y="31"/>
                  <a:pt x="50" y="32"/>
                  <a:pt x="50" y="32"/>
                </a:cubicBezTo>
                <a:cubicBezTo>
                  <a:pt x="50" y="32"/>
                  <a:pt x="50" y="32"/>
                  <a:pt x="50" y="32"/>
                </a:cubicBezTo>
                <a:cubicBezTo>
                  <a:pt x="49" y="32"/>
                  <a:pt x="49" y="32"/>
                  <a:pt x="49" y="32"/>
                </a:cubicBezTo>
                <a:cubicBezTo>
                  <a:pt x="49" y="32"/>
                  <a:pt x="49" y="32"/>
                  <a:pt x="49" y="32"/>
                </a:cubicBezTo>
                <a:cubicBezTo>
                  <a:pt x="49" y="32"/>
                  <a:pt x="49" y="32"/>
                  <a:pt x="49" y="32"/>
                </a:cubicBezTo>
                <a:cubicBezTo>
                  <a:pt x="49" y="32"/>
                  <a:pt x="49" y="32"/>
                  <a:pt x="49" y="32"/>
                </a:cubicBezTo>
                <a:cubicBezTo>
                  <a:pt x="49" y="33"/>
                  <a:pt x="49" y="33"/>
                  <a:pt x="49" y="33"/>
                </a:cubicBezTo>
                <a:cubicBezTo>
                  <a:pt x="49" y="33"/>
                  <a:pt x="49" y="33"/>
                  <a:pt x="49" y="33"/>
                </a:cubicBezTo>
                <a:cubicBezTo>
                  <a:pt x="49" y="33"/>
                  <a:pt x="49" y="33"/>
                  <a:pt x="48" y="33"/>
                </a:cubicBezTo>
                <a:cubicBezTo>
                  <a:pt x="49" y="32"/>
                  <a:pt x="49" y="32"/>
                  <a:pt x="49" y="32"/>
                </a:cubicBezTo>
                <a:cubicBezTo>
                  <a:pt x="49" y="32"/>
                  <a:pt x="49" y="32"/>
                  <a:pt x="49" y="32"/>
                </a:cubicBezTo>
                <a:cubicBezTo>
                  <a:pt x="49" y="32"/>
                  <a:pt x="49" y="32"/>
                  <a:pt x="49" y="32"/>
                </a:cubicBezTo>
                <a:cubicBezTo>
                  <a:pt x="49" y="31"/>
                  <a:pt x="49" y="31"/>
                  <a:pt x="49" y="31"/>
                </a:cubicBezTo>
                <a:cubicBezTo>
                  <a:pt x="49" y="31"/>
                  <a:pt x="49" y="31"/>
                  <a:pt x="49" y="31"/>
                </a:cubicBezTo>
                <a:cubicBezTo>
                  <a:pt x="50" y="31"/>
                  <a:pt x="49" y="32"/>
                  <a:pt x="49" y="32"/>
                </a:cubicBezTo>
                <a:cubicBezTo>
                  <a:pt x="49" y="32"/>
                  <a:pt x="49" y="32"/>
                  <a:pt x="49" y="32"/>
                </a:cubicBezTo>
                <a:cubicBezTo>
                  <a:pt x="49" y="32"/>
                  <a:pt x="49" y="32"/>
                  <a:pt x="49" y="32"/>
                </a:cubicBezTo>
                <a:cubicBezTo>
                  <a:pt x="49" y="32"/>
                  <a:pt x="49" y="32"/>
                  <a:pt x="49" y="32"/>
                </a:cubicBezTo>
                <a:cubicBezTo>
                  <a:pt x="49" y="32"/>
                  <a:pt x="49" y="32"/>
                  <a:pt x="49" y="32"/>
                </a:cubicBezTo>
                <a:cubicBezTo>
                  <a:pt x="48" y="32"/>
                  <a:pt x="49" y="32"/>
                  <a:pt x="48" y="32"/>
                </a:cubicBezTo>
                <a:cubicBezTo>
                  <a:pt x="49" y="32"/>
                  <a:pt x="49" y="32"/>
                  <a:pt x="49" y="32"/>
                </a:cubicBezTo>
                <a:cubicBezTo>
                  <a:pt x="49" y="32"/>
                  <a:pt x="48" y="32"/>
                  <a:pt x="49" y="32"/>
                </a:cubicBezTo>
                <a:cubicBezTo>
                  <a:pt x="48" y="32"/>
                  <a:pt x="48" y="32"/>
                  <a:pt x="48" y="33"/>
                </a:cubicBezTo>
                <a:cubicBezTo>
                  <a:pt x="48" y="32"/>
                  <a:pt x="48" y="32"/>
                  <a:pt x="48" y="32"/>
                </a:cubicBezTo>
                <a:cubicBezTo>
                  <a:pt x="48" y="32"/>
                  <a:pt x="48" y="32"/>
                  <a:pt x="48" y="32"/>
                </a:cubicBezTo>
                <a:cubicBezTo>
                  <a:pt x="48" y="32"/>
                  <a:pt x="48" y="33"/>
                  <a:pt x="48" y="33"/>
                </a:cubicBezTo>
                <a:cubicBezTo>
                  <a:pt x="48" y="33"/>
                  <a:pt x="48" y="33"/>
                  <a:pt x="48" y="33"/>
                </a:cubicBezTo>
                <a:cubicBezTo>
                  <a:pt x="47" y="33"/>
                  <a:pt x="47" y="33"/>
                  <a:pt x="47" y="34"/>
                </a:cubicBezTo>
                <a:cubicBezTo>
                  <a:pt x="47" y="34"/>
                  <a:pt x="47" y="34"/>
                  <a:pt x="47" y="34"/>
                </a:cubicBezTo>
                <a:cubicBezTo>
                  <a:pt x="47" y="34"/>
                  <a:pt x="47" y="34"/>
                  <a:pt x="47" y="33"/>
                </a:cubicBezTo>
                <a:cubicBezTo>
                  <a:pt x="47" y="34"/>
                  <a:pt x="47" y="33"/>
                  <a:pt x="47" y="34"/>
                </a:cubicBezTo>
                <a:cubicBezTo>
                  <a:pt x="47" y="33"/>
                  <a:pt x="47" y="34"/>
                  <a:pt x="47" y="34"/>
                </a:cubicBezTo>
                <a:cubicBezTo>
                  <a:pt x="47" y="34"/>
                  <a:pt x="47" y="34"/>
                  <a:pt x="47" y="34"/>
                </a:cubicBezTo>
                <a:cubicBezTo>
                  <a:pt x="47" y="34"/>
                  <a:pt x="47" y="34"/>
                  <a:pt x="47" y="34"/>
                </a:cubicBezTo>
                <a:cubicBezTo>
                  <a:pt x="47" y="34"/>
                  <a:pt x="47" y="34"/>
                  <a:pt x="47" y="35"/>
                </a:cubicBezTo>
                <a:cubicBezTo>
                  <a:pt x="47" y="35"/>
                  <a:pt x="47" y="34"/>
                  <a:pt x="47" y="34"/>
                </a:cubicBezTo>
                <a:cubicBezTo>
                  <a:pt x="47" y="34"/>
                  <a:pt x="47" y="34"/>
                  <a:pt x="47" y="34"/>
                </a:cubicBezTo>
                <a:cubicBezTo>
                  <a:pt x="47" y="34"/>
                  <a:pt x="47" y="34"/>
                  <a:pt x="47" y="34"/>
                </a:cubicBezTo>
                <a:cubicBezTo>
                  <a:pt x="46" y="34"/>
                  <a:pt x="47" y="34"/>
                  <a:pt x="46" y="34"/>
                </a:cubicBezTo>
                <a:cubicBezTo>
                  <a:pt x="46" y="34"/>
                  <a:pt x="46" y="34"/>
                  <a:pt x="46" y="35"/>
                </a:cubicBezTo>
                <a:cubicBezTo>
                  <a:pt x="46" y="35"/>
                  <a:pt x="46" y="35"/>
                  <a:pt x="47" y="35"/>
                </a:cubicBezTo>
                <a:cubicBezTo>
                  <a:pt x="46" y="35"/>
                  <a:pt x="47" y="35"/>
                  <a:pt x="46" y="35"/>
                </a:cubicBezTo>
                <a:cubicBezTo>
                  <a:pt x="46" y="35"/>
                  <a:pt x="47" y="35"/>
                  <a:pt x="46" y="35"/>
                </a:cubicBezTo>
                <a:cubicBezTo>
                  <a:pt x="46" y="35"/>
                  <a:pt x="46" y="35"/>
                  <a:pt x="46" y="35"/>
                </a:cubicBezTo>
                <a:cubicBezTo>
                  <a:pt x="46" y="35"/>
                  <a:pt x="46" y="35"/>
                  <a:pt x="46" y="35"/>
                </a:cubicBezTo>
                <a:cubicBezTo>
                  <a:pt x="46" y="35"/>
                  <a:pt x="46" y="35"/>
                  <a:pt x="46" y="35"/>
                </a:cubicBezTo>
                <a:cubicBezTo>
                  <a:pt x="46" y="35"/>
                  <a:pt x="46" y="35"/>
                  <a:pt x="46" y="35"/>
                </a:cubicBezTo>
                <a:cubicBezTo>
                  <a:pt x="46" y="36"/>
                  <a:pt x="46" y="36"/>
                  <a:pt x="46" y="36"/>
                </a:cubicBezTo>
                <a:cubicBezTo>
                  <a:pt x="46" y="36"/>
                  <a:pt x="46" y="35"/>
                  <a:pt x="47" y="35"/>
                </a:cubicBezTo>
                <a:cubicBezTo>
                  <a:pt x="47" y="35"/>
                  <a:pt x="47" y="35"/>
                  <a:pt x="47" y="35"/>
                </a:cubicBezTo>
                <a:cubicBezTo>
                  <a:pt x="47" y="35"/>
                  <a:pt x="47" y="35"/>
                  <a:pt x="47" y="35"/>
                </a:cubicBezTo>
                <a:cubicBezTo>
                  <a:pt x="47" y="35"/>
                  <a:pt x="47" y="35"/>
                  <a:pt x="47" y="35"/>
                </a:cubicBezTo>
                <a:cubicBezTo>
                  <a:pt x="47" y="35"/>
                  <a:pt x="47" y="35"/>
                  <a:pt x="48" y="35"/>
                </a:cubicBezTo>
                <a:cubicBezTo>
                  <a:pt x="47" y="35"/>
                  <a:pt x="47" y="35"/>
                  <a:pt x="47" y="35"/>
                </a:cubicBezTo>
                <a:cubicBezTo>
                  <a:pt x="47" y="35"/>
                  <a:pt x="47" y="35"/>
                  <a:pt x="47" y="35"/>
                </a:cubicBezTo>
                <a:cubicBezTo>
                  <a:pt x="47" y="35"/>
                  <a:pt x="47" y="35"/>
                  <a:pt x="47" y="36"/>
                </a:cubicBezTo>
                <a:cubicBezTo>
                  <a:pt x="47" y="35"/>
                  <a:pt x="47" y="36"/>
                  <a:pt x="47" y="35"/>
                </a:cubicBezTo>
                <a:cubicBezTo>
                  <a:pt x="47" y="35"/>
                  <a:pt x="47" y="35"/>
                  <a:pt x="47" y="35"/>
                </a:cubicBezTo>
                <a:cubicBezTo>
                  <a:pt x="47" y="35"/>
                  <a:pt x="47" y="36"/>
                  <a:pt x="46" y="35"/>
                </a:cubicBezTo>
                <a:cubicBezTo>
                  <a:pt x="46" y="36"/>
                  <a:pt x="46" y="36"/>
                  <a:pt x="46" y="36"/>
                </a:cubicBezTo>
                <a:cubicBezTo>
                  <a:pt x="47" y="36"/>
                  <a:pt x="47" y="36"/>
                  <a:pt x="47" y="36"/>
                </a:cubicBezTo>
                <a:cubicBezTo>
                  <a:pt x="47" y="36"/>
                  <a:pt x="47" y="36"/>
                  <a:pt x="47" y="36"/>
                </a:cubicBezTo>
                <a:cubicBezTo>
                  <a:pt x="47" y="36"/>
                  <a:pt x="46" y="36"/>
                  <a:pt x="46" y="36"/>
                </a:cubicBezTo>
                <a:cubicBezTo>
                  <a:pt x="46" y="37"/>
                  <a:pt x="46" y="37"/>
                  <a:pt x="46" y="37"/>
                </a:cubicBezTo>
                <a:cubicBezTo>
                  <a:pt x="46" y="37"/>
                  <a:pt x="46" y="37"/>
                  <a:pt x="46" y="37"/>
                </a:cubicBezTo>
                <a:cubicBezTo>
                  <a:pt x="46" y="38"/>
                  <a:pt x="46" y="38"/>
                  <a:pt x="45" y="38"/>
                </a:cubicBezTo>
                <a:cubicBezTo>
                  <a:pt x="45" y="38"/>
                  <a:pt x="45" y="38"/>
                  <a:pt x="45" y="38"/>
                </a:cubicBezTo>
                <a:cubicBezTo>
                  <a:pt x="45" y="38"/>
                  <a:pt x="45" y="38"/>
                  <a:pt x="45" y="39"/>
                </a:cubicBezTo>
                <a:cubicBezTo>
                  <a:pt x="45" y="39"/>
                  <a:pt x="45" y="38"/>
                  <a:pt x="45" y="38"/>
                </a:cubicBezTo>
                <a:cubicBezTo>
                  <a:pt x="45" y="39"/>
                  <a:pt x="45" y="39"/>
                  <a:pt x="45" y="39"/>
                </a:cubicBezTo>
                <a:cubicBezTo>
                  <a:pt x="45" y="39"/>
                  <a:pt x="45" y="39"/>
                  <a:pt x="45" y="39"/>
                </a:cubicBezTo>
                <a:cubicBezTo>
                  <a:pt x="45" y="39"/>
                  <a:pt x="45" y="39"/>
                  <a:pt x="45" y="39"/>
                </a:cubicBezTo>
                <a:cubicBezTo>
                  <a:pt x="45" y="39"/>
                  <a:pt x="45" y="39"/>
                  <a:pt x="45" y="39"/>
                </a:cubicBezTo>
                <a:cubicBezTo>
                  <a:pt x="44" y="39"/>
                  <a:pt x="45" y="39"/>
                  <a:pt x="44" y="39"/>
                </a:cubicBezTo>
                <a:cubicBezTo>
                  <a:pt x="45" y="39"/>
                  <a:pt x="44" y="40"/>
                  <a:pt x="45" y="40"/>
                </a:cubicBezTo>
                <a:cubicBezTo>
                  <a:pt x="44" y="40"/>
                  <a:pt x="45" y="40"/>
                  <a:pt x="44" y="40"/>
                </a:cubicBezTo>
                <a:cubicBezTo>
                  <a:pt x="44" y="40"/>
                  <a:pt x="44" y="40"/>
                  <a:pt x="44" y="40"/>
                </a:cubicBezTo>
                <a:cubicBezTo>
                  <a:pt x="44" y="40"/>
                  <a:pt x="44" y="40"/>
                  <a:pt x="44" y="40"/>
                </a:cubicBezTo>
                <a:cubicBezTo>
                  <a:pt x="44" y="40"/>
                  <a:pt x="44" y="40"/>
                  <a:pt x="44" y="40"/>
                </a:cubicBezTo>
                <a:cubicBezTo>
                  <a:pt x="44" y="39"/>
                  <a:pt x="44" y="39"/>
                  <a:pt x="44" y="39"/>
                </a:cubicBezTo>
                <a:cubicBezTo>
                  <a:pt x="44" y="39"/>
                  <a:pt x="44" y="39"/>
                  <a:pt x="45" y="39"/>
                </a:cubicBezTo>
                <a:cubicBezTo>
                  <a:pt x="45" y="39"/>
                  <a:pt x="44" y="39"/>
                  <a:pt x="44" y="39"/>
                </a:cubicBezTo>
                <a:cubicBezTo>
                  <a:pt x="45" y="38"/>
                  <a:pt x="44" y="38"/>
                  <a:pt x="44" y="38"/>
                </a:cubicBezTo>
                <a:cubicBezTo>
                  <a:pt x="45" y="38"/>
                  <a:pt x="45" y="38"/>
                  <a:pt x="45" y="38"/>
                </a:cubicBezTo>
                <a:cubicBezTo>
                  <a:pt x="45" y="38"/>
                  <a:pt x="45" y="38"/>
                  <a:pt x="45" y="38"/>
                </a:cubicBezTo>
                <a:cubicBezTo>
                  <a:pt x="45" y="38"/>
                  <a:pt x="45" y="38"/>
                  <a:pt x="45" y="38"/>
                </a:cubicBezTo>
                <a:cubicBezTo>
                  <a:pt x="45" y="38"/>
                  <a:pt x="45" y="38"/>
                  <a:pt x="45" y="38"/>
                </a:cubicBezTo>
                <a:cubicBezTo>
                  <a:pt x="45" y="38"/>
                  <a:pt x="45" y="38"/>
                  <a:pt x="45" y="38"/>
                </a:cubicBezTo>
                <a:cubicBezTo>
                  <a:pt x="45" y="38"/>
                  <a:pt x="45" y="38"/>
                  <a:pt x="45" y="37"/>
                </a:cubicBezTo>
                <a:cubicBezTo>
                  <a:pt x="45" y="37"/>
                  <a:pt x="45" y="38"/>
                  <a:pt x="45" y="38"/>
                </a:cubicBezTo>
                <a:cubicBezTo>
                  <a:pt x="45" y="37"/>
                  <a:pt x="46" y="37"/>
                  <a:pt x="46" y="37"/>
                </a:cubicBezTo>
                <a:cubicBezTo>
                  <a:pt x="46" y="37"/>
                  <a:pt x="46" y="37"/>
                  <a:pt x="46" y="37"/>
                </a:cubicBezTo>
                <a:cubicBezTo>
                  <a:pt x="45" y="37"/>
                  <a:pt x="46" y="37"/>
                  <a:pt x="45" y="37"/>
                </a:cubicBezTo>
                <a:cubicBezTo>
                  <a:pt x="45" y="37"/>
                  <a:pt x="45" y="37"/>
                  <a:pt x="45" y="37"/>
                </a:cubicBezTo>
                <a:cubicBezTo>
                  <a:pt x="45" y="37"/>
                  <a:pt x="45" y="37"/>
                  <a:pt x="46" y="36"/>
                </a:cubicBezTo>
                <a:cubicBezTo>
                  <a:pt x="46" y="36"/>
                  <a:pt x="46" y="36"/>
                  <a:pt x="46" y="36"/>
                </a:cubicBezTo>
                <a:cubicBezTo>
                  <a:pt x="46" y="36"/>
                  <a:pt x="46" y="36"/>
                  <a:pt x="46" y="36"/>
                </a:cubicBezTo>
                <a:cubicBezTo>
                  <a:pt x="46" y="36"/>
                  <a:pt x="46" y="36"/>
                  <a:pt x="46" y="36"/>
                </a:cubicBezTo>
                <a:cubicBezTo>
                  <a:pt x="46" y="36"/>
                  <a:pt x="46" y="36"/>
                  <a:pt x="46" y="36"/>
                </a:cubicBezTo>
                <a:cubicBezTo>
                  <a:pt x="46" y="36"/>
                  <a:pt x="46" y="36"/>
                  <a:pt x="46" y="36"/>
                </a:cubicBezTo>
                <a:cubicBezTo>
                  <a:pt x="46" y="36"/>
                  <a:pt x="46" y="36"/>
                  <a:pt x="46" y="36"/>
                </a:cubicBezTo>
                <a:cubicBezTo>
                  <a:pt x="45" y="36"/>
                  <a:pt x="46" y="35"/>
                  <a:pt x="45" y="35"/>
                </a:cubicBezTo>
                <a:cubicBezTo>
                  <a:pt x="45" y="35"/>
                  <a:pt x="45" y="36"/>
                  <a:pt x="45" y="36"/>
                </a:cubicBezTo>
                <a:cubicBezTo>
                  <a:pt x="45" y="36"/>
                  <a:pt x="45" y="36"/>
                  <a:pt x="45" y="36"/>
                </a:cubicBezTo>
                <a:cubicBezTo>
                  <a:pt x="45" y="36"/>
                  <a:pt x="45" y="36"/>
                  <a:pt x="45" y="36"/>
                </a:cubicBezTo>
                <a:cubicBezTo>
                  <a:pt x="45" y="36"/>
                  <a:pt x="45" y="36"/>
                  <a:pt x="45" y="36"/>
                </a:cubicBezTo>
                <a:cubicBezTo>
                  <a:pt x="45" y="36"/>
                  <a:pt x="45" y="36"/>
                  <a:pt x="45" y="36"/>
                </a:cubicBezTo>
                <a:cubicBezTo>
                  <a:pt x="45" y="36"/>
                  <a:pt x="45" y="36"/>
                  <a:pt x="45" y="36"/>
                </a:cubicBezTo>
                <a:cubicBezTo>
                  <a:pt x="45" y="35"/>
                  <a:pt x="45" y="35"/>
                  <a:pt x="45" y="35"/>
                </a:cubicBezTo>
                <a:cubicBezTo>
                  <a:pt x="45" y="35"/>
                  <a:pt x="45" y="35"/>
                  <a:pt x="45" y="35"/>
                </a:cubicBezTo>
                <a:cubicBezTo>
                  <a:pt x="45" y="35"/>
                  <a:pt x="45" y="35"/>
                  <a:pt x="45" y="35"/>
                </a:cubicBezTo>
                <a:cubicBezTo>
                  <a:pt x="46" y="35"/>
                  <a:pt x="46" y="34"/>
                  <a:pt x="45" y="34"/>
                </a:cubicBezTo>
                <a:cubicBezTo>
                  <a:pt x="46" y="34"/>
                  <a:pt x="46" y="34"/>
                  <a:pt x="46" y="34"/>
                </a:cubicBezTo>
                <a:cubicBezTo>
                  <a:pt x="46" y="34"/>
                  <a:pt x="46" y="34"/>
                  <a:pt x="46" y="34"/>
                </a:cubicBezTo>
                <a:cubicBezTo>
                  <a:pt x="46" y="34"/>
                  <a:pt x="46" y="33"/>
                  <a:pt x="46" y="33"/>
                </a:cubicBezTo>
                <a:cubicBezTo>
                  <a:pt x="46" y="33"/>
                  <a:pt x="46" y="33"/>
                  <a:pt x="46" y="33"/>
                </a:cubicBezTo>
                <a:cubicBezTo>
                  <a:pt x="46" y="33"/>
                  <a:pt x="46" y="33"/>
                  <a:pt x="46" y="33"/>
                </a:cubicBezTo>
                <a:cubicBezTo>
                  <a:pt x="46" y="33"/>
                  <a:pt x="46" y="33"/>
                  <a:pt x="46" y="33"/>
                </a:cubicBezTo>
                <a:cubicBezTo>
                  <a:pt x="46" y="34"/>
                  <a:pt x="46" y="33"/>
                  <a:pt x="46" y="34"/>
                </a:cubicBezTo>
                <a:cubicBezTo>
                  <a:pt x="46" y="34"/>
                  <a:pt x="46" y="33"/>
                  <a:pt x="47" y="34"/>
                </a:cubicBezTo>
                <a:cubicBezTo>
                  <a:pt x="47" y="33"/>
                  <a:pt x="46" y="33"/>
                  <a:pt x="46" y="33"/>
                </a:cubicBezTo>
                <a:cubicBezTo>
                  <a:pt x="47" y="33"/>
                  <a:pt x="47" y="33"/>
                  <a:pt x="47" y="33"/>
                </a:cubicBezTo>
                <a:cubicBezTo>
                  <a:pt x="47" y="33"/>
                  <a:pt x="47" y="33"/>
                  <a:pt x="47" y="33"/>
                </a:cubicBezTo>
                <a:cubicBezTo>
                  <a:pt x="47" y="33"/>
                  <a:pt x="47" y="33"/>
                  <a:pt x="47" y="33"/>
                </a:cubicBezTo>
                <a:cubicBezTo>
                  <a:pt x="47" y="33"/>
                  <a:pt x="47" y="33"/>
                  <a:pt x="47" y="33"/>
                </a:cubicBezTo>
                <a:cubicBezTo>
                  <a:pt x="47" y="33"/>
                  <a:pt x="47" y="33"/>
                  <a:pt x="47" y="32"/>
                </a:cubicBezTo>
                <a:cubicBezTo>
                  <a:pt x="47" y="33"/>
                  <a:pt x="47" y="33"/>
                  <a:pt x="47" y="32"/>
                </a:cubicBezTo>
                <a:cubicBezTo>
                  <a:pt x="47" y="32"/>
                  <a:pt x="47" y="32"/>
                  <a:pt x="47" y="32"/>
                </a:cubicBezTo>
                <a:cubicBezTo>
                  <a:pt x="47" y="32"/>
                  <a:pt x="47" y="32"/>
                  <a:pt x="47" y="32"/>
                </a:cubicBezTo>
                <a:cubicBezTo>
                  <a:pt x="47" y="32"/>
                  <a:pt x="47" y="32"/>
                  <a:pt x="47" y="32"/>
                </a:cubicBezTo>
                <a:cubicBezTo>
                  <a:pt x="47" y="32"/>
                  <a:pt x="47" y="32"/>
                  <a:pt x="47" y="31"/>
                </a:cubicBezTo>
                <a:cubicBezTo>
                  <a:pt x="47" y="31"/>
                  <a:pt x="47" y="31"/>
                  <a:pt x="47" y="31"/>
                </a:cubicBezTo>
                <a:cubicBezTo>
                  <a:pt x="47" y="31"/>
                  <a:pt x="47" y="31"/>
                  <a:pt x="47" y="31"/>
                </a:cubicBezTo>
                <a:cubicBezTo>
                  <a:pt x="47" y="31"/>
                  <a:pt x="48" y="31"/>
                  <a:pt x="48" y="30"/>
                </a:cubicBezTo>
                <a:cubicBezTo>
                  <a:pt x="48" y="30"/>
                  <a:pt x="48" y="30"/>
                  <a:pt x="48" y="30"/>
                </a:cubicBezTo>
                <a:cubicBezTo>
                  <a:pt x="48" y="30"/>
                  <a:pt x="48" y="30"/>
                  <a:pt x="48" y="30"/>
                </a:cubicBezTo>
                <a:cubicBezTo>
                  <a:pt x="48" y="30"/>
                  <a:pt x="48" y="30"/>
                  <a:pt x="48" y="30"/>
                </a:cubicBezTo>
                <a:cubicBezTo>
                  <a:pt x="48" y="30"/>
                  <a:pt x="48" y="30"/>
                  <a:pt x="48" y="30"/>
                </a:cubicBezTo>
                <a:cubicBezTo>
                  <a:pt x="48" y="30"/>
                  <a:pt x="48" y="30"/>
                  <a:pt x="48" y="30"/>
                </a:cubicBezTo>
                <a:cubicBezTo>
                  <a:pt x="48" y="30"/>
                  <a:pt x="48" y="29"/>
                  <a:pt x="49" y="30"/>
                </a:cubicBezTo>
                <a:cubicBezTo>
                  <a:pt x="49" y="29"/>
                  <a:pt x="48" y="29"/>
                  <a:pt x="49" y="29"/>
                </a:cubicBezTo>
                <a:cubicBezTo>
                  <a:pt x="48" y="29"/>
                  <a:pt x="48" y="30"/>
                  <a:pt x="48" y="30"/>
                </a:cubicBezTo>
                <a:cubicBezTo>
                  <a:pt x="48" y="29"/>
                  <a:pt x="48" y="30"/>
                  <a:pt x="48" y="29"/>
                </a:cubicBezTo>
                <a:cubicBezTo>
                  <a:pt x="49" y="29"/>
                  <a:pt x="49" y="29"/>
                  <a:pt x="49" y="29"/>
                </a:cubicBezTo>
                <a:cubicBezTo>
                  <a:pt x="49" y="29"/>
                  <a:pt x="49" y="29"/>
                  <a:pt x="49" y="29"/>
                </a:cubicBezTo>
                <a:cubicBezTo>
                  <a:pt x="49" y="29"/>
                  <a:pt x="49" y="29"/>
                  <a:pt x="49" y="29"/>
                </a:cubicBezTo>
                <a:cubicBezTo>
                  <a:pt x="49" y="29"/>
                  <a:pt x="49" y="29"/>
                  <a:pt x="49" y="29"/>
                </a:cubicBezTo>
                <a:cubicBezTo>
                  <a:pt x="49" y="29"/>
                  <a:pt x="49" y="29"/>
                  <a:pt x="49" y="29"/>
                </a:cubicBezTo>
                <a:cubicBezTo>
                  <a:pt x="49" y="29"/>
                  <a:pt x="48" y="29"/>
                  <a:pt x="48" y="29"/>
                </a:cubicBezTo>
                <a:cubicBezTo>
                  <a:pt x="48" y="29"/>
                  <a:pt x="49" y="29"/>
                  <a:pt x="49" y="29"/>
                </a:cubicBezTo>
                <a:cubicBezTo>
                  <a:pt x="49" y="29"/>
                  <a:pt x="49" y="29"/>
                  <a:pt x="49" y="29"/>
                </a:cubicBezTo>
                <a:cubicBezTo>
                  <a:pt x="49" y="29"/>
                  <a:pt x="49" y="29"/>
                  <a:pt x="49" y="29"/>
                </a:cubicBezTo>
                <a:cubicBezTo>
                  <a:pt x="49" y="28"/>
                  <a:pt x="49" y="29"/>
                  <a:pt x="48" y="29"/>
                </a:cubicBezTo>
                <a:cubicBezTo>
                  <a:pt x="48" y="28"/>
                  <a:pt x="49" y="28"/>
                  <a:pt x="49" y="28"/>
                </a:cubicBezTo>
                <a:cubicBezTo>
                  <a:pt x="48" y="28"/>
                  <a:pt x="48" y="29"/>
                  <a:pt x="48" y="29"/>
                </a:cubicBezTo>
                <a:cubicBezTo>
                  <a:pt x="48" y="28"/>
                  <a:pt x="48" y="28"/>
                  <a:pt x="48" y="28"/>
                </a:cubicBezTo>
                <a:cubicBezTo>
                  <a:pt x="48" y="28"/>
                  <a:pt x="48" y="28"/>
                  <a:pt x="48" y="28"/>
                </a:cubicBezTo>
                <a:cubicBezTo>
                  <a:pt x="48" y="28"/>
                  <a:pt x="48" y="28"/>
                  <a:pt x="48" y="28"/>
                </a:cubicBezTo>
                <a:cubicBezTo>
                  <a:pt x="48" y="27"/>
                  <a:pt x="48" y="28"/>
                  <a:pt x="48" y="28"/>
                </a:cubicBezTo>
                <a:cubicBezTo>
                  <a:pt x="48" y="28"/>
                  <a:pt x="48" y="28"/>
                  <a:pt x="48" y="28"/>
                </a:cubicBezTo>
                <a:cubicBezTo>
                  <a:pt x="48" y="28"/>
                  <a:pt x="48" y="28"/>
                  <a:pt x="48" y="28"/>
                </a:cubicBezTo>
                <a:cubicBezTo>
                  <a:pt x="48" y="27"/>
                  <a:pt x="48" y="27"/>
                  <a:pt x="48" y="27"/>
                </a:cubicBezTo>
                <a:cubicBezTo>
                  <a:pt x="48" y="27"/>
                  <a:pt x="48" y="27"/>
                  <a:pt x="48" y="27"/>
                </a:cubicBezTo>
                <a:cubicBezTo>
                  <a:pt x="48" y="27"/>
                  <a:pt x="48" y="27"/>
                  <a:pt x="48" y="27"/>
                </a:cubicBezTo>
                <a:cubicBezTo>
                  <a:pt x="48" y="27"/>
                  <a:pt x="48" y="27"/>
                  <a:pt x="48" y="27"/>
                </a:cubicBezTo>
                <a:cubicBezTo>
                  <a:pt x="48" y="27"/>
                  <a:pt x="48" y="27"/>
                  <a:pt x="48" y="27"/>
                </a:cubicBezTo>
                <a:cubicBezTo>
                  <a:pt x="48" y="27"/>
                  <a:pt x="48" y="27"/>
                  <a:pt x="48" y="28"/>
                </a:cubicBezTo>
                <a:cubicBezTo>
                  <a:pt x="47" y="28"/>
                  <a:pt x="48" y="27"/>
                  <a:pt x="48" y="27"/>
                </a:cubicBezTo>
                <a:cubicBezTo>
                  <a:pt x="48" y="27"/>
                  <a:pt x="48" y="27"/>
                  <a:pt x="47" y="27"/>
                </a:cubicBezTo>
                <a:cubicBezTo>
                  <a:pt x="48" y="27"/>
                  <a:pt x="48" y="27"/>
                  <a:pt x="48" y="27"/>
                </a:cubicBezTo>
                <a:cubicBezTo>
                  <a:pt x="48" y="27"/>
                  <a:pt x="48" y="27"/>
                  <a:pt x="48" y="27"/>
                </a:cubicBezTo>
                <a:cubicBezTo>
                  <a:pt x="48" y="27"/>
                  <a:pt x="48" y="27"/>
                  <a:pt x="48" y="26"/>
                </a:cubicBezTo>
                <a:cubicBezTo>
                  <a:pt x="48" y="26"/>
                  <a:pt x="48" y="26"/>
                  <a:pt x="48" y="27"/>
                </a:cubicBezTo>
                <a:cubicBezTo>
                  <a:pt x="48" y="27"/>
                  <a:pt x="48" y="27"/>
                  <a:pt x="48" y="27"/>
                </a:cubicBezTo>
                <a:cubicBezTo>
                  <a:pt x="48" y="27"/>
                  <a:pt x="48" y="27"/>
                  <a:pt x="49" y="27"/>
                </a:cubicBezTo>
                <a:cubicBezTo>
                  <a:pt x="49" y="27"/>
                  <a:pt x="48" y="27"/>
                  <a:pt x="48" y="27"/>
                </a:cubicBezTo>
                <a:cubicBezTo>
                  <a:pt x="48" y="27"/>
                  <a:pt x="48" y="27"/>
                  <a:pt x="49" y="27"/>
                </a:cubicBezTo>
                <a:cubicBezTo>
                  <a:pt x="49" y="27"/>
                  <a:pt x="49" y="27"/>
                  <a:pt x="49" y="27"/>
                </a:cubicBezTo>
                <a:cubicBezTo>
                  <a:pt x="49" y="27"/>
                  <a:pt x="49" y="27"/>
                  <a:pt x="49" y="27"/>
                </a:cubicBezTo>
                <a:cubicBezTo>
                  <a:pt x="49" y="27"/>
                  <a:pt x="49" y="27"/>
                  <a:pt x="49" y="27"/>
                </a:cubicBezTo>
                <a:cubicBezTo>
                  <a:pt x="49" y="27"/>
                  <a:pt x="49" y="27"/>
                  <a:pt x="48" y="27"/>
                </a:cubicBezTo>
                <a:cubicBezTo>
                  <a:pt x="49" y="27"/>
                  <a:pt x="48" y="27"/>
                  <a:pt x="49" y="26"/>
                </a:cubicBezTo>
                <a:cubicBezTo>
                  <a:pt x="49" y="26"/>
                  <a:pt x="49" y="27"/>
                  <a:pt x="49" y="27"/>
                </a:cubicBezTo>
                <a:cubicBezTo>
                  <a:pt x="49" y="26"/>
                  <a:pt x="49" y="27"/>
                  <a:pt x="49" y="26"/>
                </a:cubicBezTo>
                <a:cubicBezTo>
                  <a:pt x="49" y="26"/>
                  <a:pt x="49" y="26"/>
                  <a:pt x="49" y="26"/>
                </a:cubicBezTo>
                <a:cubicBezTo>
                  <a:pt x="49" y="26"/>
                  <a:pt x="49" y="26"/>
                  <a:pt x="49" y="26"/>
                </a:cubicBezTo>
                <a:cubicBezTo>
                  <a:pt x="49" y="26"/>
                  <a:pt x="49" y="26"/>
                  <a:pt x="49" y="26"/>
                </a:cubicBezTo>
                <a:cubicBezTo>
                  <a:pt x="49" y="26"/>
                  <a:pt x="49" y="26"/>
                  <a:pt x="49" y="26"/>
                </a:cubicBezTo>
                <a:cubicBezTo>
                  <a:pt x="49" y="26"/>
                  <a:pt x="49" y="26"/>
                  <a:pt x="49" y="26"/>
                </a:cubicBezTo>
                <a:cubicBezTo>
                  <a:pt x="49" y="26"/>
                  <a:pt x="49" y="26"/>
                  <a:pt x="49" y="26"/>
                </a:cubicBezTo>
                <a:cubicBezTo>
                  <a:pt x="49" y="26"/>
                  <a:pt x="49" y="26"/>
                  <a:pt x="49" y="26"/>
                </a:cubicBezTo>
                <a:cubicBezTo>
                  <a:pt x="49" y="25"/>
                  <a:pt x="49" y="26"/>
                  <a:pt x="49" y="26"/>
                </a:cubicBezTo>
                <a:cubicBezTo>
                  <a:pt x="49" y="26"/>
                  <a:pt x="49" y="26"/>
                  <a:pt x="49" y="26"/>
                </a:cubicBezTo>
                <a:cubicBezTo>
                  <a:pt x="49" y="26"/>
                  <a:pt x="49" y="26"/>
                  <a:pt x="49" y="26"/>
                </a:cubicBezTo>
                <a:cubicBezTo>
                  <a:pt x="49" y="26"/>
                  <a:pt x="49" y="26"/>
                  <a:pt x="48" y="26"/>
                </a:cubicBezTo>
                <a:cubicBezTo>
                  <a:pt x="48" y="26"/>
                  <a:pt x="49" y="26"/>
                  <a:pt x="49" y="26"/>
                </a:cubicBezTo>
                <a:cubicBezTo>
                  <a:pt x="49" y="26"/>
                  <a:pt x="48" y="26"/>
                  <a:pt x="48" y="26"/>
                </a:cubicBezTo>
                <a:cubicBezTo>
                  <a:pt x="48" y="26"/>
                  <a:pt x="48" y="26"/>
                  <a:pt x="48" y="26"/>
                </a:cubicBezTo>
                <a:cubicBezTo>
                  <a:pt x="48" y="26"/>
                  <a:pt x="48" y="26"/>
                  <a:pt x="48" y="26"/>
                </a:cubicBezTo>
                <a:cubicBezTo>
                  <a:pt x="48" y="26"/>
                  <a:pt x="48" y="26"/>
                  <a:pt x="48" y="26"/>
                </a:cubicBezTo>
                <a:cubicBezTo>
                  <a:pt x="48" y="26"/>
                  <a:pt x="48" y="26"/>
                  <a:pt x="48" y="26"/>
                </a:cubicBezTo>
                <a:cubicBezTo>
                  <a:pt x="48" y="26"/>
                  <a:pt x="48" y="26"/>
                  <a:pt x="48" y="26"/>
                </a:cubicBezTo>
                <a:cubicBezTo>
                  <a:pt x="48" y="26"/>
                  <a:pt x="48" y="26"/>
                  <a:pt x="48" y="26"/>
                </a:cubicBezTo>
                <a:cubicBezTo>
                  <a:pt x="48" y="26"/>
                  <a:pt x="48" y="27"/>
                  <a:pt x="47" y="26"/>
                </a:cubicBezTo>
                <a:cubicBezTo>
                  <a:pt x="47" y="26"/>
                  <a:pt x="48" y="26"/>
                  <a:pt x="48" y="26"/>
                </a:cubicBezTo>
                <a:cubicBezTo>
                  <a:pt x="48" y="26"/>
                  <a:pt x="47" y="26"/>
                  <a:pt x="48" y="26"/>
                </a:cubicBezTo>
                <a:cubicBezTo>
                  <a:pt x="47" y="26"/>
                  <a:pt x="47" y="26"/>
                  <a:pt x="47" y="26"/>
                </a:cubicBezTo>
                <a:cubicBezTo>
                  <a:pt x="47" y="26"/>
                  <a:pt x="47" y="26"/>
                  <a:pt x="47" y="26"/>
                </a:cubicBezTo>
                <a:cubicBezTo>
                  <a:pt x="47" y="26"/>
                  <a:pt x="47" y="26"/>
                  <a:pt x="47" y="26"/>
                </a:cubicBezTo>
                <a:cubicBezTo>
                  <a:pt x="47" y="26"/>
                  <a:pt x="47" y="26"/>
                  <a:pt x="47" y="26"/>
                </a:cubicBezTo>
                <a:cubicBezTo>
                  <a:pt x="47" y="26"/>
                  <a:pt x="47" y="27"/>
                  <a:pt x="47" y="27"/>
                </a:cubicBezTo>
                <a:cubicBezTo>
                  <a:pt x="47" y="27"/>
                  <a:pt x="47" y="27"/>
                  <a:pt x="48" y="26"/>
                </a:cubicBezTo>
                <a:cubicBezTo>
                  <a:pt x="48" y="27"/>
                  <a:pt x="48" y="27"/>
                  <a:pt x="48" y="27"/>
                </a:cubicBezTo>
                <a:cubicBezTo>
                  <a:pt x="47" y="27"/>
                  <a:pt x="47" y="27"/>
                  <a:pt x="47" y="27"/>
                </a:cubicBezTo>
                <a:cubicBezTo>
                  <a:pt x="47" y="27"/>
                  <a:pt x="47" y="27"/>
                  <a:pt x="47" y="27"/>
                </a:cubicBezTo>
                <a:cubicBezTo>
                  <a:pt x="47" y="27"/>
                  <a:pt x="47" y="28"/>
                  <a:pt x="47" y="28"/>
                </a:cubicBezTo>
                <a:cubicBezTo>
                  <a:pt x="47" y="28"/>
                  <a:pt x="47" y="28"/>
                  <a:pt x="47" y="28"/>
                </a:cubicBezTo>
                <a:cubicBezTo>
                  <a:pt x="47" y="28"/>
                  <a:pt x="47" y="28"/>
                  <a:pt x="47" y="28"/>
                </a:cubicBezTo>
                <a:cubicBezTo>
                  <a:pt x="48" y="28"/>
                  <a:pt x="48" y="28"/>
                  <a:pt x="47" y="28"/>
                </a:cubicBezTo>
                <a:cubicBezTo>
                  <a:pt x="47" y="28"/>
                  <a:pt x="47" y="28"/>
                  <a:pt x="47" y="28"/>
                </a:cubicBezTo>
                <a:cubicBezTo>
                  <a:pt x="47" y="28"/>
                  <a:pt x="47" y="28"/>
                  <a:pt x="47" y="28"/>
                </a:cubicBezTo>
                <a:cubicBezTo>
                  <a:pt x="47" y="28"/>
                  <a:pt x="47" y="28"/>
                  <a:pt x="47" y="28"/>
                </a:cubicBezTo>
                <a:cubicBezTo>
                  <a:pt x="47" y="28"/>
                  <a:pt x="46" y="28"/>
                  <a:pt x="46" y="29"/>
                </a:cubicBezTo>
                <a:cubicBezTo>
                  <a:pt x="46" y="29"/>
                  <a:pt x="47" y="29"/>
                  <a:pt x="47" y="28"/>
                </a:cubicBezTo>
                <a:cubicBezTo>
                  <a:pt x="47" y="28"/>
                  <a:pt x="47" y="29"/>
                  <a:pt x="47" y="29"/>
                </a:cubicBezTo>
                <a:cubicBezTo>
                  <a:pt x="47" y="29"/>
                  <a:pt x="47" y="29"/>
                  <a:pt x="47" y="29"/>
                </a:cubicBezTo>
                <a:cubicBezTo>
                  <a:pt x="46" y="29"/>
                  <a:pt x="46" y="29"/>
                  <a:pt x="46" y="30"/>
                </a:cubicBezTo>
                <a:cubicBezTo>
                  <a:pt x="46" y="30"/>
                  <a:pt x="46" y="29"/>
                  <a:pt x="46" y="29"/>
                </a:cubicBezTo>
                <a:cubicBezTo>
                  <a:pt x="46" y="30"/>
                  <a:pt x="46" y="30"/>
                  <a:pt x="46" y="30"/>
                </a:cubicBezTo>
                <a:cubicBezTo>
                  <a:pt x="46" y="30"/>
                  <a:pt x="46" y="30"/>
                  <a:pt x="46" y="30"/>
                </a:cubicBezTo>
                <a:cubicBezTo>
                  <a:pt x="46" y="30"/>
                  <a:pt x="46" y="30"/>
                  <a:pt x="46" y="30"/>
                </a:cubicBezTo>
                <a:cubicBezTo>
                  <a:pt x="46" y="30"/>
                  <a:pt x="46" y="30"/>
                  <a:pt x="46" y="30"/>
                </a:cubicBezTo>
                <a:cubicBezTo>
                  <a:pt x="46" y="30"/>
                  <a:pt x="46" y="30"/>
                  <a:pt x="46" y="30"/>
                </a:cubicBezTo>
                <a:cubicBezTo>
                  <a:pt x="46" y="30"/>
                  <a:pt x="46" y="30"/>
                  <a:pt x="46" y="31"/>
                </a:cubicBezTo>
                <a:cubicBezTo>
                  <a:pt x="46" y="31"/>
                  <a:pt x="46" y="30"/>
                  <a:pt x="45" y="30"/>
                </a:cubicBezTo>
                <a:cubicBezTo>
                  <a:pt x="45" y="31"/>
                  <a:pt x="46" y="31"/>
                  <a:pt x="46" y="31"/>
                </a:cubicBezTo>
                <a:cubicBezTo>
                  <a:pt x="46" y="31"/>
                  <a:pt x="46" y="31"/>
                  <a:pt x="46" y="31"/>
                </a:cubicBezTo>
                <a:cubicBezTo>
                  <a:pt x="46" y="31"/>
                  <a:pt x="45" y="31"/>
                  <a:pt x="45" y="31"/>
                </a:cubicBezTo>
                <a:cubicBezTo>
                  <a:pt x="45" y="31"/>
                  <a:pt x="45" y="31"/>
                  <a:pt x="45" y="31"/>
                </a:cubicBezTo>
                <a:cubicBezTo>
                  <a:pt x="45" y="31"/>
                  <a:pt x="45" y="31"/>
                  <a:pt x="45" y="31"/>
                </a:cubicBezTo>
                <a:cubicBezTo>
                  <a:pt x="45" y="31"/>
                  <a:pt x="45" y="31"/>
                  <a:pt x="45" y="31"/>
                </a:cubicBezTo>
                <a:cubicBezTo>
                  <a:pt x="45" y="31"/>
                  <a:pt x="45" y="31"/>
                  <a:pt x="45" y="31"/>
                </a:cubicBezTo>
                <a:cubicBezTo>
                  <a:pt x="45" y="32"/>
                  <a:pt x="45" y="32"/>
                  <a:pt x="44" y="32"/>
                </a:cubicBezTo>
                <a:cubicBezTo>
                  <a:pt x="44" y="32"/>
                  <a:pt x="44" y="32"/>
                  <a:pt x="44" y="32"/>
                </a:cubicBezTo>
                <a:cubicBezTo>
                  <a:pt x="44" y="33"/>
                  <a:pt x="44" y="32"/>
                  <a:pt x="44" y="33"/>
                </a:cubicBezTo>
                <a:cubicBezTo>
                  <a:pt x="44" y="32"/>
                  <a:pt x="44" y="33"/>
                  <a:pt x="44" y="33"/>
                </a:cubicBezTo>
                <a:cubicBezTo>
                  <a:pt x="44" y="33"/>
                  <a:pt x="44" y="33"/>
                  <a:pt x="44" y="33"/>
                </a:cubicBezTo>
                <a:cubicBezTo>
                  <a:pt x="44" y="32"/>
                  <a:pt x="45" y="31"/>
                  <a:pt x="45" y="30"/>
                </a:cubicBezTo>
                <a:cubicBezTo>
                  <a:pt x="45" y="30"/>
                  <a:pt x="45" y="30"/>
                  <a:pt x="45" y="30"/>
                </a:cubicBezTo>
                <a:cubicBezTo>
                  <a:pt x="45" y="30"/>
                  <a:pt x="45" y="30"/>
                  <a:pt x="45" y="30"/>
                </a:cubicBezTo>
                <a:cubicBezTo>
                  <a:pt x="45" y="30"/>
                  <a:pt x="45" y="30"/>
                  <a:pt x="45" y="30"/>
                </a:cubicBezTo>
                <a:cubicBezTo>
                  <a:pt x="45" y="29"/>
                  <a:pt x="45" y="29"/>
                  <a:pt x="46" y="29"/>
                </a:cubicBezTo>
                <a:cubicBezTo>
                  <a:pt x="46" y="29"/>
                  <a:pt x="46" y="29"/>
                  <a:pt x="46" y="29"/>
                </a:cubicBezTo>
                <a:cubicBezTo>
                  <a:pt x="46" y="29"/>
                  <a:pt x="46" y="29"/>
                  <a:pt x="46" y="29"/>
                </a:cubicBezTo>
                <a:cubicBezTo>
                  <a:pt x="46" y="29"/>
                  <a:pt x="46" y="29"/>
                  <a:pt x="46" y="29"/>
                </a:cubicBezTo>
                <a:cubicBezTo>
                  <a:pt x="46" y="29"/>
                  <a:pt x="46" y="29"/>
                  <a:pt x="46" y="29"/>
                </a:cubicBezTo>
                <a:cubicBezTo>
                  <a:pt x="46" y="29"/>
                  <a:pt x="46" y="28"/>
                  <a:pt x="46" y="28"/>
                </a:cubicBezTo>
                <a:cubicBezTo>
                  <a:pt x="46" y="29"/>
                  <a:pt x="46" y="29"/>
                  <a:pt x="46" y="29"/>
                </a:cubicBezTo>
                <a:cubicBezTo>
                  <a:pt x="46" y="29"/>
                  <a:pt x="46" y="28"/>
                  <a:pt x="46" y="28"/>
                </a:cubicBezTo>
                <a:cubicBezTo>
                  <a:pt x="46" y="28"/>
                  <a:pt x="46" y="28"/>
                  <a:pt x="46" y="28"/>
                </a:cubicBezTo>
                <a:cubicBezTo>
                  <a:pt x="46" y="28"/>
                  <a:pt x="46" y="28"/>
                  <a:pt x="46" y="27"/>
                </a:cubicBezTo>
                <a:cubicBezTo>
                  <a:pt x="46" y="27"/>
                  <a:pt x="46" y="27"/>
                  <a:pt x="46" y="27"/>
                </a:cubicBezTo>
                <a:cubicBezTo>
                  <a:pt x="46" y="27"/>
                  <a:pt x="46" y="27"/>
                  <a:pt x="46" y="27"/>
                </a:cubicBezTo>
                <a:cubicBezTo>
                  <a:pt x="46" y="27"/>
                  <a:pt x="46" y="27"/>
                  <a:pt x="46" y="27"/>
                </a:cubicBezTo>
                <a:cubicBezTo>
                  <a:pt x="46" y="27"/>
                  <a:pt x="46" y="27"/>
                  <a:pt x="47" y="27"/>
                </a:cubicBezTo>
                <a:cubicBezTo>
                  <a:pt x="46" y="27"/>
                  <a:pt x="46" y="27"/>
                  <a:pt x="46" y="27"/>
                </a:cubicBezTo>
                <a:cubicBezTo>
                  <a:pt x="46" y="27"/>
                  <a:pt x="46" y="27"/>
                  <a:pt x="46" y="27"/>
                </a:cubicBezTo>
                <a:cubicBezTo>
                  <a:pt x="46" y="26"/>
                  <a:pt x="46" y="26"/>
                  <a:pt x="46" y="26"/>
                </a:cubicBezTo>
                <a:cubicBezTo>
                  <a:pt x="46" y="26"/>
                  <a:pt x="46" y="26"/>
                  <a:pt x="46" y="26"/>
                </a:cubicBezTo>
                <a:cubicBezTo>
                  <a:pt x="46" y="26"/>
                  <a:pt x="46" y="26"/>
                  <a:pt x="45" y="26"/>
                </a:cubicBezTo>
                <a:cubicBezTo>
                  <a:pt x="45" y="27"/>
                  <a:pt x="46" y="27"/>
                  <a:pt x="45" y="27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6"/>
                </a:cubicBezTo>
                <a:cubicBezTo>
                  <a:pt x="45" y="26"/>
                  <a:pt x="45" y="26"/>
                  <a:pt x="45" y="26"/>
                </a:cubicBezTo>
                <a:cubicBezTo>
                  <a:pt x="45" y="26"/>
                  <a:pt x="45" y="26"/>
                  <a:pt x="45" y="26"/>
                </a:cubicBezTo>
                <a:cubicBezTo>
                  <a:pt x="46" y="26"/>
                  <a:pt x="46" y="26"/>
                  <a:pt x="46" y="26"/>
                </a:cubicBezTo>
                <a:cubicBezTo>
                  <a:pt x="46" y="25"/>
                  <a:pt x="46" y="25"/>
                  <a:pt x="46" y="25"/>
                </a:cubicBezTo>
                <a:cubicBezTo>
                  <a:pt x="46" y="25"/>
                  <a:pt x="46" y="25"/>
                  <a:pt x="46" y="25"/>
                </a:cubicBezTo>
                <a:cubicBezTo>
                  <a:pt x="46" y="25"/>
                  <a:pt x="46" y="25"/>
                  <a:pt x="46" y="25"/>
                </a:cubicBezTo>
                <a:cubicBezTo>
                  <a:pt x="46" y="25"/>
                  <a:pt x="46" y="25"/>
                  <a:pt x="46" y="25"/>
                </a:cubicBezTo>
                <a:cubicBezTo>
                  <a:pt x="46" y="25"/>
                  <a:pt x="46" y="25"/>
                  <a:pt x="46" y="25"/>
                </a:cubicBezTo>
                <a:cubicBezTo>
                  <a:pt x="46" y="24"/>
                  <a:pt x="46" y="25"/>
                  <a:pt x="46" y="24"/>
                </a:cubicBezTo>
                <a:cubicBezTo>
                  <a:pt x="46" y="24"/>
                  <a:pt x="46" y="24"/>
                  <a:pt x="46" y="24"/>
                </a:cubicBezTo>
                <a:cubicBezTo>
                  <a:pt x="46" y="24"/>
                  <a:pt x="46" y="24"/>
                  <a:pt x="46" y="24"/>
                </a:cubicBezTo>
                <a:cubicBezTo>
                  <a:pt x="46" y="24"/>
                  <a:pt x="46" y="24"/>
                  <a:pt x="46" y="24"/>
                </a:cubicBezTo>
                <a:cubicBezTo>
                  <a:pt x="46" y="24"/>
                  <a:pt x="46" y="24"/>
                  <a:pt x="45" y="25"/>
                </a:cubicBezTo>
                <a:cubicBezTo>
                  <a:pt x="45" y="25"/>
                  <a:pt x="45" y="25"/>
                  <a:pt x="46" y="25"/>
                </a:cubicBezTo>
                <a:cubicBezTo>
                  <a:pt x="46" y="25"/>
                  <a:pt x="46" y="25"/>
                  <a:pt x="46" y="25"/>
                </a:cubicBezTo>
                <a:cubicBezTo>
                  <a:pt x="46" y="25"/>
                  <a:pt x="46" y="25"/>
                  <a:pt x="46" y="25"/>
                </a:cubicBezTo>
                <a:cubicBezTo>
                  <a:pt x="46" y="25"/>
                  <a:pt x="46" y="25"/>
                  <a:pt x="46" y="25"/>
                </a:cubicBezTo>
                <a:cubicBezTo>
                  <a:pt x="45" y="26"/>
                  <a:pt x="45" y="26"/>
                  <a:pt x="45" y="26"/>
                </a:cubicBezTo>
                <a:cubicBezTo>
                  <a:pt x="45" y="26"/>
                  <a:pt x="45" y="26"/>
                  <a:pt x="45" y="26"/>
                </a:cubicBezTo>
                <a:cubicBezTo>
                  <a:pt x="45" y="25"/>
                  <a:pt x="45" y="25"/>
                  <a:pt x="45" y="25"/>
                </a:cubicBezTo>
                <a:cubicBezTo>
                  <a:pt x="45" y="25"/>
                  <a:pt x="45" y="25"/>
                  <a:pt x="45" y="25"/>
                </a:cubicBezTo>
                <a:cubicBezTo>
                  <a:pt x="45" y="25"/>
                  <a:pt x="45" y="26"/>
                  <a:pt x="45" y="26"/>
                </a:cubicBezTo>
                <a:cubicBezTo>
                  <a:pt x="45" y="26"/>
                  <a:pt x="45" y="25"/>
                  <a:pt x="45" y="25"/>
                </a:cubicBezTo>
                <a:cubicBezTo>
                  <a:pt x="45" y="25"/>
                  <a:pt x="45" y="25"/>
                  <a:pt x="45" y="25"/>
                </a:cubicBezTo>
                <a:cubicBezTo>
                  <a:pt x="45" y="25"/>
                  <a:pt x="45" y="25"/>
                  <a:pt x="45" y="25"/>
                </a:cubicBezTo>
                <a:cubicBezTo>
                  <a:pt x="45" y="25"/>
                  <a:pt x="45" y="25"/>
                  <a:pt x="45" y="25"/>
                </a:cubicBezTo>
                <a:cubicBezTo>
                  <a:pt x="45" y="25"/>
                  <a:pt x="45" y="25"/>
                  <a:pt x="45" y="25"/>
                </a:cubicBezTo>
                <a:cubicBezTo>
                  <a:pt x="45" y="25"/>
                  <a:pt x="45" y="24"/>
                  <a:pt x="45" y="24"/>
                </a:cubicBezTo>
                <a:cubicBezTo>
                  <a:pt x="45" y="24"/>
                  <a:pt x="45" y="24"/>
                  <a:pt x="45" y="24"/>
                </a:cubicBezTo>
                <a:cubicBezTo>
                  <a:pt x="45" y="24"/>
                  <a:pt x="45" y="24"/>
                  <a:pt x="45" y="24"/>
                </a:cubicBezTo>
                <a:cubicBezTo>
                  <a:pt x="45" y="24"/>
                  <a:pt x="45" y="24"/>
                  <a:pt x="45" y="24"/>
                </a:cubicBezTo>
                <a:cubicBezTo>
                  <a:pt x="45" y="24"/>
                  <a:pt x="45" y="24"/>
                  <a:pt x="45" y="24"/>
                </a:cubicBezTo>
                <a:cubicBezTo>
                  <a:pt x="45" y="24"/>
                  <a:pt x="45" y="24"/>
                  <a:pt x="46" y="24"/>
                </a:cubicBezTo>
                <a:cubicBezTo>
                  <a:pt x="45" y="24"/>
                  <a:pt x="45" y="24"/>
                  <a:pt x="45" y="24"/>
                </a:cubicBezTo>
                <a:cubicBezTo>
                  <a:pt x="45" y="23"/>
                  <a:pt x="45" y="24"/>
                  <a:pt x="45" y="24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5" y="23"/>
                  <a:pt x="45" y="23"/>
                </a:cubicBezTo>
                <a:cubicBezTo>
                  <a:pt x="46" y="23"/>
                  <a:pt x="45" y="23"/>
                  <a:pt x="45" y="23"/>
                </a:cubicBezTo>
                <a:cubicBezTo>
                  <a:pt x="46" y="24"/>
                  <a:pt x="45" y="23"/>
                  <a:pt x="46" y="23"/>
                </a:cubicBezTo>
                <a:cubicBezTo>
                  <a:pt x="46" y="23"/>
                  <a:pt x="46" y="23"/>
                  <a:pt x="46" y="23"/>
                </a:cubicBezTo>
                <a:cubicBezTo>
                  <a:pt x="46" y="23"/>
                  <a:pt x="45" y="23"/>
                  <a:pt x="45" y="22"/>
                </a:cubicBezTo>
                <a:cubicBezTo>
                  <a:pt x="45" y="22"/>
                  <a:pt x="45" y="23"/>
                  <a:pt x="45" y="22"/>
                </a:cubicBezTo>
                <a:cubicBezTo>
                  <a:pt x="45" y="22"/>
                  <a:pt x="46" y="22"/>
                  <a:pt x="45" y="22"/>
                </a:cubicBezTo>
                <a:cubicBezTo>
                  <a:pt x="46" y="22"/>
                  <a:pt x="46" y="22"/>
                  <a:pt x="46" y="22"/>
                </a:cubicBezTo>
                <a:cubicBezTo>
                  <a:pt x="46" y="22"/>
                  <a:pt x="46" y="22"/>
                  <a:pt x="46" y="22"/>
                </a:cubicBezTo>
                <a:cubicBezTo>
                  <a:pt x="46" y="22"/>
                  <a:pt x="46" y="22"/>
                  <a:pt x="46" y="22"/>
                </a:cubicBezTo>
                <a:cubicBezTo>
                  <a:pt x="46" y="22"/>
                  <a:pt x="46" y="22"/>
                  <a:pt x="46" y="22"/>
                </a:cubicBezTo>
                <a:cubicBezTo>
                  <a:pt x="46" y="22"/>
                  <a:pt x="46" y="22"/>
                  <a:pt x="46" y="22"/>
                </a:cubicBezTo>
                <a:cubicBezTo>
                  <a:pt x="46" y="22"/>
                  <a:pt x="46" y="22"/>
                  <a:pt x="46" y="22"/>
                </a:cubicBezTo>
                <a:cubicBezTo>
                  <a:pt x="46" y="22"/>
                  <a:pt x="46" y="22"/>
                  <a:pt x="46" y="22"/>
                </a:cubicBezTo>
                <a:cubicBezTo>
                  <a:pt x="46" y="22"/>
                  <a:pt x="46" y="22"/>
                  <a:pt x="46" y="21"/>
                </a:cubicBezTo>
                <a:cubicBezTo>
                  <a:pt x="46" y="21"/>
                  <a:pt x="46" y="22"/>
                  <a:pt x="46" y="22"/>
                </a:cubicBezTo>
                <a:cubicBezTo>
                  <a:pt x="46" y="21"/>
                  <a:pt x="46" y="21"/>
                  <a:pt x="46" y="21"/>
                </a:cubicBezTo>
                <a:cubicBezTo>
                  <a:pt x="46" y="21"/>
                  <a:pt x="46" y="21"/>
                  <a:pt x="46" y="21"/>
                </a:cubicBezTo>
                <a:cubicBezTo>
                  <a:pt x="46" y="21"/>
                  <a:pt x="46" y="21"/>
                  <a:pt x="46" y="21"/>
                </a:cubicBezTo>
                <a:cubicBezTo>
                  <a:pt x="46" y="21"/>
                  <a:pt x="46" y="20"/>
                  <a:pt x="46" y="20"/>
                </a:cubicBezTo>
                <a:cubicBezTo>
                  <a:pt x="46" y="20"/>
                  <a:pt x="46" y="20"/>
                  <a:pt x="47" y="20"/>
                </a:cubicBezTo>
                <a:cubicBezTo>
                  <a:pt x="46" y="20"/>
                  <a:pt x="47" y="20"/>
                  <a:pt x="47" y="20"/>
                </a:cubicBezTo>
                <a:cubicBezTo>
                  <a:pt x="47" y="20"/>
                  <a:pt x="46" y="20"/>
                  <a:pt x="46" y="19"/>
                </a:cubicBezTo>
                <a:cubicBezTo>
                  <a:pt x="46" y="19"/>
                  <a:pt x="46" y="19"/>
                  <a:pt x="46" y="19"/>
                </a:cubicBezTo>
                <a:cubicBezTo>
                  <a:pt x="46" y="19"/>
                  <a:pt x="46" y="19"/>
                  <a:pt x="46" y="19"/>
                </a:cubicBezTo>
                <a:cubicBezTo>
                  <a:pt x="46" y="19"/>
                  <a:pt x="46" y="19"/>
                  <a:pt x="46" y="19"/>
                </a:cubicBezTo>
                <a:cubicBezTo>
                  <a:pt x="46" y="19"/>
                  <a:pt x="46" y="19"/>
                  <a:pt x="46" y="19"/>
                </a:cubicBezTo>
                <a:cubicBezTo>
                  <a:pt x="46" y="19"/>
                  <a:pt x="46" y="19"/>
                  <a:pt x="46" y="19"/>
                </a:cubicBezTo>
                <a:cubicBezTo>
                  <a:pt x="46" y="19"/>
                  <a:pt x="46" y="19"/>
                  <a:pt x="46" y="19"/>
                </a:cubicBezTo>
                <a:cubicBezTo>
                  <a:pt x="46" y="19"/>
                  <a:pt x="46" y="19"/>
                  <a:pt x="46" y="19"/>
                </a:cubicBezTo>
                <a:cubicBezTo>
                  <a:pt x="46" y="19"/>
                  <a:pt x="46" y="19"/>
                  <a:pt x="46" y="19"/>
                </a:cubicBezTo>
                <a:cubicBezTo>
                  <a:pt x="46" y="19"/>
                  <a:pt x="46" y="19"/>
                  <a:pt x="46" y="19"/>
                </a:cubicBezTo>
                <a:cubicBezTo>
                  <a:pt x="46" y="19"/>
                  <a:pt x="46" y="19"/>
                  <a:pt x="46" y="19"/>
                </a:cubicBezTo>
                <a:cubicBezTo>
                  <a:pt x="46" y="20"/>
                  <a:pt x="46" y="19"/>
                  <a:pt x="46" y="20"/>
                </a:cubicBezTo>
                <a:cubicBezTo>
                  <a:pt x="46" y="20"/>
                  <a:pt x="45" y="20"/>
                  <a:pt x="45" y="20"/>
                </a:cubicBezTo>
                <a:cubicBezTo>
                  <a:pt x="45" y="20"/>
                  <a:pt x="45" y="20"/>
                  <a:pt x="45" y="20"/>
                </a:cubicBezTo>
                <a:cubicBezTo>
                  <a:pt x="45" y="20"/>
                  <a:pt x="45" y="20"/>
                  <a:pt x="45" y="19"/>
                </a:cubicBezTo>
                <a:cubicBezTo>
                  <a:pt x="45" y="19"/>
                  <a:pt x="45" y="19"/>
                  <a:pt x="45" y="20"/>
                </a:cubicBezTo>
                <a:cubicBezTo>
                  <a:pt x="45" y="19"/>
                  <a:pt x="45" y="19"/>
                  <a:pt x="45" y="19"/>
                </a:cubicBezTo>
                <a:cubicBezTo>
                  <a:pt x="45" y="19"/>
                  <a:pt x="45" y="19"/>
                  <a:pt x="45" y="19"/>
                </a:cubicBezTo>
                <a:cubicBezTo>
                  <a:pt x="45" y="19"/>
                  <a:pt x="45" y="19"/>
                  <a:pt x="45" y="19"/>
                </a:cubicBezTo>
                <a:cubicBezTo>
                  <a:pt x="45" y="19"/>
                  <a:pt x="45" y="19"/>
                  <a:pt x="45" y="19"/>
                </a:cubicBezTo>
                <a:cubicBezTo>
                  <a:pt x="45" y="19"/>
                  <a:pt x="45" y="19"/>
                  <a:pt x="46" y="19"/>
                </a:cubicBezTo>
                <a:cubicBezTo>
                  <a:pt x="45" y="19"/>
                  <a:pt x="45" y="19"/>
                  <a:pt x="45" y="19"/>
                </a:cubicBezTo>
                <a:cubicBezTo>
                  <a:pt x="45" y="19"/>
                  <a:pt x="45" y="19"/>
                  <a:pt x="45" y="19"/>
                </a:cubicBezTo>
                <a:cubicBezTo>
                  <a:pt x="45" y="19"/>
                  <a:pt x="46" y="18"/>
                  <a:pt x="46" y="18"/>
                </a:cubicBezTo>
                <a:cubicBezTo>
                  <a:pt x="46" y="18"/>
                  <a:pt x="46" y="18"/>
                  <a:pt x="46" y="18"/>
                </a:cubicBezTo>
                <a:cubicBezTo>
                  <a:pt x="46" y="18"/>
                  <a:pt x="46" y="18"/>
                  <a:pt x="46" y="18"/>
                </a:cubicBezTo>
                <a:cubicBezTo>
                  <a:pt x="46" y="18"/>
                  <a:pt x="46" y="18"/>
                  <a:pt x="46" y="18"/>
                </a:cubicBezTo>
                <a:cubicBezTo>
                  <a:pt x="46" y="18"/>
                  <a:pt x="46" y="17"/>
                  <a:pt x="46" y="17"/>
                </a:cubicBezTo>
                <a:cubicBezTo>
                  <a:pt x="46" y="17"/>
                  <a:pt x="46" y="18"/>
                  <a:pt x="46" y="18"/>
                </a:cubicBezTo>
                <a:cubicBezTo>
                  <a:pt x="46" y="18"/>
                  <a:pt x="46" y="17"/>
                  <a:pt x="46" y="17"/>
                </a:cubicBezTo>
                <a:cubicBezTo>
                  <a:pt x="46" y="17"/>
                  <a:pt x="46" y="17"/>
                  <a:pt x="46" y="17"/>
                </a:cubicBezTo>
                <a:cubicBezTo>
                  <a:pt x="46" y="17"/>
                  <a:pt x="46" y="17"/>
                  <a:pt x="46" y="17"/>
                </a:cubicBezTo>
                <a:cubicBezTo>
                  <a:pt x="46" y="17"/>
                  <a:pt x="46" y="17"/>
                  <a:pt x="46" y="17"/>
                </a:cubicBezTo>
                <a:cubicBezTo>
                  <a:pt x="46" y="17"/>
                  <a:pt x="46" y="16"/>
                  <a:pt x="46" y="16"/>
                </a:cubicBezTo>
                <a:cubicBezTo>
                  <a:pt x="46" y="16"/>
                  <a:pt x="46" y="16"/>
                  <a:pt x="46" y="16"/>
                </a:cubicBezTo>
                <a:cubicBezTo>
                  <a:pt x="46" y="15"/>
                  <a:pt x="46" y="16"/>
                  <a:pt x="46" y="16"/>
                </a:cubicBezTo>
                <a:cubicBezTo>
                  <a:pt x="46" y="15"/>
                  <a:pt x="46" y="15"/>
                  <a:pt x="46" y="15"/>
                </a:cubicBezTo>
                <a:cubicBezTo>
                  <a:pt x="46" y="15"/>
                  <a:pt x="46" y="15"/>
                  <a:pt x="46" y="15"/>
                </a:cubicBezTo>
                <a:cubicBezTo>
                  <a:pt x="46" y="14"/>
                  <a:pt x="46" y="15"/>
                  <a:pt x="46" y="15"/>
                </a:cubicBezTo>
                <a:cubicBezTo>
                  <a:pt x="46" y="15"/>
                  <a:pt x="46" y="15"/>
                  <a:pt x="46" y="14"/>
                </a:cubicBezTo>
                <a:cubicBezTo>
                  <a:pt x="46" y="14"/>
                  <a:pt x="46" y="14"/>
                  <a:pt x="46" y="14"/>
                </a:cubicBezTo>
                <a:cubicBezTo>
                  <a:pt x="46" y="14"/>
                  <a:pt x="46" y="14"/>
                  <a:pt x="46" y="14"/>
                </a:cubicBezTo>
                <a:cubicBezTo>
                  <a:pt x="46" y="14"/>
                  <a:pt x="46" y="14"/>
                  <a:pt x="46" y="14"/>
                </a:cubicBezTo>
                <a:cubicBezTo>
                  <a:pt x="46" y="14"/>
                  <a:pt x="46" y="14"/>
                  <a:pt x="46" y="14"/>
                </a:cubicBezTo>
                <a:cubicBezTo>
                  <a:pt x="46" y="14"/>
                  <a:pt x="46" y="14"/>
                  <a:pt x="46" y="14"/>
                </a:cubicBezTo>
                <a:cubicBezTo>
                  <a:pt x="46" y="14"/>
                  <a:pt x="47" y="14"/>
                  <a:pt x="47" y="14"/>
                </a:cubicBezTo>
                <a:cubicBezTo>
                  <a:pt x="47" y="14"/>
                  <a:pt x="47" y="13"/>
                  <a:pt x="47" y="13"/>
                </a:cubicBezTo>
                <a:cubicBezTo>
                  <a:pt x="47" y="13"/>
                  <a:pt x="48" y="13"/>
                  <a:pt x="48" y="13"/>
                </a:cubicBezTo>
                <a:cubicBezTo>
                  <a:pt x="48" y="13"/>
                  <a:pt x="48" y="12"/>
                  <a:pt x="48" y="12"/>
                </a:cubicBezTo>
                <a:cubicBezTo>
                  <a:pt x="48" y="12"/>
                  <a:pt x="48" y="13"/>
                  <a:pt x="48" y="13"/>
                </a:cubicBezTo>
                <a:cubicBezTo>
                  <a:pt x="47" y="12"/>
                  <a:pt x="48" y="12"/>
                  <a:pt x="48" y="12"/>
                </a:cubicBezTo>
                <a:cubicBezTo>
                  <a:pt x="48" y="12"/>
                  <a:pt x="48" y="12"/>
                  <a:pt x="48" y="12"/>
                </a:cubicBezTo>
                <a:cubicBezTo>
                  <a:pt x="48" y="12"/>
                  <a:pt x="48" y="12"/>
                  <a:pt x="48" y="12"/>
                </a:cubicBezTo>
                <a:cubicBezTo>
                  <a:pt x="48" y="12"/>
                  <a:pt x="48" y="12"/>
                  <a:pt x="48" y="11"/>
                </a:cubicBezTo>
                <a:cubicBezTo>
                  <a:pt x="48" y="12"/>
                  <a:pt x="49" y="11"/>
                  <a:pt x="49" y="11"/>
                </a:cubicBezTo>
                <a:cubicBezTo>
                  <a:pt x="49" y="11"/>
                  <a:pt x="49" y="11"/>
                  <a:pt x="49" y="12"/>
                </a:cubicBezTo>
                <a:cubicBezTo>
                  <a:pt x="49" y="11"/>
                  <a:pt x="50" y="11"/>
                  <a:pt x="50" y="11"/>
                </a:cubicBezTo>
                <a:cubicBezTo>
                  <a:pt x="50" y="11"/>
                  <a:pt x="50" y="11"/>
                  <a:pt x="50" y="11"/>
                </a:cubicBezTo>
                <a:cubicBezTo>
                  <a:pt x="50" y="10"/>
                  <a:pt x="50" y="10"/>
                  <a:pt x="50" y="10"/>
                </a:cubicBezTo>
                <a:cubicBezTo>
                  <a:pt x="50" y="10"/>
                  <a:pt x="49" y="10"/>
                  <a:pt x="49" y="11"/>
                </a:cubicBezTo>
                <a:cubicBezTo>
                  <a:pt x="49" y="11"/>
                  <a:pt x="49" y="11"/>
                  <a:pt x="49" y="11"/>
                </a:cubicBezTo>
                <a:cubicBezTo>
                  <a:pt x="49" y="11"/>
                  <a:pt x="49" y="11"/>
                  <a:pt x="49" y="11"/>
                </a:cubicBezTo>
                <a:cubicBezTo>
                  <a:pt x="49" y="11"/>
                  <a:pt x="49" y="11"/>
                  <a:pt x="49" y="11"/>
                </a:cubicBezTo>
                <a:cubicBezTo>
                  <a:pt x="49" y="11"/>
                  <a:pt x="49" y="11"/>
                  <a:pt x="49" y="11"/>
                </a:cubicBezTo>
                <a:cubicBezTo>
                  <a:pt x="49" y="10"/>
                  <a:pt x="49" y="10"/>
                  <a:pt x="49" y="10"/>
                </a:cubicBezTo>
                <a:cubicBezTo>
                  <a:pt x="49" y="11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0" y="9"/>
                  <a:pt x="50" y="10"/>
                  <a:pt x="50" y="10"/>
                </a:cubicBezTo>
                <a:cubicBezTo>
                  <a:pt x="50" y="9"/>
                  <a:pt x="50" y="9"/>
                  <a:pt x="50" y="9"/>
                </a:cubicBezTo>
                <a:cubicBezTo>
                  <a:pt x="50" y="8"/>
                  <a:pt x="51" y="8"/>
                  <a:pt x="51" y="8"/>
                </a:cubicBezTo>
                <a:cubicBezTo>
                  <a:pt x="51" y="8"/>
                  <a:pt x="51" y="8"/>
                  <a:pt x="51" y="7"/>
                </a:cubicBezTo>
                <a:cubicBezTo>
                  <a:pt x="51" y="7"/>
                  <a:pt x="51" y="8"/>
                  <a:pt x="51" y="8"/>
                </a:cubicBezTo>
                <a:cubicBezTo>
                  <a:pt x="51" y="7"/>
                  <a:pt x="51" y="7"/>
                  <a:pt x="51" y="7"/>
                </a:cubicBezTo>
                <a:cubicBezTo>
                  <a:pt x="51" y="7"/>
                  <a:pt x="51" y="7"/>
                  <a:pt x="51" y="7"/>
                </a:cubicBezTo>
                <a:cubicBezTo>
                  <a:pt x="51" y="7"/>
                  <a:pt x="51" y="7"/>
                  <a:pt x="52" y="7"/>
                </a:cubicBezTo>
                <a:cubicBezTo>
                  <a:pt x="51" y="7"/>
                  <a:pt x="51" y="7"/>
                  <a:pt x="51" y="7"/>
                </a:cubicBezTo>
                <a:cubicBezTo>
                  <a:pt x="51" y="7"/>
                  <a:pt x="52" y="7"/>
                  <a:pt x="52" y="7"/>
                </a:cubicBezTo>
                <a:cubicBezTo>
                  <a:pt x="52" y="7"/>
                  <a:pt x="52" y="7"/>
                  <a:pt x="52" y="6"/>
                </a:cubicBezTo>
                <a:cubicBezTo>
                  <a:pt x="52" y="6"/>
                  <a:pt x="52" y="6"/>
                  <a:pt x="52" y="6"/>
                </a:cubicBezTo>
                <a:cubicBezTo>
                  <a:pt x="52" y="6"/>
                  <a:pt x="52" y="6"/>
                  <a:pt x="52" y="6"/>
                </a:cubicBezTo>
                <a:cubicBezTo>
                  <a:pt x="51" y="6"/>
                  <a:pt x="51" y="6"/>
                  <a:pt x="51" y="6"/>
                </a:cubicBezTo>
                <a:cubicBezTo>
                  <a:pt x="51" y="6"/>
                  <a:pt x="51" y="6"/>
                  <a:pt x="52" y="6"/>
                </a:cubicBezTo>
                <a:cubicBezTo>
                  <a:pt x="52" y="6"/>
                  <a:pt x="52" y="5"/>
                  <a:pt x="53" y="6"/>
                </a:cubicBezTo>
                <a:cubicBezTo>
                  <a:pt x="53" y="6"/>
                  <a:pt x="53" y="6"/>
                  <a:pt x="53" y="6"/>
                </a:cubicBezTo>
                <a:cubicBezTo>
                  <a:pt x="53" y="5"/>
                  <a:pt x="53" y="5"/>
                  <a:pt x="53" y="5"/>
                </a:cubicBezTo>
                <a:cubicBezTo>
                  <a:pt x="52" y="5"/>
                  <a:pt x="52" y="5"/>
                  <a:pt x="52" y="5"/>
                </a:cubicBezTo>
                <a:cubicBezTo>
                  <a:pt x="52" y="5"/>
                  <a:pt x="52" y="5"/>
                  <a:pt x="52" y="5"/>
                </a:cubicBezTo>
                <a:cubicBezTo>
                  <a:pt x="52" y="5"/>
                  <a:pt x="52" y="5"/>
                  <a:pt x="52" y="5"/>
                </a:cubicBezTo>
                <a:cubicBezTo>
                  <a:pt x="53" y="5"/>
                  <a:pt x="53" y="5"/>
                  <a:pt x="53" y="5"/>
                </a:cubicBezTo>
                <a:cubicBezTo>
                  <a:pt x="53" y="5"/>
                  <a:pt x="53" y="5"/>
                  <a:pt x="53" y="5"/>
                </a:cubicBezTo>
                <a:cubicBezTo>
                  <a:pt x="53" y="4"/>
                  <a:pt x="53" y="4"/>
                  <a:pt x="53" y="4"/>
                </a:cubicBezTo>
                <a:cubicBezTo>
                  <a:pt x="54" y="3"/>
                  <a:pt x="54" y="3"/>
                  <a:pt x="54" y="3"/>
                </a:cubicBezTo>
                <a:cubicBezTo>
                  <a:pt x="54" y="3"/>
                  <a:pt x="54" y="3"/>
                  <a:pt x="54" y="3"/>
                </a:cubicBezTo>
                <a:cubicBezTo>
                  <a:pt x="55" y="2"/>
                  <a:pt x="55" y="2"/>
                  <a:pt x="55" y="2"/>
                </a:cubicBezTo>
                <a:cubicBezTo>
                  <a:pt x="55" y="2"/>
                  <a:pt x="55" y="1"/>
                  <a:pt x="55" y="1"/>
                </a:cubicBezTo>
                <a:cubicBezTo>
                  <a:pt x="57" y="1"/>
                  <a:pt x="58" y="0"/>
                  <a:pt x="60" y="1"/>
                </a:cubicBezTo>
                <a:cubicBezTo>
                  <a:pt x="60" y="1"/>
                  <a:pt x="60" y="1"/>
                  <a:pt x="60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60" y="0"/>
                  <a:pt x="61" y="0"/>
                  <a:pt x="61" y="0"/>
                </a:cubicBezTo>
                <a:cubicBezTo>
                  <a:pt x="61" y="1"/>
                  <a:pt x="62" y="1"/>
                  <a:pt x="62" y="1"/>
                </a:cubicBezTo>
                <a:cubicBezTo>
                  <a:pt x="63" y="1"/>
                  <a:pt x="63" y="2"/>
                  <a:pt x="63" y="2"/>
                </a:cubicBezTo>
                <a:cubicBezTo>
                  <a:pt x="63" y="2"/>
                  <a:pt x="63" y="2"/>
                  <a:pt x="63" y="2"/>
                </a:cubicBezTo>
                <a:cubicBezTo>
                  <a:pt x="64" y="2"/>
                  <a:pt x="64" y="3"/>
                  <a:pt x="64" y="3"/>
                </a:cubicBezTo>
                <a:cubicBezTo>
                  <a:pt x="64" y="3"/>
                  <a:pt x="64" y="3"/>
                  <a:pt x="64" y="4"/>
                </a:cubicBezTo>
                <a:cubicBezTo>
                  <a:pt x="65" y="4"/>
                  <a:pt x="65" y="5"/>
                  <a:pt x="65" y="6"/>
                </a:cubicBezTo>
                <a:cubicBezTo>
                  <a:pt x="65" y="6"/>
                  <a:pt x="65" y="6"/>
                  <a:pt x="65" y="6"/>
                </a:cubicBezTo>
                <a:cubicBezTo>
                  <a:pt x="66" y="6"/>
                  <a:pt x="66" y="6"/>
                  <a:pt x="65" y="6"/>
                </a:cubicBezTo>
                <a:cubicBezTo>
                  <a:pt x="66" y="7"/>
                  <a:pt x="65" y="7"/>
                  <a:pt x="66" y="7"/>
                </a:cubicBezTo>
                <a:cubicBezTo>
                  <a:pt x="65" y="8"/>
                  <a:pt x="66" y="9"/>
                  <a:pt x="65" y="10"/>
                </a:cubicBezTo>
                <a:cubicBezTo>
                  <a:pt x="66" y="10"/>
                  <a:pt x="65" y="10"/>
                  <a:pt x="65" y="11"/>
                </a:cubicBezTo>
                <a:cubicBezTo>
                  <a:pt x="65" y="11"/>
                  <a:pt x="65" y="11"/>
                  <a:pt x="65" y="12"/>
                </a:cubicBezTo>
                <a:cubicBezTo>
                  <a:pt x="65" y="12"/>
                  <a:pt x="65" y="12"/>
                  <a:pt x="64" y="13"/>
                </a:cubicBezTo>
                <a:cubicBezTo>
                  <a:pt x="64" y="13"/>
                  <a:pt x="64" y="14"/>
                  <a:pt x="64" y="14"/>
                </a:cubicBezTo>
                <a:cubicBezTo>
                  <a:pt x="64" y="14"/>
                  <a:pt x="64" y="14"/>
                  <a:pt x="64" y="14"/>
                </a:cubicBezTo>
                <a:cubicBezTo>
                  <a:pt x="64" y="15"/>
                  <a:pt x="64" y="16"/>
                  <a:pt x="63" y="17"/>
                </a:cubicBezTo>
                <a:cubicBezTo>
                  <a:pt x="63" y="17"/>
                  <a:pt x="63" y="17"/>
                  <a:pt x="63" y="17"/>
                </a:cubicBezTo>
                <a:close/>
                <a:moveTo>
                  <a:pt x="46" y="16"/>
                </a:moveTo>
                <a:cubicBezTo>
                  <a:pt x="46" y="16"/>
                  <a:pt x="46" y="16"/>
                  <a:pt x="46" y="16"/>
                </a:cubicBezTo>
                <a:cubicBezTo>
                  <a:pt x="46" y="16"/>
                  <a:pt x="46" y="16"/>
                  <a:pt x="46" y="16"/>
                </a:cubicBezTo>
                <a:close/>
                <a:moveTo>
                  <a:pt x="47" y="16"/>
                </a:moveTo>
                <a:cubicBezTo>
                  <a:pt x="47" y="16"/>
                  <a:pt x="47" y="16"/>
                  <a:pt x="47" y="16"/>
                </a:cubicBezTo>
                <a:cubicBezTo>
                  <a:pt x="47" y="16"/>
                  <a:pt x="47" y="16"/>
                  <a:pt x="47" y="16"/>
                </a:cubicBezTo>
                <a:close/>
                <a:moveTo>
                  <a:pt x="46" y="19"/>
                </a:moveTo>
                <a:cubicBezTo>
                  <a:pt x="46" y="19"/>
                  <a:pt x="46" y="19"/>
                  <a:pt x="46" y="19"/>
                </a:cubicBezTo>
                <a:cubicBezTo>
                  <a:pt x="46" y="19"/>
                  <a:pt x="46" y="19"/>
                  <a:pt x="46" y="19"/>
                </a:cubicBezTo>
                <a:cubicBezTo>
                  <a:pt x="46" y="19"/>
                  <a:pt x="46" y="19"/>
                  <a:pt x="46" y="19"/>
                </a:cubicBezTo>
                <a:close/>
                <a:moveTo>
                  <a:pt x="47" y="17"/>
                </a:moveTo>
                <a:cubicBezTo>
                  <a:pt x="47" y="17"/>
                  <a:pt x="47" y="17"/>
                  <a:pt x="48" y="17"/>
                </a:cubicBezTo>
                <a:cubicBezTo>
                  <a:pt x="47" y="17"/>
                  <a:pt x="47" y="17"/>
                  <a:pt x="47" y="17"/>
                </a:cubicBezTo>
                <a:cubicBezTo>
                  <a:pt x="47" y="17"/>
                  <a:pt x="47" y="17"/>
                  <a:pt x="47" y="17"/>
                </a:cubicBezTo>
                <a:close/>
                <a:moveTo>
                  <a:pt x="47" y="18"/>
                </a:moveTo>
                <a:cubicBezTo>
                  <a:pt x="47" y="18"/>
                  <a:pt x="47" y="18"/>
                  <a:pt x="47" y="18"/>
                </a:cubicBezTo>
                <a:cubicBezTo>
                  <a:pt x="47" y="18"/>
                  <a:pt x="47" y="18"/>
                  <a:pt x="47" y="18"/>
                </a:cubicBezTo>
                <a:cubicBezTo>
                  <a:pt x="47" y="18"/>
                  <a:pt x="47" y="18"/>
                  <a:pt x="47" y="18"/>
                </a:cubicBezTo>
                <a:cubicBezTo>
                  <a:pt x="47" y="18"/>
                  <a:pt x="47" y="18"/>
                  <a:pt x="47" y="18"/>
                </a:cubicBezTo>
                <a:cubicBezTo>
                  <a:pt x="47" y="18"/>
                  <a:pt x="47" y="18"/>
                  <a:pt x="47" y="18"/>
                </a:cubicBezTo>
                <a:close/>
                <a:moveTo>
                  <a:pt x="47" y="18"/>
                </a:moveTo>
                <a:cubicBezTo>
                  <a:pt x="47" y="18"/>
                  <a:pt x="47" y="18"/>
                  <a:pt x="47" y="18"/>
                </a:cubicBezTo>
                <a:cubicBezTo>
                  <a:pt x="47" y="18"/>
                  <a:pt x="47" y="18"/>
                  <a:pt x="47" y="18"/>
                </a:cubicBezTo>
                <a:close/>
                <a:moveTo>
                  <a:pt x="47" y="19"/>
                </a:moveTo>
                <a:cubicBezTo>
                  <a:pt x="47" y="19"/>
                  <a:pt x="47" y="19"/>
                  <a:pt x="46" y="19"/>
                </a:cubicBezTo>
                <a:cubicBezTo>
                  <a:pt x="46" y="19"/>
                  <a:pt x="46" y="19"/>
                  <a:pt x="46" y="19"/>
                </a:cubicBezTo>
                <a:cubicBezTo>
                  <a:pt x="47" y="19"/>
                  <a:pt x="46" y="19"/>
                  <a:pt x="46" y="19"/>
                </a:cubicBezTo>
                <a:cubicBezTo>
                  <a:pt x="47" y="19"/>
                  <a:pt x="47" y="19"/>
                  <a:pt x="47" y="19"/>
                </a:cubicBezTo>
                <a:close/>
                <a:moveTo>
                  <a:pt x="47" y="18"/>
                </a:moveTo>
                <a:cubicBezTo>
                  <a:pt x="47" y="18"/>
                  <a:pt x="47" y="18"/>
                  <a:pt x="48" y="18"/>
                </a:cubicBezTo>
                <a:cubicBezTo>
                  <a:pt x="47" y="18"/>
                  <a:pt x="47" y="18"/>
                  <a:pt x="47" y="18"/>
                </a:cubicBezTo>
                <a:cubicBezTo>
                  <a:pt x="47" y="18"/>
                  <a:pt x="47" y="17"/>
                  <a:pt x="47" y="18"/>
                </a:cubicBezTo>
                <a:cubicBezTo>
                  <a:pt x="47" y="18"/>
                  <a:pt x="47" y="18"/>
                  <a:pt x="47" y="18"/>
                </a:cubicBezTo>
                <a:close/>
                <a:moveTo>
                  <a:pt x="47" y="19"/>
                </a:moveTo>
                <a:cubicBezTo>
                  <a:pt x="47" y="19"/>
                  <a:pt x="47" y="19"/>
                  <a:pt x="47" y="19"/>
                </a:cubicBezTo>
                <a:cubicBezTo>
                  <a:pt x="47" y="19"/>
                  <a:pt x="47" y="19"/>
                  <a:pt x="47" y="19"/>
                </a:cubicBezTo>
                <a:cubicBezTo>
                  <a:pt x="47" y="19"/>
                  <a:pt x="47" y="19"/>
                  <a:pt x="47" y="19"/>
                </a:cubicBezTo>
                <a:close/>
                <a:moveTo>
                  <a:pt x="48" y="18"/>
                </a:moveTo>
                <a:cubicBezTo>
                  <a:pt x="47" y="18"/>
                  <a:pt x="47" y="18"/>
                  <a:pt x="47" y="18"/>
                </a:cubicBezTo>
                <a:cubicBezTo>
                  <a:pt x="47" y="18"/>
                  <a:pt x="47" y="18"/>
                  <a:pt x="47" y="18"/>
                </a:cubicBezTo>
                <a:cubicBezTo>
                  <a:pt x="47" y="18"/>
                  <a:pt x="48" y="18"/>
                  <a:pt x="48" y="18"/>
                </a:cubicBezTo>
                <a:close/>
                <a:moveTo>
                  <a:pt x="47" y="20"/>
                </a:moveTo>
                <a:cubicBezTo>
                  <a:pt x="47" y="20"/>
                  <a:pt x="47" y="20"/>
                  <a:pt x="47" y="20"/>
                </a:cubicBezTo>
                <a:cubicBezTo>
                  <a:pt x="47" y="20"/>
                  <a:pt x="47" y="20"/>
                  <a:pt x="47" y="20"/>
                </a:cubicBezTo>
                <a:cubicBezTo>
                  <a:pt x="47" y="20"/>
                  <a:pt x="47" y="20"/>
                  <a:pt x="47" y="20"/>
                </a:cubicBezTo>
                <a:cubicBezTo>
                  <a:pt x="47" y="20"/>
                  <a:pt x="47" y="20"/>
                  <a:pt x="47" y="20"/>
                </a:cubicBezTo>
                <a:close/>
                <a:moveTo>
                  <a:pt x="47" y="21"/>
                </a:moveTo>
                <a:cubicBezTo>
                  <a:pt x="47" y="21"/>
                  <a:pt x="46" y="21"/>
                  <a:pt x="46" y="21"/>
                </a:cubicBezTo>
                <a:cubicBezTo>
                  <a:pt x="46" y="21"/>
                  <a:pt x="47" y="21"/>
                  <a:pt x="47" y="21"/>
                </a:cubicBezTo>
                <a:close/>
                <a:moveTo>
                  <a:pt x="46" y="22"/>
                </a:moveTo>
                <a:cubicBezTo>
                  <a:pt x="47" y="22"/>
                  <a:pt x="47" y="21"/>
                  <a:pt x="47" y="21"/>
                </a:cubicBezTo>
                <a:cubicBezTo>
                  <a:pt x="47" y="22"/>
                  <a:pt x="46" y="21"/>
                  <a:pt x="46" y="22"/>
                </a:cubicBezTo>
                <a:cubicBezTo>
                  <a:pt x="47" y="22"/>
                  <a:pt x="46" y="22"/>
                  <a:pt x="46" y="22"/>
                </a:cubicBezTo>
                <a:cubicBezTo>
                  <a:pt x="46" y="22"/>
                  <a:pt x="46" y="22"/>
                  <a:pt x="46" y="22"/>
                </a:cubicBezTo>
                <a:close/>
                <a:moveTo>
                  <a:pt x="46" y="23"/>
                </a:moveTo>
                <a:cubicBezTo>
                  <a:pt x="46" y="23"/>
                  <a:pt x="46" y="23"/>
                  <a:pt x="46" y="23"/>
                </a:cubicBezTo>
                <a:cubicBezTo>
                  <a:pt x="46" y="23"/>
                  <a:pt x="46" y="23"/>
                  <a:pt x="46" y="23"/>
                </a:cubicBezTo>
                <a:close/>
                <a:moveTo>
                  <a:pt x="47" y="22"/>
                </a:moveTo>
                <a:cubicBezTo>
                  <a:pt x="47" y="22"/>
                  <a:pt x="47" y="22"/>
                  <a:pt x="47" y="22"/>
                </a:cubicBezTo>
                <a:cubicBezTo>
                  <a:pt x="47" y="22"/>
                  <a:pt x="47" y="22"/>
                  <a:pt x="47" y="22"/>
                </a:cubicBezTo>
                <a:cubicBezTo>
                  <a:pt x="47" y="22"/>
                  <a:pt x="47" y="22"/>
                  <a:pt x="47" y="22"/>
                </a:cubicBezTo>
                <a:close/>
                <a:moveTo>
                  <a:pt x="47" y="22"/>
                </a:moveTo>
                <a:cubicBezTo>
                  <a:pt x="47" y="22"/>
                  <a:pt x="47" y="22"/>
                  <a:pt x="47" y="22"/>
                </a:cubicBezTo>
                <a:cubicBezTo>
                  <a:pt x="47" y="22"/>
                  <a:pt x="47" y="22"/>
                  <a:pt x="47" y="22"/>
                </a:cubicBezTo>
                <a:cubicBezTo>
                  <a:pt x="47" y="22"/>
                  <a:pt x="47" y="22"/>
                  <a:pt x="47" y="22"/>
                </a:cubicBezTo>
                <a:cubicBezTo>
                  <a:pt x="47" y="22"/>
                  <a:pt x="47" y="22"/>
                  <a:pt x="47" y="22"/>
                </a:cubicBezTo>
                <a:close/>
                <a:moveTo>
                  <a:pt x="47" y="23"/>
                </a:moveTo>
                <a:cubicBezTo>
                  <a:pt x="47" y="23"/>
                  <a:pt x="47" y="23"/>
                  <a:pt x="47" y="23"/>
                </a:cubicBezTo>
                <a:cubicBezTo>
                  <a:pt x="47" y="23"/>
                  <a:pt x="47" y="22"/>
                  <a:pt x="47" y="23"/>
                </a:cubicBezTo>
                <a:close/>
                <a:moveTo>
                  <a:pt x="47" y="23"/>
                </a:moveTo>
                <a:cubicBezTo>
                  <a:pt x="47" y="23"/>
                  <a:pt x="47" y="23"/>
                  <a:pt x="47" y="23"/>
                </a:cubicBezTo>
                <a:cubicBezTo>
                  <a:pt x="47" y="23"/>
                  <a:pt x="46" y="23"/>
                  <a:pt x="47" y="23"/>
                </a:cubicBezTo>
                <a:cubicBezTo>
                  <a:pt x="47" y="23"/>
                  <a:pt x="47" y="23"/>
                  <a:pt x="47" y="23"/>
                </a:cubicBezTo>
                <a:cubicBezTo>
                  <a:pt x="47" y="23"/>
                  <a:pt x="47" y="23"/>
                  <a:pt x="47" y="23"/>
                </a:cubicBezTo>
                <a:cubicBezTo>
                  <a:pt x="47" y="23"/>
                  <a:pt x="47" y="23"/>
                  <a:pt x="47" y="23"/>
                </a:cubicBezTo>
                <a:close/>
                <a:moveTo>
                  <a:pt x="47" y="24"/>
                </a:moveTo>
                <a:cubicBezTo>
                  <a:pt x="47" y="24"/>
                  <a:pt x="47" y="24"/>
                  <a:pt x="47" y="24"/>
                </a:cubicBezTo>
                <a:cubicBezTo>
                  <a:pt x="47" y="24"/>
                  <a:pt x="47" y="24"/>
                  <a:pt x="47" y="24"/>
                </a:cubicBezTo>
                <a:cubicBezTo>
                  <a:pt x="47" y="24"/>
                  <a:pt x="47" y="24"/>
                  <a:pt x="47" y="24"/>
                </a:cubicBezTo>
                <a:close/>
                <a:moveTo>
                  <a:pt x="47" y="26"/>
                </a:moveTo>
                <a:cubicBezTo>
                  <a:pt x="47" y="26"/>
                  <a:pt x="46" y="26"/>
                  <a:pt x="46" y="26"/>
                </a:cubicBezTo>
                <a:cubicBezTo>
                  <a:pt x="46" y="26"/>
                  <a:pt x="46" y="26"/>
                  <a:pt x="46" y="27"/>
                </a:cubicBezTo>
                <a:cubicBezTo>
                  <a:pt x="46" y="27"/>
                  <a:pt x="46" y="26"/>
                  <a:pt x="46" y="26"/>
                </a:cubicBezTo>
                <a:cubicBezTo>
                  <a:pt x="46" y="26"/>
                  <a:pt x="46" y="27"/>
                  <a:pt x="46" y="27"/>
                </a:cubicBezTo>
                <a:cubicBezTo>
                  <a:pt x="47" y="26"/>
                  <a:pt x="47" y="26"/>
                  <a:pt x="47" y="26"/>
                </a:cubicBezTo>
                <a:close/>
                <a:moveTo>
                  <a:pt x="47" y="26"/>
                </a:moveTo>
                <a:cubicBezTo>
                  <a:pt x="47" y="26"/>
                  <a:pt x="46" y="26"/>
                  <a:pt x="47" y="25"/>
                </a:cubicBezTo>
                <a:cubicBezTo>
                  <a:pt x="47" y="26"/>
                  <a:pt x="46" y="25"/>
                  <a:pt x="46" y="26"/>
                </a:cubicBezTo>
                <a:cubicBezTo>
                  <a:pt x="46" y="26"/>
                  <a:pt x="46" y="26"/>
                  <a:pt x="47" y="26"/>
                </a:cubicBezTo>
                <a:cubicBezTo>
                  <a:pt x="46" y="26"/>
                  <a:pt x="47" y="26"/>
                  <a:pt x="47" y="26"/>
                </a:cubicBezTo>
                <a:cubicBezTo>
                  <a:pt x="47" y="26"/>
                  <a:pt x="47" y="26"/>
                  <a:pt x="47" y="26"/>
                </a:cubicBezTo>
                <a:close/>
                <a:moveTo>
                  <a:pt x="46" y="28"/>
                </a:moveTo>
                <a:cubicBezTo>
                  <a:pt x="46" y="28"/>
                  <a:pt x="46" y="28"/>
                  <a:pt x="46" y="28"/>
                </a:cubicBezTo>
                <a:cubicBezTo>
                  <a:pt x="46" y="28"/>
                  <a:pt x="46" y="28"/>
                  <a:pt x="46" y="28"/>
                </a:cubicBezTo>
                <a:cubicBezTo>
                  <a:pt x="46" y="28"/>
                  <a:pt x="46" y="28"/>
                  <a:pt x="46" y="28"/>
                </a:cubicBezTo>
                <a:close/>
                <a:moveTo>
                  <a:pt x="46" y="29"/>
                </a:moveTo>
                <a:cubicBezTo>
                  <a:pt x="46" y="28"/>
                  <a:pt x="46" y="28"/>
                  <a:pt x="46" y="28"/>
                </a:cubicBezTo>
                <a:cubicBezTo>
                  <a:pt x="46" y="28"/>
                  <a:pt x="46" y="29"/>
                  <a:pt x="46" y="29"/>
                </a:cubicBezTo>
                <a:close/>
                <a:moveTo>
                  <a:pt x="46" y="30"/>
                </a:moveTo>
                <a:cubicBezTo>
                  <a:pt x="46" y="30"/>
                  <a:pt x="46" y="30"/>
                  <a:pt x="45" y="30"/>
                </a:cubicBezTo>
                <a:cubicBezTo>
                  <a:pt x="45" y="30"/>
                  <a:pt x="45" y="30"/>
                  <a:pt x="45" y="30"/>
                </a:cubicBezTo>
                <a:cubicBezTo>
                  <a:pt x="46" y="30"/>
                  <a:pt x="46" y="30"/>
                  <a:pt x="46" y="30"/>
                </a:cubicBezTo>
                <a:close/>
                <a:moveTo>
                  <a:pt x="47" y="28"/>
                </a:moveTo>
                <a:cubicBezTo>
                  <a:pt x="47" y="28"/>
                  <a:pt x="47" y="28"/>
                  <a:pt x="47" y="28"/>
                </a:cubicBezTo>
                <a:cubicBezTo>
                  <a:pt x="47" y="28"/>
                  <a:pt x="47" y="28"/>
                  <a:pt x="47" y="28"/>
                </a:cubicBezTo>
                <a:close/>
                <a:moveTo>
                  <a:pt x="46" y="28"/>
                </a:moveTo>
                <a:cubicBezTo>
                  <a:pt x="46" y="28"/>
                  <a:pt x="47" y="28"/>
                  <a:pt x="47" y="27"/>
                </a:cubicBezTo>
                <a:cubicBezTo>
                  <a:pt x="46" y="28"/>
                  <a:pt x="46" y="28"/>
                  <a:pt x="46" y="28"/>
                </a:cubicBezTo>
                <a:close/>
                <a:moveTo>
                  <a:pt x="46" y="28"/>
                </a:moveTo>
                <a:cubicBezTo>
                  <a:pt x="46" y="28"/>
                  <a:pt x="46" y="28"/>
                  <a:pt x="46" y="28"/>
                </a:cubicBezTo>
                <a:cubicBezTo>
                  <a:pt x="46" y="28"/>
                  <a:pt x="46" y="28"/>
                  <a:pt x="46" y="28"/>
                </a:cubicBezTo>
                <a:cubicBezTo>
                  <a:pt x="46" y="28"/>
                  <a:pt x="46" y="28"/>
                  <a:pt x="46" y="28"/>
                </a:cubicBezTo>
                <a:close/>
                <a:moveTo>
                  <a:pt x="48" y="24"/>
                </a:moveTo>
                <a:cubicBezTo>
                  <a:pt x="48" y="24"/>
                  <a:pt x="48" y="25"/>
                  <a:pt x="48" y="25"/>
                </a:cubicBezTo>
                <a:cubicBezTo>
                  <a:pt x="48" y="25"/>
                  <a:pt x="48" y="24"/>
                  <a:pt x="48" y="24"/>
                </a:cubicBezTo>
                <a:close/>
                <a:moveTo>
                  <a:pt x="52" y="17"/>
                </a:moveTo>
                <a:cubicBezTo>
                  <a:pt x="52" y="17"/>
                  <a:pt x="52" y="17"/>
                  <a:pt x="52" y="17"/>
                </a:cubicBezTo>
                <a:cubicBezTo>
                  <a:pt x="52" y="17"/>
                  <a:pt x="52" y="17"/>
                  <a:pt x="52" y="17"/>
                </a:cubicBezTo>
                <a:close/>
                <a:moveTo>
                  <a:pt x="50" y="24"/>
                </a:moveTo>
                <a:cubicBezTo>
                  <a:pt x="50" y="25"/>
                  <a:pt x="50" y="24"/>
                  <a:pt x="50" y="25"/>
                </a:cubicBezTo>
                <a:cubicBezTo>
                  <a:pt x="50" y="24"/>
                  <a:pt x="50" y="24"/>
                  <a:pt x="50" y="24"/>
                </a:cubicBezTo>
                <a:cubicBezTo>
                  <a:pt x="50" y="24"/>
                  <a:pt x="50" y="24"/>
                  <a:pt x="49" y="24"/>
                </a:cubicBezTo>
                <a:cubicBezTo>
                  <a:pt x="49" y="24"/>
                  <a:pt x="49" y="24"/>
                  <a:pt x="49" y="24"/>
                </a:cubicBezTo>
                <a:cubicBezTo>
                  <a:pt x="49" y="24"/>
                  <a:pt x="49" y="25"/>
                  <a:pt x="50" y="25"/>
                </a:cubicBezTo>
                <a:cubicBezTo>
                  <a:pt x="50" y="24"/>
                  <a:pt x="49" y="24"/>
                  <a:pt x="50" y="24"/>
                </a:cubicBezTo>
                <a:close/>
                <a:moveTo>
                  <a:pt x="50" y="24"/>
                </a:moveTo>
                <a:cubicBezTo>
                  <a:pt x="50" y="24"/>
                  <a:pt x="50" y="24"/>
                  <a:pt x="50" y="24"/>
                </a:cubicBezTo>
                <a:cubicBezTo>
                  <a:pt x="50" y="24"/>
                  <a:pt x="50" y="24"/>
                  <a:pt x="50" y="24"/>
                </a:cubicBezTo>
                <a:cubicBezTo>
                  <a:pt x="50" y="24"/>
                  <a:pt x="50" y="24"/>
                  <a:pt x="50" y="24"/>
                </a:cubicBezTo>
                <a:cubicBezTo>
                  <a:pt x="50" y="24"/>
                  <a:pt x="50" y="24"/>
                  <a:pt x="50" y="24"/>
                </a:cubicBezTo>
                <a:cubicBezTo>
                  <a:pt x="50" y="24"/>
                  <a:pt x="50" y="24"/>
                  <a:pt x="50" y="24"/>
                </a:cubicBezTo>
                <a:cubicBezTo>
                  <a:pt x="50" y="24"/>
                  <a:pt x="49" y="24"/>
                  <a:pt x="50" y="24"/>
                </a:cubicBezTo>
                <a:close/>
                <a:moveTo>
                  <a:pt x="49" y="24"/>
                </a:moveTo>
                <a:cubicBezTo>
                  <a:pt x="49" y="24"/>
                  <a:pt x="49" y="24"/>
                  <a:pt x="49" y="25"/>
                </a:cubicBezTo>
                <a:cubicBezTo>
                  <a:pt x="49" y="25"/>
                  <a:pt x="49" y="25"/>
                  <a:pt x="49" y="24"/>
                </a:cubicBezTo>
                <a:cubicBezTo>
                  <a:pt x="49" y="25"/>
                  <a:pt x="49" y="25"/>
                  <a:pt x="49" y="25"/>
                </a:cubicBezTo>
                <a:cubicBezTo>
                  <a:pt x="49" y="24"/>
                  <a:pt x="49" y="24"/>
                  <a:pt x="49" y="24"/>
                </a:cubicBezTo>
                <a:cubicBezTo>
                  <a:pt x="49" y="24"/>
                  <a:pt x="50" y="24"/>
                  <a:pt x="49" y="24"/>
                </a:cubicBezTo>
                <a:cubicBezTo>
                  <a:pt x="49" y="24"/>
                  <a:pt x="49" y="24"/>
                  <a:pt x="49" y="24"/>
                </a:cubicBezTo>
                <a:close/>
                <a:moveTo>
                  <a:pt x="49" y="25"/>
                </a:moveTo>
                <a:cubicBezTo>
                  <a:pt x="49" y="25"/>
                  <a:pt x="49" y="25"/>
                  <a:pt x="49" y="25"/>
                </a:cubicBezTo>
                <a:cubicBezTo>
                  <a:pt x="49" y="25"/>
                  <a:pt x="49" y="25"/>
                  <a:pt x="49" y="25"/>
                </a:cubicBezTo>
                <a:cubicBezTo>
                  <a:pt x="49" y="25"/>
                  <a:pt x="49" y="25"/>
                  <a:pt x="49" y="25"/>
                </a:cubicBezTo>
                <a:close/>
                <a:moveTo>
                  <a:pt x="50" y="23"/>
                </a:moveTo>
                <a:cubicBezTo>
                  <a:pt x="50" y="22"/>
                  <a:pt x="50" y="23"/>
                  <a:pt x="50" y="23"/>
                </a:cubicBezTo>
                <a:cubicBezTo>
                  <a:pt x="50" y="23"/>
                  <a:pt x="50" y="22"/>
                  <a:pt x="50" y="22"/>
                </a:cubicBezTo>
                <a:cubicBezTo>
                  <a:pt x="50" y="22"/>
                  <a:pt x="50" y="22"/>
                  <a:pt x="50" y="23"/>
                </a:cubicBezTo>
                <a:close/>
                <a:moveTo>
                  <a:pt x="49" y="25"/>
                </a:moveTo>
                <a:cubicBezTo>
                  <a:pt x="49" y="25"/>
                  <a:pt x="49" y="25"/>
                  <a:pt x="49" y="25"/>
                </a:cubicBezTo>
                <a:cubicBezTo>
                  <a:pt x="49" y="25"/>
                  <a:pt x="49" y="25"/>
                  <a:pt x="49" y="25"/>
                </a:cubicBezTo>
                <a:cubicBezTo>
                  <a:pt x="48" y="25"/>
                  <a:pt x="49" y="25"/>
                  <a:pt x="49" y="25"/>
                </a:cubicBezTo>
                <a:cubicBezTo>
                  <a:pt x="48" y="25"/>
                  <a:pt x="48" y="25"/>
                  <a:pt x="48" y="25"/>
                </a:cubicBezTo>
                <a:cubicBezTo>
                  <a:pt x="48" y="25"/>
                  <a:pt x="48" y="25"/>
                  <a:pt x="48" y="26"/>
                </a:cubicBezTo>
                <a:cubicBezTo>
                  <a:pt x="48" y="26"/>
                  <a:pt x="48" y="25"/>
                  <a:pt x="48" y="26"/>
                </a:cubicBezTo>
                <a:cubicBezTo>
                  <a:pt x="48" y="26"/>
                  <a:pt x="48" y="25"/>
                  <a:pt x="49" y="25"/>
                </a:cubicBezTo>
                <a:cubicBezTo>
                  <a:pt x="49" y="26"/>
                  <a:pt x="48" y="26"/>
                  <a:pt x="48" y="26"/>
                </a:cubicBezTo>
                <a:cubicBezTo>
                  <a:pt x="48" y="26"/>
                  <a:pt x="49" y="26"/>
                  <a:pt x="49" y="26"/>
                </a:cubicBezTo>
                <a:cubicBezTo>
                  <a:pt x="49" y="25"/>
                  <a:pt x="49" y="25"/>
                  <a:pt x="49" y="25"/>
                </a:cubicBezTo>
                <a:cubicBezTo>
                  <a:pt x="49" y="26"/>
                  <a:pt x="49" y="25"/>
                  <a:pt x="49" y="26"/>
                </a:cubicBezTo>
                <a:cubicBezTo>
                  <a:pt x="49" y="26"/>
                  <a:pt x="49" y="25"/>
                  <a:pt x="49" y="25"/>
                </a:cubicBezTo>
                <a:close/>
                <a:moveTo>
                  <a:pt x="49" y="25"/>
                </a:moveTo>
                <a:cubicBezTo>
                  <a:pt x="49" y="25"/>
                  <a:pt x="49" y="25"/>
                  <a:pt x="49" y="25"/>
                </a:cubicBezTo>
                <a:cubicBezTo>
                  <a:pt x="49" y="25"/>
                  <a:pt x="49" y="25"/>
                  <a:pt x="49" y="25"/>
                </a:cubicBezTo>
                <a:close/>
                <a:moveTo>
                  <a:pt x="49" y="25"/>
                </a:moveTo>
                <a:cubicBezTo>
                  <a:pt x="49" y="25"/>
                  <a:pt x="49" y="25"/>
                  <a:pt x="49" y="25"/>
                </a:cubicBezTo>
                <a:cubicBezTo>
                  <a:pt x="49" y="25"/>
                  <a:pt x="49" y="24"/>
                  <a:pt x="49" y="25"/>
                </a:cubicBezTo>
                <a:cubicBezTo>
                  <a:pt x="49" y="25"/>
                  <a:pt x="49" y="25"/>
                  <a:pt x="49" y="25"/>
                </a:cubicBezTo>
                <a:close/>
                <a:moveTo>
                  <a:pt x="50" y="25"/>
                </a:moveTo>
                <a:cubicBezTo>
                  <a:pt x="50" y="25"/>
                  <a:pt x="50" y="25"/>
                  <a:pt x="50" y="25"/>
                </a:cubicBezTo>
                <a:cubicBezTo>
                  <a:pt x="50" y="25"/>
                  <a:pt x="49" y="25"/>
                  <a:pt x="49" y="25"/>
                </a:cubicBezTo>
                <a:cubicBezTo>
                  <a:pt x="49" y="25"/>
                  <a:pt x="49" y="25"/>
                  <a:pt x="49" y="25"/>
                </a:cubicBezTo>
                <a:cubicBezTo>
                  <a:pt x="49" y="25"/>
                  <a:pt x="50" y="25"/>
                  <a:pt x="50" y="25"/>
                </a:cubicBezTo>
                <a:close/>
                <a:moveTo>
                  <a:pt x="50" y="25"/>
                </a:moveTo>
                <a:cubicBezTo>
                  <a:pt x="50" y="25"/>
                  <a:pt x="50" y="25"/>
                  <a:pt x="50" y="25"/>
                </a:cubicBezTo>
                <a:cubicBezTo>
                  <a:pt x="50" y="25"/>
                  <a:pt x="50" y="25"/>
                  <a:pt x="50" y="25"/>
                </a:cubicBezTo>
                <a:cubicBezTo>
                  <a:pt x="50" y="25"/>
                  <a:pt x="50" y="25"/>
                  <a:pt x="50" y="25"/>
                </a:cubicBezTo>
                <a:close/>
                <a:moveTo>
                  <a:pt x="51" y="23"/>
                </a:moveTo>
                <a:cubicBezTo>
                  <a:pt x="51" y="23"/>
                  <a:pt x="51" y="23"/>
                  <a:pt x="51" y="23"/>
                </a:cubicBezTo>
                <a:cubicBezTo>
                  <a:pt x="51" y="23"/>
                  <a:pt x="51" y="23"/>
                  <a:pt x="51" y="23"/>
                </a:cubicBezTo>
                <a:cubicBezTo>
                  <a:pt x="51" y="23"/>
                  <a:pt x="51" y="23"/>
                  <a:pt x="51" y="23"/>
                </a:cubicBezTo>
                <a:close/>
                <a:moveTo>
                  <a:pt x="49" y="26"/>
                </a:moveTo>
                <a:cubicBezTo>
                  <a:pt x="50" y="26"/>
                  <a:pt x="50" y="26"/>
                  <a:pt x="50" y="26"/>
                </a:cubicBezTo>
                <a:cubicBezTo>
                  <a:pt x="50" y="26"/>
                  <a:pt x="50" y="26"/>
                  <a:pt x="50" y="26"/>
                </a:cubicBezTo>
                <a:cubicBezTo>
                  <a:pt x="50" y="26"/>
                  <a:pt x="49" y="26"/>
                  <a:pt x="49" y="26"/>
                </a:cubicBezTo>
                <a:cubicBezTo>
                  <a:pt x="49" y="26"/>
                  <a:pt x="49" y="26"/>
                  <a:pt x="49" y="26"/>
                </a:cubicBezTo>
                <a:close/>
                <a:moveTo>
                  <a:pt x="49" y="28"/>
                </a:moveTo>
                <a:cubicBezTo>
                  <a:pt x="49" y="28"/>
                  <a:pt x="49" y="27"/>
                  <a:pt x="49" y="28"/>
                </a:cubicBezTo>
                <a:cubicBezTo>
                  <a:pt x="49" y="28"/>
                  <a:pt x="49" y="28"/>
                  <a:pt x="49" y="28"/>
                </a:cubicBezTo>
                <a:cubicBezTo>
                  <a:pt x="49" y="28"/>
                  <a:pt x="49" y="28"/>
                  <a:pt x="49" y="28"/>
                </a:cubicBezTo>
                <a:close/>
                <a:moveTo>
                  <a:pt x="49" y="28"/>
                </a:moveTo>
                <a:cubicBezTo>
                  <a:pt x="49" y="28"/>
                  <a:pt x="49" y="28"/>
                  <a:pt x="49" y="28"/>
                </a:cubicBezTo>
                <a:cubicBezTo>
                  <a:pt x="49" y="28"/>
                  <a:pt x="49" y="28"/>
                  <a:pt x="49" y="28"/>
                </a:cubicBezTo>
                <a:cubicBezTo>
                  <a:pt x="49" y="28"/>
                  <a:pt x="49" y="28"/>
                  <a:pt x="49" y="28"/>
                </a:cubicBezTo>
                <a:close/>
                <a:moveTo>
                  <a:pt x="49" y="27"/>
                </a:moveTo>
                <a:cubicBezTo>
                  <a:pt x="49" y="27"/>
                  <a:pt x="49" y="27"/>
                  <a:pt x="49" y="27"/>
                </a:cubicBezTo>
                <a:cubicBezTo>
                  <a:pt x="49" y="27"/>
                  <a:pt x="49" y="27"/>
                  <a:pt x="49" y="27"/>
                </a:cubicBezTo>
                <a:close/>
                <a:moveTo>
                  <a:pt x="45" y="39"/>
                </a:moveTo>
                <a:cubicBezTo>
                  <a:pt x="45" y="39"/>
                  <a:pt x="45" y="38"/>
                  <a:pt x="45" y="38"/>
                </a:cubicBezTo>
                <a:cubicBezTo>
                  <a:pt x="45" y="39"/>
                  <a:pt x="45" y="39"/>
                  <a:pt x="45" y="39"/>
                </a:cubicBezTo>
                <a:cubicBezTo>
                  <a:pt x="45" y="39"/>
                  <a:pt x="45" y="39"/>
                  <a:pt x="45" y="39"/>
                </a:cubicBezTo>
                <a:close/>
                <a:moveTo>
                  <a:pt x="46" y="37"/>
                </a:moveTo>
                <a:cubicBezTo>
                  <a:pt x="46" y="37"/>
                  <a:pt x="46" y="37"/>
                  <a:pt x="46" y="36"/>
                </a:cubicBezTo>
                <a:cubicBezTo>
                  <a:pt x="46" y="36"/>
                  <a:pt x="46" y="37"/>
                  <a:pt x="46" y="37"/>
                </a:cubicBezTo>
                <a:close/>
                <a:moveTo>
                  <a:pt x="46" y="35"/>
                </a:moveTo>
                <a:cubicBezTo>
                  <a:pt x="46" y="35"/>
                  <a:pt x="46" y="34"/>
                  <a:pt x="46" y="34"/>
                </a:cubicBezTo>
                <a:cubicBezTo>
                  <a:pt x="46" y="35"/>
                  <a:pt x="46" y="35"/>
                  <a:pt x="46" y="35"/>
                </a:cubicBezTo>
                <a:cubicBezTo>
                  <a:pt x="46" y="35"/>
                  <a:pt x="46" y="35"/>
                  <a:pt x="46" y="35"/>
                </a:cubicBezTo>
                <a:close/>
                <a:moveTo>
                  <a:pt x="50" y="28"/>
                </a:moveTo>
                <a:cubicBezTo>
                  <a:pt x="49" y="28"/>
                  <a:pt x="49" y="28"/>
                  <a:pt x="49" y="28"/>
                </a:cubicBezTo>
                <a:cubicBezTo>
                  <a:pt x="49" y="28"/>
                  <a:pt x="49" y="28"/>
                  <a:pt x="49" y="28"/>
                </a:cubicBezTo>
                <a:cubicBezTo>
                  <a:pt x="49" y="28"/>
                  <a:pt x="49" y="28"/>
                  <a:pt x="49" y="28"/>
                </a:cubicBezTo>
                <a:cubicBezTo>
                  <a:pt x="49" y="28"/>
                  <a:pt x="49" y="28"/>
                  <a:pt x="50" y="28"/>
                </a:cubicBezTo>
                <a:close/>
                <a:moveTo>
                  <a:pt x="48" y="30"/>
                </a:moveTo>
                <a:cubicBezTo>
                  <a:pt x="48" y="30"/>
                  <a:pt x="48" y="31"/>
                  <a:pt x="48" y="31"/>
                </a:cubicBezTo>
                <a:cubicBezTo>
                  <a:pt x="48" y="31"/>
                  <a:pt x="48" y="30"/>
                  <a:pt x="48" y="30"/>
                </a:cubicBezTo>
                <a:close/>
                <a:moveTo>
                  <a:pt x="47" y="32"/>
                </a:moveTo>
                <a:cubicBezTo>
                  <a:pt x="47" y="32"/>
                  <a:pt x="47" y="32"/>
                  <a:pt x="47" y="32"/>
                </a:cubicBezTo>
                <a:cubicBezTo>
                  <a:pt x="47" y="32"/>
                  <a:pt x="48" y="32"/>
                  <a:pt x="47" y="32"/>
                </a:cubicBezTo>
                <a:close/>
                <a:moveTo>
                  <a:pt x="48" y="33"/>
                </a:moveTo>
                <a:cubicBezTo>
                  <a:pt x="48" y="32"/>
                  <a:pt x="48" y="32"/>
                  <a:pt x="47" y="32"/>
                </a:cubicBezTo>
                <a:cubicBezTo>
                  <a:pt x="47" y="32"/>
                  <a:pt x="47" y="32"/>
                  <a:pt x="47" y="33"/>
                </a:cubicBezTo>
                <a:cubicBezTo>
                  <a:pt x="47" y="33"/>
                  <a:pt x="47" y="33"/>
                  <a:pt x="47" y="33"/>
                </a:cubicBezTo>
                <a:cubicBezTo>
                  <a:pt x="47" y="32"/>
                  <a:pt x="48" y="32"/>
                  <a:pt x="48" y="33"/>
                </a:cubicBezTo>
                <a:close/>
                <a:moveTo>
                  <a:pt x="48" y="32"/>
                </a:moveTo>
                <a:cubicBezTo>
                  <a:pt x="48" y="32"/>
                  <a:pt x="48" y="32"/>
                  <a:pt x="48" y="32"/>
                </a:cubicBezTo>
                <a:cubicBezTo>
                  <a:pt x="48" y="32"/>
                  <a:pt x="48" y="31"/>
                  <a:pt x="48" y="31"/>
                </a:cubicBezTo>
                <a:cubicBezTo>
                  <a:pt x="48" y="31"/>
                  <a:pt x="48" y="31"/>
                  <a:pt x="48" y="31"/>
                </a:cubicBezTo>
                <a:cubicBezTo>
                  <a:pt x="48" y="31"/>
                  <a:pt x="48" y="31"/>
                  <a:pt x="48" y="31"/>
                </a:cubicBezTo>
                <a:cubicBezTo>
                  <a:pt x="48" y="31"/>
                  <a:pt x="48" y="31"/>
                  <a:pt x="48" y="31"/>
                </a:cubicBezTo>
                <a:cubicBezTo>
                  <a:pt x="48" y="31"/>
                  <a:pt x="48" y="31"/>
                  <a:pt x="48" y="31"/>
                </a:cubicBezTo>
                <a:cubicBezTo>
                  <a:pt x="48" y="31"/>
                  <a:pt x="48" y="31"/>
                  <a:pt x="48" y="31"/>
                </a:cubicBezTo>
                <a:cubicBezTo>
                  <a:pt x="48" y="31"/>
                  <a:pt x="48" y="31"/>
                  <a:pt x="48" y="31"/>
                </a:cubicBezTo>
                <a:cubicBezTo>
                  <a:pt x="48" y="31"/>
                  <a:pt x="48" y="31"/>
                  <a:pt x="48" y="31"/>
                </a:cubicBezTo>
                <a:cubicBezTo>
                  <a:pt x="48" y="31"/>
                  <a:pt x="48" y="31"/>
                  <a:pt x="48" y="31"/>
                </a:cubicBezTo>
                <a:cubicBezTo>
                  <a:pt x="48" y="31"/>
                  <a:pt x="48" y="32"/>
                  <a:pt x="48" y="32"/>
                </a:cubicBezTo>
                <a:cubicBezTo>
                  <a:pt x="48" y="32"/>
                  <a:pt x="48" y="32"/>
                  <a:pt x="48" y="32"/>
                </a:cubicBezTo>
                <a:close/>
                <a:moveTo>
                  <a:pt x="50" y="30"/>
                </a:moveTo>
                <a:cubicBezTo>
                  <a:pt x="50" y="30"/>
                  <a:pt x="49" y="30"/>
                  <a:pt x="49" y="30"/>
                </a:cubicBezTo>
                <a:cubicBezTo>
                  <a:pt x="50" y="30"/>
                  <a:pt x="50" y="30"/>
                  <a:pt x="50" y="30"/>
                </a:cubicBezTo>
                <a:close/>
                <a:moveTo>
                  <a:pt x="50" y="30"/>
                </a:moveTo>
                <a:cubicBezTo>
                  <a:pt x="50" y="29"/>
                  <a:pt x="50" y="30"/>
                  <a:pt x="50" y="29"/>
                </a:cubicBezTo>
                <a:cubicBezTo>
                  <a:pt x="50" y="29"/>
                  <a:pt x="50" y="30"/>
                  <a:pt x="50" y="30"/>
                </a:cubicBezTo>
                <a:close/>
                <a:moveTo>
                  <a:pt x="50" y="31"/>
                </a:moveTo>
                <a:cubicBezTo>
                  <a:pt x="50" y="30"/>
                  <a:pt x="50" y="30"/>
                  <a:pt x="50" y="30"/>
                </a:cubicBezTo>
                <a:cubicBezTo>
                  <a:pt x="50" y="30"/>
                  <a:pt x="49" y="30"/>
                  <a:pt x="50" y="31"/>
                </a:cubicBezTo>
                <a:cubicBezTo>
                  <a:pt x="50" y="30"/>
                  <a:pt x="50" y="30"/>
                  <a:pt x="50" y="31"/>
                </a:cubicBezTo>
                <a:cubicBezTo>
                  <a:pt x="50" y="31"/>
                  <a:pt x="50" y="31"/>
                  <a:pt x="49" y="31"/>
                </a:cubicBezTo>
                <a:cubicBezTo>
                  <a:pt x="50" y="31"/>
                  <a:pt x="50" y="31"/>
                  <a:pt x="50" y="31"/>
                </a:cubicBezTo>
                <a:close/>
                <a:moveTo>
                  <a:pt x="54" y="25"/>
                </a:moveTo>
                <a:cubicBezTo>
                  <a:pt x="54" y="25"/>
                  <a:pt x="54" y="25"/>
                  <a:pt x="54" y="25"/>
                </a:cubicBezTo>
                <a:cubicBezTo>
                  <a:pt x="54" y="25"/>
                  <a:pt x="54" y="25"/>
                  <a:pt x="54" y="25"/>
                </a:cubicBezTo>
                <a:close/>
                <a:moveTo>
                  <a:pt x="53" y="27"/>
                </a:moveTo>
                <a:cubicBezTo>
                  <a:pt x="53" y="27"/>
                  <a:pt x="53" y="27"/>
                  <a:pt x="53" y="27"/>
                </a:cubicBezTo>
                <a:cubicBezTo>
                  <a:pt x="53" y="27"/>
                  <a:pt x="53" y="27"/>
                  <a:pt x="53" y="27"/>
                </a:cubicBezTo>
                <a:cubicBezTo>
                  <a:pt x="53" y="27"/>
                  <a:pt x="53" y="27"/>
                  <a:pt x="53" y="27"/>
                </a:cubicBezTo>
                <a:cubicBezTo>
                  <a:pt x="53" y="27"/>
                  <a:pt x="53" y="27"/>
                  <a:pt x="53" y="27"/>
                </a:cubicBezTo>
                <a:close/>
                <a:moveTo>
                  <a:pt x="53" y="27"/>
                </a:moveTo>
                <a:cubicBezTo>
                  <a:pt x="52" y="28"/>
                  <a:pt x="53" y="28"/>
                  <a:pt x="53" y="28"/>
                </a:cubicBezTo>
                <a:cubicBezTo>
                  <a:pt x="53" y="28"/>
                  <a:pt x="52" y="28"/>
                  <a:pt x="53" y="28"/>
                </a:cubicBezTo>
                <a:cubicBezTo>
                  <a:pt x="53" y="28"/>
                  <a:pt x="53" y="28"/>
                  <a:pt x="53" y="28"/>
                </a:cubicBezTo>
                <a:cubicBezTo>
                  <a:pt x="53" y="28"/>
                  <a:pt x="53" y="27"/>
                  <a:pt x="53" y="27"/>
                </a:cubicBezTo>
                <a:close/>
                <a:moveTo>
                  <a:pt x="53" y="26"/>
                </a:moveTo>
                <a:cubicBezTo>
                  <a:pt x="53" y="26"/>
                  <a:pt x="53" y="26"/>
                  <a:pt x="53" y="26"/>
                </a:cubicBezTo>
                <a:cubicBezTo>
                  <a:pt x="53" y="26"/>
                  <a:pt x="53" y="26"/>
                  <a:pt x="53" y="26"/>
                </a:cubicBezTo>
                <a:cubicBezTo>
                  <a:pt x="53" y="26"/>
                  <a:pt x="54" y="26"/>
                  <a:pt x="54" y="26"/>
                </a:cubicBezTo>
                <a:cubicBezTo>
                  <a:pt x="53" y="26"/>
                  <a:pt x="53" y="26"/>
                  <a:pt x="53" y="26"/>
                </a:cubicBezTo>
                <a:close/>
                <a:moveTo>
                  <a:pt x="53" y="26"/>
                </a:moveTo>
                <a:cubicBezTo>
                  <a:pt x="53" y="26"/>
                  <a:pt x="53" y="26"/>
                  <a:pt x="53" y="26"/>
                </a:cubicBezTo>
                <a:cubicBezTo>
                  <a:pt x="53" y="26"/>
                  <a:pt x="53" y="26"/>
                  <a:pt x="53" y="26"/>
                </a:cubicBezTo>
                <a:close/>
                <a:moveTo>
                  <a:pt x="53" y="27"/>
                </a:moveTo>
                <a:cubicBezTo>
                  <a:pt x="53" y="27"/>
                  <a:pt x="53" y="27"/>
                  <a:pt x="53" y="27"/>
                </a:cubicBezTo>
                <a:cubicBezTo>
                  <a:pt x="53" y="26"/>
                  <a:pt x="53" y="27"/>
                  <a:pt x="53" y="27"/>
                </a:cubicBezTo>
                <a:cubicBezTo>
                  <a:pt x="53" y="26"/>
                  <a:pt x="53" y="26"/>
                  <a:pt x="53" y="26"/>
                </a:cubicBezTo>
                <a:cubicBezTo>
                  <a:pt x="53" y="26"/>
                  <a:pt x="53" y="26"/>
                  <a:pt x="53" y="27"/>
                </a:cubicBezTo>
                <a:close/>
                <a:moveTo>
                  <a:pt x="52" y="27"/>
                </a:moveTo>
                <a:cubicBezTo>
                  <a:pt x="53" y="27"/>
                  <a:pt x="52" y="27"/>
                  <a:pt x="52" y="27"/>
                </a:cubicBezTo>
                <a:cubicBezTo>
                  <a:pt x="53" y="27"/>
                  <a:pt x="53" y="27"/>
                  <a:pt x="53" y="27"/>
                </a:cubicBezTo>
                <a:cubicBezTo>
                  <a:pt x="53" y="27"/>
                  <a:pt x="53" y="27"/>
                  <a:pt x="52" y="27"/>
                </a:cubicBezTo>
                <a:close/>
                <a:moveTo>
                  <a:pt x="51" y="30"/>
                </a:moveTo>
                <a:cubicBezTo>
                  <a:pt x="51" y="29"/>
                  <a:pt x="52" y="29"/>
                  <a:pt x="51" y="29"/>
                </a:cubicBezTo>
                <a:cubicBezTo>
                  <a:pt x="51" y="29"/>
                  <a:pt x="51" y="29"/>
                  <a:pt x="51" y="30"/>
                </a:cubicBezTo>
                <a:close/>
                <a:moveTo>
                  <a:pt x="50" y="31"/>
                </a:moveTo>
                <a:cubicBezTo>
                  <a:pt x="51" y="31"/>
                  <a:pt x="51" y="30"/>
                  <a:pt x="51" y="30"/>
                </a:cubicBezTo>
                <a:cubicBezTo>
                  <a:pt x="51" y="30"/>
                  <a:pt x="50" y="30"/>
                  <a:pt x="50" y="31"/>
                </a:cubicBezTo>
                <a:close/>
                <a:moveTo>
                  <a:pt x="50" y="31"/>
                </a:moveTo>
                <a:cubicBezTo>
                  <a:pt x="50" y="31"/>
                  <a:pt x="50" y="30"/>
                  <a:pt x="50" y="30"/>
                </a:cubicBezTo>
                <a:cubicBezTo>
                  <a:pt x="50" y="30"/>
                  <a:pt x="50" y="30"/>
                  <a:pt x="50" y="30"/>
                </a:cubicBezTo>
                <a:cubicBezTo>
                  <a:pt x="50" y="31"/>
                  <a:pt x="50" y="31"/>
                  <a:pt x="50" y="31"/>
                </a:cubicBezTo>
                <a:cubicBezTo>
                  <a:pt x="50" y="31"/>
                  <a:pt x="50" y="31"/>
                  <a:pt x="50" y="31"/>
                </a:cubicBezTo>
                <a:close/>
                <a:moveTo>
                  <a:pt x="50" y="31"/>
                </a:moveTo>
                <a:cubicBezTo>
                  <a:pt x="50" y="31"/>
                  <a:pt x="50" y="31"/>
                  <a:pt x="50" y="31"/>
                </a:cubicBezTo>
                <a:cubicBezTo>
                  <a:pt x="50" y="31"/>
                  <a:pt x="50" y="31"/>
                  <a:pt x="50" y="31"/>
                </a:cubicBezTo>
                <a:close/>
                <a:moveTo>
                  <a:pt x="52" y="27"/>
                </a:moveTo>
                <a:cubicBezTo>
                  <a:pt x="52" y="27"/>
                  <a:pt x="52" y="27"/>
                  <a:pt x="52" y="27"/>
                </a:cubicBezTo>
                <a:cubicBezTo>
                  <a:pt x="53" y="27"/>
                  <a:pt x="52" y="27"/>
                  <a:pt x="53" y="27"/>
                </a:cubicBezTo>
                <a:cubicBezTo>
                  <a:pt x="53" y="27"/>
                  <a:pt x="53" y="27"/>
                  <a:pt x="53" y="27"/>
                </a:cubicBezTo>
                <a:cubicBezTo>
                  <a:pt x="52" y="27"/>
                  <a:pt x="52" y="27"/>
                  <a:pt x="52" y="27"/>
                </a:cubicBezTo>
                <a:cubicBezTo>
                  <a:pt x="52" y="27"/>
                  <a:pt x="52" y="27"/>
                  <a:pt x="52" y="27"/>
                </a:cubicBezTo>
                <a:close/>
                <a:moveTo>
                  <a:pt x="52" y="28"/>
                </a:moveTo>
                <a:cubicBezTo>
                  <a:pt x="52" y="28"/>
                  <a:pt x="52" y="28"/>
                  <a:pt x="52" y="27"/>
                </a:cubicBezTo>
                <a:cubicBezTo>
                  <a:pt x="52" y="28"/>
                  <a:pt x="52" y="28"/>
                  <a:pt x="52" y="28"/>
                </a:cubicBezTo>
                <a:close/>
                <a:moveTo>
                  <a:pt x="52" y="29"/>
                </a:moveTo>
                <a:cubicBezTo>
                  <a:pt x="52" y="29"/>
                  <a:pt x="52" y="29"/>
                  <a:pt x="51" y="29"/>
                </a:cubicBezTo>
                <a:cubicBezTo>
                  <a:pt x="51" y="30"/>
                  <a:pt x="51" y="30"/>
                  <a:pt x="51" y="30"/>
                </a:cubicBezTo>
                <a:cubicBezTo>
                  <a:pt x="51" y="29"/>
                  <a:pt x="52" y="30"/>
                  <a:pt x="52" y="29"/>
                </a:cubicBezTo>
                <a:close/>
                <a:moveTo>
                  <a:pt x="52" y="29"/>
                </a:moveTo>
                <a:cubicBezTo>
                  <a:pt x="52" y="29"/>
                  <a:pt x="52" y="29"/>
                  <a:pt x="52" y="29"/>
                </a:cubicBezTo>
                <a:cubicBezTo>
                  <a:pt x="52" y="29"/>
                  <a:pt x="52" y="29"/>
                  <a:pt x="52" y="29"/>
                </a:cubicBezTo>
                <a:cubicBezTo>
                  <a:pt x="52" y="29"/>
                  <a:pt x="52" y="29"/>
                  <a:pt x="52" y="29"/>
                </a:cubicBezTo>
                <a:cubicBezTo>
                  <a:pt x="52" y="29"/>
                  <a:pt x="52" y="29"/>
                  <a:pt x="52" y="29"/>
                </a:cubicBezTo>
                <a:cubicBezTo>
                  <a:pt x="52" y="29"/>
                  <a:pt x="52" y="29"/>
                  <a:pt x="52" y="29"/>
                </a:cubicBezTo>
                <a:cubicBezTo>
                  <a:pt x="52" y="29"/>
                  <a:pt x="52" y="29"/>
                  <a:pt x="52" y="29"/>
                </a:cubicBezTo>
                <a:cubicBezTo>
                  <a:pt x="52" y="29"/>
                  <a:pt x="52" y="29"/>
                  <a:pt x="52" y="29"/>
                </a:cubicBezTo>
                <a:close/>
                <a:moveTo>
                  <a:pt x="54" y="25"/>
                </a:moveTo>
                <a:cubicBezTo>
                  <a:pt x="54" y="24"/>
                  <a:pt x="54" y="24"/>
                  <a:pt x="54" y="24"/>
                </a:cubicBezTo>
                <a:cubicBezTo>
                  <a:pt x="54" y="25"/>
                  <a:pt x="54" y="25"/>
                  <a:pt x="54" y="25"/>
                </a:cubicBezTo>
                <a:close/>
                <a:moveTo>
                  <a:pt x="54" y="25"/>
                </a:moveTo>
                <a:cubicBezTo>
                  <a:pt x="54" y="26"/>
                  <a:pt x="54" y="26"/>
                  <a:pt x="54" y="26"/>
                </a:cubicBezTo>
                <a:cubicBezTo>
                  <a:pt x="54" y="25"/>
                  <a:pt x="54" y="25"/>
                  <a:pt x="54" y="25"/>
                </a:cubicBezTo>
                <a:close/>
                <a:moveTo>
                  <a:pt x="54" y="26"/>
                </a:moveTo>
                <a:cubicBezTo>
                  <a:pt x="54" y="26"/>
                  <a:pt x="54" y="26"/>
                  <a:pt x="54" y="26"/>
                </a:cubicBezTo>
                <a:cubicBezTo>
                  <a:pt x="54" y="26"/>
                  <a:pt x="54" y="26"/>
                  <a:pt x="54" y="26"/>
                </a:cubicBezTo>
                <a:cubicBezTo>
                  <a:pt x="53" y="26"/>
                  <a:pt x="54" y="27"/>
                  <a:pt x="53" y="27"/>
                </a:cubicBezTo>
                <a:cubicBezTo>
                  <a:pt x="53" y="27"/>
                  <a:pt x="53" y="27"/>
                  <a:pt x="53" y="27"/>
                </a:cubicBezTo>
                <a:cubicBezTo>
                  <a:pt x="54" y="26"/>
                  <a:pt x="54" y="27"/>
                  <a:pt x="54" y="26"/>
                </a:cubicBezTo>
                <a:close/>
                <a:moveTo>
                  <a:pt x="47" y="38"/>
                </a:moveTo>
                <a:cubicBezTo>
                  <a:pt x="47" y="37"/>
                  <a:pt x="47" y="37"/>
                  <a:pt x="47" y="37"/>
                </a:cubicBezTo>
                <a:cubicBezTo>
                  <a:pt x="47" y="37"/>
                  <a:pt x="47" y="37"/>
                  <a:pt x="47" y="37"/>
                </a:cubicBezTo>
                <a:cubicBezTo>
                  <a:pt x="47" y="38"/>
                  <a:pt x="47" y="38"/>
                  <a:pt x="47" y="38"/>
                </a:cubicBezTo>
                <a:cubicBezTo>
                  <a:pt x="47" y="38"/>
                  <a:pt x="47" y="38"/>
                  <a:pt x="47" y="38"/>
                </a:cubicBezTo>
                <a:close/>
                <a:moveTo>
                  <a:pt x="50" y="35"/>
                </a:moveTo>
                <a:cubicBezTo>
                  <a:pt x="49" y="35"/>
                  <a:pt x="49" y="35"/>
                  <a:pt x="49" y="35"/>
                </a:cubicBezTo>
                <a:cubicBezTo>
                  <a:pt x="50" y="35"/>
                  <a:pt x="50" y="35"/>
                  <a:pt x="50" y="35"/>
                </a:cubicBezTo>
                <a:close/>
                <a:moveTo>
                  <a:pt x="49" y="36"/>
                </a:moveTo>
                <a:cubicBezTo>
                  <a:pt x="49" y="35"/>
                  <a:pt x="49" y="35"/>
                  <a:pt x="49" y="35"/>
                </a:cubicBezTo>
                <a:cubicBezTo>
                  <a:pt x="49" y="35"/>
                  <a:pt x="49" y="35"/>
                  <a:pt x="49" y="36"/>
                </a:cubicBezTo>
                <a:close/>
                <a:moveTo>
                  <a:pt x="50" y="35"/>
                </a:moveTo>
                <a:cubicBezTo>
                  <a:pt x="50" y="35"/>
                  <a:pt x="49" y="35"/>
                  <a:pt x="49" y="35"/>
                </a:cubicBezTo>
                <a:cubicBezTo>
                  <a:pt x="49" y="35"/>
                  <a:pt x="50" y="36"/>
                  <a:pt x="50" y="35"/>
                </a:cubicBezTo>
                <a:cubicBezTo>
                  <a:pt x="50" y="35"/>
                  <a:pt x="50" y="35"/>
                  <a:pt x="50" y="35"/>
                </a:cubicBezTo>
                <a:cubicBezTo>
                  <a:pt x="50" y="35"/>
                  <a:pt x="50" y="35"/>
                  <a:pt x="50" y="34"/>
                </a:cubicBezTo>
                <a:cubicBezTo>
                  <a:pt x="50" y="35"/>
                  <a:pt x="50" y="35"/>
                  <a:pt x="50" y="34"/>
                </a:cubicBezTo>
                <a:cubicBezTo>
                  <a:pt x="50" y="35"/>
                  <a:pt x="50" y="35"/>
                  <a:pt x="50" y="35"/>
                </a:cubicBezTo>
                <a:cubicBezTo>
                  <a:pt x="50" y="35"/>
                  <a:pt x="50" y="35"/>
                  <a:pt x="50" y="35"/>
                </a:cubicBezTo>
                <a:close/>
                <a:moveTo>
                  <a:pt x="50" y="34"/>
                </a:moveTo>
                <a:cubicBezTo>
                  <a:pt x="50" y="34"/>
                  <a:pt x="50" y="34"/>
                  <a:pt x="50" y="34"/>
                </a:cubicBezTo>
                <a:cubicBezTo>
                  <a:pt x="50" y="34"/>
                  <a:pt x="50" y="34"/>
                  <a:pt x="50" y="34"/>
                </a:cubicBezTo>
                <a:cubicBezTo>
                  <a:pt x="50" y="34"/>
                  <a:pt x="50" y="34"/>
                  <a:pt x="50" y="34"/>
                </a:cubicBezTo>
                <a:close/>
                <a:moveTo>
                  <a:pt x="53" y="29"/>
                </a:moveTo>
                <a:cubicBezTo>
                  <a:pt x="53" y="29"/>
                  <a:pt x="53" y="28"/>
                  <a:pt x="53" y="29"/>
                </a:cubicBezTo>
                <a:cubicBezTo>
                  <a:pt x="53" y="29"/>
                  <a:pt x="53" y="29"/>
                  <a:pt x="53" y="29"/>
                </a:cubicBezTo>
                <a:cubicBezTo>
                  <a:pt x="53" y="29"/>
                  <a:pt x="53" y="29"/>
                  <a:pt x="53" y="29"/>
                </a:cubicBezTo>
                <a:cubicBezTo>
                  <a:pt x="53" y="29"/>
                  <a:pt x="53" y="29"/>
                  <a:pt x="53" y="29"/>
                </a:cubicBezTo>
                <a:cubicBezTo>
                  <a:pt x="53" y="29"/>
                  <a:pt x="53" y="28"/>
                  <a:pt x="53" y="28"/>
                </a:cubicBezTo>
                <a:cubicBezTo>
                  <a:pt x="53" y="28"/>
                  <a:pt x="53" y="28"/>
                  <a:pt x="53" y="29"/>
                </a:cubicBezTo>
                <a:close/>
                <a:moveTo>
                  <a:pt x="53" y="29"/>
                </a:moveTo>
                <a:cubicBezTo>
                  <a:pt x="53" y="29"/>
                  <a:pt x="53" y="29"/>
                  <a:pt x="53" y="29"/>
                </a:cubicBezTo>
                <a:cubicBezTo>
                  <a:pt x="53" y="29"/>
                  <a:pt x="53" y="29"/>
                  <a:pt x="53" y="29"/>
                </a:cubicBezTo>
                <a:cubicBezTo>
                  <a:pt x="53" y="29"/>
                  <a:pt x="53" y="29"/>
                  <a:pt x="53" y="29"/>
                </a:cubicBezTo>
                <a:cubicBezTo>
                  <a:pt x="53" y="29"/>
                  <a:pt x="53" y="29"/>
                  <a:pt x="53" y="29"/>
                </a:cubicBezTo>
                <a:cubicBezTo>
                  <a:pt x="53" y="29"/>
                  <a:pt x="53" y="29"/>
                  <a:pt x="53" y="29"/>
                </a:cubicBezTo>
                <a:close/>
                <a:moveTo>
                  <a:pt x="52" y="29"/>
                </a:moveTo>
                <a:cubicBezTo>
                  <a:pt x="52" y="30"/>
                  <a:pt x="52" y="30"/>
                  <a:pt x="52" y="30"/>
                </a:cubicBezTo>
                <a:cubicBezTo>
                  <a:pt x="52" y="30"/>
                  <a:pt x="52" y="29"/>
                  <a:pt x="53" y="29"/>
                </a:cubicBezTo>
                <a:cubicBezTo>
                  <a:pt x="53" y="30"/>
                  <a:pt x="53" y="30"/>
                  <a:pt x="53" y="30"/>
                </a:cubicBezTo>
                <a:cubicBezTo>
                  <a:pt x="53" y="29"/>
                  <a:pt x="52" y="29"/>
                  <a:pt x="52" y="29"/>
                </a:cubicBezTo>
                <a:cubicBezTo>
                  <a:pt x="52" y="29"/>
                  <a:pt x="52" y="29"/>
                  <a:pt x="52" y="29"/>
                </a:cubicBezTo>
                <a:close/>
                <a:moveTo>
                  <a:pt x="52" y="30"/>
                </a:moveTo>
                <a:cubicBezTo>
                  <a:pt x="52" y="30"/>
                  <a:pt x="52" y="31"/>
                  <a:pt x="52" y="31"/>
                </a:cubicBezTo>
                <a:cubicBezTo>
                  <a:pt x="52" y="31"/>
                  <a:pt x="52" y="30"/>
                  <a:pt x="52" y="30"/>
                </a:cubicBezTo>
                <a:close/>
                <a:moveTo>
                  <a:pt x="53" y="29"/>
                </a:moveTo>
                <a:cubicBezTo>
                  <a:pt x="53" y="29"/>
                  <a:pt x="53" y="29"/>
                  <a:pt x="53" y="29"/>
                </a:cubicBezTo>
                <a:cubicBezTo>
                  <a:pt x="53" y="29"/>
                  <a:pt x="53" y="29"/>
                  <a:pt x="53" y="29"/>
                </a:cubicBezTo>
                <a:cubicBezTo>
                  <a:pt x="53" y="29"/>
                  <a:pt x="53" y="30"/>
                  <a:pt x="52" y="30"/>
                </a:cubicBezTo>
                <a:cubicBezTo>
                  <a:pt x="53" y="30"/>
                  <a:pt x="53" y="29"/>
                  <a:pt x="53" y="29"/>
                </a:cubicBezTo>
                <a:close/>
                <a:moveTo>
                  <a:pt x="53" y="30"/>
                </a:moveTo>
                <a:cubicBezTo>
                  <a:pt x="53" y="30"/>
                  <a:pt x="53" y="30"/>
                  <a:pt x="53" y="30"/>
                </a:cubicBezTo>
                <a:cubicBezTo>
                  <a:pt x="53" y="30"/>
                  <a:pt x="52" y="30"/>
                  <a:pt x="52" y="30"/>
                </a:cubicBezTo>
                <a:cubicBezTo>
                  <a:pt x="52" y="30"/>
                  <a:pt x="52" y="30"/>
                  <a:pt x="53" y="30"/>
                </a:cubicBezTo>
                <a:cubicBezTo>
                  <a:pt x="52" y="30"/>
                  <a:pt x="53" y="30"/>
                  <a:pt x="53" y="30"/>
                </a:cubicBezTo>
                <a:close/>
                <a:moveTo>
                  <a:pt x="54" y="28"/>
                </a:moveTo>
                <a:cubicBezTo>
                  <a:pt x="54" y="28"/>
                  <a:pt x="54" y="28"/>
                  <a:pt x="54" y="28"/>
                </a:cubicBezTo>
                <a:cubicBezTo>
                  <a:pt x="54" y="28"/>
                  <a:pt x="54" y="28"/>
                  <a:pt x="54" y="28"/>
                </a:cubicBezTo>
                <a:cubicBezTo>
                  <a:pt x="54" y="28"/>
                  <a:pt x="54" y="28"/>
                  <a:pt x="54" y="27"/>
                </a:cubicBezTo>
                <a:cubicBezTo>
                  <a:pt x="54" y="28"/>
                  <a:pt x="54" y="28"/>
                  <a:pt x="54" y="28"/>
                </a:cubicBezTo>
                <a:cubicBezTo>
                  <a:pt x="54" y="27"/>
                  <a:pt x="54" y="27"/>
                  <a:pt x="54" y="27"/>
                </a:cubicBezTo>
                <a:cubicBezTo>
                  <a:pt x="54" y="27"/>
                  <a:pt x="54" y="27"/>
                  <a:pt x="54" y="27"/>
                </a:cubicBezTo>
                <a:cubicBezTo>
                  <a:pt x="54" y="27"/>
                  <a:pt x="54" y="28"/>
                  <a:pt x="54" y="28"/>
                </a:cubicBezTo>
                <a:cubicBezTo>
                  <a:pt x="54" y="28"/>
                  <a:pt x="54" y="27"/>
                  <a:pt x="54" y="27"/>
                </a:cubicBezTo>
                <a:cubicBezTo>
                  <a:pt x="54" y="27"/>
                  <a:pt x="53" y="28"/>
                  <a:pt x="53" y="28"/>
                </a:cubicBezTo>
                <a:cubicBezTo>
                  <a:pt x="53" y="28"/>
                  <a:pt x="54" y="28"/>
                  <a:pt x="54" y="28"/>
                </a:cubicBezTo>
                <a:cubicBezTo>
                  <a:pt x="54" y="28"/>
                  <a:pt x="53" y="28"/>
                  <a:pt x="53" y="29"/>
                </a:cubicBezTo>
                <a:cubicBezTo>
                  <a:pt x="53" y="29"/>
                  <a:pt x="53" y="28"/>
                  <a:pt x="54" y="28"/>
                </a:cubicBezTo>
                <a:cubicBezTo>
                  <a:pt x="54" y="28"/>
                  <a:pt x="53" y="28"/>
                  <a:pt x="54" y="28"/>
                </a:cubicBezTo>
                <a:close/>
                <a:moveTo>
                  <a:pt x="53" y="30"/>
                </a:moveTo>
                <a:cubicBezTo>
                  <a:pt x="53" y="30"/>
                  <a:pt x="53" y="30"/>
                  <a:pt x="53" y="30"/>
                </a:cubicBezTo>
                <a:cubicBezTo>
                  <a:pt x="53" y="30"/>
                  <a:pt x="53" y="30"/>
                  <a:pt x="53" y="30"/>
                </a:cubicBezTo>
                <a:close/>
                <a:moveTo>
                  <a:pt x="54" y="29"/>
                </a:moveTo>
                <a:cubicBezTo>
                  <a:pt x="54" y="29"/>
                  <a:pt x="54" y="29"/>
                  <a:pt x="54" y="29"/>
                </a:cubicBezTo>
                <a:cubicBezTo>
                  <a:pt x="54" y="29"/>
                  <a:pt x="54" y="29"/>
                  <a:pt x="54" y="29"/>
                </a:cubicBezTo>
                <a:cubicBezTo>
                  <a:pt x="54" y="29"/>
                  <a:pt x="54" y="29"/>
                  <a:pt x="54" y="29"/>
                </a:cubicBezTo>
                <a:close/>
                <a:moveTo>
                  <a:pt x="56" y="26"/>
                </a:moveTo>
                <a:cubicBezTo>
                  <a:pt x="56" y="27"/>
                  <a:pt x="55" y="26"/>
                  <a:pt x="56" y="27"/>
                </a:cubicBezTo>
                <a:cubicBezTo>
                  <a:pt x="56" y="27"/>
                  <a:pt x="56" y="26"/>
                  <a:pt x="56" y="26"/>
                </a:cubicBezTo>
                <a:close/>
                <a:moveTo>
                  <a:pt x="59" y="23"/>
                </a:moveTo>
                <a:cubicBezTo>
                  <a:pt x="58" y="23"/>
                  <a:pt x="59" y="23"/>
                  <a:pt x="59" y="23"/>
                </a:cubicBezTo>
                <a:cubicBezTo>
                  <a:pt x="59" y="23"/>
                  <a:pt x="58" y="23"/>
                  <a:pt x="58" y="23"/>
                </a:cubicBezTo>
                <a:cubicBezTo>
                  <a:pt x="58" y="23"/>
                  <a:pt x="58" y="24"/>
                  <a:pt x="59" y="23"/>
                </a:cubicBezTo>
                <a:close/>
                <a:moveTo>
                  <a:pt x="60" y="22"/>
                </a:moveTo>
                <a:cubicBezTo>
                  <a:pt x="60" y="22"/>
                  <a:pt x="60" y="22"/>
                  <a:pt x="60" y="22"/>
                </a:cubicBezTo>
                <a:cubicBezTo>
                  <a:pt x="59" y="22"/>
                  <a:pt x="59" y="22"/>
                  <a:pt x="59" y="22"/>
                </a:cubicBezTo>
                <a:cubicBezTo>
                  <a:pt x="59" y="22"/>
                  <a:pt x="59" y="22"/>
                  <a:pt x="59" y="21"/>
                </a:cubicBezTo>
                <a:cubicBezTo>
                  <a:pt x="59" y="22"/>
                  <a:pt x="59" y="21"/>
                  <a:pt x="59" y="22"/>
                </a:cubicBezTo>
                <a:cubicBezTo>
                  <a:pt x="59" y="22"/>
                  <a:pt x="59" y="22"/>
                  <a:pt x="59" y="22"/>
                </a:cubicBezTo>
                <a:cubicBezTo>
                  <a:pt x="59" y="22"/>
                  <a:pt x="59" y="22"/>
                  <a:pt x="59" y="22"/>
                </a:cubicBezTo>
                <a:cubicBezTo>
                  <a:pt x="59" y="22"/>
                  <a:pt x="59" y="22"/>
                  <a:pt x="60" y="22"/>
                </a:cubicBezTo>
                <a:cubicBezTo>
                  <a:pt x="60" y="22"/>
                  <a:pt x="59" y="22"/>
                  <a:pt x="60" y="22"/>
                </a:cubicBezTo>
                <a:close/>
                <a:moveTo>
                  <a:pt x="45" y="26"/>
                </a:moveTo>
                <a:cubicBezTo>
                  <a:pt x="45" y="26"/>
                  <a:pt x="45" y="26"/>
                  <a:pt x="45" y="26"/>
                </a:cubicBezTo>
                <a:cubicBezTo>
                  <a:pt x="45" y="26"/>
                  <a:pt x="45" y="26"/>
                  <a:pt x="45" y="26"/>
                </a:cubicBezTo>
                <a:cubicBezTo>
                  <a:pt x="45" y="26"/>
                  <a:pt x="45" y="26"/>
                  <a:pt x="45" y="26"/>
                </a:cubicBezTo>
                <a:cubicBezTo>
                  <a:pt x="45" y="26"/>
                  <a:pt x="45" y="26"/>
                  <a:pt x="45" y="26"/>
                </a:cubicBezTo>
                <a:close/>
                <a:moveTo>
                  <a:pt x="51" y="31"/>
                </a:moveTo>
                <a:cubicBezTo>
                  <a:pt x="51" y="31"/>
                  <a:pt x="51" y="31"/>
                  <a:pt x="51" y="31"/>
                </a:cubicBezTo>
                <a:cubicBezTo>
                  <a:pt x="51" y="31"/>
                  <a:pt x="51" y="31"/>
                  <a:pt x="51" y="31"/>
                </a:cubicBezTo>
                <a:cubicBezTo>
                  <a:pt x="51" y="31"/>
                  <a:pt x="51" y="31"/>
                  <a:pt x="51" y="31"/>
                </a:cubicBezTo>
                <a:cubicBezTo>
                  <a:pt x="51" y="31"/>
                  <a:pt x="51" y="31"/>
                  <a:pt x="51" y="31"/>
                </a:cubicBezTo>
                <a:cubicBezTo>
                  <a:pt x="51" y="31"/>
                  <a:pt x="51" y="31"/>
                  <a:pt x="51" y="31"/>
                </a:cubicBezTo>
                <a:cubicBezTo>
                  <a:pt x="51" y="31"/>
                  <a:pt x="51" y="31"/>
                  <a:pt x="51" y="31"/>
                </a:cubicBezTo>
                <a:cubicBezTo>
                  <a:pt x="51" y="31"/>
                  <a:pt x="51" y="31"/>
                  <a:pt x="51" y="31"/>
                </a:cubicBezTo>
                <a:cubicBezTo>
                  <a:pt x="51" y="31"/>
                  <a:pt x="51" y="31"/>
                  <a:pt x="51" y="31"/>
                </a:cubicBezTo>
                <a:close/>
                <a:moveTo>
                  <a:pt x="65" y="4"/>
                </a:moveTo>
                <a:cubicBezTo>
                  <a:pt x="65" y="4"/>
                  <a:pt x="65" y="3"/>
                  <a:pt x="64" y="3"/>
                </a:cubicBezTo>
                <a:cubicBezTo>
                  <a:pt x="64" y="3"/>
                  <a:pt x="64" y="3"/>
                  <a:pt x="64" y="3"/>
                </a:cubicBezTo>
                <a:cubicBezTo>
                  <a:pt x="65" y="3"/>
                  <a:pt x="65" y="3"/>
                  <a:pt x="65" y="3"/>
                </a:cubicBezTo>
                <a:cubicBezTo>
                  <a:pt x="65" y="3"/>
                  <a:pt x="65" y="4"/>
                  <a:pt x="65" y="4"/>
                </a:cubicBezTo>
                <a:cubicBezTo>
                  <a:pt x="65" y="4"/>
                  <a:pt x="65" y="4"/>
                  <a:pt x="65" y="4"/>
                </a:cubicBezTo>
                <a:close/>
                <a:moveTo>
                  <a:pt x="43" y="23"/>
                </a:moveTo>
                <a:cubicBezTo>
                  <a:pt x="43" y="23"/>
                  <a:pt x="43" y="23"/>
                  <a:pt x="43" y="23"/>
                </a:cubicBezTo>
                <a:cubicBezTo>
                  <a:pt x="43" y="23"/>
                  <a:pt x="43" y="23"/>
                  <a:pt x="43" y="23"/>
                </a:cubicBezTo>
                <a:cubicBezTo>
                  <a:pt x="43" y="23"/>
                  <a:pt x="43" y="23"/>
                  <a:pt x="43" y="23"/>
                </a:cubicBezTo>
                <a:cubicBezTo>
                  <a:pt x="43" y="23"/>
                  <a:pt x="43" y="23"/>
                  <a:pt x="43" y="23"/>
                </a:cubicBezTo>
                <a:close/>
                <a:moveTo>
                  <a:pt x="45" y="26"/>
                </a:moveTo>
                <a:cubicBezTo>
                  <a:pt x="44" y="27"/>
                  <a:pt x="44" y="27"/>
                  <a:pt x="44" y="27"/>
                </a:cubicBezTo>
                <a:cubicBezTo>
                  <a:pt x="44" y="27"/>
                  <a:pt x="45" y="27"/>
                  <a:pt x="44" y="27"/>
                </a:cubicBezTo>
                <a:cubicBezTo>
                  <a:pt x="44" y="27"/>
                  <a:pt x="44" y="27"/>
                  <a:pt x="44" y="27"/>
                </a:cubicBezTo>
                <a:cubicBezTo>
                  <a:pt x="44" y="26"/>
                  <a:pt x="44" y="26"/>
                  <a:pt x="45" y="26"/>
                </a:cubicBezTo>
                <a:cubicBezTo>
                  <a:pt x="45" y="26"/>
                  <a:pt x="44" y="26"/>
                  <a:pt x="45" y="26"/>
                </a:cubicBezTo>
                <a:close/>
                <a:moveTo>
                  <a:pt x="46" y="27"/>
                </a:moveTo>
                <a:cubicBezTo>
                  <a:pt x="46" y="28"/>
                  <a:pt x="46" y="28"/>
                  <a:pt x="46" y="28"/>
                </a:cubicBezTo>
                <a:cubicBezTo>
                  <a:pt x="46" y="28"/>
                  <a:pt x="46" y="28"/>
                  <a:pt x="45" y="28"/>
                </a:cubicBezTo>
                <a:cubicBezTo>
                  <a:pt x="46" y="27"/>
                  <a:pt x="46" y="27"/>
                  <a:pt x="46" y="27"/>
                </a:cubicBezTo>
                <a:cubicBezTo>
                  <a:pt x="46" y="27"/>
                  <a:pt x="46" y="27"/>
                  <a:pt x="46" y="27"/>
                </a:cubicBezTo>
                <a:close/>
                <a:moveTo>
                  <a:pt x="45" y="28"/>
                </a:moveTo>
                <a:cubicBezTo>
                  <a:pt x="45" y="28"/>
                  <a:pt x="45" y="28"/>
                  <a:pt x="45" y="28"/>
                </a:cubicBezTo>
                <a:cubicBezTo>
                  <a:pt x="44" y="29"/>
                  <a:pt x="44" y="29"/>
                  <a:pt x="44" y="29"/>
                </a:cubicBezTo>
                <a:cubicBezTo>
                  <a:pt x="44" y="29"/>
                  <a:pt x="44" y="29"/>
                  <a:pt x="44" y="2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28"/>
                  <a:pt x="44" y="28"/>
                  <a:pt x="44" y="28"/>
                </a:cubicBezTo>
                <a:cubicBezTo>
                  <a:pt x="45" y="28"/>
                  <a:pt x="44" y="28"/>
                  <a:pt x="45" y="28"/>
                </a:cubicBezTo>
                <a:cubicBezTo>
                  <a:pt x="45" y="28"/>
                  <a:pt x="45" y="28"/>
                  <a:pt x="45" y="28"/>
                </a:cubicBezTo>
                <a:cubicBezTo>
                  <a:pt x="45" y="28"/>
                  <a:pt x="45" y="28"/>
                  <a:pt x="45" y="28"/>
                </a:cubicBezTo>
                <a:close/>
                <a:moveTo>
                  <a:pt x="45" y="28"/>
                </a:moveTo>
                <a:cubicBezTo>
                  <a:pt x="45" y="28"/>
                  <a:pt x="45" y="28"/>
                  <a:pt x="45" y="29"/>
                </a:cubicBezTo>
                <a:cubicBezTo>
                  <a:pt x="45" y="28"/>
                  <a:pt x="45" y="28"/>
                  <a:pt x="45" y="28"/>
                </a:cubicBezTo>
                <a:cubicBezTo>
                  <a:pt x="45" y="28"/>
                  <a:pt x="45" y="28"/>
                  <a:pt x="45" y="28"/>
                </a:cubicBezTo>
                <a:close/>
                <a:moveTo>
                  <a:pt x="45" y="29"/>
                </a:moveTo>
                <a:cubicBezTo>
                  <a:pt x="45" y="29"/>
                  <a:pt x="45" y="29"/>
                  <a:pt x="45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45" y="29"/>
                  <a:pt x="45" y="29"/>
                  <a:pt x="45" y="29"/>
                </a:cubicBezTo>
                <a:cubicBezTo>
                  <a:pt x="45" y="29"/>
                  <a:pt x="45" y="29"/>
                  <a:pt x="45" y="29"/>
                </a:cubicBezTo>
                <a:close/>
                <a:moveTo>
                  <a:pt x="44" y="28"/>
                </a:moveTo>
                <a:cubicBezTo>
                  <a:pt x="44" y="28"/>
                  <a:pt x="44" y="28"/>
                  <a:pt x="44" y="28"/>
                </a:cubicBezTo>
                <a:cubicBezTo>
                  <a:pt x="43" y="28"/>
                  <a:pt x="43" y="28"/>
                  <a:pt x="43" y="28"/>
                </a:cubicBezTo>
                <a:cubicBezTo>
                  <a:pt x="43" y="28"/>
                  <a:pt x="43" y="28"/>
                  <a:pt x="44" y="28"/>
                </a:cubicBezTo>
                <a:close/>
                <a:moveTo>
                  <a:pt x="44" y="29"/>
                </a:moveTo>
                <a:cubicBezTo>
                  <a:pt x="44" y="29"/>
                  <a:pt x="44" y="29"/>
                  <a:pt x="44" y="29"/>
                </a:cubicBezTo>
                <a:cubicBezTo>
                  <a:pt x="44" y="29"/>
                  <a:pt x="43" y="30"/>
                  <a:pt x="43" y="30"/>
                </a:cubicBezTo>
                <a:cubicBezTo>
                  <a:pt x="43" y="30"/>
                  <a:pt x="44" y="29"/>
                  <a:pt x="44" y="29"/>
                </a:cubicBezTo>
                <a:cubicBezTo>
                  <a:pt x="44" y="29"/>
                  <a:pt x="44" y="29"/>
                  <a:pt x="44" y="29"/>
                </a:cubicBezTo>
                <a:close/>
                <a:moveTo>
                  <a:pt x="44" y="29"/>
                </a:moveTo>
                <a:cubicBezTo>
                  <a:pt x="44" y="29"/>
                  <a:pt x="44" y="29"/>
                  <a:pt x="44" y="30"/>
                </a:cubicBezTo>
                <a:cubicBezTo>
                  <a:pt x="44" y="30"/>
                  <a:pt x="44" y="30"/>
                  <a:pt x="44" y="29"/>
                </a:cubicBezTo>
                <a:cubicBezTo>
                  <a:pt x="44" y="29"/>
                  <a:pt x="44" y="29"/>
                  <a:pt x="44" y="29"/>
                </a:cubicBezTo>
                <a:cubicBezTo>
                  <a:pt x="44" y="29"/>
                  <a:pt x="44" y="29"/>
                  <a:pt x="44" y="29"/>
                </a:cubicBezTo>
                <a:cubicBezTo>
                  <a:pt x="44" y="29"/>
                  <a:pt x="44" y="29"/>
                  <a:pt x="44" y="29"/>
                </a:cubicBezTo>
                <a:close/>
                <a:moveTo>
                  <a:pt x="46" y="32"/>
                </a:moveTo>
                <a:cubicBezTo>
                  <a:pt x="46" y="31"/>
                  <a:pt x="46" y="31"/>
                  <a:pt x="46" y="31"/>
                </a:cubicBezTo>
                <a:cubicBezTo>
                  <a:pt x="46" y="31"/>
                  <a:pt x="46" y="31"/>
                  <a:pt x="46" y="30"/>
                </a:cubicBezTo>
                <a:cubicBezTo>
                  <a:pt x="47" y="30"/>
                  <a:pt x="46" y="31"/>
                  <a:pt x="47" y="31"/>
                </a:cubicBezTo>
                <a:cubicBezTo>
                  <a:pt x="47" y="31"/>
                  <a:pt x="46" y="31"/>
                  <a:pt x="46" y="31"/>
                </a:cubicBezTo>
                <a:cubicBezTo>
                  <a:pt x="46" y="31"/>
                  <a:pt x="46" y="32"/>
                  <a:pt x="46" y="32"/>
                </a:cubicBezTo>
                <a:cubicBezTo>
                  <a:pt x="46" y="32"/>
                  <a:pt x="46" y="32"/>
                  <a:pt x="46" y="32"/>
                </a:cubicBezTo>
                <a:close/>
                <a:moveTo>
                  <a:pt x="47" y="31"/>
                </a:moveTo>
                <a:cubicBezTo>
                  <a:pt x="47" y="31"/>
                  <a:pt x="47" y="31"/>
                  <a:pt x="47" y="31"/>
                </a:cubicBezTo>
                <a:cubicBezTo>
                  <a:pt x="47" y="31"/>
                  <a:pt x="47" y="31"/>
                  <a:pt x="47" y="31"/>
                </a:cubicBezTo>
                <a:cubicBezTo>
                  <a:pt x="47" y="31"/>
                  <a:pt x="47" y="31"/>
                  <a:pt x="47" y="31"/>
                </a:cubicBezTo>
                <a:cubicBezTo>
                  <a:pt x="47" y="30"/>
                  <a:pt x="47" y="30"/>
                  <a:pt x="47" y="30"/>
                </a:cubicBezTo>
                <a:cubicBezTo>
                  <a:pt x="47" y="30"/>
                  <a:pt x="47" y="31"/>
                  <a:pt x="47" y="31"/>
                </a:cubicBezTo>
                <a:close/>
                <a:moveTo>
                  <a:pt x="45" y="30"/>
                </a:moveTo>
                <a:cubicBezTo>
                  <a:pt x="45" y="30"/>
                  <a:pt x="45" y="30"/>
                  <a:pt x="44" y="30"/>
                </a:cubicBezTo>
                <a:cubicBezTo>
                  <a:pt x="45" y="30"/>
                  <a:pt x="45" y="30"/>
                  <a:pt x="45" y="30"/>
                </a:cubicBezTo>
                <a:cubicBezTo>
                  <a:pt x="45" y="30"/>
                  <a:pt x="45" y="30"/>
                  <a:pt x="45" y="30"/>
                </a:cubicBezTo>
                <a:close/>
                <a:moveTo>
                  <a:pt x="46" y="31"/>
                </a:moveTo>
                <a:cubicBezTo>
                  <a:pt x="46" y="31"/>
                  <a:pt x="47" y="31"/>
                  <a:pt x="47" y="31"/>
                </a:cubicBezTo>
                <a:cubicBezTo>
                  <a:pt x="47" y="31"/>
                  <a:pt x="47" y="31"/>
                  <a:pt x="46" y="31"/>
                </a:cubicBezTo>
                <a:close/>
                <a:moveTo>
                  <a:pt x="50" y="33"/>
                </a:moveTo>
                <a:cubicBezTo>
                  <a:pt x="50" y="33"/>
                  <a:pt x="50" y="33"/>
                  <a:pt x="49" y="33"/>
                </a:cubicBezTo>
                <a:cubicBezTo>
                  <a:pt x="49" y="33"/>
                  <a:pt x="49" y="33"/>
                  <a:pt x="49" y="33"/>
                </a:cubicBezTo>
                <a:cubicBezTo>
                  <a:pt x="49" y="34"/>
                  <a:pt x="49" y="34"/>
                  <a:pt x="49" y="35"/>
                </a:cubicBezTo>
                <a:cubicBezTo>
                  <a:pt x="48" y="35"/>
                  <a:pt x="48" y="35"/>
                  <a:pt x="48" y="35"/>
                </a:cubicBezTo>
                <a:cubicBezTo>
                  <a:pt x="48" y="35"/>
                  <a:pt x="48" y="35"/>
                  <a:pt x="48" y="35"/>
                </a:cubicBezTo>
                <a:cubicBezTo>
                  <a:pt x="48" y="35"/>
                  <a:pt x="48" y="35"/>
                  <a:pt x="48" y="35"/>
                </a:cubicBezTo>
                <a:cubicBezTo>
                  <a:pt x="48" y="35"/>
                  <a:pt x="48" y="35"/>
                  <a:pt x="48" y="35"/>
                </a:cubicBezTo>
                <a:cubicBezTo>
                  <a:pt x="48" y="35"/>
                  <a:pt x="48" y="35"/>
                  <a:pt x="48" y="35"/>
                </a:cubicBezTo>
                <a:cubicBezTo>
                  <a:pt x="48" y="35"/>
                  <a:pt x="48" y="35"/>
                  <a:pt x="48" y="35"/>
                </a:cubicBezTo>
                <a:cubicBezTo>
                  <a:pt x="48" y="35"/>
                  <a:pt x="48" y="35"/>
                  <a:pt x="48" y="35"/>
                </a:cubicBezTo>
                <a:cubicBezTo>
                  <a:pt x="48" y="35"/>
                  <a:pt x="48" y="35"/>
                  <a:pt x="48" y="34"/>
                </a:cubicBezTo>
                <a:cubicBezTo>
                  <a:pt x="48" y="34"/>
                  <a:pt x="48" y="34"/>
                  <a:pt x="49" y="34"/>
                </a:cubicBezTo>
                <a:cubicBezTo>
                  <a:pt x="49" y="34"/>
                  <a:pt x="49" y="34"/>
                  <a:pt x="48" y="34"/>
                </a:cubicBezTo>
                <a:cubicBezTo>
                  <a:pt x="48" y="34"/>
                  <a:pt x="49" y="34"/>
                  <a:pt x="49" y="33"/>
                </a:cubicBezTo>
                <a:cubicBezTo>
                  <a:pt x="49" y="34"/>
                  <a:pt x="49" y="33"/>
                  <a:pt x="49" y="34"/>
                </a:cubicBezTo>
                <a:cubicBezTo>
                  <a:pt x="49" y="33"/>
                  <a:pt x="49" y="33"/>
                  <a:pt x="49" y="33"/>
                </a:cubicBezTo>
                <a:cubicBezTo>
                  <a:pt x="49" y="33"/>
                  <a:pt x="49" y="33"/>
                  <a:pt x="49" y="33"/>
                </a:cubicBezTo>
                <a:cubicBezTo>
                  <a:pt x="49" y="33"/>
                  <a:pt x="49" y="33"/>
                  <a:pt x="49" y="33"/>
                </a:cubicBezTo>
                <a:cubicBezTo>
                  <a:pt x="49" y="33"/>
                  <a:pt x="49" y="33"/>
                  <a:pt x="49" y="33"/>
                </a:cubicBezTo>
                <a:cubicBezTo>
                  <a:pt x="48" y="33"/>
                  <a:pt x="49" y="33"/>
                  <a:pt x="49" y="33"/>
                </a:cubicBezTo>
                <a:cubicBezTo>
                  <a:pt x="49" y="33"/>
                  <a:pt x="49" y="33"/>
                  <a:pt x="49" y="33"/>
                </a:cubicBezTo>
                <a:cubicBezTo>
                  <a:pt x="49" y="33"/>
                  <a:pt x="49" y="33"/>
                  <a:pt x="50" y="33"/>
                </a:cubicBezTo>
                <a:cubicBezTo>
                  <a:pt x="50" y="33"/>
                  <a:pt x="50" y="33"/>
                  <a:pt x="50" y="33"/>
                </a:cubicBezTo>
                <a:close/>
                <a:moveTo>
                  <a:pt x="46" y="31"/>
                </a:moveTo>
                <a:cubicBezTo>
                  <a:pt x="46" y="31"/>
                  <a:pt x="46" y="31"/>
                  <a:pt x="46" y="31"/>
                </a:cubicBezTo>
                <a:cubicBezTo>
                  <a:pt x="46" y="31"/>
                  <a:pt x="46" y="32"/>
                  <a:pt x="46" y="32"/>
                </a:cubicBezTo>
                <a:cubicBezTo>
                  <a:pt x="46" y="32"/>
                  <a:pt x="46" y="31"/>
                  <a:pt x="46" y="31"/>
                </a:cubicBezTo>
                <a:close/>
                <a:moveTo>
                  <a:pt x="44" y="31"/>
                </a:moveTo>
                <a:cubicBezTo>
                  <a:pt x="43" y="32"/>
                  <a:pt x="43" y="32"/>
                  <a:pt x="42" y="33"/>
                </a:cubicBezTo>
                <a:cubicBezTo>
                  <a:pt x="42" y="33"/>
                  <a:pt x="43" y="32"/>
                  <a:pt x="43" y="32"/>
                </a:cubicBezTo>
                <a:cubicBezTo>
                  <a:pt x="43" y="32"/>
                  <a:pt x="43" y="32"/>
                  <a:pt x="43" y="32"/>
                </a:cubicBezTo>
                <a:cubicBezTo>
                  <a:pt x="43" y="31"/>
                  <a:pt x="43" y="31"/>
                  <a:pt x="44" y="30"/>
                </a:cubicBezTo>
                <a:cubicBezTo>
                  <a:pt x="44" y="30"/>
                  <a:pt x="44" y="30"/>
                  <a:pt x="44" y="30"/>
                </a:cubicBezTo>
                <a:cubicBezTo>
                  <a:pt x="44" y="30"/>
                  <a:pt x="44" y="31"/>
                  <a:pt x="44" y="31"/>
                </a:cubicBezTo>
                <a:cubicBezTo>
                  <a:pt x="44" y="31"/>
                  <a:pt x="44" y="31"/>
                  <a:pt x="44" y="31"/>
                </a:cubicBezTo>
                <a:cubicBezTo>
                  <a:pt x="44" y="31"/>
                  <a:pt x="44" y="31"/>
                  <a:pt x="43" y="31"/>
                </a:cubicBezTo>
                <a:cubicBezTo>
                  <a:pt x="44" y="31"/>
                  <a:pt x="44" y="31"/>
                  <a:pt x="44" y="31"/>
                </a:cubicBezTo>
                <a:close/>
                <a:moveTo>
                  <a:pt x="43" y="30"/>
                </a:moveTo>
                <a:cubicBezTo>
                  <a:pt x="43" y="30"/>
                  <a:pt x="44" y="30"/>
                  <a:pt x="44" y="30"/>
                </a:cubicBezTo>
                <a:cubicBezTo>
                  <a:pt x="44" y="30"/>
                  <a:pt x="44" y="31"/>
                  <a:pt x="44" y="31"/>
                </a:cubicBezTo>
                <a:cubicBezTo>
                  <a:pt x="44" y="30"/>
                  <a:pt x="43" y="31"/>
                  <a:pt x="43" y="30"/>
                </a:cubicBezTo>
                <a:cubicBezTo>
                  <a:pt x="44" y="30"/>
                  <a:pt x="43" y="30"/>
                  <a:pt x="43" y="30"/>
                </a:cubicBezTo>
                <a:close/>
                <a:moveTo>
                  <a:pt x="47" y="34"/>
                </a:moveTo>
                <a:cubicBezTo>
                  <a:pt x="47" y="34"/>
                  <a:pt x="47" y="34"/>
                  <a:pt x="47" y="34"/>
                </a:cubicBezTo>
                <a:cubicBezTo>
                  <a:pt x="47" y="34"/>
                  <a:pt x="48" y="34"/>
                  <a:pt x="48" y="34"/>
                </a:cubicBezTo>
                <a:cubicBezTo>
                  <a:pt x="48" y="34"/>
                  <a:pt x="48" y="33"/>
                  <a:pt x="48" y="33"/>
                </a:cubicBezTo>
                <a:cubicBezTo>
                  <a:pt x="49" y="33"/>
                  <a:pt x="48" y="33"/>
                  <a:pt x="48" y="33"/>
                </a:cubicBezTo>
                <a:cubicBezTo>
                  <a:pt x="48" y="33"/>
                  <a:pt x="48" y="34"/>
                  <a:pt x="48" y="34"/>
                </a:cubicBezTo>
                <a:cubicBezTo>
                  <a:pt x="48" y="34"/>
                  <a:pt x="48" y="34"/>
                  <a:pt x="48" y="34"/>
                </a:cubicBezTo>
                <a:cubicBezTo>
                  <a:pt x="48" y="34"/>
                  <a:pt x="48" y="34"/>
                  <a:pt x="48" y="34"/>
                </a:cubicBezTo>
                <a:cubicBezTo>
                  <a:pt x="48" y="34"/>
                  <a:pt x="48" y="34"/>
                  <a:pt x="48" y="35"/>
                </a:cubicBezTo>
                <a:cubicBezTo>
                  <a:pt x="47" y="35"/>
                  <a:pt x="48" y="34"/>
                  <a:pt x="47" y="35"/>
                </a:cubicBezTo>
                <a:cubicBezTo>
                  <a:pt x="47" y="34"/>
                  <a:pt x="48" y="34"/>
                  <a:pt x="47" y="34"/>
                </a:cubicBezTo>
                <a:close/>
                <a:moveTo>
                  <a:pt x="41" y="30"/>
                </a:moveTo>
                <a:cubicBezTo>
                  <a:pt x="40" y="30"/>
                  <a:pt x="41" y="30"/>
                  <a:pt x="41" y="30"/>
                </a:cubicBezTo>
                <a:cubicBezTo>
                  <a:pt x="41" y="30"/>
                  <a:pt x="41" y="30"/>
                  <a:pt x="41" y="30"/>
                </a:cubicBezTo>
                <a:close/>
                <a:moveTo>
                  <a:pt x="42" y="31"/>
                </a:moveTo>
                <a:cubicBezTo>
                  <a:pt x="42" y="31"/>
                  <a:pt x="42" y="31"/>
                  <a:pt x="42" y="31"/>
                </a:cubicBezTo>
                <a:cubicBezTo>
                  <a:pt x="42" y="31"/>
                  <a:pt x="42" y="31"/>
                  <a:pt x="42" y="30"/>
                </a:cubicBezTo>
                <a:cubicBezTo>
                  <a:pt x="42" y="30"/>
                  <a:pt x="42" y="31"/>
                  <a:pt x="42" y="31"/>
                </a:cubicBezTo>
                <a:close/>
                <a:moveTo>
                  <a:pt x="44" y="33"/>
                </a:moveTo>
                <a:cubicBezTo>
                  <a:pt x="44" y="33"/>
                  <a:pt x="44" y="33"/>
                  <a:pt x="44" y="33"/>
                </a:cubicBezTo>
                <a:cubicBezTo>
                  <a:pt x="44" y="34"/>
                  <a:pt x="43" y="34"/>
                  <a:pt x="43" y="34"/>
                </a:cubicBezTo>
                <a:cubicBezTo>
                  <a:pt x="43" y="34"/>
                  <a:pt x="43" y="34"/>
                  <a:pt x="43" y="34"/>
                </a:cubicBezTo>
                <a:cubicBezTo>
                  <a:pt x="43" y="34"/>
                  <a:pt x="43" y="34"/>
                  <a:pt x="43" y="34"/>
                </a:cubicBezTo>
                <a:cubicBezTo>
                  <a:pt x="43" y="34"/>
                  <a:pt x="43" y="34"/>
                  <a:pt x="43" y="34"/>
                </a:cubicBezTo>
                <a:cubicBezTo>
                  <a:pt x="43" y="34"/>
                  <a:pt x="43" y="34"/>
                  <a:pt x="43" y="34"/>
                </a:cubicBezTo>
                <a:cubicBezTo>
                  <a:pt x="43" y="34"/>
                  <a:pt x="43" y="34"/>
                  <a:pt x="43" y="34"/>
                </a:cubicBezTo>
                <a:cubicBezTo>
                  <a:pt x="43" y="34"/>
                  <a:pt x="43" y="35"/>
                  <a:pt x="43" y="35"/>
                </a:cubicBezTo>
                <a:cubicBezTo>
                  <a:pt x="43" y="35"/>
                  <a:pt x="43" y="35"/>
                  <a:pt x="43" y="35"/>
                </a:cubicBezTo>
                <a:cubicBezTo>
                  <a:pt x="43" y="34"/>
                  <a:pt x="43" y="33"/>
                  <a:pt x="44" y="33"/>
                </a:cubicBezTo>
                <a:cubicBezTo>
                  <a:pt x="44" y="33"/>
                  <a:pt x="44" y="33"/>
                  <a:pt x="44" y="33"/>
                </a:cubicBezTo>
                <a:close/>
                <a:moveTo>
                  <a:pt x="43" y="36"/>
                </a:moveTo>
                <a:cubicBezTo>
                  <a:pt x="43" y="36"/>
                  <a:pt x="43" y="36"/>
                  <a:pt x="43" y="37"/>
                </a:cubicBezTo>
                <a:cubicBezTo>
                  <a:pt x="43" y="37"/>
                  <a:pt x="43" y="37"/>
                  <a:pt x="43" y="36"/>
                </a:cubicBezTo>
                <a:cubicBezTo>
                  <a:pt x="43" y="37"/>
                  <a:pt x="43" y="37"/>
                  <a:pt x="43" y="37"/>
                </a:cubicBezTo>
                <a:cubicBezTo>
                  <a:pt x="43" y="37"/>
                  <a:pt x="43" y="37"/>
                  <a:pt x="42" y="37"/>
                </a:cubicBezTo>
                <a:cubicBezTo>
                  <a:pt x="43" y="37"/>
                  <a:pt x="43" y="36"/>
                  <a:pt x="43" y="36"/>
                </a:cubicBezTo>
                <a:close/>
                <a:moveTo>
                  <a:pt x="41" y="36"/>
                </a:moveTo>
                <a:cubicBezTo>
                  <a:pt x="41" y="36"/>
                  <a:pt x="41" y="36"/>
                  <a:pt x="41" y="36"/>
                </a:cubicBezTo>
                <a:cubicBezTo>
                  <a:pt x="41" y="36"/>
                  <a:pt x="41" y="36"/>
                  <a:pt x="41" y="36"/>
                </a:cubicBezTo>
                <a:cubicBezTo>
                  <a:pt x="41" y="36"/>
                  <a:pt x="42" y="36"/>
                  <a:pt x="42" y="36"/>
                </a:cubicBezTo>
                <a:cubicBezTo>
                  <a:pt x="42" y="36"/>
                  <a:pt x="42" y="36"/>
                  <a:pt x="42" y="36"/>
                </a:cubicBezTo>
                <a:cubicBezTo>
                  <a:pt x="42" y="36"/>
                  <a:pt x="41" y="36"/>
                  <a:pt x="41" y="36"/>
                </a:cubicBezTo>
                <a:close/>
                <a:moveTo>
                  <a:pt x="40" y="36"/>
                </a:moveTo>
                <a:cubicBezTo>
                  <a:pt x="40" y="37"/>
                  <a:pt x="40" y="38"/>
                  <a:pt x="39" y="38"/>
                </a:cubicBezTo>
                <a:cubicBezTo>
                  <a:pt x="39" y="38"/>
                  <a:pt x="39" y="38"/>
                  <a:pt x="39" y="38"/>
                </a:cubicBezTo>
                <a:cubicBezTo>
                  <a:pt x="39" y="38"/>
                  <a:pt x="40" y="38"/>
                  <a:pt x="39" y="38"/>
                </a:cubicBezTo>
                <a:cubicBezTo>
                  <a:pt x="40" y="37"/>
                  <a:pt x="40" y="36"/>
                  <a:pt x="40" y="36"/>
                </a:cubicBezTo>
                <a:cubicBezTo>
                  <a:pt x="40" y="36"/>
                  <a:pt x="40" y="36"/>
                  <a:pt x="40" y="36"/>
                </a:cubicBezTo>
                <a:close/>
                <a:moveTo>
                  <a:pt x="41" y="37"/>
                </a:moveTo>
                <a:cubicBezTo>
                  <a:pt x="41" y="37"/>
                  <a:pt x="41" y="38"/>
                  <a:pt x="41" y="38"/>
                </a:cubicBezTo>
                <a:cubicBezTo>
                  <a:pt x="41" y="38"/>
                  <a:pt x="41" y="38"/>
                  <a:pt x="41" y="38"/>
                </a:cubicBezTo>
                <a:cubicBezTo>
                  <a:pt x="41" y="37"/>
                  <a:pt x="41" y="38"/>
                  <a:pt x="41" y="38"/>
                </a:cubicBezTo>
                <a:cubicBezTo>
                  <a:pt x="41" y="38"/>
                  <a:pt x="41" y="38"/>
                  <a:pt x="41" y="38"/>
                </a:cubicBezTo>
                <a:cubicBezTo>
                  <a:pt x="41" y="38"/>
                  <a:pt x="41" y="38"/>
                  <a:pt x="41" y="38"/>
                </a:cubicBezTo>
                <a:cubicBezTo>
                  <a:pt x="41" y="38"/>
                  <a:pt x="40" y="38"/>
                  <a:pt x="40" y="38"/>
                </a:cubicBezTo>
                <a:cubicBezTo>
                  <a:pt x="41" y="38"/>
                  <a:pt x="41" y="38"/>
                  <a:pt x="41" y="37"/>
                </a:cubicBezTo>
                <a:cubicBezTo>
                  <a:pt x="41" y="38"/>
                  <a:pt x="41" y="37"/>
                  <a:pt x="41" y="37"/>
                </a:cubicBezTo>
                <a:close/>
                <a:moveTo>
                  <a:pt x="40" y="37"/>
                </a:moveTo>
                <a:cubicBezTo>
                  <a:pt x="41" y="37"/>
                  <a:pt x="40" y="37"/>
                  <a:pt x="41" y="38"/>
                </a:cubicBezTo>
                <a:cubicBezTo>
                  <a:pt x="40" y="38"/>
                  <a:pt x="40" y="37"/>
                  <a:pt x="40" y="37"/>
                </a:cubicBezTo>
                <a:close/>
                <a:moveTo>
                  <a:pt x="42" y="38"/>
                </a:moveTo>
                <a:cubicBezTo>
                  <a:pt x="42" y="38"/>
                  <a:pt x="42" y="38"/>
                  <a:pt x="42" y="38"/>
                </a:cubicBezTo>
                <a:cubicBezTo>
                  <a:pt x="42" y="38"/>
                  <a:pt x="42" y="38"/>
                  <a:pt x="42" y="38"/>
                </a:cubicBezTo>
                <a:cubicBezTo>
                  <a:pt x="42" y="38"/>
                  <a:pt x="42" y="38"/>
                  <a:pt x="42" y="39"/>
                </a:cubicBezTo>
                <a:cubicBezTo>
                  <a:pt x="41" y="39"/>
                  <a:pt x="42" y="39"/>
                  <a:pt x="41" y="38"/>
                </a:cubicBezTo>
                <a:cubicBezTo>
                  <a:pt x="41" y="38"/>
                  <a:pt x="42" y="38"/>
                  <a:pt x="42" y="38"/>
                </a:cubicBezTo>
                <a:cubicBezTo>
                  <a:pt x="42" y="38"/>
                  <a:pt x="41" y="38"/>
                  <a:pt x="41" y="38"/>
                </a:cubicBezTo>
                <a:cubicBezTo>
                  <a:pt x="41" y="38"/>
                  <a:pt x="41" y="38"/>
                  <a:pt x="41" y="38"/>
                </a:cubicBezTo>
                <a:cubicBezTo>
                  <a:pt x="42" y="38"/>
                  <a:pt x="42" y="38"/>
                  <a:pt x="42" y="38"/>
                </a:cubicBezTo>
                <a:close/>
                <a:moveTo>
                  <a:pt x="47" y="42"/>
                </a:moveTo>
                <a:cubicBezTo>
                  <a:pt x="47" y="43"/>
                  <a:pt x="47" y="42"/>
                  <a:pt x="47" y="42"/>
                </a:cubicBezTo>
                <a:cubicBezTo>
                  <a:pt x="47" y="42"/>
                  <a:pt x="47" y="43"/>
                  <a:pt x="47" y="43"/>
                </a:cubicBezTo>
                <a:cubicBezTo>
                  <a:pt x="47" y="43"/>
                  <a:pt x="47" y="43"/>
                  <a:pt x="47" y="43"/>
                </a:cubicBezTo>
                <a:cubicBezTo>
                  <a:pt x="47" y="42"/>
                  <a:pt x="47" y="43"/>
                  <a:pt x="47" y="43"/>
                </a:cubicBezTo>
                <a:cubicBezTo>
                  <a:pt x="47" y="43"/>
                  <a:pt x="47" y="43"/>
                  <a:pt x="47" y="42"/>
                </a:cubicBezTo>
                <a:close/>
                <a:moveTo>
                  <a:pt x="45" y="42"/>
                </a:moveTo>
                <a:cubicBezTo>
                  <a:pt x="45" y="42"/>
                  <a:pt x="45" y="42"/>
                  <a:pt x="45" y="43"/>
                </a:cubicBezTo>
                <a:cubicBezTo>
                  <a:pt x="45" y="43"/>
                  <a:pt x="45" y="43"/>
                  <a:pt x="45" y="43"/>
                </a:cubicBezTo>
                <a:cubicBezTo>
                  <a:pt x="45" y="43"/>
                  <a:pt x="45" y="43"/>
                  <a:pt x="44" y="43"/>
                </a:cubicBezTo>
                <a:cubicBezTo>
                  <a:pt x="44" y="43"/>
                  <a:pt x="45" y="42"/>
                  <a:pt x="45" y="42"/>
                </a:cubicBezTo>
                <a:close/>
                <a:moveTo>
                  <a:pt x="40" y="40"/>
                </a:moveTo>
                <a:cubicBezTo>
                  <a:pt x="40" y="40"/>
                  <a:pt x="40" y="40"/>
                  <a:pt x="40" y="40"/>
                </a:cubicBezTo>
                <a:cubicBezTo>
                  <a:pt x="40" y="40"/>
                  <a:pt x="40" y="40"/>
                  <a:pt x="40" y="40"/>
                </a:cubicBezTo>
                <a:cubicBezTo>
                  <a:pt x="40" y="40"/>
                  <a:pt x="40" y="40"/>
                  <a:pt x="40" y="40"/>
                </a:cubicBezTo>
                <a:cubicBezTo>
                  <a:pt x="40" y="40"/>
                  <a:pt x="40" y="40"/>
                  <a:pt x="39" y="40"/>
                </a:cubicBezTo>
                <a:cubicBezTo>
                  <a:pt x="40" y="40"/>
                  <a:pt x="40" y="40"/>
                  <a:pt x="40" y="40"/>
                </a:cubicBezTo>
                <a:close/>
                <a:moveTo>
                  <a:pt x="43" y="46"/>
                </a:moveTo>
                <a:cubicBezTo>
                  <a:pt x="43" y="46"/>
                  <a:pt x="43" y="46"/>
                  <a:pt x="43" y="46"/>
                </a:cubicBezTo>
                <a:cubicBezTo>
                  <a:pt x="43" y="47"/>
                  <a:pt x="43" y="46"/>
                  <a:pt x="43" y="47"/>
                </a:cubicBezTo>
                <a:cubicBezTo>
                  <a:pt x="42" y="47"/>
                  <a:pt x="43" y="47"/>
                  <a:pt x="43" y="47"/>
                </a:cubicBezTo>
                <a:cubicBezTo>
                  <a:pt x="42" y="47"/>
                  <a:pt x="42" y="47"/>
                  <a:pt x="42" y="47"/>
                </a:cubicBezTo>
                <a:cubicBezTo>
                  <a:pt x="42" y="47"/>
                  <a:pt x="42" y="47"/>
                  <a:pt x="42" y="47"/>
                </a:cubicBezTo>
                <a:cubicBezTo>
                  <a:pt x="42" y="47"/>
                  <a:pt x="42" y="47"/>
                  <a:pt x="42" y="47"/>
                </a:cubicBezTo>
                <a:cubicBezTo>
                  <a:pt x="42" y="46"/>
                  <a:pt x="43" y="45"/>
                  <a:pt x="44" y="44"/>
                </a:cubicBezTo>
                <a:cubicBezTo>
                  <a:pt x="44" y="44"/>
                  <a:pt x="44" y="43"/>
                  <a:pt x="44" y="43"/>
                </a:cubicBezTo>
                <a:cubicBezTo>
                  <a:pt x="44" y="43"/>
                  <a:pt x="44" y="44"/>
                  <a:pt x="44" y="44"/>
                </a:cubicBezTo>
                <a:cubicBezTo>
                  <a:pt x="44" y="44"/>
                  <a:pt x="44" y="44"/>
                  <a:pt x="44" y="44"/>
                </a:cubicBezTo>
                <a:cubicBezTo>
                  <a:pt x="44" y="44"/>
                  <a:pt x="45" y="44"/>
                  <a:pt x="44" y="44"/>
                </a:cubicBezTo>
                <a:cubicBezTo>
                  <a:pt x="44" y="44"/>
                  <a:pt x="44" y="44"/>
                  <a:pt x="44" y="44"/>
                </a:cubicBezTo>
                <a:cubicBezTo>
                  <a:pt x="44" y="45"/>
                  <a:pt x="44" y="45"/>
                  <a:pt x="43" y="46"/>
                </a:cubicBezTo>
                <a:cubicBezTo>
                  <a:pt x="43" y="46"/>
                  <a:pt x="44" y="46"/>
                  <a:pt x="43" y="46"/>
                </a:cubicBezTo>
                <a:close/>
                <a:moveTo>
                  <a:pt x="43" y="46"/>
                </a:moveTo>
                <a:cubicBezTo>
                  <a:pt x="43" y="46"/>
                  <a:pt x="43" y="46"/>
                  <a:pt x="43" y="46"/>
                </a:cubicBezTo>
                <a:cubicBezTo>
                  <a:pt x="43" y="46"/>
                  <a:pt x="43" y="46"/>
                  <a:pt x="43" y="46"/>
                </a:cubicBezTo>
                <a:cubicBezTo>
                  <a:pt x="43" y="46"/>
                  <a:pt x="43" y="46"/>
                  <a:pt x="43" y="46"/>
                </a:cubicBezTo>
                <a:close/>
                <a:moveTo>
                  <a:pt x="44" y="44"/>
                </a:moveTo>
                <a:cubicBezTo>
                  <a:pt x="44" y="44"/>
                  <a:pt x="44" y="44"/>
                  <a:pt x="44" y="45"/>
                </a:cubicBezTo>
                <a:cubicBezTo>
                  <a:pt x="44" y="44"/>
                  <a:pt x="44" y="44"/>
                  <a:pt x="44" y="44"/>
                </a:cubicBezTo>
                <a:close/>
                <a:moveTo>
                  <a:pt x="45" y="45"/>
                </a:moveTo>
                <a:cubicBezTo>
                  <a:pt x="45" y="45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lose/>
                <a:moveTo>
                  <a:pt x="46" y="45"/>
                </a:moveTo>
                <a:cubicBezTo>
                  <a:pt x="46" y="45"/>
                  <a:pt x="46" y="46"/>
                  <a:pt x="46" y="46"/>
                </a:cubicBezTo>
                <a:cubicBezTo>
                  <a:pt x="46" y="46"/>
                  <a:pt x="45" y="46"/>
                  <a:pt x="45" y="46"/>
                </a:cubicBezTo>
                <a:cubicBezTo>
                  <a:pt x="45" y="45"/>
                  <a:pt x="45" y="46"/>
                  <a:pt x="45" y="46"/>
                </a:cubicBezTo>
                <a:cubicBezTo>
                  <a:pt x="45" y="46"/>
                  <a:pt x="45" y="46"/>
                  <a:pt x="45" y="46"/>
                </a:cubicBezTo>
                <a:cubicBezTo>
                  <a:pt x="45" y="46"/>
                  <a:pt x="45" y="46"/>
                  <a:pt x="45" y="46"/>
                </a:cubicBezTo>
                <a:cubicBezTo>
                  <a:pt x="45" y="46"/>
                  <a:pt x="45" y="46"/>
                  <a:pt x="45" y="46"/>
                </a:cubicBezTo>
                <a:cubicBezTo>
                  <a:pt x="45" y="46"/>
                  <a:pt x="45" y="45"/>
                  <a:pt x="45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6"/>
                  <a:pt x="45" y="45"/>
                  <a:pt x="45" y="46"/>
                </a:cubicBezTo>
                <a:cubicBezTo>
                  <a:pt x="45" y="46"/>
                  <a:pt x="45" y="45"/>
                  <a:pt x="45" y="45"/>
                </a:cubicBezTo>
                <a:cubicBezTo>
                  <a:pt x="45" y="45"/>
                  <a:pt x="45" y="45"/>
                  <a:pt x="46" y="45"/>
                </a:cubicBezTo>
                <a:cubicBezTo>
                  <a:pt x="45" y="45"/>
                  <a:pt x="45" y="45"/>
                  <a:pt x="45" y="45"/>
                </a:cubicBezTo>
                <a:cubicBezTo>
                  <a:pt x="45" y="46"/>
                  <a:pt x="46" y="45"/>
                  <a:pt x="46" y="45"/>
                </a:cubicBezTo>
                <a:cubicBezTo>
                  <a:pt x="46" y="45"/>
                  <a:pt x="46" y="45"/>
                  <a:pt x="46" y="45"/>
                </a:cubicBezTo>
                <a:close/>
                <a:moveTo>
                  <a:pt x="45" y="47"/>
                </a:moveTo>
                <a:cubicBezTo>
                  <a:pt x="45" y="46"/>
                  <a:pt x="45" y="46"/>
                  <a:pt x="45" y="47"/>
                </a:cubicBezTo>
                <a:cubicBezTo>
                  <a:pt x="44" y="46"/>
                  <a:pt x="45" y="46"/>
                  <a:pt x="45" y="46"/>
                </a:cubicBezTo>
                <a:cubicBezTo>
                  <a:pt x="45" y="46"/>
                  <a:pt x="45" y="46"/>
                  <a:pt x="45" y="46"/>
                </a:cubicBezTo>
                <a:cubicBezTo>
                  <a:pt x="45" y="46"/>
                  <a:pt x="45" y="46"/>
                  <a:pt x="45" y="46"/>
                </a:cubicBezTo>
                <a:cubicBezTo>
                  <a:pt x="45" y="46"/>
                  <a:pt x="45" y="46"/>
                  <a:pt x="45" y="46"/>
                </a:cubicBezTo>
                <a:cubicBezTo>
                  <a:pt x="45" y="46"/>
                  <a:pt x="45" y="46"/>
                  <a:pt x="45" y="46"/>
                </a:cubicBezTo>
                <a:cubicBezTo>
                  <a:pt x="45" y="46"/>
                  <a:pt x="45" y="46"/>
                  <a:pt x="45" y="46"/>
                </a:cubicBezTo>
                <a:cubicBezTo>
                  <a:pt x="45" y="46"/>
                  <a:pt x="45" y="46"/>
                  <a:pt x="45" y="47"/>
                </a:cubicBezTo>
                <a:close/>
                <a:moveTo>
                  <a:pt x="41" y="45"/>
                </a:moveTo>
                <a:cubicBezTo>
                  <a:pt x="41" y="45"/>
                  <a:pt x="41" y="45"/>
                  <a:pt x="41" y="45"/>
                </a:cubicBezTo>
                <a:cubicBezTo>
                  <a:pt x="41" y="45"/>
                  <a:pt x="41" y="45"/>
                  <a:pt x="42" y="45"/>
                </a:cubicBezTo>
                <a:cubicBezTo>
                  <a:pt x="41" y="45"/>
                  <a:pt x="42" y="45"/>
                  <a:pt x="41" y="45"/>
                </a:cubicBezTo>
                <a:cubicBezTo>
                  <a:pt x="42" y="45"/>
                  <a:pt x="42" y="45"/>
                  <a:pt x="42" y="45"/>
                </a:cubicBezTo>
                <a:cubicBezTo>
                  <a:pt x="42" y="45"/>
                  <a:pt x="42" y="45"/>
                  <a:pt x="42" y="45"/>
                </a:cubicBezTo>
                <a:cubicBezTo>
                  <a:pt x="42" y="45"/>
                  <a:pt x="42" y="45"/>
                  <a:pt x="42" y="45"/>
                </a:cubicBezTo>
                <a:cubicBezTo>
                  <a:pt x="42" y="45"/>
                  <a:pt x="42" y="45"/>
                  <a:pt x="42" y="45"/>
                </a:cubicBezTo>
                <a:cubicBezTo>
                  <a:pt x="42" y="45"/>
                  <a:pt x="42" y="45"/>
                  <a:pt x="42" y="45"/>
                </a:cubicBezTo>
                <a:cubicBezTo>
                  <a:pt x="42" y="45"/>
                  <a:pt x="42" y="45"/>
                  <a:pt x="42" y="45"/>
                </a:cubicBezTo>
                <a:cubicBezTo>
                  <a:pt x="42" y="45"/>
                  <a:pt x="42" y="46"/>
                  <a:pt x="41" y="45"/>
                </a:cubicBezTo>
                <a:cubicBezTo>
                  <a:pt x="41" y="46"/>
                  <a:pt x="41" y="46"/>
                  <a:pt x="41" y="46"/>
                </a:cubicBezTo>
                <a:cubicBezTo>
                  <a:pt x="41" y="46"/>
                  <a:pt x="41" y="46"/>
                  <a:pt x="41" y="46"/>
                </a:cubicBezTo>
                <a:cubicBezTo>
                  <a:pt x="41" y="46"/>
                  <a:pt x="41" y="46"/>
                  <a:pt x="41" y="46"/>
                </a:cubicBezTo>
                <a:cubicBezTo>
                  <a:pt x="41" y="46"/>
                  <a:pt x="41" y="46"/>
                  <a:pt x="41" y="46"/>
                </a:cubicBezTo>
                <a:cubicBezTo>
                  <a:pt x="41" y="46"/>
                  <a:pt x="41" y="46"/>
                  <a:pt x="41" y="45"/>
                </a:cubicBezTo>
                <a:cubicBezTo>
                  <a:pt x="41" y="46"/>
                  <a:pt x="41" y="46"/>
                  <a:pt x="41" y="46"/>
                </a:cubicBezTo>
                <a:cubicBezTo>
                  <a:pt x="41" y="45"/>
                  <a:pt x="41" y="45"/>
                  <a:pt x="41" y="45"/>
                </a:cubicBezTo>
                <a:cubicBezTo>
                  <a:pt x="41" y="45"/>
                  <a:pt x="41" y="45"/>
                  <a:pt x="40" y="46"/>
                </a:cubicBezTo>
                <a:cubicBezTo>
                  <a:pt x="40" y="45"/>
                  <a:pt x="41" y="45"/>
                  <a:pt x="41" y="45"/>
                </a:cubicBezTo>
                <a:cubicBezTo>
                  <a:pt x="41" y="45"/>
                  <a:pt x="41" y="45"/>
                  <a:pt x="41" y="45"/>
                </a:cubicBezTo>
                <a:cubicBezTo>
                  <a:pt x="41" y="45"/>
                  <a:pt x="41" y="45"/>
                  <a:pt x="41" y="45"/>
                </a:cubicBezTo>
                <a:cubicBezTo>
                  <a:pt x="41" y="45"/>
                  <a:pt x="41" y="45"/>
                  <a:pt x="41" y="45"/>
                </a:cubicBezTo>
                <a:close/>
                <a:moveTo>
                  <a:pt x="41" y="45"/>
                </a:moveTo>
                <a:cubicBezTo>
                  <a:pt x="41" y="45"/>
                  <a:pt x="41" y="46"/>
                  <a:pt x="41" y="45"/>
                </a:cubicBezTo>
                <a:cubicBezTo>
                  <a:pt x="41" y="45"/>
                  <a:pt x="41" y="45"/>
                  <a:pt x="41" y="45"/>
                </a:cubicBezTo>
                <a:close/>
                <a:moveTo>
                  <a:pt x="42" y="45"/>
                </a:moveTo>
                <a:cubicBezTo>
                  <a:pt x="42" y="45"/>
                  <a:pt x="42" y="45"/>
                  <a:pt x="42" y="45"/>
                </a:cubicBezTo>
                <a:cubicBezTo>
                  <a:pt x="42" y="45"/>
                  <a:pt x="42" y="45"/>
                  <a:pt x="42" y="45"/>
                </a:cubicBezTo>
                <a:close/>
                <a:moveTo>
                  <a:pt x="41" y="46"/>
                </a:moveTo>
                <a:cubicBezTo>
                  <a:pt x="41" y="46"/>
                  <a:pt x="41" y="46"/>
                  <a:pt x="41" y="46"/>
                </a:cubicBezTo>
                <a:cubicBezTo>
                  <a:pt x="41" y="46"/>
                  <a:pt x="41" y="46"/>
                  <a:pt x="41" y="46"/>
                </a:cubicBezTo>
                <a:close/>
                <a:moveTo>
                  <a:pt x="41" y="46"/>
                </a:moveTo>
                <a:cubicBezTo>
                  <a:pt x="41" y="46"/>
                  <a:pt x="41" y="47"/>
                  <a:pt x="41" y="47"/>
                </a:cubicBezTo>
                <a:cubicBezTo>
                  <a:pt x="41" y="47"/>
                  <a:pt x="42" y="47"/>
                  <a:pt x="41" y="47"/>
                </a:cubicBezTo>
                <a:cubicBezTo>
                  <a:pt x="42" y="47"/>
                  <a:pt x="42" y="47"/>
                  <a:pt x="42" y="47"/>
                </a:cubicBezTo>
                <a:cubicBezTo>
                  <a:pt x="42" y="47"/>
                  <a:pt x="42" y="46"/>
                  <a:pt x="42" y="46"/>
                </a:cubicBezTo>
                <a:cubicBezTo>
                  <a:pt x="42" y="46"/>
                  <a:pt x="42" y="47"/>
                  <a:pt x="42" y="47"/>
                </a:cubicBezTo>
                <a:cubicBezTo>
                  <a:pt x="42" y="47"/>
                  <a:pt x="42" y="47"/>
                  <a:pt x="41" y="47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7"/>
                  <a:pt x="41" y="47"/>
                  <a:pt x="41" y="46"/>
                </a:cubicBezTo>
                <a:close/>
                <a:moveTo>
                  <a:pt x="41" y="49"/>
                </a:moveTo>
                <a:cubicBezTo>
                  <a:pt x="41" y="49"/>
                  <a:pt x="41" y="48"/>
                  <a:pt x="41" y="48"/>
                </a:cubicBezTo>
                <a:cubicBezTo>
                  <a:pt x="41" y="48"/>
                  <a:pt x="41" y="48"/>
                  <a:pt x="41" y="48"/>
                </a:cubicBezTo>
                <a:cubicBezTo>
                  <a:pt x="41" y="48"/>
                  <a:pt x="41" y="48"/>
                  <a:pt x="41" y="48"/>
                </a:cubicBezTo>
                <a:cubicBezTo>
                  <a:pt x="42" y="48"/>
                  <a:pt x="42" y="48"/>
                  <a:pt x="42" y="48"/>
                </a:cubicBezTo>
                <a:cubicBezTo>
                  <a:pt x="42" y="48"/>
                  <a:pt x="42" y="48"/>
                  <a:pt x="42" y="48"/>
                </a:cubicBezTo>
                <a:cubicBezTo>
                  <a:pt x="42" y="48"/>
                  <a:pt x="42" y="48"/>
                  <a:pt x="42" y="48"/>
                </a:cubicBezTo>
                <a:cubicBezTo>
                  <a:pt x="42" y="48"/>
                  <a:pt x="42" y="48"/>
                  <a:pt x="42" y="48"/>
                </a:cubicBezTo>
                <a:cubicBezTo>
                  <a:pt x="42" y="48"/>
                  <a:pt x="42" y="48"/>
                  <a:pt x="42" y="48"/>
                </a:cubicBezTo>
                <a:cubicBezTo>
                  <a:pt x="42" y="48"/>
                  <a:pt x="42" y="48"/>
                  <a:pt x="42" y="48"/>
                </a:cubicBezTo>
                <a:cubicBezTo>
                  <a:pt x="43" y="48"/>
                  <a:pt x="43" y="47"/>
                  <a:pt x="43" y="47"/>
                </a:cubicBezTo>
                <a:cubicBezTo>
                  <a:pt x="43" y="47"/>
                  <a:pt x="43" y="47"/>
                  <a:pt x="43" y="48"/>
                </a:cubicBezTo>
                <a:cubicBezTo>
                  <a:pt x="43" y="48"/>
                  <a:pt x="43" y="48"/>
                  <a:pt x="42" y="48"/>
                </a:cubicBezTo>
                <a:cubicBezTo>
                  <a:pt x="42" y="48"/>
                  <a:pt x="42" y="49"/>
                  <a:pt x="42" y="49"/>
                </a:cubicBezTo>
                <a:cubicBezTo>
                  <a:pt x="42" y="49"/>
                  <a:pt x="42" y="49"/>
                  <a:pt x="42" y="49"/>
                </a:cubicBezTo>
                <a:cubicBezTo>
                  <a:pt x="42" y="49"/>
                  <a:pt x="42" y="50"/>
                  <a:pt x="42" y="50"/>
                </a:cubicBezTo>
                <a:cubicBezTo>
                  <a:pt x="42" y="50"/>
                  <a:pt x="42" y="50"/>
                  <a:pt x="42" y="51"/>
                </a:cubicBezTo>
                <a:cubicBezTo>
                  <a:pt x="42" y="50"/>
                  <a:pt x="42" y="50"/>
                  <a:pt x="42" y="50"/>
                </a:cubicBezTo>
                <a:cubicBezTo>
                  <a:pt x="42" y="50"/>
                  <a:pt x="42" y="50"/>
                  <a:pt x="42" y="50"/>
                </a:cubicBezTo>
                <a:cubicBezTo>
                  <a:pt x="42" y="50"/>
                  <a:pt x="42" y="50"/>
                  <a:pt x="42" y="50"/>
                </a:cubicBezTo>
                <a:cubicBezTo>
                  <a:pt x="42" y="50"/>
                  <a:pt x="42" y="50"/>
                  <a:pt x="42" y="50"/>
                </a:cubicBezTo>
                <a:cubicBezTo>
                  <a:pt x="42" y="50"/>
                  <a:pt x="42" y="50"/>
                  <a:pt x="42" y="50"/>
                </a:cubicBezTo>
                <a:cubicBezTo>
                  <a:pt x="42" y="50"/>
                  <a:pt x="42" y="50"/>
                  <a:pt x="42" y="50"/>
                </a:cubicBezTo>
                <a:cubicBezTo>
                  <a:pt x="42" y="50"/>
                  <a:pt x="42" y="50"/>
                  <a:pt x="42" y="50"/>
                </a:cubicBezTo>
                <a:cubicBezTo>
                  <a:pt x="43" y="50"/>
                  <a:pt x="43" y="50"/>
                  <a:pt x="43" y="49"/>
                </a:cubicBezTo>
                <a:cubicBezTo>
                  <a:pt x="43" y="50"/>
                  <a:pt x="43" y="50"/>
                  <a:pt x="43" y="49"/>
                </a:cubicBezTo>
                <a:cubicBezTo>
                  <a:pt x="43" y="50"/>
                  <a:pt x="43" y="50"/>
                  <a:pt x="43" y="50"/>
                </a:cubicBezTo>
                <a:cubicBezTo>
                  <a:pt x="43" y="50"/>
                  <a:pt x="43" y="51"/>
                  <a:pt x="43" y="51"/>
                </a:cubicBezTo>
                <a:cubicBezTo>
                  <a:pt x="43" y="51"/>
                  <a:pt x="43" y="51"/>
                  <a:pt x="43" y="50"/>
                </a:cubicBezTo>
                <a:cubicBezTo>
                  <a:pt x="42" y="50"/>
                  <a:pt x="42" y="51"/>
                  <a:pt x="42" y="50"/>
                </a:cubicBezTo>
                <a:cubicBezTo>
                  <a:pt x="42" y="50"/>
                  <a:pt x="42" y="51"/>
                  <a:pt x="42" y="51"/>
                </a:cubicBezTo>
                <a:cubicBezTo>
                  <a:pt x="42" y="51"/>
                  <a:pt x="42" y="51"/>
                  <a:pt x="42" y="51"/>
                </a:cubicBezTo>
                <a:cubicBezTo>
                  <a:pt x="42" y="51"/>
                  <a:pt x="42" y="51"/>
                  <a:pt x="42" y="51"/>
                </a:cubicBezTo>
                <a:cubicBezTo>
                  <a:pt x="42" y="51"/>
                  <a:pt x="42" y="51"/>
                  <a:pt x="42" y="51"/>
                </a:cubicBezTo>
                <a:cubicBezTo>
                  <a:pt x="42" y="51"/>
                  <a:pt x="42" y="51"/>
                  <a:pt x="42" y="51"/>
                </a:cubicBezTo>
                <a:cubicBezTo>
                  <a:pt x="42" y="51"/>
                  <a:pt x="42" y="51"/>
                  <a:pt x="42" y="51"/>
                </a:cubicBezTo>
                <a:cubicBezTo>
                  <a:pt x="42" y="51"/>
                  <a:pt x="42" y="51"/>
                  <a:pt x="42" y="51"/>
                </a:cubicBezTo>
                <a:cubicBezTo>
                  <a:pt x="42" y="51"/>
                  <a:pt x="42" y="51"/>
                  <a:pt x="42" y="51"/>
                </a:cubicBezTo>
                <a:cubicBezTo>
                  <a:pt x="42" y="51"/>
                  <a:pt x="42" y="51"/>
                  <a:pt x="42" y="51"/>
                </a:cubicBezTo>
                <a:cubicBezTo>
                  <a:pt x="42" y="51"/>
                  <a:pt x="42" y="51"/>
                  <a:pt x="42" y="51"/>
                </a:cubicBezTo>
                <a:cubicBezTo>
                  <a:pt x="42" y="51"/>
                  <a:pt x="42" y="51"/>
                  <a:pt x="42" y="51"/>
                </a:cubicBezTo>
                <a:cubicBezTo>
                  <a:pt x="42" y="51"/>
                  <a:pt x="42" y="51"/>
                  <a:pt x="42" y="51"/>
                </a:cubicBezTo>
                <a:cubicBezTo>
                  <a:pt x="42" y="51"/>
                  <a:pt x="42" y="52"/>
                  <a:pt x="42" y="52"/>
                </a:cubicBezTo>
                <a:cubicBezTo>
                  <a:pt x="42" y="52"/>
                  <a:pt x="42" y="52"/>
                  <a:pt x="42" y="52"/>
                </a:cubicBezTo>
                <a:cubicBezTo>
                  <a:pt x="42" y="52"/>
                  <a:pt x="42" y="52"/>
                  <a:pt x="42" y="52"/>
                </a:cubicBezTo>
                <a:cubicBezTo>
                  <a:pt x="42" y="52"/>
                  <a:pt x="42" y="52"/>
                  <a:pt x="42" y="52"/>
                </a:cubicBezTo>
                <a:cubicBezTo>
                  <a:pt x="42" y="52"/>
                  <a:pt x="42" y="52"/>
                  <a:pt x="42" y="52"/>
                </a:cubicBezTo>
                <a:cubicBezTo>
                  <a:pt x="42" y="52"/>
                  <a:pt x="42" y="52"/>
                  <a:pt x="42" y="52"/>
                </a:cubicBezTo>
                <a:cubicBezTo>
                  <a:pt x="42" y="52"/>
                  <a:pt x="42" y="52"/>
                  <a:pt x="42" y="52"/>
                </a:cubicBezTo>
                <a:cubicBezTo>
                  <a:pt x="42" y="52"/>
                  <a:pt x="42" y="52"/>
                  <a:pt x="42" y="52"/>
                </a:cubicBezTo>
                <a:cubicBezTo>
                  <a:pt x="43" y="52"/>
                  <a:pt x="43" y="52"/>
                  <a:pt x="43" y="52"/>
                </a:cubicBezTo>
                <a:cubicBezTo>
                  <a:pt x="43" y="52"/>
                  <a:pt x="42" y="52"/>
                  <a:pt x="42" y="52"/>
                </a:cubicBezTo>
                <a:cubicBezTo>
                  <a:pt x="42" y="52"/>
                  <a:pt x="42" y="52"/>
                  <a:pt x="42" y="53"/>
                </a:cubicBezTo>
                <a:cubicBezTo>
                  <a:pt x="42" y="53"/>
                  <a:pt x="42" y="52"/>
                  <a:pt x="42" y="52"/>
                </a:cubicBezTo>
                <a:cubicBezTo>
                  <a:pt x="42" y="52"/>
                  <a:pt x="42" y="52"/>
                  <a:pt x="42" y="52"/>
                </a:cubicBezTo>
                <a:cubicBezTo>
                  <a:pt x="42" y="52"/>
                  <a:pt x="42" y="52"/>
                  <a:pt x="42" y="52"/>
                </a:cubicBezTo>
                <a:cubicBezTo>
                  <a:pt x="42" y="52"/>
                  <a:pt x="42" y="52"/>
                  <a:pt x="42" y="53"/>
                </a:cubicBezTo>
                <a:cubicBezTo>
                  <a:pt x="42" y="53"/>
                  <a:pt x="42" y="53"/>
                  <a:pt x="42" y="53"/>
                </a:cubicBezTo>
                <a:cubicBezTo>
                  <a:pt x="42" y="53"/>
                  <a:pt x="42" y="53"/>
                  <a:pt x="42" y="53"/>
                </a:cubicBezTo>
                <a:cubicBezTo>
                  <a:pt x="42" y="53"/>
                  <a:pt x="42" y="53"/>
                  <a:pt x="42" y="53"/>
                </a:cubicBezTo>
                <a:cubicBezTo>
                  <a:pt x="42" y="53"/>
                  <a:pt x="42" y="53"/>
                  <a:pt x="42" y="53"/>
                </a:cubicBezTo>
                <a:cubicBezTo>
                  <a:pt x="42" y="53"/>
                  <a:pt x="42" y="53"/>
                  <a:pt x="42" y="53"/>
                </a:cubicBezTo>
                <a:cubicBezTo>
                  <a:pt x="41" y="53"/>
                  <a:pt x="42" y="53"/>
                  <a:pt x="41" y="53"/>
                </a:cubicBezTo>
                <a:cubicBezTo>
                  <a:pt x="41" y="53"/>
                  <a:pt x="41" y="53"/>
                  <a:pt x="41" y="53"/>
                </a:cubicBezTo>
                <a:cubicBezTo>
                  <a:pt x="42" y="53"/>
                  <a:pt x="41" y="53"/>
                  <a:pt x="41" y="54"/>
                </a:cubicBezTo>
                <a:cubicBezTo>
                  <a:pt x="41" y="54"/>
                  <a:pt x="41" y="54"/>
                  <a:pt x="41" y="54"/>
                </a:cubicBezTo>
                <a:cubicBezTo>
                  <a:pt x="41" y="54"/>
                  <a:pt x="41" y="54"/>
                  <a:pt x="41" y="54"/>
                </a:cubicBezTo>
                <a:cubicBezTo>
                  <a:pt x="41" y="54"/>
                  <a:pt x="41" y="54"/>
                  <a:pt x="41" y="53"/>
                </a:cubicBezTo>
                <a:cubicBezTo>
                  <a:pt x="41" y="53"/>
                  <a:pt x="41" y="53"/>
                  <a:pt x="41" y="53"/>
                </a:cubicBezTo>
                <a:cubicBezTo>
                  <a:pt x="41" y="53"/>
                  <a:pt x="41" y="53"/>
                  <a:pt x="41" y="53"/>
                </a:cubicBezTo>
                <a:cubicBezTo>
                  <a:pt x="41" y="53"/>
                  <a:pt x="41" y="53"/>
                  <a:pt x="41" y="53"/>
                </a:cubicBezTo>
                <a:cubicBezTo>
                  <a:pt x="41" y="53"/>
                  <a:pt x="41" y="53"/>
                  <a:pt x="41" y="53"/>
                </a:cubicBezTo>
                <a:cubicBezTo>
                  <a:pt x="41" y="53"/>
                  <a:pt x="41" y="53"/>
                  <a:pt x="41" y="53"/>
                </a:cubicBezTo>
                <a:cubicBezTo>
                  <a:pt x="41" y="53"/>
                  <a:pt x="41" y="53"/>
                  <a:pt x="41" y="53"/>
                </a:cubicBezTo>
                <a:cubicBezTo>
                  <a:pt x="41" y="53"/>
                  <a:pt x="41" y="53"/>
                  <a:pt x="41" y="53"/>
                </a:cubicBezTo>
                <a:cubicBezTo>
                  <a:pt x="41" y="53"/>
                  <a:pt x="41" y="53"/>
                  <a:pt x="41" y="53"/>
                </a:cubicBezTo>
                <a:cubicBezTo>
                  <a:pt x="40" y="53"/>
                  <a:pt x="40" y="53"/>
                  <a:pt x="40" y="53"/>
                </a:cubicBezTo>
                <a:cubicBezTo>
                  <a:pt x="41" y="53"/>
                  <a:pt x="41" y="53"/>
                  <a:pt x="41" y="53"/>
                </a:cubicBezTo>
                <a:cubicBezTo>
                  <a:pt x="41" y="53"/>
                  <a:pt x="41" y="53"/>
                  <a:pt x="41" y="53"/>
                </a:cubicBezTo>
                <a:cubicBezTo>
                  <a:pt x="41" y="53"/>
                  <a:pt x="41" y="53"/>
                  <a:pt x="40" y="53"/>
                </a:cubicBezTo>
                <a:cubicBezTo>
                  <a:pt x="40" y="53"/>
                  <a:pt x="40" y="53"/>
                  <a:pt x="40" y="53"/>
                </a:cubicBezTo>
                <a:cubicBezTo>
                  <a:pt x="40" y="53"/>
                  <a:pt x="40" y="53"/>
                  <a:pt x="40" y="53"/>
                </a:cubicBezTo>
                <a:cubicBezTo>
                  <a:pt x="40" y="53"/>
                  <a:pt x="40" y="53"/>
                  <a:pt x="40" y="53"/>
                </a:cubicBezTo>
                <a:cubicBezTo>
                  <a:pt x="40" y="53"/>
                  <a:pt x="40" y="53"/>
                  <a:pt x="40" y="53"/>
                </a:cubicBezTo>
                <a:cubicBezTo>
                  <a:pt x="40" y="53"/>
                  <a:pt x="40" y="53"/>
                  <a:pt x="40" y="53"/>
                </a:cubicBezTo>
                <a:cubicBezTo>
                  <a:pt x="40" y="53"/>
                  <a:pt x="40" y="53"/>
                  <a:pt x="40" y="53"/>
                </a:cubicBezTo>
                <a:cubicBezTo>
                  <a:pt x="40" y="53"/>
                  <a:pt x="40" y="53"/>
                  <a:pt x="40" y="53"/>
                </a:cubicBezTo>
                <a:cubicBezTo>
                  <a:pt x="40" y="53"/>
                  <a:pt x="40" y="53"/>
                  <a:pt x="40" y="53"/>
                </a:cubicBezTo>
                <a:cubicBezTo>
                  <a:pt x="40" y="53"/>
                  <a:pt x="40" y="53"/>
                  <a:pt x="40" y="53"/>
                </a:cubicBezTo>
                <a:cubicBezTo>
                  <a:pt x="40" y="53"/>
                  <a:pt x="40" y="53"/>
                  <a:pt x="40" y="53"/>
                </a:cubicBezTo>
                <a:cubicBezTo>
                  <a:pt x="40" y="53"/>
                  <a:pt x="40" y="53"/>
                  <a:pt x="40" y="54"/>
                </a:cubicBezTo>
                <a:cubicBezTo>
                  <a:pt x="40" y="54"/>
                  <a:pt x="40" y="53"/>
                  <a:pt x="40" y="53"/>
                </a:cubicBezTo>
                <a:cubicBezTo>
                  <a:pt x="40" y="54"/>
                  <a:pt x="40" y="54"/>
                  <a:pt x="40" y="54"/>
                </a:cubicBezTo>
                <a:cubicBezTo>
                  <a:pt x="40" y="54"/>
                  <a:pt x="40" y="54"/>
                  <a:pt x="40" y="54"/>
                </a:cubicBezTo>
                <a:cubicBezTo>
                  <a:pt x="40" y="54"/>
                  <a:pt x="40" y="54"/>
                  <a:pt x="40" y="54"/>
                </a:cubicBezTo>
                <a:cubicBezTo>
                  <a:pt x="40" y="54"/>
                  <a:pt x="40" y="54"/>
                  <a:pt x="40" y="54"/>
                </a:cubicBezTo>
                <a:cubicBezTo>
                  <a:pt x="40" y="54"/>
                  <a:pt x="40" y="54"/>
                  <a:pt x="40" y="55"/>
                </a:cubicBezTo>
                <a:cubicBezTo>
                  <a:pt x="39" y="54"/>
                  <a:pt x="39" y="54"/>
                  <a:pt x="39" y="54"/>
                </a:cubicBezTo>
                <a:cubicBezTo>
                  <a:pt x="39" y="54"/>
                  <a:pt x="39" y="55"/>
                  <a:pt x="39" y="55"/>
                </a:cubicBezTo>
                <a:cubicBezTo>
                  <a:pt x="39" y="54"/>
                  <a:pt x="39" y="54"/>
                  <a:pt x="39" y="54"/>
                </a:cubicBezTo>
                <a:cubicBezTo>
                  <a:pt x="39" y="54"/>
                  <a:pt x="39" y="54"/>
                  <a:pt x="39" y="54"/>
                </a:cubicBezTo>
                <a:cubicBezTo>
                  <a:pt x="39" y="54"/>
                  <a:pt x="39" y="54"/>
                  <a:pt x="39" y="54"/>
                </a:cubicBezTo>
                <a:cubicBezTo>
                  <a:pt x="39" y="54"/>
                  <a:pt x="39" y="54"/>
                  <a:pt x="39" y="54"/>
                </a:cubicBezTo>
                <a:cubicBezTo>
                  <a:pt x="39" y="54"/>
                  <a:pt x="39" y="54"/>
                  <a:pt x="39" y="54"/>
                </a:cubicBezTo>
                <a:cubicBezTo>
                  <a:pt x="40" y="54"/>
                  <a:pt x="39" y="54"/>
                  <a:pt x="40" y="53"/>
                </a:cubicBezTo>
                <a:cubicBezTo>
                  <a:pt x="39" y="53"/>
                  <a:pt x="39" y="54"/>
                  <a:pt x="39" y="54"/>
                </a:cubicBezTo>
                <a:cubicBezTo>
                  <a:pt x="39" y="54"/>
                  <a:pt x="39" y="54"/>
                  <a:pt x="39" y="54"/>
                </a:cubicBezTo>
                <a:cubicBezTo>
                  <a:pt x="39" y="54"/>
                  <a:pt x="39" y="53"/>
                  <a:pt x="40" y="53"/>
                </a:cubicBezTo>
                <a:cubicBezTo>
                  <a:pt x="39" y="53"/>
                  <a:pt x="40" y="53"/>
                  <a:pt x="40" y="53"/>
                </a:cubicBezTo>
                <a:cubicBezTo>
                  <a:pt x="40" y="53"/>
                  <a:pt x="40" y="52"/>
                  <a:pt x="40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40" y="52"/>
                  <a:pt x="40" y="52"/>
                  <a:pt x="40" y="51"/>
                </a:cubicBezTo>
                <a:cubicBezTo>
                  <a:pt x="40" y="52"/>
                  <a:pt x="41" y="51"/>
                  <a:pt x="41" y="51"/>
                </a:cubicBezTo>
                <a:cubicBezTo>
                  <a:pt x="41" y="51"/>
                  <a:pt x="41" y="51"/>
                  <a:pt x="41" y="51"/>
                </a:cubicBezTo>
                <a:cubicBezTo>
                  <a:pt x="40" y="51"/>
                  <a:pt x="41" y="51"/>
                  <a:pt x="41" y="51"/>
                </a:cubicBezTo>
                <a:cubicBezTo>
                  <a:pt x="41" y="51"/>
                  <a:pt x="40" y="51"/>
                  <a:pt x="40" y="52"/>
                </a:cubicBezTo>
                <a:cubicBezTo>
                  <a:pt x="40" y="51"/>
                  <a:pt x="40" y="51"/>
                  <a:pt x="40" y="51"/>
                </a:cubicBezTo>
                <a:cubicBezTo>
                  <a:pt x="40" y="51"/>
                  <a:pt x="40" y="51"/>
                  <a:pt x="40" y="51"/>
                </a:cubicBezTo>
                <a:cubicBezTo>
                  <a:pt x="40" y="51"/>
                  <a:pt x="40" y="51"/>
                  <a:pt x="40" y="51"/>
                </a:cubicBezTo>
                <a:cubicBezTo>
                  <a:pt x="41" y="51"/>
                  <a:pt x="40" y="51"/>
                  <a:pt x="41" y="51"/>
                </a:cubicBezTo>
                <a:cubicBezTo>
                  <a:pt x="41" y="51"/>
                  <a:pt x="41" y="51"/>
                  <a:pt x="41" y="51"/>
                </a:cubicBezTo>
                <a:cubicBezTo>
                  <a:pt x="41" y="51"/>
                  <a:pt x="41" y="51"/>
                  <a:pt x="41" y="51"/>
                </a:cubicBezTo>
                <a:cubicBezTo>
                  <a:pt x="41" y="51"/>
                  <a:pt x="41" y="51"/>
                  <a:pt x="41" y="51"/>
                </a:cubicBezTo>
                <a:cubicBezTo>
                  <a:pt x="41" y="51"/>
                  <a:pt x="41" y="50"/>
                  <a:pt x="41" y="50"/>
                </a:cubicBezTo>
                <a:cubicBezTo>
                  <a:pt x="41" y="50"/>
                  <a:pt x="41" y="50"/>
                  <a:pt x="41" y="50"/>
                </a:cubicBezTo>
                <a:cubicBezTo>
                  <a:pt x="41" y="50"/>
                  <a:pt x="41" y="51"/>
                  <a:pt x="40" y="51"/>
                </a:cubicBezTo>
                <a:cubicBezTo>
                  <a:pt x="40" y="51"/>
                  <a:pt x="40" y="51"/>
                  <a:pt x="40" y="51"/>
                </a:cubicBezTo>
                <a:cubicBezTo>
                  <a:pt x="40" y="50"/>
                  <a:pt x="40" y="51"/>
                  <a:pt x="40" y="51"/>
                </a:cubicBezTo>
                <a:cubicBezTo>
                  <a:pt x="40" y="51"/>
                  <a:pt x="41" y="51"/>
                  <a:pt x="41" y="51"/>
                </a:cubicBezTo>
                <a:cubicBezTo>
                  <a:pt x="40" y="51"/>
                  <a:pt x="40" y="51"/>
                  <a:pt x="40" y="51"/>
                </a:cubicBezTo>
                <a:cubicBezTo>
                  <a:pt x="40" y="51"/>
                  <a:pt x="40" y="51"/>
                  <a:pt x="40" y="51"/>
                </a:cubicBezTo>
                <a:cubicBezTo>
                  <a:pt x="40" y="51"/>
                  <a:pt x="40" y="51"/>
                  <a:pt x="40" y="51"/>
                </a:cubicBezTo>
                <a:cubicBezTo>
                  <a:pt x="40" y="51"/>
                  <a:pt x="40" y="51"/>
                  <a:pt x="40" y="51"/>
                </a:cubicBezTo>
                <a:cubicBezTo>
                  <a:pt x="39" y="52"/>
                  <a:pt x="39" y="52"/>
                  <a:pt x="39" y="53"/>
                </a:cubicBezTo>
                <a:cubicBezTo>
                  <a:pt x="39" y="53"/>
                  <a:pt x="39" y="53"/>
                  <a:pt x="39" y="53"/>
                </a:cubicBezTo>
                <a:cubicBezTo>
                  <a:pt x="39" y="53"/>
                  <a:pt x="38" y="53"/>
                  <a:pt x="38" y="53"/>
                </a:cubicBezTo>
                <a:cubicBezTo>
                  <a:pt x="38" y="54"/>
                  <a:pt x="38" y="54"/>
                  <a:pt x="38" y="54"/>
                </a:cubicBezTo>
                <a:cubicBezTo>
                  <a:pt x="38" y="54"/>
                  <a:pt x="38" y="53"/>
                  <a:pt x="38" y="53"/>
                </a:cubicBezTo>
                <a:cubicBezTo>
                  <a:pt x="38" y="54"/>
                  <a:pt x="38" y="54"/>
                  <a:pt x="38" y="54"/>
                </a:cubicBezTo>
                <a:cubicBezTo>
                  <a:pt x="38" y="54"/>
                  <a:pt x="38" y="54"/>
                  <a:pt x="38" y="54"/>
                </a:cubicBezTo>
                <a:cubicBezTo>
                  <a:pt x="38" y="54"/>
                  <a:pt x="38" y="53"/>
                  <a:pt x="38" y="53"/>
                </a:cubicBezTo>
                <a:cubicBezTo>
                  <a:pt x="38" y="53"/>
                  <a:pt x="39" y="53"/>
                  <a:pt x="39" y="53"/>
                </a:cubicBezTo>
                <a:cubicBezTo>
                  <a:pt x="39" y="53"/>
                  <a:pt x="39" y="53"/>
                  <a:pt x="39" y="53"/>
                </a:cubicBezTo>
                <a:cubicBezTo>
                  <a:pt x="39" y="53"/>
                  <a:pt x="39" y="53"/>
                  <a:pt x="39" y="53"/>
                </a:cubicBezTo>
                <a:cubicBezTo>
                  <a:pt x="39" y="52"/>
                  <a:pt x="40" y="51"/>
                  <a:pt x="40" y="50"/>
                </a:cubicBezTo>
                <a:cubicBezTo>
                  <a:pt x="40" y="49"/>
                  <a:pt x="40" y="50"/>
                  <a:pt x="40" y="49"/>
                </a:cubicBezTo>
                <a:cubicBezTo>
                  <a:pt x="40" y="49"/>
                  <a:pt x="40" y="49"/>
                  <a:pt x="40" y="49"/>
                </a:cubicBezTo>
                <a:cubicBezTo>
                  <a:pt x="40" y="49"/>
                  <a:pt x="40" y="49"/>
                  <a:pt x="40" y="50"/>
                </a:cubicBezTo>
                <a:cubicBezTo>
                  <a:pt x="40" y="50"/>
                  <a:pt x="40" y="50"/>
                  <a:pt x="39" y="50"/>
                </a:cubicBezTo>
                <a:cubicBezTo>
                  <a:pt x="40" y="50"/>
                  <a:pt x="39" y="49"/>
                  <a:pt x="40" y="49"/>
                </a:cubicBezTo>
                <a:cubicBezTo>
                  <a:pt x="40" y="49"/>
                  <a:pt x="40" y="49"/>
                  <a:pt x="39" y="49"/>
                </a:cubicBezTo>
                <a:cubicBezTo>
                  <a:pt x="39" y="50"/>
                  <a:pt x="39" y="50"/>
                  <a:pt x="39" y="50"/>
                </a:cubicBezTo>
                <a:cubicBezTo>
                  <a:pt x="39" y="50"/>
                  <a:pt x="38" y="51"/>
                  <a:pt x="39" y="50"/>
                </a:cubicBezTo>
                <a:cubicBezTo>
                  <a:pt x="38" y="50"/>
                  <a:pt x="38" y="50"/>
                  <a:pt x="38" y="50"/>
                </a:cubicBezTo>
                <a:cubicBezTo>
                  <a:pt x="38" y="51"/>
                  <a:pt x="38" y="50"/>
                  <a:pt x="39" y="50"/>
                </a:cubicBezTo>
                <a:cubicBezTo>
                  <a:pt x="39" y="50"/>
                  <a:pt x="39" y="50"/>
                  <a:pt x="39" y="50"/>
                </a:cubicBezTo>
                <a:cubicBezTo>
                  <a:pt x="39" y="50"/>
                  <a:pt x="39" y="50"/>
                  <a:pt x="39" y="50"/>
                </a:cubicBezTo>
                <a:cubicBezTo>
                  <a:pt x="39" y="50"/>
                  <a:pt x="39" y="50"/>
                  <a:pt x="39" y="50"/>
                </a:cubicBezTo>
                <a:cubicBezTo>
                  <a:pt x="39" y="49"/>
                  <a:pt x="39" y="49"/>
                  <a:pt x="39" y="49"/>
                </a:cubicBezTo>
                <a:cubicBezTo>
                  <a:pt x="39" y="49"/>
                  <a:pt x="39" y="49"/>
                  <a:pt x="39" y="49"/>
                </a:cubicBezTo>
                <a:cubicBezTo>
                  <a:pt x="39" y="49"/>
                  <a:pt x="39" y="49"/>
                  <a:pt x="39" y="49"/>
                </a:cubicBezTo>
                <a:cubicBezTo>
                  <a:pt x="39" y="49"/>
                  <a:pt x="39" y="49"/>
                  <a:pt x="39" y="48"/>
                </a:cubicBezTo>
                <a:cubicBezTo>
                  <a:pt x="39" y="48"/>
                  <a:pt x="39" y="48"/>
                  <a:pt x="39" y="49"/>
                </a:cubicBezTo>
                <a:cubicBezTo>
                  <a:pt x="39" y="48"/>
                  <a:pt x="39" y="48"/>
                  <a:pt x="39" y="48"/>
                </a:cubicBezTo>
                <a:cubicBezTo>
                  <a:pt x="39" y="48"/>
                  <a:pt x="39" y="49"/>
                  <a:pt x="39" y="49"/>
                </a:cubicBezTo>
                <a:cubicBezTo>
                  <a:pt x="38" y="49"/>
                  <a:pt x="38" y="49"/>
                  <a:pt x="38" y="49"/>
                </a:cubicBezTo>
                <a:cubicBezTo>
                  <a:pt x="38" y="49"/>
                  <a:pt x="38" y="49"/>
                  <a:pt x="38" y="49"/>
                </a:cubicBezTo>
                <a:cubicBezTo>
                  <a:pt x="38" y="49"/>
                  <a:pt x="38" y="49"/>
                  <a:pt x="38" y="49"/>
                </a:cubicBezTo>
                <a:cubicBezTo>
                  <a:pt x="38" y="49"/>
                  <a:pt x="38" y="49"/>
                  <a:pt x="38" y="49"/>
                </a:cubicBezTo>
                <a:cubicBezTo>
                  <a:pt x="38" y="49"/>
                  <a:pt x="38" y="49"/>
                  <a:pt x="38" y="49"/>
                </a:cubicBezTo>
                <a:cubicBezTo>
                  <a:pt x="38" y="49"/>
                  <a:pt x="38" y="49"/>
                  <a:pt x="38" y="49"/>
                </a:cubicBezTo>
                <a:cubicBezTo>
                  <a:pt x="38" y="49"/>
                  <a:pt x="38" y="49"/>
                  <a:pt x="37" y="49"/>
                </a:cubicBezTo>
                <a:cubicBezTo>
                  <a:pt x="37" y="48"/>
                  <a:pt x="38" y="48"/>
                  <a:pt x="38" y="48"/>
                </a:cubicBezTo>
                <a:cubicBezTo>
                  <a:pt x="38" y="48"/>
                  <a:pt x="37" y="48"/>
                  <a:pt x="37" y="48"/>
                </a:cubicBezTo>
                <a:cubicBezTo>
                  <a:pt x="38" y="47"/>
                  <a:pt x="38" y="47"/>
                  <a:pt x="38" y="47"/>
                </a:cubicBezTo>
                <a:cubicBezTo>
                  <a:pt x="38" y="47"/>
                  <a:pt x="37" y="47"/>
                  <a:pt x="37" y="47"/>
                </a:cubicBezTo>
                <a:cubicBezTo>
                  <a:pt x="37" y="47"/>
                  <a:pt x="37" y="47"/>
                  <a:pt x="37" y="47"/>
                </a:cubicBezTo>
                <a:cubicBezTo>
                  <a:pt x="38" y="47"/>
                  <a:pt x="38" y="47"/>
                  <a:pt x="38" y="47"/>
                </a:cubicBezTo>
                <a:cubicBezTo>
                  <a:pt x="38" y="47"/>
                  <a:pt x="38" y="47"/>
                  <a:pt x="38" y="47"/>
                </a:cubicBezTo>
                <a:cubicBezTo>
                  <a:pt x="38" y="47"/>
                  <a:pt x="38" y="47"/>
                  <a:pt x="38" y="47"/>
                </a:cubicBezTo>
                <a:cubicBezTo>
                  <a:pt x="38" y="47"/>
                  <a:pt x="38" y="47"/>
                  <a:pt x="38" y="47"/>
                </a:cubicBezTo>
                <a:cubicBezTo>
                  <a:pt x="38" y="47"/>
                  <a:pt x="38" y="47"/>
                  <a:pt x="38" y="47"/>
                </a:cubicBezTo>
                <a:cubicBezTo>
                  <a:pt x="39" y="47"/>
                  <a:pt x="39" y="47"/>
                  <a:pt x="39" y="47"/>
                </a:cubicBezTo>
                <a:cubicBezTo>
                  <a:pt x="39" y="47"/>
                  <a:pt x="39" y="47"/>
                  <a:pt x="39" y="47"/>
                </a:cubicBezTo>
                <a:cubicBezTo>
                  <a:pt x="39" y="47"/>
                  <a:pt x="39" y="47"/>
                  <a:pt x="39" y="47"/>
                </a:cubicBezTo>
                <a:cubicBezTo>
                  <a:pt x="39" y="47"/>
                  <a:pt x="39" y="47"/>
                  <a:pt x="40" y="47"/>
                </a:cubicBezTo>
                <a:cubicBezTo>
                  <a:pt x="40" y="47"/>
                  <a:pt x="40" y="47"/>
                  <a:pt x="40" y="47"/>
                </a:cubicBezTo>
                <a:cubicBezTo>
                  <a:pt x="40" y="47"/>
                  <a:pt x="40" y="47"/>
                  <a:pt x="40" y="47"/>
                </a:cubicBezTo>
                <a:cubicBezTo>
                  <a:pt x="40" y="47"/>
                  <a:pt x="40" y="47"/>
                  <a:pt x="40" y="47"/>
                </a:cubicBezTo>
                <a:cubicBezTo>
                  <a:pt x="40" y="47"/>
                  <a:pt x="40" y="47"/>
                  <a:pt x="40" y="47"/>
                </a:cubicBezTo>
                <a:cubicBezTo>
                  <a:pt x="40" y="47"/>
                  <a:pt x="40" y="47"/>
                  <a:pt x="40" y="47"/>
                </a:cubicBezTo>
                <a:cubicBezTo>
                  <a:pt x="40" y="47"/>
                  <a:pt x="40" y="47"/>
                  <a:pt x="40" y="47"/>
                </a:cubicBezTo>
                <a:cubicBezTo>
                  <a:pt x="40" y="47"/>
                  <a:pt x="40" y="48"/>
                  <a:pt x="40" y="48"/>
                </a:cubicBezTo>
                <a:cubicBezTo>
                  <a:pt x="40" y="48"/>
                  <a:pt x="40" y="48"/>
                  <a:pt x="40" y="48"/>
                </a:cubicBezTo>
                <a:cubicBezTo>
                  <a:pt x="40" y="48"/>
                  <a:pt x="40" y="48"/>
                  <a:pt x="40" y="48"/>
                </a:cubicBezTo>
                <a:cubicBezTo>
                  <a:pt x="40" y="48"/>
                  <a:pt x="40" y="48"/>
                  <a:pt x="40" y="48"/>
                </a:cubicBezTo>
                <a:cubicBezTo>
                  <a:pt x="40" y="48"/>
                  <a:pt x="40" y="48"/>
                  <a:pt x="40" y="48"/>
                </a:cubicBezTo>
                <a:cubicBezTo>
                  <a:pt x="40" y="48"/>
                  <a:pt x="40" y="48"/>
                  <a:pt x="40" y="48"/>
                </a:cubicBezTo>
                <a:cubicBezTo>
                  <a:pt x="40" y="48"/>
                  <a:pt x="41" y="48"/>
                  <a:pt x="40" y="48"/>
                </a:cubicBezTo>
                <a:cubicBezTo>
                  <a:pt x="41" y="48"/>
                  <a:pt x="41" y="47"/>
                  <a:pt x="41" y="47"/>
                </a:cubicBezTo>
                <a:cubicBezTo>
                  <a:pt x="41" y="47"/>
                  <a:pt x="41" y="47"/>
                  <a:pt x="41" y="48"/>
                </a:cubicBezTo>
                <a:cubicBezTo>
                  <a:pt x="41" y="47"/>
                  <a:pt x="40" y="47"/>
                  <a:pt x="40" y="47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7"/>
                  <a:pt x="41" y="47"/>
                  <a:pt x="41" y="48"/>
                </a:cubicBezTo>
                <a:cubicBezTo>
                  <a:pt x="41" y="48"/>
                  <a:pt x="41" y="48"/>
                  <a:pt x="41" y="48"/>
                </a:cubicBezTo>
                <a:cubicBezTo>
                  <a:pt x="41" y="48"/>
                  <a:pt x="41" y="48"/>
                  <a:pt x="40" y="48"/>
                </a:cubicBezTo>
                <a:cubicBezTo>
                  <a:pt x="40" y="48"/>
                  <a:pt x="41" y="48"/>
                  <a:pt x="40" y="48"/>
                </a:cubicBezTo>
                <a:cubicBezTo>
                  <a:pt x="41" y="49"/>
                  <a:pt x="41" y="48"/>
                  <a:pt x="41" y="48"/>
                </a:cubicBezTo>
                <a:cubicBezTo>
                  <a:pt x="41" y="48"/>
                  <a:pt x="41" y="49"/>
                  <a:pt x="41" y="49"/>
                </a:cubicBezTo>
                <a:cubicBezTo>
                  <a:pt x="41" y="49"/>
                  <a:pt x="41" y="49"/>
                  <a:pt x="41" y="49"/>
                </a:cubicBezTo>
                <a:close/>
                <a:moveTo>
                  <a:pt x="38" y="47"/>
                </a:moveTo>
                <a:cubicBezTo>
                  <a:pt x="38" y="47"/>
                  <a:pt x="38" y="47"/>
                  <a:pt x="38" y="47"/>
                </a:cubicBezTo>
                <a:cubicBezTo>
                  <a:pt x="38" y="47"/>
                  <a:pt x="38" y="47"/>
                  <a:pt x="38" y="47"/>
                </a:cubicBezTo>
                <a:cubicBezTo>
                  <a:pt x="38" y="47"/>
                  <a:pt x="38" y="47"/>
                  <a:pt x="38" y="47"/>
                </a:cubicBezTo>
                <a:close/>
                <a:moveTo>
                  <a:pt x="38" y="47"/>
                </a:moveTo>
                <a:cubicBezTo>
                  <a:pt x="38" y="48"/>
                  <a:pt x="38" y="47"/>
                  <a:pt x="38" y="47"/>
                </a:cubicBezTo>
                <a:cubicBezTo>
                  <a:pt x="38" y="48"/>
                  <a:pt x="38" y="48"/>
                  <a:pt x="38" y="48"/>
                </a:cubicBezTo>
                <a:cubicBezTo>
                  <a:pt x="38" y="48"/>
                  <a:pt x="38" y="48"/>
                  <a:pt x="38" y="48"/>
                </a:cubicBezTo>
                <a:cubicBezTo>
                  <a:pt x="38" y="48"/>
                  <a:pt x="38" y="48"/>
                  <a:pt x="38" y="48"/>
                </a:cubicBezTo>
                <a:cubicBezTo>
                  <a:pt x="38" y="48"/>
                  <a:pt x="38" y="48"/>
                  <a:pt x="38" y="48"/>
                </a:cubicBezTo>
                <a:cubicBezTo>
                  <a:pt x="38" y="48"/>
                  <a:pt x="38" y="48"/>
                  <a:pt x="38" y="48"/>
                </a:cubicBezTo>
                <a:cubicBezTo>
                  <a:pt x="38" y="48"/>
                  <a:pt x="38" y="48"/>
                  <a:pt x="38" y="47"/>
                </a:cubicBezTo>
                <a:close/>
                <a:moveTo>
                  <a:pt x="39" y="48"/>
                </a:moveTo>
                <a:cubicBezTo>
                  <a:pt x="39" y="48"/>
                  <a:pt x="38" y="48"/>
                  <a:pt x="38" y="48"/>
                </a:cubicBezTo>
                <a:cubicBezTo>
                  <a:pt x="39" y="48"/>
                  <a:pt x="39" y="48"/>
                  <a:pt x="39" y="48"/>
                </a:cubicBezTo>
                <a:close/>
                <a:moveTo>
                  <a:pt x="40" y="49"/>
                </a:moveTo>
                <a:cubicBezTo>
                  <a:pt x="40" y="48"/>
                  <a:pt x="40" y="49"/>
                  <a:pt x="40" y="48"/>
                </a:cubicBezTo>
                <a:cubicBezTo>
                  <a:pt x="40" y="49"/>
                  <a:pt x="40" y="49"/>
                  <a:pt x="40" y="49"/>
                </a:cubicBezTo>
                <a:cubicBezTo>
                  <a:pt x="40" y="49"/>
                  <a:pt x="40" y="49"/>
                  <a:pt x="40" y="49"/>
                </a:cubicBezTo>
                <a:close/>
                <a:moveTo>
                  <a:pt x="40" y="53"/>
                </a:moveTo>
                <a:cubicBezTo>
                  <a:pt x="40" y="54"/>
                  <a:pt x="39" y="54"/>
                  <a:pt x="39" y="54"/>
                </a:cubicBezTo>
                <a:cubicBezTo>
                  <a:pt x="40" y="54"/>
                  <a:pt x="40" y="54"/>
                  <a:pt x="40" y="54"/>
                </a:cubicBezTo>
                <a:cubicBezTo>
                  <a:pt x="40" y="54"/>
                  <a:pt x="40" y="54"/>
                  <a:pt x="40" y="54"/>
                </a:cubicBezTo>
                <a:cubicBezTo>
                  <a:pt x="40" y="54"/>
                  <a:pt x="40" y="54"/>
                  <a:pt x="40" y="54"/>
                </a:cubicBezTo>
                <a:cubicBezTo>
                  <a:pt x="40" y="54"/>
                  <a:pt x="40" y="54"/>
                  <a:pt x="40" y="54"/>
                </a:cubicBezTo>
                <a:cubicBezTo>
                  <a:pt x="40" y="54"/>
                  <a:pt x="40" y="53"/>
                  <a:pt x="40" y="53"/>
                </a:cubicBezTo>
                <a:close/>
                <a:moveTo>
                  <a:pt x="40" y="52"/>
                </a:moveTo>
                <a:cubicBezTo>
                  <a:pt x="40" y="52"/>
                  <a:pt x="40" y="52"/>
                  <a:pt x="41" y="52"/>
                </a:cubicBezTo>
                <a:cubicBezTo>
                  <a:pt x="41" y="52"/>
                  <a:pt x="41" y="52"/>
                  <a:pt x="41" y="52"/>
                </a:cubicBezTo>
                <a:cubicBezTo>
                  <a:pt x="41" y="52"/>
                  <a:pt x="40" y="52"/>
                  <a:pt x="40" y="52"/>
                </a:cubicBezTo>
                <a:close/>
                <a:moveTo>
                  <a:pt x="40" y="52"/>
                </a:moveTo>
                <a:cubicBezTo>
                  <a:pt x="40" y="52"/>
                  <a:pt x="40" y="52"/>
                  <a:pt x="40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40" y="52"/>
                  <a:pt x="40" y="52"/>
                  <a:pt x="40" y="52"/>
                </a:cubicBezTo>
                <a:close/>
                <a:moveTo>
                  <a:pt x="40" y="53"/>
                </a:moveTo>
                <a:cubicBezTo>
                  <a:pt x="40" y="52"/>
                  <a:pt x="40" y="52"/>
                  <a:pt x="40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40" y="52"/>
                  <a:pt x="40" y="53"/>
                  <a:pt x="40" y="53"/>
                </a:cubicBezTo>
                <a:close/>
                <a:moveTo>
                  <a:pt x="43" y="50"/>
                </a:moveTo>
                <a:cubicBezTo>
                  <a:pt x="43" y="50"/>
                  <a:pt x="43" y="50"/>
                  <a:pt x="43" y="50"/>
                </a:cubicBezTo>
                <a:cubicBezTo>
                  <a:pt x="43" y="50"/>
                  <a:pt x="43" y="50"/>
                  <a:pt x="42" y="50"/>
                </a:cubicBezTo>
                <a:cubicBezTo>
                  <a:pt x="43" y="50"/>
                  <a:pt x="43" y="50"/>
                  <a:pt x="43" y="50"/>
                </a:cubicBezTo>
                <a:close/>
                <a:moveTo>
                  <a:pt x="41" y="52"/>
                </a:moveTo>
                <a:cubicBezTo>
                  <a:pt x="41" y="52"/>
                  <a:pt x="41" y="52"/>
                  <a:pt x="41" y="52"/>
                </a:cubicBezTo>
                <a:cubicBezTo>
                  <a:pt x="41" y="52"/>
                  <a:pt x="41" y="52"/>
                  <a:pt x="41" y="52"/>
                </a:cubicBezTo>
                <a:cubicBezTo>
                  <a:pt x="41" y="52"/>
                  <a:pt x="41" y="52"/>
                  <a:pt x="41" y="53"/>
                </a:cubicBezTo>
                <a:cubicBezTo>
                  <a:pt x="41" y="53"/>
                  <a:pt x="41" y="53"/>
                  <a:pt x="41" y="52"/>
                </a:cubicBezTo>
                <a:cubicBezTo>
                  <a:pt x="41" y="52"/>
                  <a:pt x="41" y="53"/>
                  <a:pt x="41" y="53"/>
                </a:cubicBezTo>
                <a:cubicBezTo>
                  <a:pt x="41" y="52"/>
                  <a:pt x="41" y="52"/>
                  <a:pt x="41" y="52"/>
                </a:cubicBezTo>
                <a:close/>
                <a:moveTo>
                  <a:pt x="41" y="52"/>
                </a:moveTo>
                <a:cubicBezTo>
                  <a:pt x="41" y="52"/>
                  <a:pt x="41" y="52"/>
                  <a:pt x="41" y="52"/>
                </a:cubicBezTo>
                <a:cubicBezTo>
                  <a:pt x="41" y="52"/>
                  <a:pt x="41" y="52"/>
                  <a:pt x="41" y="53"/>
                </a:cubicBezTo>
                <a:cubicBezTo>
                  <a:pt x="41" y="53"/>
                  <a:pt x="42" y="52"/>
                  <a:pt x="42" y="52"/>
                </a:cubicBezTo>
                <a:cubicBezTo>
                  <a:pt x="42" y="52"/>
                  <a:pt x="42" y="52"/>
                  <a:pt x="42" y="52"/>
                </a:cubicBezTo>
                <a:cubicBezTo>
                  <a:pt x="42" y="52"/>
                  <a:pt x="42" y="52"/>
                  <a:pt x="42" y="52"/>
                </a:cubicBezTo>
                <a:cubicBezTo>
                  <a:pt x="42" y="52"/>
                  <a:pt x="41" y="52"/>
                  <a:pt x="41" y="52"/>
                </a:cubicBezTo>
                <a:cubicBezTo>
                  <a:pt x="41" y="52"/>
                  <a:pt x="42" y="52"/>
                  <a:pt x="42" y="52"/>
                </a:cubicBezTo>
                <a:cubicBezTo>
                  <a:pt x="41" y="52"/>
                  <a:pt x="41" y="52"/>
                  <a:pt x="41" y="51"/>
                </a:cubicBezTo>
                <a:cubicBezTo>
                  <a:pt x="41" y="52"/>
                  <a:pt x="41" y="51"/>
                  <a:pt x="41" y="52"/>
                </a:cubicBezTo>
                <a:close/>
                <a:moveTo>
                  <a:pt x="42" y="50"/>
                </a:moveTo>
                <a:cubicBezTo>
                  <a:pt x="42" y="50"/>
                  <a:pt x="42" y="50"/>
                  <a:pt x="42" y="49"/>
                </a:cubicBezTo>
                <a:cubicBezTo>
                  <a:pt x="42" y="50"/>
                  <a:pt x="42" y="50"/>
                  <a:pt x="42" y="50"/>
                </a:cubicBezTo>
                <a:close/>
                <a:moveTo>
                  <a:pt x="40" y="51"/>
                </a:moveTo>
                <a:cubicBezTo>
                  <a:pt x="40" y="50"/>
                  <a:pt x="40" y="51"/>
                  <a:pt x="40" y="50"/>
                </a:cubicBezTo>
                <a:cubicBezTo>
                  <a:pt x="40" y="51"/>
                  <a:pt x="40" y="51"/>
                  <a:pt x="40" y="51"/>
                </a:cubicBezTo>
                <a:cubicBezTo>
                  <a:pt x="40" y="50"/>
                  <a:pt x="40" y="51"/>
                  <a:pt x="40" y="51"/>
                </a:cubicBezTo>
                <a:close/>
                <a:moveTo>
                  <a:pt x="40" y="50"/>
                </a:moveTo>
                <a:cubicBezTo>
                  <a:pt x="40" y="50"/>
                  <a:pt x="40" y="50"/>
                  <a:pt x="40" y="50"/>
                </a:cubicBezTo>
                <a:cubicBezTo>
                  <a:pt x="40" y="50"/>
                  <a:pt x="40" y="50"/>
                  <a:pt x="40" y="50"/>
                </a:cubicBezTo>
                <a:cubicBezTo>
                  <a:pt x="40" y="50"/>
                  <a:pt x="40" y="50"/>
                  <a:pt x="40" y="50"/>
                </a:cubicBezTo>
                <a:cubicBezTo>
                  <a:pt x="40" y="50"/>
                  <a:pt x="40" y="50"/>
                  <a:pt x="40" y="50"/>
                </a:cubicBezTo>
                <a:cubicBezTo>
                  <a:pt x="40" y="50"/>
                  <a:pt x="40" y="50"/>
                  <a:pt x="40" y="50"/>
                </a:cubicBezTo>
                <a:cubicBezTo>
                  <a:pt x="40" y="50"/>
                  <a:pt x="40" y="50"/>
                  <a:pt x="40" y="50"/>
                </a:cubicBezTo>
                <a:cubicBezTo>
                  <a:pt x="40" y="50"/>
                  <a:pt x="40" y="50"/>
                  <a:pt x="40" y="50"/>
                </a:cubicBezTo>
                <a:cubicBezTo>
                  <a:pt x="40" y="50"/>
                  <a:pt x="40" y="50"/>
                  <a:pt x="40" y="50"/>
                </a:cubicBezTo>
                <a:close/>
                <a:moveTo>
                  <a:pt x="41" y="49"/>
                </a:moveTo>
                <a:cubicBezTo>
                  <a:pt x="41" y="49"/>
                  <a:pt x="41" y="49"/>
                  <a:pt x="41" y="49"/>
                </a:cubicBezTo>
                <a:cubicBezTo>
                  <a:pt x="41" y="49"/>
                  <a:pt x="41" y="49"/>
                  <a:pt x="41" y="49"/>
                </a:cubicBezTo>
                <a:cubicBezTo>
                  <a:pt x="41" y="49"/>
                  <a:pt x="41" y="49"/>
                  <a:pt x="41" y="49"/>
                </a:cubicBezTo>
                <a:cubicBezTo>
                  <a:pt x="41" y="49"/>
                  <a:pt x="41" y="49"/>
                  <a:pt x="41" y="49"/>
                </a:cubicBezTo>
                <a:close/>
                <a:moveTo>
                  <a:pt x="41" y="49"/>
                </a:moveTo>
                <a:cubicBezTo>
                  <a:pt x="41" y="49"/>
                  <a:pt x="41" y="49"/>
                  <a:pt x="41" y="49"/>
                </a:cubicBezTo>
                <a:cubicBezTo>
                  <a:pt x="41" y="49"/>
                  <a:pt x="41" y="49"/>
                  <a:pt x="41" y="49"/>
                </a:cubicBezTo>
                <a:cubicBezTo>
                  <a:pt x="41" y="49"/>
                  <a:pt x="41" y="50"/>
                  <a:pt x="41" y="50"/>
                </a:cubicBezTo>
                <a:cubicBezTo>
                  <a:pt x="41" y="49"/>
                  <a:pt x="41" y="49"/>
                  <a:pt x="41" y="49"/>
                </a:cubicBezTo>
                <a:cubicBezTo>
                  <a:pt x="41" y="49"/>
                  <a:pt x="41" y="50"/>
                  <a:pt x="41" y="50"/>
                </a:cubicBezTo>
                <a:cubicBezTo>
                  <a:pt x="41" y="50"/>
                  <a:pt x="41" y="50"/>
                  <a:pt x="41" y="49"/>
                </a:cubicBezTo>
                <a:close/>
                <a:moveTo>
                  <a:pt x="42" y="49"/>
                </a:moveTo>
                <a:cubicBezTo>
                  <a:pt x="41" y="49"/>
                  <a:pt x="41" y="49"/>
                  <a:pt x="41" y="49"/>
                </a:cubicBezTo>
                <a:cubicBezTo>
                  <a:pt x="41" y="50"/>
                  <a:pt x="41" y="50"/>
                  <a:pt x="41" y="50"/>
                </a:cubicBezTo>
                <a:cubicBezTo>
                  <a:pt x="41" y="50"/>
                  <a:pt x="41" y="50"/>
                  <a:pt x="42" y="49"/>
                </a:cubicBezTo>
                <a:close/>
                <a:moveTo>
                  <a:pt x="41" y="49"/>
                </a:moveTo>
                <a:cubicBezTo>
                  <a:pt x="41" y="49"/>
                  <a:pt x="41" y="49"/>
                  <a:pt x="42" y="49"/>
                </a:cubicBezTo>
                <a:cubicBezTo>
                  <a:pt x="42" y="49"/>
                  <a:pt x="42" y="49"/>
                  <a:pt x="42" y="49"/>
                </a:cubicBezTo>
                <a:cubicBezTo>
                  <a:pt x="42" y="49"/>
                  <a:pt x="41" y="49"/>
                  <a:pt x="42" y="49"/>
                </a:cubicBezTo>
                <a:cubicBezTo>
                  <a:pt x="42" y="49"/>
                  <a:pt x="42" y="49"/>
                  <a:pt x="42" y="49"/>
                </a:cubicBezTo>
                <a:cubicBezTo>
                  <a:pt x="42" y="49"/>
                  <a:pt x="42" y="49"/>
                  <a:pt x="42" y="49"/>
                </a:cubicBezTo>
                <a:cubicBezTo>
                  <a:pt x="42" y="49"/>
                  <a:pt x="42" y="49"/>
                  <a:pt x="42" y="49"/>
                </a:cubicBezTo>
                <a:cubicBezTo>
                  <a:pt x="42" y="49"/>
                  <a:pt x="42" y="49"/>
                  <a:pt x="42" y="48"/>
                </a:cubicBezTo>
                <a:cubicBezTo>
                  <a:pt x="42" y="48"/>
                  <a:pt x="42" y="49"/>
                  <a:pt x="42" y="49"/>
                </a:cubicBezTo>
                <a:cubicBezTo>
                  <a:pt x="42" y="49"/>
                  <a:pt x="42" y="48"/>
                  <a:pt x="42" y="48"/>
                </a:cubicBezTo>
                <a:cubicBezTo>
                  <a:pt x="41" y="49"/>
                  <a:pt x="42" y="49"/>
                  <a:pt x="41" y="49"/>
                </a:cubicBezTo>
                <a:close/>
                <a:moveTo>
                  <a:pt x="41" y="49"/>
                </a:moveTo>
                <a:cubicBezTo>
                  <a:pt x="41" y="49"/>
                  <a:pt x="42" y="48"/>
                  <a:pt x="42" y="48"/>
                </a:cubicBezTo>
                <a:cubicBezTo>
                  <a:pt x="41" y="49"/>
                  <a:pt x="41" y="49"/>
                  <a:pt x="41" y="49"/>
                </a:cubicBezTo>
                <a:close/>
                <a:moveTo>
                  <a:pt x="40" y="50"/>
                </a:moveTo>
                <a:cubicBezTo>
                  <a:pt x="40" y="49"/>
                  <a:pt x="40" y="49"/>
                  <a:pt x="40" y="49"/>
                </a:cubicBezTo>
                <a:cubicBezTo>
                  <a:pt x="40" y="50"/>
                  <a:pt x="40" y="50"/>
                  <a:pt x="40" y="50"/>
                </a:cubicBezTo>
                <a:cubicBezTo>
                  <a:pt x="41" y="50"/>
                  <a:pt x="41" y="50"/>
                  <a:pt x="41" y="50"/>
                </a:cubicBezTo>
                <a:cubicBezTo>
                  <a:pt x="41" y="49"/>
                  <a:pt x="40" y="50"/>
                  <a:pt x="40" y="50"/>
                </a:cubicBezTo>
                <a:close/>
                <a:moveTo>
                  <a:pt x="39" y="53"/>
                </a:moveTo>
                <a:cubicBezTo>
                  <a:pt x="39" y="53"/>
                  <a:pt x="39" y="53"/>
                  <a:pt x="39" y="53"/>
                </a:cubicBezTo>
                <a:cubicBezTo>
                  <a:pt x="39" y="53"/>
                  <a:pt x="39" y="54"/>
                  <a:pt x="39" y="54"/>
                </a:cubicBezTo>
                <a:cubicBezTo>
                  <a:pt x="39" y="54"/>
                  <a:pt x="39" y="54"/>
                  <a:pt x="39" y="53"/>
                </a:cubicBezTo>
                <a:cubicBezTo>
                  <a:pt x="39" y="53"/>
                  <a:pt x="39" y="53"/>
                  <a:pt x="39" y="53"/>
                </a:cubicBezTo>
                <a:cubicBezTo>
                  <a:pt x="39" y="53"/>
                  <a:pt x="39" y="53"/>
                  <a:pt x="39" y="53"/>
                </a:cubicBezTo>
                <a:cubicBezTo>
                  <a:pt x="39" y="53"/>
                  <a:pt x="39" y="53"/>
                  <a:pt x="39" y="53"/>
                </a:cubicBezTo>
                <a:cubicBezTo>
                  <a:pt x="39" y="53"/>
                  <a:pt x="39" y="53"/>
                  <a:pt x="39" y="53"/>
                </a:cubicBezTo>
                <a:cubicBezTo>
                  <a:pt x="39" y="52"/>
                  <a:pt x="39" y="53"/>
                  <a:pt x="39" y="53"/>
                </a:cubicBezTo>
                <a:close/>
                <a:moveTo>
                  <a:pt x="42" y="51"/>
                </a:moveTo>
                <a:cubicBezTo>
                  <a:pt x="42" y="51"/>
                  <a:pt x="42" y="51"/>
                  <a:pt x="42" y="51"/>
                </a:cubicBezTo>
                <a:cubicBezTo>
                  <a:pt x="42" y="51"/>
                  <a:pt x="42" y="51"/>
                  <a:pt x="42" y="51"/>
                </a:cubicBezTo>
                <a:close/>
                <a:moveTo>
                  <a:pt x="41" y="46"/>
                </a:moveTo>
                <a:cubicBezTo>
                  <a:pt x="41" y="46"/>
                  <a:pt x="41" y="46"/>
                  <a:pt x="41" y="46"/>
                </a:cubicBezTo>
                <a:cubicBezTo>
                  <a:pt x="41" y="46"/>
                  <a:pt x="40" y="47"/>
                  <a:pt x="41" y="46"/>
                </a:cubicBezTo>
                <a:close/>
                <a:moveTo>
                  <a:pt x="39" y="45"/>
                </a:moveTo>
                <a:cubicBezTo>
                  <a:pt x="39" y="45"/>
                  <a:pt x="39" y="46"/>
                  <a:pt x="39" y="46"/>
                </a:cubicBezTo>
                <a:cubicBezTo>
                  <a:pt x="39" y="46"/>
                  <a:pt x="39" y="46"/>
                  <a:pt x="39" y="46"/>
                </a:cubicBezTo>
                <a:cubicBezTo>
                  <a:pt x="39" y="46"/>
                  <a:pt x="39" y="46"/>
                  <a:pt x="39" y="46"/>
                </a:cubicBezTo>
                <a:cubicBezTo>
                  <a:pt x="39" y="46"/>
                  <a:pt x="39" y="46"/>
                  <a:pt x="39" y="46"/>
                </a:cubicBezTo>
                <a:cubicBezTo>
                  <a:pt x="39" y="46"/>
                  <a:pt x="39" y="45"/>
                  <a:pt x="39" y="45"/>
                </a:cubicBezTo>
                <a:cubicBezTo>
                  <a:pt x="39" y="45"/>
                  <a:pt x="39" y="45"/>
                  <a:pt x="39" y="45"/>
                </a:cubicBezTo>
                <a:close/>
                <a:moveTo>
                  <a:pt x="40" y="46"/>
                </a:moveTo>
                <a:cubicBezTo>
                  <a:pt x="39" y="46"/>
                  <a:pt x="40" y="46"/>
                  <a:pt x="39" y="46"/>
                </a:cubicBezTo>
                <a:cubicBezTo>
                  <a:pt x="40" y="46"/>
                  <a:pt x="39" y="46"/>
                  <a:pt x="39" y="46"/>
                </a:cubicBezTo>
                <a:lnTo>
                  <a:pt x="40" y="46"/>
                </a:lnTo>
                <a:close/>
                <a:moveTo>
                  <a:pt x="34" y="44"/>
                </a:moveTo>
                <a:cubicBezTo>
                  <a:pt x="35" y="44"/>
                  <a:pt x="34" y="44"/>
                  <a:pt x="35" y="44"/>
                </a:cubicBezTo>
                <a:cubicBezTo>
                  <a:pt x="35" y="44"/>
                  <a:pt x="35" y="44"/>
                  <a:pt x="35" y="44"/>
                </a:cubicBezTo>
                <a:cubicBezTo>
                  <a:pt x="35" y="44"/>
                  <a:pt x="35" y="44"/>
                  <a:pt x="34" y="45"/>
                </a:cubicBezTo>
                <a:cubicBezTo>
                  <a:pt x="34" y="45"/>
                  <a:pt x="34" y="45"/>
                  <a:pt x="34" y="45"/>
                </a:cubicBezTo>
                <a:cubicBezTo>
                  <a:pt x="34" y="45"/>
                  <a:pt x="34" y="45"/>
                  <a:pt x="35" y="45"/>
                </a:cubicBezTo>
                <a:cubicBezTo>
                  <a:pt x="35" y="44"/>
                  <a:pt x="35" y="44"/>
                  <a:pt x="34" y="44"/>
                </a:cubicBezTo>
                <a:close/>
                <a:moveTo>
                  <a:pt x="37" y="45"/>
                </a:moveTo>
                <a:cubicBezTo>
                  <a:pt x="37" y="46"/>
                  <a:pt x="37" y="46"/>
                  <a:pt x="37" y="46"/>
                </a:cubicBezTo>
                <a:cubicBezTo>
                  <a:pt x="37" y="46"/>
                  <a:pt x="37" y="46"/>
                  <a:pt x="37" y="46"/>
                </a:cubicBezTo>
                <a:cubicBezTo>
                  <a:pt x="37" y="46"/>
                  <a:pt x="37" y="46"/>
                  <a:pt x="37" y="47"/>
                </a:cubicBezTo>
                <a:cubicBezTo>
                  <a:pt x="37" y="47"/>
                  <a:pt x="37" y="47"/>
                  <a:pt x="37" y="47"/>
                </a:cubicBezTo>
                <a:cubicBezTo>
                  <a:pt x="37" y="47"/>
                  <a:pt x="37" y="47"/>
                  <a:pt x="37" y="47"/>
                </a:cubicBezTo>
                <a:cubicBezTo>
                  <a:pt x="37" y="47"/>
                  <a:pt x="37" y="47"/>
                  <a:pt x="37" y="47"/>
                </a:cubicBezTo>
                <a:cubicBezTo>
                  <a:pt x="37" y="47"/>
                  <a:pt x="37" y="47"/>
                  <a:pt x="37" y="47"/>
                </a:cubicBezTo>
                <a:cubicBezTo>
                  <a:pt x="37" y="47"/>
                  <a:pt x="37" y="47"/>
                  <a:pt x="37" y="47"/>
                </a:cubicBezTo>
                <a:cubicBezTo>
                  <a:pt x="36" y="48"/>
                  <a:pt x="37" y="48"/>
                  <a:pt x="37" y="48"/>
                </a:cubicBezTo>
                <a:cubicBezTo>
                  <a:pt x="36" y="48"/>
                  <a:pt x="36" y="48"/>
                  <a:pt x="36" y="48"/>
                </a:cubicBezTo>
                <a:cubicBezTo>
                  <a:pt x="36" y="47"/>
                  <a:pt x="36" y="47"/>
                  <a:pt x="36" y="47"/>
                </a:cubicBezTo>
                <a:cubicBezTo>
                  <a:pt x="36" y="47"/>
                  <a:pt x="36" y="47"/>
                  <a:pt x="36" y="48"/>
                </a:cubicBezTo>
                <a:cubicBezTo>
                  <a:pt x="36" y="48"/>
                  <a:pt x="36" y="48"/>
                  <a:pt x="36" y="48"/>
                </a:cubicBezTo>
                <a:cubicBezTo>
                  <a:pt x="36" y="48"/>
                  <a:pt x="36" y="48"/>
                  <a:pt x="36" y="48"/>
                </a:cubicBezTo>
                <a:cubicBezTo>
                  <a:pt x="36" y="48"/>
                  <a:pt x="36" y="48"/>
                  <a:pt x="36" y="48"/>
                </a:cubicBezTo>
                <a:cubicBezTo>
                  <a:pt x="36" y="48"/>
                  <a:pt x="36" y="48"/>
                  <a:pt x="36" y="48"/>
                </a:cubicBezTo>
                <a:cubicBezTo>
                  <a:pt x="36" y="48"/>
                  <a:pt x="36" y="48"/>
                  <a:pt x="36" y="48"/>
                </a:cubicBezTo>
                <a:cubicBezTo>
                  <a:pt x="36" y="48"/>
                  <a:pt x="36" y="47"/>
                  <a:pt x="36" y="47"/>
                </a:cubicBezTo>
                <a:cubicBezTo>
                  <a:pt x="36" y="47"/>
                  <a:pt x="35" y="48"/>
                  <a:pt x="36" y="48"/>
                </a:cubicBezTo>
                <a:cubicBezTo>
                  <a:pt x="36" y="48"/>
                  <a:pt x="36" y="48"/>
                  <a:pt x="35" y="48"/>
                </a:cubicBezTo>
                <a:cubicBezTo>
                  <a:pt x="35" y="48"/>
                  <a:pt x="35" y="49"/>
                  <a:pt x="35" y="49"/>
                </a:cubicBezTo>
                <a:cubicBezTo>
                  <a:pt x="35" y="49"/>
                  <a:pt x="35" y="49"/>
                  <a:pt x="35" y="49"/>
                </a:cubicBezTo>
                <a:cubicBezTo>
                  <a:pt x="35" y="48"/>
                  <a:pt x="35" y="48"/>
                  <a:pt x="35" y="48"/>
                </a:cubicBezTo>
                <a:cubicBezTo>
                  <a:pt x="35" y="48"/>
                  <a:pt x="35" y="48"/>
                  <a:pt x="35" y="48"/>
                </a:cubicBezTo>
                <a:cubicBezTo>
                  <a:pt x="35" y="48"/>
                  <a:pt x="35" y="48"/>
                  <a:pt x="35" y="48"/>
                </a:cubicBezTo>
                <a:cubicBezTo>
                  <a:pt x="35" y="48"/>
                  <a:pt x="35" y="48"/>
                  <a:pt x="35" y="48"/>
                </a:cubicBezTo>
                <a:cubicBezTo>
                  <a:pt x="35" y="48"/>
                  <a:pt x="35" y="48"/>
                  <a:pt x="35" y="48"/>
                </a:cubicBezTo>
                <a:cubicBezTo>
                  <a:pt x="35" y="48"/>
                  <a:pt x="35" y="48"/>
                  <a:pt x="35" y="48"/>
                </a:cubicBezTo>
                <a:cubicBezTo>
                  <a:pt x="35" y="48"/>
                  <a:pt x="35" y="48"/>
                  <a:pt x="35" y="48"/>
                </a:cubicBezTo>
                <a:cubicBezTo>
                  <a:pt x="34" y="48"/>
                  <a:pt x="34" y="47"/>
                  <a:pt x="34" y="48"/>
                </a:cubicBezTo>
                <a:cubicBezTo>
                  <a:pt x="34" y="47"/>
                  <a:pt x="34" y="48"/>
                  <a:pt x="34" y="48"/>
                </a:cubicBezTo>
                <a:cubicBezTo>
                  <a:pt x="34" y="48"/>
                  <a:pt x="34" y="48"/>
                  <a:pt x="34" y="48"/>
                </a:cubicBezTo>
                <a:cubicBezTo>
                  <a:pt x="34" y="48"/>
                  <a:pt x="34" y="48"/>
                  <a:pt x="34" y="48"/>
                </a:cubicBezTo>
                <a:cubicBezTo>
                  <a:pt x="34" y="48"/>
                  <a:pt x="34" y="48"/>
                  <a:pt x="34" y="48"/>
                </a:cubicBezTo>
                <a:cubicBezTo>
                  <a:pt x="34" y="48"/>
                  <a:pt x="34" y="48"/>
                  <a:pt x="34" y="48"/>
                </a:cubicBezTo>
                <a:cubicBezTo>
                  <a:pt x="34" y="48"/>
                  <a:pt x="34" y="48"/>
                  <a:pt x="33" y="48"/>
                </a:cubicBezTo>
                <a:cubicBezTo>
                  <a:pt x="33" y="48"/>
                  <a:pt x="33" y="48"/>
                  <a:pt x="33" y="48"/>
                </a:cubicBezTo>
                <a:cubicBezTo>
                  <a:pt x="33" y="48"/>
                  <a:pt x="33" y="48"/>
                  <a:pt x="33" y="48"/>
                </a:cubicBezTo>
                <a:cubicBezTo>
                  <a:pt x="33" y="48"/>
                  <a:pt x="33" y="48"/>
                  <a:pt x="33" y="48"/>
                </a:cubicBezTo>
                <a:cubicBezTo>
                  <a:pt x="33" y="48"/>
                  <a:pt x="33" y="48"/>
                  <a:pt x="33" y="48"/>
                </a:cubicBezTo>
                <a:cubicBezTo>
                  <a:pt x="33" y="48"/>
                  <a:pt x="33" y="48"/>
                  <a:pt x="33" y="48"/>
                </a:cubicBezTo>
                <a:cubicBezTo>
                  <a:pt x="33" y="48"/>
                  <a:pt x="33" y="48"/>
                  <a:pt x="33" y="48"/>
                </a:cubicBezTo>
                <a:cubicBezTo>
                  <a:pt x="33" y="48"/>
                  <a:pt x="33" y="48"/>
                  <a:pt x="33" y="48"/>
                </a:cubicBezTo>
                <a:cubicBezTo>
                  <a:pt x="33" y="48"/>
                  <a:pt x="33" y="48"/>
                  <a:pt x="33" y="48"/>
                </a:cubicBezTo>
                <a:cubicBezTo>
                  <a:pt x="33" y="49"/>
                  <a:pt x="33" y="49"/>
                  <a:pt x="33" y="49"/>
                </a:cubicBezTo>
                <a:cubicBezTo>
                  <a:pt x="33" y="49"/>
                  <a:pt x="33" y="49"/>
                  <a:pt x="33" y="49"/>
                </a:cubicBezTo>
                <a:cubicBezTo>
                  <a:pt x="32" y="49"/>
                  <a:pt x="33" y="49"/>
                  <a:pt x="33" y="49"/>
                </a:cubicBezTo>
                <a:cubicBezTo>
                  <a:pt x="32" y="49"/>
                  <a:pt x="32" y="49"/>
                  <a:pt x="32" y="49"/>
                </a:cubicBezTo>
                <a:cubicBezTo>
                  <a:pt x="32" y="49"/>
                  <a:pt x="32" y="49"/>
                  <a:pt x="32" y="49"/>
                </a:cubicBezTo>
                <a:cubicBezTo>
                  <a:pt x="33" y="48"/>
                  <a:pt x="33" y="48"/>
                  <a:pt x="33" y="48"/>
                </a:cubicBezTo>
                <a:cubicBezTo>
                  <a:pt x="33" y="48"/>
                  <a:pt x="34" y="47"/>
                  <a:pt x="34" y="47"/>
                </a:cubicBezTo>
                <a:cubicBezTo>
                  <a:pt x="34" y="47"/>
                  <a:pt x="34" y="47"/>
                  <a:pt x="34" y="47"/>
                </a:cubicBezTo>
                <a:cubicBezTo>
                  <a:pt x="34" y="47"/>
                  <a:pt x="34" y="47"/>
                  <a:pt x="33" y="48"/>
                </a:cubicBezTo>
                <a:cubicBezTo>
                  <a:pt x="34" y="48"/>
                  <a:pt x="34" y="47"/>
                  <a:pt x="34" y="47"/>
                </a:cubicBezTo>
                <a:cubicBezTo>
                  <a:pt x="34" y="48"/>
                  <a:pt x="34" y="48"/>
                  <a:pt x="34" y="48"/>
                </a:cubicBezTo>
                <a:cubicBezTo>
                  <a:pt x="34" y="48"/>
                  <a:pt x="34" y="48"/>
                  <a:pt x="34" y="47"/>
                </a:cubicBezTo>
                <a:cubicBezTo>
                  <a:pt x="34" y="47"/>
                  <a:pt x="34" y="47"/>
                  <a:pt x="34" y="47"/>
                </a:cubicBezTo>
                <a:cubicBezTo>
                  <a:pt x="34" y="47"/>
                  <a:pt x="34" y="47"/>
                  <a:pt x="34" y="47"/>
                </a:cubicBezTo>
                <a:cubicBezTo>
                  <a:pt x="34" y="47"/>
                  <a:pt x="34" y="47"/>
                  <a:pt x="34" y="47"/>
                </a:cubicBezTo>
                <a:cubicBezTo>
                  <a:pt x="34" y="47"/>
                  <a:pt x="34" y="47"/>
                  <a:pt x="34" y="47"/>
                </a:cubicBezTo>
                <a:cubicBezTo>
                  <a:pt x="34" y="47"/>
                  <a:pt x="34" y="47"/>
                  <a:pt x="34" y="47"/>
                </a:cubicBezTo>
                <a:cubicBezTo>
                  <a:pt x="34" y="47"/>
                  <a:pt x="34" y="47"/>
                  <a:pt x="34" y="46"/>
                </a:cubicBezTo>
                <a:cubicBezTo>
                  <a:pt x="34" y="47"/>
                  <a:pt x="35" y="47"/>
                  <a:pt x="34" y="47"/>
                </a:cubicBezTo>
                <a:cubicBezTo>
                  <a:pt x="34" y="47"/>
                  <a:pt x="35" y="47"/>
                  <a:pt x="34" y="47"/>
                </a:cubicBezTo>
                <a:cubicBezTo>
                  <a:pt x="35" y="47"/>
                  <a:pt x="35" y="47"/>
                  <a:pt x="35" y="47"/>
                </a:cubicBezTo>
                <a:cubicBezTo>
                  <a:pt x="35" y="47"/>
                  <a:pt x="35" y="47"/>
                  <a:pt x="35" y="47"/>
                </a:cubicBezTo>
                <a:cubicBezTo>
                  <a:pt x="35" y="47"/>
                  <a:pt x="35" y="46"/>
                  <a:pt x="36" y="46"/>
                </a:cubicBezTo>
                <a:cubicBezTo>
                  <a:pt x="36" y="46"/>
                  <a:pt x="36" y="46"/>
                  <a:pt x="36" y="46"/>
                </a:cubicBezTo>
                <a:cubicBezTo>
                  <a:pt x="36" y="46"/>
                  <a:pt x="36" y="47"/>
                  <a:pt x="36" y="47"/>
                </a:cubicBezTo>
                <a:cubicBezTo>
                  <a:pt x="36" y="47"/>
                  <a:pt x="36" y="46"/>
                  <a:pt x="36" y="47"/>
                </a:cubicBezTo>
                <a:cubicBezTo>
                  <a:pt x="36" y="46"/>
                  <a:pt x="36" y="46"/>
                  <a:pt x="36" y="46"/>
                </a:cubicBezTo>
                <a:cubicBezTo>
                  <a:pt x="36" y="46"/>
                  <a:pt x="36" y="46"/>
                  <a:pt x="36" y="46"/>
                </a:cubicBezTo>
                <a:cubicBezTo>
                  <a:pt x="36" y="46"/>
                  <a:pt x="36" y="46"/>
                  <a:pt x="36" y="46"/>
                </a:cubicBezTo>
                <a:cubicBezTo>
                  <a:pt x="36" y="46"/>
                  <a:pt x="36" y="46"/>
                  <a:pt x="36" y="46"/>
                </a:cubicBezTo>
                <a:cubicBezTo>
                  <a:pt x="36" y="46"/>
                  <a:pt x="36" y="46"/>
                  <a:pt x="36" y="46"/>
                </a:cubicBezTo>
                <a:cubicBezTo>
                  <a:pt x="36" y="47"/>
                  <a:pt x="37" y="46"/>
                  <a:pt x="37" y="46"/>
                </a:cubicBezTo>
                <a:cubicBezTo>
                  <a:pt x="37" y="46"/>
                  <a:pt x="37" y="46"/>
                  <a:pt x="37" y="45"/>
                </a:cubicBezTo>
                <a:close/>
                <a:moveTo>
                  <a:pt x="34" y="47"/>
                </a:moveTo>
                <a:cubicBezTo>
                  <a:pt x="34" y="48"/>
                  <a:pt x="34" y="47"/>
                  <a:pt x="34" y="48"/>
                </a:cubicBezTo>
                <a:cubicBezTo>
                  <a:pt x="34" y="48"/>
                  <a:pt x="34" y="48"/>
                  <a:pt x="34" y="48"/>
                </a:cubicBezTo>
                <a:cubicBezTo>
                  <a:pt x="34" y="48"/>
                  <a:pt x="35" y="47"/>
                  <a:pt x="34" y="47"/>
                </a:cubicBezTo>
                <a:close/>
                <a:moveTo>
                  <a:pt x="35" y="48"/>
                </a:moveTo>
                <a:cubicBezTo>
                  <a:pt x="35" y="47"/>
                  <a:pt x="35" y="47"/>
                  <a:pt x="35" y="47"/>
                </a:cubicBezTo>
                <a:cubicBezTo>
                  <a:pt x="35" y="47"/>
                  <a:pt x="35" y="47"/>
                  <a:pt x="35" y="47"/>
                </a:cubicBezTo>
                <a:cubicBezTo>
                  <a:pt x="35" y="47"/>
                  <a:pt x="35" y="47"/>
                  <a:pt x="35" y="48"/>
                </a:cubicBezTo>
                <a:cubicBezTo>
                  <a:pt x="35" y="48"/>
                  <a:pt x="35" y="48"/>
                  <a:pt x="35" y="48"/>
                </a:cubicBezTo>
                <a:cubicBezTo>
                  <a:pt x="35" y="48"/>
                  <a:pt x="35" y="48"/>
                  <a:pt x="35" y="48"/>
                </a:cubicBezTo>
                <a:close/>
                <a:moveTo>
                  <a:pt x="36" y="47"/>
                </a:moveTo>
                <a:cubicBezTo>
                  <a:pt x="36" y="47"/>
                  <a:pt x="36" y="47"/>
                  <a:pt x="36" y="47"/>
                </a:cubicBezTo>
                <a:cubicBezTo>
                  <a:pt x="36" y="47"/>
                  <a:pt x="36" y="47"/>
                  <a:pt x="36" y="47"/>
                </a:cubicBezTo>
                <a:close/>
                <a:moveTo>
                  <a:pt x="36" y="47"/>
                </a:moveTo>
                <a:cubicBezTo>
                  <a:pt x="36" y="47"/>
                  <a:pt x="37" y="47"/>
                  <a:pt x="37" y="47"/>
                </a:cubicBezTo>
                <a:cubicBezTo>
                  <a:pt x="36" y="47"/>
                  <a:pt x="36" y="47"/>
                  <a:pt x="36" y="47"/>
                </a:cubicBezTo>
                <a:close/>
                <a:moveTo>
                  <a:pt x="40" y="47"/>
                </a:moveTo>
                <a:cubicBezTo>
                  <a:pt x="41" y="48"/>
                  <a:pt x="40" y="47"/>
                  <a:pt x="40" y="48"/>
                </a:cubicBezTo>
                <a:cubicBezTo>
                  <a:pt x="40" y="48"/>
                  <a:pt x="40" y="48"/>
                  <a:pt x="40" y="47"/>
                </a:cubicBezTo>
                <a:close/>
                <a:moveTo>
                  <a:pt x="33" y="44"/>
                </a:moveTo>
                <a:cubicBezTo>
                  <a:pt x="33" y="44"/>
                  <a:pt x="33" y="44"/>
                  <a:pt x="33" y="44"/>
                </a:cubicBezTo>
                <a:cubicBezTo>
                  <a:pt x="33" y="44"/>
                  <a:pt x="33" y="44"/>
                  <a:pt x="33" y="44"/>
                </a:cubicBezTo>
                <a:cubicBezTo>
                  <a:pt x="33" y="44"/>
                  <a:pt x="33" y="44"/>
                  <a:pt x="33" y="44"/>
                </a:cubicBezTo>
                <a:cubicBezTo>
                  <a:pt x="33" y="44"/>
                  <a:pt x="33" y="44"/>
                  <a:pt x="33" y="44"/>
                </a:cubicBezTo>
                <a:close/>
                <a:moveTo>
                  <a:pt x="37" y="50"/>
                </a:moveTo>
                <a:cubicBezTo>
                  <a:pt x="38" y="50"/>
                  <a:pt x="38" y="50"/>
                  <a:pt x="38" y="49"/>
                </a:cubicBezTo>
                <a:cubicBezTo>
                  <a:pt x="38" y="49"/>
                  <a:pt x="38" y="49"/>
                  <a:pt x="38" y="49"/>
                </a:cubicBezTo>
                <a:cubicBezTo>
                  <a:pt x="38" y="50"/>
                  <a:pt x="38" y="50"/>
                  <a:pt x="38" y="50"/>
                </a:cubicBezTo>
                <a:cubicBezTo>
                  <a:pt x="38" y="50"/>
                  <a:pt x="38" y="50"/>
                  <a:pt x="38" y="50"/>
                </a:cubicBezTo>
                <a:cubicBezTo>
                  <a:pt x="38" y="50"/>
                  <a:pt x="38" y="50"/>
                  <a:pt x="38" y="50"/>
                </a:cubicBezTo>
                <a:cubicBezTo>
                  <a:pt x="38" y="50"/>
                  <a:pt x="38" y="50"/>
                  <a:pt x="38" y="50"/>
                </a:cubicBezTo>
                <a:cubicBezTo>
                  <a:pt x="38" y="50"/>
                  <a:pt x="38" y="50"/>
                  <a:pt x="38" y="50"/>
                </a:cubicBezTo>
                <a:cubicBezTo>
                  <a:pt x="38" y="50"/>
                  <a:pt x="38" y="50"/>
                  <a:pt x="38" y="50"/>
                </a:cubicBezTo>
                <a:cubicBezTo>
                  <a:pt x="38" y="50"/>
                  <a:pt x="37" y="51"/>
                  <a:pt x="37" y="50"/>
                </a:cubicBezTo>
                <a:cubicBezTo>
                  <a:pt x="37" y="50"/>
                  <a:pt x="38" y="50"/>
                  <a:pt x="37" y="50"/>
                </a:cubicBezTo>
                <a:close/>
                <a:moveTo>
                  <a:pt x="39" y="51"/>
                </a:moveTo>
                <a:cubicBezTo>
                  <a:pt x="39" y="51"/>
                  <a:pt x="39" y="51"/>
                  <a:pt x="39" y="51"/>
                </a:cubicBezTo>
                <a:cubicBezTo>
                  <a:pt x="39" y="51"/>
                  <a:pt x="39" y="51"/>
                  <a:pt x="39" y="51"/>
                </a:cubicBezTo>
                <a:cubicBezTo>
                  <a:pt x="39" y="51"/>
                  <a:pt x="39" y="51"/>
                  <a:pt x="39" y="50"/>
                </a:cubicBezTo>
                <a:cubicBezTo>
                  <a:pt x="39" y="50"/>
                  <a:pt x="39" y="51"/>
                  <a:pt x="39" y="51"/>
                </a:cubicBezTo>
                <a:close/>
                <a:moveTo>
                  <a:pt x="26" y="74"/>
                </a:moveTo>
                <a:cubicBezTo>
                  <a:pt x="26" y="74"/>
                  <a:pt x="26" y="74"/>
                  <a:pt x="26" y="75"/>
                </a:cubicBezTo>
                <a:cubicBezTo>
                  <a:pt x="26" y="75"/>
                  <a:pt x="26" y="75"/>
                  <a:pt x="26" y="74"/>
                </a:cubicBezTo>
                <a:cubicBezTo>
                  <a:pt x="26" y="75"/>
                  <a:pt x="25" y="75"/>
                  <a:pt x="25" y="75"/>
                </a:cubicBezTo>
                <a:cubicBezTo>
                  <a:pt x="25" y="75"/>
                  <a:pt x="25" y="75"/>
                  <a:pt x="25" y="75"/>
                </a:cubicBezTo>
                <a:cubicBezTo>
                  <a:pt x="26" y="75"/>
                  <a:pt x="25" y="76"/>
                  <a:pt x="25" y="76"/>
                </a:cubicBezTo>
                <a:cubicBezTo>
                  <a:pt x="25" y="76"/>
                  <a:pt x="26" y="75"/>
                  <a:pt x="25" y="75"/>
                </a:cubicBezTo>
                <a:cubicBezTo>
                  <a:pt x="25" y="75"/>
                  <a:pt x="25" y="75"/>
                  <a:pt x="25" y="75"/>
                </a:cubicBezTo>
                <a:cubicBezTo>
                  <a:pt x="25" y="76"/>
                  <a:pt x="25" y="77"/>
                  <a:pt x="24" y="77"/>
                </a:cubicBezTo>
                <a:cubicBezTo>
                  <a:pt x="24" y="77"/>
                  <a:pt x="25" y="76"/>
                  <a:pt x="25" y="76"/>
                </a:cubicBezTo>
                <a:cubicBezTo>
                  <a:pt x="25" y="76"/>
                  <a:pt x="25" y="76"/>
                  <a:pt x="25" y="75"/>
                </a:cubicBezTo>
                <a:cubicBezTo>
                  <a:pt x="25" y="75"/>
                  <a:pt x="25" y="75"/>
                  <a:pt x="25" y="75"/>
                </a:cubicBezTo>
                <a:cubicBezTo>
                  <a:pt x="25" y="75"/>
                  <a:pt x="24" y="76"/>
                  <a:pt x="24" y="76"/>
                </a:cubicBezTo>
                <a:cubicBezTo>
                  <a:pt x="24" y="76"/>
                  <a:pt x="24" y="76"/>
                  <a:pt x="24" y="76"/>
                </a:cubicBezTo>
                <a:cubicBezTo>
                  <a:pt x="24" y="76"/>
                  <a:pt x="24" y="76"/>
                  <a:pt x="24" y="76"/>
                </a:cubicBezTo>
                <a:cubicBezTo>
                  <a:pt x="24" y="76"/>
                  <a:pt x="24" y="76"/>
                  <a:pt x="25" y="76"/>
                </a:cubicBezTo>
                <a:cubicBezTo>
                  <a:pt x="25" y="76"/>
                  <a:pt x="25" y="76"/>
                  <a:pt x="25" y="76"/>
                </a:cubicBezTo>
                <a:cubicBezTo>
                  <a:pt x="25" y="76"/>
                  <a:pt x="24" y="76"/>
                  <a:pt x="25" y="76"/>
                </a:cubicBezTo>
                <a:cubicBezTo>
                  <a:pt x="24" y="76"/>
                  <a:pt x="24" y="77"/>
                  <a:pt x="24" y="77"/>
                </a:cubicBezTo>
                <a:cubicBezTo>
                  <a:pt x="24" y="77"/>
                  <a:pt x="24" y="77"/>
                  <a:pt x="24" y="77"/>
                </a:cubicBezTo>
                <a:cubicBezTo>
                  <a:pt x="24" y="77"/>
                  <a:pt x="24" y="77"/>
                  <a:pt x="24" y="77"/>
                </a:cubicBezTo>
                <a:cubicBezTo>
                  <a:pt x="24" y="77"/>
                  <a:pt x="24" y="77"/>
                  <a:pt x="24" y="77"/>
                </a:cubicBezTo>
                <a:cubicBezTo>
                  <a:pt x="24" y="77"/>
                  <a:pt x="24" y="77"/>
                  <a:pt x="24" y="77"/>
                </a:cubicBezTo>
                <a:cubicBezTo>
                  <a:pt x="24" y="77"/>
                  <a:pt x="24" y="77"/>
                  <a:pt x="24" y="77"/>
                </a:cubicBezTo>
                <a:cubicBezTo>
                  <a:pt x="24" y="77"/>
                  <a:pt x="23" y="77"/>
                  <a:pt x="23" y="77"/>
                </a:cubicBezTo>
                <a:cubicBezTo>
                  <a:pt x="23" y="77"/>
                  <a:pt x="24" y="77"/>
                  <a:pt x="24" y="77"/>
                </a:cubicBezTo>
                <a:cubicBezTo>
                  <a:pt x="24" y="76"/>
                  <a:pt x="24" y="75"/>
                  <a:pt x="24" y="75"/>
                </a:cubicBezTo>
                <a:cubicBezTo>
                  <a:pt x="24" y="75"/>
                  <a:pt x="24" y="75"/>
                  <a:pt x="24" y="75"/>
                </a:cubicBezTo>
                <a:cubicBezTo>
                  <a:pt x="24" y="75"/>
                  <a:pt x="25" y="74"/>
                  <a:pt x="25" y="74"/>
                </a:cubicBezTo>
                <a:cubicBezTo>
                  <a:pt x="25" y="74"/>
                  <a:pt x="24" y="75"/>
                  <a:pt x="24" y="75"/>
                </a:cubicBezTo>
                <a:cubicBezTo>
                  <a:pt x="25" y="75"/>
                  <a:pt x="25" y="75"/>
                  <a:pt x="25" y="75"/>
                </a:cubicBezTo>
                <a:cubicBezTo>
                  <a:pt x="25" y="75"/>
                  <a:pt x="25" y="75"/>
                  <a:pt x="25" y="75"/>
                </a:cubicBezTo>
                <a:cubicBezTo>
                  <a:pt x="25" y="75"/>
                  <a:pt x="25" y="75"/>
                  <a:pt x="25" y="75"/>
                </a:cubicBezTo>
                <a:cubicBezTo>
                  <a:pt x="25" y="75"/>
                  <a:pt x="25" y="75"/>
                  <a:pt x="25" y="75"/>
                </a:cubicBezTo>
                <a:cubicBezTo>
                  <a:pt x="25" y="75"/>
                  <a:pt x="25" y="75"/>
                  <a:pt x="25" y="75"/>
                </a:cubicBezTo>
                <a:cubicBezTo>
                  <a:pt x="25" y="75"/>
                  <a:pt x="25" y="75"/>
                  <a:pt x="25" y="75"/>
                </a:cubicBezTo>
                <a:cubicBezTo>
                  <a:pt x="25" y="74"/>
                  <a:pt x="25" y="75"/>
                  <a:pt x="25" y="75"/>
                </a:cubicBezTo>
                <a:cubicBezTo>
                  <a:pt x="25" y="75"/>
                  <a:pt x="25" y="75"/>
                  <a:pt x="25" y="75"/>
                </a:cubicBezTo>
                <a:cubicBezTo>
                  <a:pt x="25" y="75"/>
                  <a:pt x="25" y="75"/>
                  <a:pt x="25" y="75"/>
                </a:cubicBezTo>
                <a:cubicBezTo>
                  <a:pt x="24" y="75"/>
                  <a:pt x="25" y="74"/>
                  <a:pt x="25" y="74"/>
                </a:cubicBezTo>
                <a:cubicBezTo>
                  <a:pt x="25" y="74"/>
                  <a:pt x="25" y="74"/>
                  <a:pt x="25" y="74"/>
                </a:cubicBezTo>
                <a:cubicBezTo>
                  <a:pt x="25" y="74"/>
                  <a:pt x="25" y="74"/>
                  <a:pt x="25" y="74"/>
                </a:cubicBezTo>
                <a:cubicBezTo>
                  <a:pt x="25" y="74"/>
                  <a:pt x="25" y="74"/>
                  <a:pt x="25" y="74"/>
                </a:cubicBezTo>
                <a:cubicBezTo>
                  <a:pt x="25" y="74"/>
                  <a:pt x="25" y="74"/>
                  <a:pt x="25" y="74"/>
                </a:cubicBezTo>
                <a:cubicBezTo>
                  <a:pt x="25" y="74"/>
                  <a:pt x="24" y="75"/>
                  <a:pt x="24" y="75"/>
                </a:cubicBezTo>
                <a:cubicBezTo>
                  <a:pt x="24" y="75"/>
                  <a:pt x="24" y="75"/>
                  <a:pt x="24" y="75"/>
                </a:cubicBezTo>
                <a:cubicBezTo>
                  <a:pt x="24" y="75"/>
                  <a:pt x="24" y="75"/>
                  <a:pt x="24" y="76"/>
                </a:cubicBezTo>
                <a:cubicBezTo>
                  <a:pt x="24" y="76"/>
                  <a:pt x="24" y="75"/>
                  <a:pt x="24" y="75"/>
                </a:cubicBezTo>
                <a:cubicBezTo>
                  <a:pt x="24" y="75"/>
                  <a:pt x="24" y="74"/>
                  <a:pt x="25" y="74"/>
                </a:cubicBezTo>
                <a:cubicBezTo>
                  <a:pt x="25" y="74"/>
                  <a:pt x="25" y="73"/>
                  <a:pt x="25" y="73"/>
                </a:cubicBezTo>
                <a:cubicBezTo>
                  <a:pt x="25" y="73"/>
                  <a:pt x="25" y="73"/>
                  <a:pt x="25" y="74"/>
                </a:cubicBezTo>
                <a:cubicBezTo>
                  <a:pt x="25" y="73"/>
                  <a:pt x="25" y="73"/>
                  <a:pt x="25" y="73"/>
                </a:cubicBezTo>
                <a:cubicBezTo>
                  <a:pt x="25" y="73"/>
                  <a:pt x="25" y="74"/>
                  <a:pt x="25" y="74"/>
                </a:cubicBezTo>
                <a:cubicBezTo>
                  <a:pt x="25" y="74"/>
                  <a:pt x="25" y="74"/>
                  <a:pt x="25" y="74"/>
                </a:cubicBezTo>
                <a:cubicBezTo>
                  <a:pt x="25" y="74"/>
                  <a:pt x="25" y="73"/>
                  <a:pt x="25" y="73"/>
                </a:cubicBezTo>
                <a:cubicBezTo>
                  <a:pt x="25" y="73"/>
                  <a:pt x="25" y="73"/>
                  <a:pt x="25" y="74"/>
                </a:cubicBezTo>
                <a:cubicBezTo>
                  <a:pt x="25" y="73"/>
                  <a:pt x="25" y="73"/>
                  <a:pt x="26" y="73"/>
                </a:cubicBezTo>
                <a:cubicBezTo>
                  <a:pt x="26" y="73"/>
                  <a:pt x="25" y="73"/>
                  <a:pt x="25" y="73"/>
                </a:cubicBezTo>
                <a:cubicBezTo>
                  <a:pt x="25" y="73"/>
                  <a:pt x="26" y="73"/>
                  <a:pt x="26" y="73"/>
                </a:cubicBezTo>
                <a:cubicBezTo>
                  <a:pt x="26" y="73"/>
                  <a:pt x="26" y="73"/>
                  <a:pt x="26" y="73"/>
                </a:cubicBezTo>
                <a:cubicBezTo>
                  <a:pt x="26" y="73"/>
                  <a:pt x="26" y="73"/>
                  <a:pt x="26" y="73"/>
                </a:cubicBezTo>
                <a:cubicBezTo>
                  <a:pt x="26" y="73"/>
                  <a:pt x="26" y="73"/>
                  <a:pt x="26" y="73"/>
                </a:cubicBezTo>
                <a:cubicBezTo>
                  <a:pt x="26" y="73"/>
                  <a:pt x="26" y="73"/>
                  <a:pt x="26" y="73"/>
                </a:cubicBezTo>
                <a:cubicBezTo>
                  <a:pt x="26" y="73"/>
                  <a:pt x="26" y="73"/>
                  <a:pt x="26" y="73"/>
                </a:cubicBezTo>
                <a:cubicBezTo>
                  <a:pt x="26" y="73"/>
                  <a:pt x="26" y="73"/>
                  <a:pt x="26" y="73"/>
                </a:cubicBezTo>
                <a:cubicBezTo>
                  <a:pt x="26" y="74"/>
                  <a:pt x="25" y="74"/>
                  <a:pt x="25" y="74"/>
                </a:cubicBezTo>
                <a:cubicBezTo>
                  <a:pt x="25" y="74"/>
                  <a:pt x="25" y="74"/>
                  <a:pt x="25" y="74"/>
                </a:cubicBezTo>
                <a:cubicBezTo>
                  <a:pt x="25" y="74"/>
                  <a:pt x="25" y="74"/>
                  <a:pt x="25" y="74"/>
                </a:cubicBezTo>
                <a:cubicBezTo>
                  <a:pt x="25" y="75"/>
                  <a:pt x="25" y="74"/>
                  <a:pt x="26" y="74"/>
                </a:cubicBezTo>
                <a:cubicBezTo>
                  <a:pt x="25" y="74"/>
                  <a:pt x="25" y="75"/>
                  <a:pt x="25" y="75"/>
                </a:cubicBezTo>
                <a:cubicBezTo>
                  <a:pt x="26" y="75"/>
                  <a:pt x="26" y="74"/>
                  <a:pt x="26" y="74"/>
                </a:cubicBezTo>
                <a:cubicBezTo>
                  <a:pt x="26" y="74"/>
                  <a:pt x="26" y="74"/>
                  <a:pt x="26" y="74"/>
                </a:cubicBezTo>
                <a:cubicBezTo>
                  <a:pt x="26" y="74"/>
                  <a:pt x="26" y="74"/>
                  <a:pt x="26" y="74"/>
                </a:cubicBezTo>
                <a:cubicBezTo>
                  <a:pt x="26" y="74"/>
                  <a:pt x="26" y="74"/>
                  <a:pt x="26" y="74"/>
                </a:cubicBezTo>
                <a:cubicBezTo>
                  <a:pt x="26" y="74"/>
                  <a:pt x="26" y="74"/>
                  <a:pt x="26" y="74"/>
                </a:cubicBezTo>
                <a:cubicBezTo>
                  <a:pt x="26" y="74"/>
                  <a:pt x="26" y="74"/>
                  <a:pt x="26" y="74"/>
                </a:cubicBezTo>
                <a:cubicBezTo>
                  <a:pt x="26" y="74"/>
                  <a:pt x="26" y="74"/>
                  <a:pt x="26" y="74"/>
                </a:cubicBezTo>
                <a:cubicBezTo>
                  <a:pt x="26" y="74"/>
                  <a:pt x="26" y="74"/>
                  <a:pt x="26" y="74"/>
                </a:cubicBezTo>
                <a:cubicBezTo>
                  <a:pt x="26" y="74"/>
                  <a:pt x="26" y="74"/>
                  <a:pt x="26" y="74"/>
                </a:cubicBezTo>
                <a:cubicBezTo>
                  <a:pt x="26" y="73"/>
                  <a:pt x="26" y="73"/>
                  <a:pt x="26" y="73"/>
                </a:cubicBezTo>
                <a:cubicBezTo>
                  <a:pt x="27" y="73"/>
                  <a:pt x="27" y="73"/>
                  <a:pt x="27" y="72"/>
                </a:cubicBezTo>
                <a:cubicBezTo>
                  <a:pt x="27" y="72"/>
                  <a:pt x="27" y="72"/>
                  <a:pt x="27" y="72"/>
                </a:cubicBezTo>
                <a:cubicBezTo>
                  <a:pt x="27" y="72"/>
                  <a:pt x="27" y="72"/>
                  <a:pt x="27" y="72"/>
                </a:cubicBezTo>
                <a:cubicBezTo>
                  <a:pt x="27" y="72"/>
                  <a:pt x="27" y="72"/>
                  <a:pt x="27" y="72"/>
                </a:cubicBezTo>
                <a:cubicBezTo>
                  <a:pt x="27" y="72"/>
                  <a:pt x="27" y="72"/>
                  <a:pt x="28" y="72"/>
                </a:cubicBezTo>
                <a:cubicBezTo>
                  <a:pt x="28" y="72"/>
                  <a:pt x="27" y="72"/>
                  <a:pt x="27" y="71"/>
                </a:cubicBezTo>
                <a:cubicBezTo>
                  <a:pt x="27" y="71"/>
                  <a:pt x="27" y="72"/>
                  <a:pt x="27" y="72"/>
                </a:cubicBezTo>
                <a:cubicBezTo>
                  <a:pt x="27" y="71"/>
                  <a:pt x="27" y="71"/>
                  <a:pt x="27" y="71"/>
                </a:cubicBezTo>
                <a:cubicBezTo>
                  <a:pt x="27" y="71"/>
                  <a:pt x="27" y="71"/>
                  <a:pt x="28" y="71"/>
                </a:cubicBezTo>
                <a:cubicBezTo>
                  <a:pt x="27" y="71"/>
                  <a:pt x="28" y="71"/>
                  <a:pt x="28" y="71"/>
                </a:cubicBezTo>
                <a:cubicBezTo>
                  <a:pt x="28" y="71"/>
                  <a:pt x="28" y="71"/>
                  <a:pt x="28" y="71"/>
                </a:cubicBezTo>
                <a:cubicBezTo>
                  <a:pt x="28" y="71"/>
                  <a:pt x="28" y="71"/>
                  <a:pt x="28" y="71"/>
                </a:cubicBezTo>
                <a:cubicBezTo>
                  <a:pt x="27" y="71"/>
                  <a:pt x="28" y="70"/>
                  <a:pt x="28" y="70"/>
                </a:cubicBezTo>
                <a:cubicBezTo>
                  <a:pt x="28" y="70"/>
                  <a:pt x="28" y="70"/>
                  <a:pt x="28" y="70"/>
                </a:cubicBezTo>
                <a:cubicBezTo>
                  <a:pt x="28" y="70"/>
                  <a:pt x="28" y="70"/>
                  <a:pt x="28" y="70"/>
                </a:cubicBezTo>
                <a:cubicBezTo>
                  <a:pt x="28" y="70"/>
                  <a:pt x="28" y="70"/>
                  <a:pt x="28" y="71"/>
                </a:cubicBezTo>
                <a:cubicBezTo>
                  <a:pt x="28" y="71"/>
                  <a:pt x="28" y="70"/>
                  <a:pt x="28" y="70"/>
                </a:cubicBezTo>
                <a:cubicBezTo>
                  <a:pt x="28" y="71"/>
                  <a:pt x="28" y="71"/>
                  <a:pt x="28" y="71"/>
                </a:cubicBezTo>
                <a:cubicBezTo>
                  <a:pt x="28" y="71"/>
                  <a:pt x="28" y="70"/>
                  <a:pt x="29" y="70"/>
                </a:cubicBezTo>
                <a:cubicBezTo>
                  <a:pt x="28" y="70"/>
                  <a:pt x="28" y="70"/>
                  <a:pt x="28" y="70"/>
                </a:cubicBezTo>
                <a:cubicBezTo>
                  <a:pt x="28" y="70"/>
                  <a:pt x="28" y="70"/>
                  <a:pt x="28" y="70"/>
                </a:cubicBezTo>
                <a:cubicBezTo>
                  <a:pt x="28" y="70"/>
                  <a:pt x="28" y="70"/>
                  <a:pt x="28" y="70"/>
                </a:cubicBezTo>
                <a:cubicBezTo>
                  <a:pt x="28" y="70"/>
                  <a:pt x="28" y="70"/>
                  <a:pt x="28" y="70"/>
                </a:cubicBezTo>
                <a:cubicBezTo>
                  <a:pt x="28" y="70"/>
                  <a:pt x="28" y="69"/>
                  <a:pt x="29" y="69"/>
                </a:cubicBezTo>
                <a:cubicBezTo>
                  <a:pt x="28" y="69"/>
                  <a:pt x="28" y="69"/>
                  <a:pt x="28" y="69"/>
                </a:cubicBezTo>
                <a:cubicBezTo>
                  <a:pt x="28" y="69"/>
                  <a:pt x="28" y="69"/>
                  <a:pt x="28" y="69"/>
                </a:cubicBezTo>
                <a:cubicBezTo>
                  <a:pt x="28" y="69"/>
                  <a:pt x="28" y="69"/>
                  <a:pt x="28" y="69"/>
                </a:cubicBezTo>
                <a:cubicBezTo>
                  <a:pt x="29" y="69"/>
                  <a:pt x="28" y="69"/>
                  <a:pt x="29" y="69"/>
                </a:cubicBezTo>
                <a:cubicBezTo>
                  <a:pt x="29" y="69"/>
                  <a:pt x="29" y="69"/>
                  <a:pt x="29" y="69"/>
                </a:cubicBezTo>
                <a:cubicBezTo>
                  <a:pt x="29" y="68"/>
                  <a:pt x="29" y="68"/>
                  <a:pt x="29" y="68"/>
                </a:cubicBezTo>
                <a:cubicBezTo>
                  <a:pt x="29" y="68"/>
                  <a:pt x="29" y="68"/>
                  <a:pt x="29" y="68"/>
                </a:cubicBezTo>
                <a:cubicBezTo>
                  <a:pt x="29" y="68"/>
                  <a:pt x="29" y="68"/>
                  <a:pt x="29" y="68"/>
                </a:cubicBezTo>
                <a:cubicBezTo>
                  <a:pt x="29" y="68"/>
                  <a:pt x="29" y="68"/>
                  <a:pt x="29" y="68"/>
                </a:cubicBezTo>
                <a:cubicBezTo>
                  <a:pt x="30" y="67"/>
                  <a:pt x="30" y="67"/>
                  <a:pt x="30" y="66"/>
                </a:cubicBezTo>
                <a:cubicBezTo>
                  <a:pt x="30" y="66"/>
                  <a:pt x="30" y="67"/>
                  <a:pt x="30" y="66"/>
                </a:cubicBezTo>
                <a:cubicBezTo>
                  <a:pt x="30" y="66"/>
                  <a:pt x="30" y="66"/>
                  <a:pt x="30" y="66"/>
                </a:cubicBezTo>
                <a:cubicBezTo>
                  <a:pt x="31" y="66"/>
                  <a:pt x="30" y="66"/>
                  <a:pt x="31" y="66"/>
                </a:cubicBezTo>
                <a:cubicBezTo>
                  <a:pt x="30" y="66"/>
                  <a:pt x="30" y="67"/>
                  <a:pt x="31" y="67"/>
                </a:cubicBezTo>
                <a:cubicBezTo>
                  <a:pt x="31" y="67"/>
                  <a:pt x="30" y="67"/>
                  <a:pt x="30" y="67"/>
                </a:cubicBezTo>
                <a:cubicBezTo>
                  <a:pt x="30" y="67"/>
                  <a:pt x="30" y="67"/>
                  <a:pt x="30" y="67"/>
                </a:cubicBezTo>
                <a:cubicBezTo>
                  <a:pt x="30" y="67"/>
                  <a:pt x="30" y="67"/>
                  <a:pt x="30" y="67"/>
                </a:cubicBezTo>
                <a:cubicBezTo>
                  <a:pt x="30" y="67"/>
                  <a:pt x="30" y="67"/>
                  <a:pt x="30" y="67"/>
                </a:cubicBezTo>
                <a:cubicBezTo>
                  <a:pt x="30" y="67"/>
                  <a:pt x="30" y="67"/>
                  <a:pt x="30" y="67"/>
                </a:cubicBezTo>
                <a:cubicBezTo>
                  <a:pt x="30" y="67"/>
                  <a:pt x="30" y="68"/>
                  <a:pt x="29" y="68"/>
                </a:cubicBezTo>
                <a:cubicBezTo>
                  <a:pt x="29" y="69"/>
                  <a:pt x="29" y="68"/>
                  <a:pt x="29" y="68"/>
                </a:cubicBezTo>
                <a:cubicBezTo>
                  <a:pt x="30" y="68"/>
                  <a:pt x="29" y="69"/>
                  <a:pt x="29" y="69"/>
                </a:cubicBezTo>
                <a:cubicBezTo>
                  <a:pt x="29" y="69"/>
                  <a:pt x="30" y="69"/>
                  <a:pt x="30" y="69"/>
                </a:cubicBezTo>
                <a:cubicBezTo>
                  <a:pt x="30" y="68"/>
                  <a:pt x="30" y="68"/>
                  <a:pt x="30" y="68"/>
                </a:cubicBezTo>
                <a:cubicBezTo>
                  <a:pt x="30" y="68"/>
                  <a:pt x="30" y="68"/>
                  <a:pt x="30" y="68"/>
                </a:cubicBezTo>
                <a:cubicBezTo>
                  <a:pt x="30" y="68"/>
                  <a:pt x="30" y="68"/>
                  <a:pt x="30" y="68"/>
                </a:cubicBezTo>
                <a:cubicBezTo>
                  <a:pt x="30" y="68"/>
                  <a:pt x="30" y="67"/>
                  <a:pt x="30" y="67"/>
                </a:cubicBezTo>
                <a:cubicBezTo>
                  <a:pt x="30" y="67"/>
                  <a:pt x="30" y="67"/>
                  <a:pt x="30" y="67"/>
                </a:cubicBezTo>
                <a:cubicBezTo>
                  <a:pt x="30" y="67"/>
                  <a:pt x="30" y="67"/>
                  <a:pt x="30" y="67"/>
                </a:cubicBezTo>
                <a:cubicBezTo>
                  <a:pt x="30" y="67"/>
                  <a:pt x="31" y="67"/>
                  <a:pt x="30" y="67"/>
                </a:cubicBezTo>
                <a:cubicBezTo>
                  <a:pt x="30" y="67"/>
                  <a:pt x="30" y="67"/>
                  <a:pt x="30" y="67"/>
                </a:cubicBezTo>
                <a:cubicBezTo>
                  <a:pt x="31" y="67"/>
                  <a:pt x="31" y="67"/>
                  <a:pt x="30" y="67"/>
                </a:cubicBezTo>
                <a:cubicBezTo>
                  <a:pt x="31" y="67"/>
                  <a:pt x="31" y="66"/>
                  <a:pt x="31" y="66"/>
                </a:cubicBezTo>
                <a:cubicBezTo>
                  <a:pt x="31" y="65"/>
                  <a:pt x="31" y="66"/>
                  <a:pt x="31" y="66"/>
                </a:cubicBezTo>
                <a:cubicBezTo>
                  <a:pt x="31" y="65"/>
                  <a:pt x="31" y="66"/>
                  <a:pt x="31" y="66"/>
                </a:cubicBezTo>
                <a:cubicBezTo>
                  <a:pt x="31" y="66"/>
                  <a:pt x="31" y="66"/>
                  <a:pt x="31" y="65"/>
                </a:cubicBezTo>
                <a:cubicBezTo>
                  <a:pt x="31" y="65"/>
                  <a:pt x="31" y="66"/>
                  <a:pt x="30" y="66"/>
                </a:cubicBezTo>
                <a:cubicBezTo>
                  <a:pt x="31" y="66"/>
                  <a:pt x="30" y="66"/>
                  <a:pt x="30" y="65"/>
                </a:cubicBezTo>
                <a:cubicBezTo>
                  <a:pt x="30" y="65"/>
                  <a:pt x="30" y="65"/>
                  <a:pt x="30" y="65"/>
                </a:cubicBezTo>
                <a:cubicBezTo>
                  <a:pt x="30" y="65"/>
                  <a:pt x="30" y="66"/>
                  <a:pt x="30" y="66"/>
                </a:cubicBezTo>
                <a:cubicBezTo>
                  <a:pt x="30" y="65"/>
                  <a:pt x="30" y="66"/>
                  <a:pt x="30" y="66"/>
                </a:cubicBezTo>
                <a:cubicBezTo>
                  <a:pt x="30" y="66"/>
                  <a:pt x="30" y="66"/>
                  <a:pt x="30" y="65"/>
                </a:cubicBezTo>
                <a:cubicBezTo>
                  <a:pt x="30" y="65"/>
                  <a:pt x="30" y="66"/>
                  <a:pt x="30" y="66"/>
                </a:cubicBezTo>
                <a:cubicBezTo>
                  <a:pt x="30" y="66"/>
                  <a:pt x="30" y="66"/>
                  <a:pt x="29" y="66"/>
                </a:cubicBezTo>
                <a:cubicBezTo>
                  <a:pt x="29" y="66"/>
                  <a:pt x="30" y="66"/>
                  <a:pt x="30" y="66"/>
                </a:cubicBezTo>
                <a:cubicBezTo>
                  <a:pt x="29" y="66"/>
                  <a:pt x="29" y="66"/>
                  <a:pt x="29" y="66"/>
                </a:cubicBezTo>
                <a:cubicBezTo>
                  <a:pt x="29" y="66"/>
                  <a:pt x="29" y="66"/>
                  <a:pt x="29" y="67"/>
                </a:cubicBezTo>
                <a:cubicBezTo>
                  <a:pt x="29" y="67"/>
                  <a:pt x="29" y="67"/>
                  <a:pt x="29" y="66"/>
                </a:cubicBezTo>
                <a:cubicBezTo>
                  <a:pt x="29" y="67"/>
                  <a:pt x="30" y="67"/>
                  <a:pt x="30" y="67"/>
                </a:cubicBezTo>
                <a:cubicBezTo>
                  <a:pt x="29" y="67"/>
                  <a:pt x="29" y="67"/>
                  <a:pt x="29" y="67"/>
                </a:cubicBezTo>
                <a:cubicBezTo>
                  <a:pt x="29" y="67"/>
                  <a:pt x="29" y="67"/>
                  <a:pt x="29" y="67"/>
                </a:cubicBezTo>
                <a:cubicBezTo>
                  <a:pt x="29" y="67"/>
                  <a:pt x="29" y="67"/>
                  <a:pt x="29" y="67"/>
                </a:cubicBezTo>
                <a:cubicBezTo>
                  <a:pt x="29" y="67"/>
                  <a:pt x="29" y="67"/>
                  <a:pt x="29" y="67"/>
                </a:cubicBezTo>
                <a:cubicBezTo>
                  <a:pt x="29" y="67"/>
                  <a:pt x="29" y="68"/>
                  <a:pt x="29" y="68"/>
                </a:cubicBezTo>
                <a:cubicBezTo>
                  <a:pt x="29" y="68"/>
                  <a:pt x="29" y="67"/>
                  <a:pt x="29" y="67"/>
                </a:cubicBezTo>
                <a:cubicBezTo>
                  <a:pt x="29" y="67"/>
                  <a:pt x="29" y="67"/>
                  <a:pt x="29" y="67"/>
                </a:cubicBezTo>
                <a:cubicBezTo>
                  <a:pt x="29" y="67"/>
                  <a:pt x="29" y="67"/>
                  <a:pt x="29" y="67"/>
                </a:cubicBezTo>
                <a:cubicBezTo>
                  <a:pt x="29" y="67"/>
                  <a:pt x="29" y="67"/>
                  <a:pt x="28" y="67"/>
                </a:cubicBezTo>
                <a:cubicBezTo>
                  <a:pt x="28" y="68"/>
                  <a:pt x="28" y="68"/>
                  <a:pt x="28" y="68"/>
                </a:cubicBezTo>
                <a:cubicBezTo>
                  <a:pt x="28" y="68"/>
                  <a:pt x="28" y="68"/>
                  <a:pt x="28" y="68"/>
                </a:cubicBezTo>
                <a:cubicBezTo>
                  <a:pt x="28" y="68"/>
                  <a:pt x="28" y="68"/>
                  <a:pt x="28" y="68"/>
                </a:cubicBezTo>
                <a:cubicBezTo>
                  <a:pt x="28" y="68"/>
                  <a:pt x="28" y="68"/>
                  <a:pt x="28" y="67"/>
                </a:cubicBezTo>
                <a:cubicBezTo>
                  <a:pt x="28" y="67"/>
                  <a:pt x="28" y="67"/>
                  <a:pt x="28" y="67"/>
                </a:cubicBezTo>
                <a:cubicBezTo>
                  <a:pt x="28" y="67"/>
                  <a:pt x="28" y="67"/>
                  <a:pt x="28" y="67"/>
                </a:cubicBezTo>
                <a:cubicBezTo>
                  <a:pt x="28" y="67"/>
                  <a:pt x="28" y="67"/>
                  <a:pt x="28" y="67"/>
                </a:cubicBezTo>
                <a:cubicBezTo>
                  <a:pt x="28" y="68"/>
                  <a:pt x="28" y="67"/>
                  <a:pt x="28" y="68"/>
                </a:cubicBezTo>
                <a:cubicBezTo>
                  <a:pt x="28" y="68"/>
                  <a:pt x="28" y="68"/>
                  <a:pt x="28" y="68"/>
                </a:cubicBezTo>
                <a:cubicBezTo>
                  <a:pt x="28" y="68"/>
                  <a:pt x="28" y="68"/>
                  <a:pt x="28" y="68"/>
                </a:cubicBezTo>
                <a:cubicBezTo>
                  <a:pt x="28" y="68"/>
                  <a:pt x="28" y="68"/>
                  <a:pt x="28" y="68"/>
                </a:cubicBezTo>
                <a:cubicBezTo>
                  <a:pt x="28" y="68"/>
                  <a:pt x="28" y="68"/>
                  <a:pt x="28" y="68"/>
                </a:cubicBezTo>
                <a:cubicBezTo>
                  <a:pt x="28" y="68"/>
                  <a:pt x="28" y="68"/>
                  <a:pt x="28" y="68"/>
                </a:cubicBezTo>
                <a:cubicBezTo>
                  <a:pt x="28" y="68"/>
                  <a:pt x="28" y="68"/>
                  <a:pt x="28" y="68"/>
                </a:cubicBezTo>
                <a:cubicBezTo>
                  <a:pt x="28" y="68"/>
                  <a:pt x="27" y="69"/>
                  <a:pt x="27" y="69"/>
                </a:cubicBezTo>
                <a:cubicBezTo>
                  <a:pt x="27" y="69"/>
                  <a:pt x="27" y="69"/>
                  <a:pt x="27" y="70"/>
                </a:cubicBezTo>
                <a:cubicBezTo>
                  <a:pt x="27" y="70"/>
                  <a:pt x="27" y="70"/>
                  <a:pt x="26" y="70"/>
                </a:cubicBezTo>
                <a:cubicBezTo>
                  <a:pt x="26" y="70"/>
                  <a:pt x="26" y="70"/>
                  <a:pt x="26" y="70"/>
                </a:cubicBezTo>
                <a:cubicBezTo>
                  <a:pt x="26" y="70"/>
                  <a:pt x="26" y="70"/>
                  <a:pt x="26" y="70"/>
                </a:cubicBezTo>
                <a:cubicBezTo>
                  <a:pt x="27" y="70"/>
                  <a:pt x="27" y="70"/>
                  <a:pt x="27" y="69"/>
                </a:cubicBezTo>
                <a:cubicBezTo>
                  <a:pt x="27" y="69"/>
                  <a:pt x="27" y="70"/>
                  <a:pt x="27" y="70"/>
                </a:cubicBezTo>
                <a:cubicBezTo>
                  <a:pt x="27" y="69"/>
                  <a:pt x="27" y="69"/>
                  <a:pt x="27" y="69"/>
                </a:cubicBezTo>
                <a:cubicBezTo>
                  <a:pt x="27" y="69"/>
                  <a:pt x="27" y="69"/>
                  <a:pt x="27" y="69"/>
                </a:cubicBezTo>
                <a:cubicBezTo>
                  <a:pt x="27" y="69"/>
                  <a:pt x="27" y="69"/>
                  <a:pt x="27" y="69"/>
                </a:cubicBezTo>
                <a:cubicBezTo>
                  <a:pt x="27" y="69"/>
                  <a:pt x="27" y="69"/>
                  <a:pt x="27" y="69"/>
                </a:cubicBezTo>
                <a:cubicBezTo>
                  <a:pt x="27" y="69"/>
                  <a:pt x="27" y="69"/>
                  <a:pt x="27" y="69"/>
                </a:cubicBezTo>
                <a:cubicBezTo>
                  <a:pt x="27" y="69"/>
                  <a:pt x="27" y="69"/>
                  <a:pt x="27" y="69"/>
                </a:cubicBezTo>
                <a:cubicBezTo>
                  <a:pt x="27" y="69"/>
                  <a:pt x="27" y="69"/>
                  <a:pt x="27" y="69"/>
                </a:cubicBezTo>
                <a:cubicBezTo>
                  <a:pt x="27" y="69"/>
                  <a:pt x="27" y="69"/>
                  <a:pt x="27" y="69"/>
                </a:cubicBezTo>
                <a:cubicBezTo>
                  <a:pt x="27" y="69"/>
                  <a:pt x="27" y="68"/>
                  <a:pt x="27" y="68"/>
                </a:cubicBezTo>
                <a:cubicBezTo>
                  <a:pt x="27" y="68"/>
                  <a:pt x="27" y="68"/>
                  <a:pt x="27" y="68"/>
                </a:cubicBezTo>
                <a:cubicBezTo>
                  <a:pt x="27" y="68"/>
                  <a:pt x="27" y="68"/>
                  <a:pt x="27" y="68"/>
                </a:cubicBezTo>
                <a:cubicBezTo>
                  <a:pt x="27" y="68"/>
                  <a:pt x="27" y="68"/>
                  <a:pt x="27" y="68"/>
                </a:cubicBezTo>
                <a:cubicBezTo>
                  <a:pt x="27" y="68"/>
                  <a:pt x="27" y="69"/>
                  <a:pt x="27" y="69"/>
                </a:cubicBezTo>
                <a:cubicBezTo>
                  <a:pt x="27" y="68"/>
                  <a:pt x="27" y="68"/>
                  <a:pt x="27" y="68"/>
                </a:cubicBezTo>
                <a:cubicBezTo>
                  <a:pt x="27" y="68"/>
                  <a:pt x="27" y="68"/>
                  <a:pt x="27" y="68"/>
                </a:cubicBezTo>
                <a:cubicBezTo>
                  <a:pt x="27" y="68"/>
                  <a:pt x="26" y="68"/>
                  <a:pt x="27" y="69"/>
                </a:cubicBezTo>
                <a:cubicBezTo>
                  <a:pt x="27" y="69"/>
                  <a:pt x="27" y="69"/>
                  <a:pt x="27" y="69"/>
                </a:cubicBezTo>
                <a:cubicBezTo>
                  <a:pt x="26" y="69"/>
                  <a:pt x="26" y="69"/>
                  <a:pt x="26" y="69"/>
                </a:cubicBezTo>
                <a:cubicBezTo>
                  <a:pt x="26" y="69"/>
                  <a:pt x="26" y="69"/>
                  <a:pt x="26" y="69"/>
                </a:cubicBezTo>
                <a:cubicBezTo>
                  <a:pt x="26" y="69"/>
                  <a:pt x="26" y="69"/>
                  <a:pt x="26" y="69"/>
                </a:cubicBezTo>
                <a:cubicBezTo>
                  <a:pt x="26" y="69"/>
                  <a:pt x="26" y="69"/>
                  <a:pt x="26" y="69"/>
                </a:cubicBezTo>
                <a:cubicBezTo>
                  <a:pt x="26" y="69"/>
                  <a:pt x="26" y="69"/>
                  <a:pt x="26" y="69"/>
                </a:cubicBezTo>
                <a:cubicBezTo>
                  <a:pt x="26" y="69"/>
                  <a:pt x="26" y="69"/>
                  <a:pt x="26" y="69"/>
                </a:cubicBezTo>
                <a:cubicBezTo>
                  <a:pt x="26" y="69"/>
                  <a:pt x="26" y="69"/>
                  <a:pt x="26" y="69"/>
                </a:cubicBezTo>
                <a:cubicBezTo>
                  <a:pt x="26" y="69"/>
                  <a:pt x="26" y="69"/>
                  <a:pt x="26" y="69"/>
                </a:cubicBezTo>
                <a:cubicBezTo>
                  <a:pt x="26" y="69"/>
                  <a:pt x="26" y="69"/>
                  <a:pt x="26" y="69"/>
                </a:cubicBezTo>
                <a:cubicBezTo>
                  <a:pt x="25" y="69"/>
                  <a:pt x="26" y="68"/>
                  <a:pt x="26" y="68"/>
                </a:cubicBezTo>
                <a:cubicBezTo>
                  <a:pt x="26" y="68"/>
                  <a:pt x="26" y="68"/>
                  <a:pt x="26" y="68"/>
                </a:cubicBezTo>
                <a:cubicBezTo>
                  <a:pt x="26" y="67"/>
                  <a:pt x="26" y="67"/>
                  <a:pt x="27" y="67"/>
                </a:cubicBezTo>
                <a:cubicBezTo>
                  <a:pt x="27" y="67"/>
                  <a:pt x="27" y="67"/>
                  <a:pt x="27" y="67"/>
                </a:cubicBezTo>
                <a:cubicBezTo>
                  <a:pt x="27" y="67"/>
                  <a:pt x="27" y="67"/>
                  <a:pt x="27" y="67"/>
                </a:cubicBezTo>
                <a:cubicBezTo>
                  <a:pt x="27" y="67"/>
                  <a:pt x="27" y="67"/>
                  <a:pt x="27" y="67"/>
                </a:cubicBezTo>
                <a:cubicBezTo>
                  <a:pt x="27" y="67"/>
                  <a:pt x="27" y="67"/>
                  <a:pt x="27" y="67"/>
                </a:cubicBezTo>
                <a:cubicBezTo>
                  <a:pt x="27" y="67"/>
                  <a:pt x="27" y="67"/>
                  <a:pt x="27" y="67"/>
                </a:cubicBezTo>
                <a:cubicBezTo>
                  <a:pt x="27" y="67"/>
                  <a:pt x="27" y="67"/>
                  <a:pt x="27" y="67"/>
                </a:cubicBezTo>
                <a:cubicBezTo>
                  <a:pt x="27" y="67"/>
                  <a:pt x="27" y="67"/>
                  <a:pt x="27" y="66"/>
                </a:cubicBezTo>
                <a:cubicBezTo>
                  <a:pt x="28" y="66"/>
                  <a:pt x="28" y="66"/>
                  <a:pt x="28" y="66"/>
                </a:cubicBezTo>
                <a:cubicBezTo>
                  <a:pt x="28" y="66"/>
                  <a:pt x="28" y="66"/>
                  <a:pt x="28" y="66"/>
                </a:cubicBezTo>
                <a:cubicBezTo>
                  <a:pt x="28" y="66"/>
                  <a:pt x="28" y="66"/>
                  <a:pt x="28" y="66"/>
                </a:cubicBezTo>
                <a:cubicBezTo>
                  <a:pt x="28" y="66"/>
                  <a:pt x="28" y="66"/>
                  <a:pt x="28" y="65"/>
                </a:cubicBezTo>
                <a:cubicBezTo>
                  <a:pt x="28" y="65"/>
                  <a:pt x="28" y="66"/>
                  <a:pt x="28" y="66"/>
                </a:cubicBezTo>
                <a:cubicBezTo>
                  <a:pt x="28" y="66"/>
                  <a:pt x="28" y="66"/>
                  <a:pt x="28" y="66"/>
                </a:cubicBezTo>
                <a:cubicBezTo>
                  <a:pt x="28" y="66"/>
                  <a:pt x="28" y="65"/>
                  <a:pt x="28" y="65"/>
                </a:cubicBezTo>
                <a:cubicBezTo>
                  <a:pt x="28" y="65"/>
                  <a:pt x="28" y="66"/>
                  <a:pt x="28" y="66"/>
                </a:cubicBezTo>
                <a:cubicBezTo>
                  <a:pt x="28" y="66"/>
                  <a:pt x="28" y="67"/>
                  <a:pt x="28" y="66"/>
                </a:cubicBezTo>
                <a:cubicBezTo>
                  <a:pt x="28" y="66"/>
                  <a:pt x="28" y="67"/>
                  <a:pt x="28" y="67"/>
                </a:cubicBezTo>
                <a:cubicBezTo>
                  <a:pt x="28" y="67"/>
                  <a:pt x="28" y="67"/>
                  <a:pt x="28" y="67"/>
                </a:cubicBezTo>
                <a:cubicBezTo>
                  <a:pt x="28" y="67"/>
                  <a:pt x="28" y="67"/>
                  <a:pt x="28" y="67"/>
                </a:cubicBezTo>
                <a:cubicBezTo>
                  <a:pt x="28" y="67"/>
                  <a:pt x="28" y="67"/>
                  <a:pt x="28" y="67"/>
                </a:cubicBezTo>
                <a:cubicBezTo>
                  <a:pt x="28" y="67"/>
                  <a:pt x="28" y="67"/>
                  <a:pt x="28" y="67"/>
                </a:cubicBezTo>
                <a:cubicBezTo>
                  <a:pt x="28" y="67"/>
                  <a:pt x="28" y="67"/>
                  <a:pt x="28" y="67"/>
                </a:cubicBezTo>
                <a:cubicBezTo>
                  <a:pt x="28" y="67"/>
                  <a:pt x="28" y="67"/>
                  <a:pt x="28" y="67"/>
                </a:cubicBezTo>
                <a:cubicBezTo>
                  <a:pt x="28" y="67"/>
                  <a:pt x="28" y="67"/>
                  <a:pt x="28" y="67"/>
                </a:cubicBezTo>
                <a:cubicBezTo>
                  <a:pt x="28" y="67"/>
                  <a:pt x="28" y="67"/>
                  <a:pt x="28" y="67"/>
                </a:cubicBezTo>
                <a:cubicBezTo>
                  <a:pt x="28" y="66"/>
                  <a:pt x="28" y="67"/>
                  <a:pt x="28" y="66"/>
                </a:cubicBezTo>
                <a:cubicBezTo>
                  <a:pt x="28" y="66"/>
                  <a:pt x="28" y="67"/>
                  <a:pt x="28" y="67"/>
                </a:cubicBezTo>
                <a:cubicBezTo>
                  <a:pt x="29" y="67"/>
                  <a:pt x="29" y="66"/>
                  <a:pt x="29" y="66"/>
                </a:cubicBezTo>
                <a:cubicBezTo>
                  <a:pt x="28" y="66"/>
                  <a:pt x="28" y="66"/>
                  <a:pt x="28" y="66"/>
                </a:cubicBezTo>
                <a:cubicBezTo>
                  <a:pt x="28" y="66"/>
                  <a:pt x="28" y="66"/>
                  <a:pt x="28" y="66"/>
                </a:cubicBezTo>
                <a:cubicBezTo>
                  <a:pt x="28" y="66"/>
                  <a:pt x="28" y="66"/>
                  <a:pt x="28" y="66"/>
                </a:cubicBezTo>
                <a:cubicBezTo>
                  <a:pt x="28" y="66"/>
                  <a:pt x="28" y="66"/>
                  <a:pt x="29" y="66"/>
                </a:cubicBezTo>
                <a:cubicBezTo>
                  <a:pt x="29" y="66"/>
                  <a:pt x="29" y="66"/>
                  <a:pt x="28" y="66"/>
                </a:cubicBezTo>
                <a:cubicBezTo>
                  <a:pt x="29" y="66"/>
                  <a:pt x="29" y="66"/>
                  <a:pt x="29" y="65"/>
                </a:cubicBezTo>
                <a:cubicBezTo>
                  <a:pt x="29" y="65"/>
                  <a:pt x="28" y="65"/>
                  <a:pt x="28" y="66"/>
                </a:cubicBezTo>
                <a:cubicBezTo>
                  <a:pt x="28" y="65"/>
                  <a:pt x="29" y="65"/>
                  <a:pt x="29" y="65"/>
                </a:cubicBezTo>
                <a:cubicBezTo>
                  <a:pt x="29" y="64"/>
                  <a:pt x="29" y="64"/>
                  <a:pt x="29" y="64"/>
                </a:cubicBezTo>
                <a:cubicBezTo>
                  <a:pt x="29" y="64"/>
                  <a:pt x="29" y="64"/>
                  <a:pt x="29" y="64"/>
                </a:cubicBezTo>
                <a:cubicBezTo>
                  <a:pt x="29" y="64"/>
                  <a:pt x="29" y="64"/>
                  <a:pt x="29" y="64"/>
                </a:cubicBezTo>
                <a:cubicBezTo>
                  <a:pt x="29" y="64"/>
                  <a:pt x="30" y="64"/>
                  <a:pt x="29" y="64"/>
                </a:cubicBezTo>
                <a:cubicBezTo>
                  <a:pt x="29" y="64"/>
                  <a:pt x="30" y="64"/>
                  <a:pt x="29" y="64"/>
                </a:cubicBezTo>
                <a:cubicBezTo>
                  <a:pt x="30" y="64"/>
                  <a:pt x="30" y="64"/>
                  <a:pt x="30" y="64"/>
                </a:cubicBezTo>
                <a:cubicBezTo>
                  <a:pt x="30" y="64"/>
                  <a:pt x="30" y="64"/>
                  <a:pt x="30" y="64"/>
                </a:cubicBezTo>
                <a:cubicBezTo>
                  <a:pt x="30" y="64"/>
                  <a:pt x="29" y="64"/>
                  <a:pt x="29" y="65"/>
                </a:cubicBezTo>
                <a:cubicBezTo>
                  <a:pt x="29" y="64"/>
                  <a:pt x="29" y="64"/>
                  <a:pt x="29" y="64"/>
                </a:cubicBezTo>
                <a:cubicBezTo>
                  <a:pt x="29" y="64"/>
                  <a:pt x="29" y="65"/>
                  <a:pt x="29" y="65"/>
                </a:cubicBezTo>
                <a:cubicBezTo>
                  <a:pt x="29" y="65"/>
                  <a:pt x="29" y="65"/>
                  <a:pt x="29" y="66"/>
                </a:cubicBezTo>
                <a:cubicBezTo>
                  <a:pt x="29" y="66"/>
                  <a:pt x="29" y="66"/>
                  <a:pt x="29" y="66"/>
                </a:cubicBezTo>
                <a:cubicBezTo>
                  <a:pt x="29" y="66"/>
                  <a:pt x="29" y="65"/>
                  <a:pt x="29" y="65"/>
                </a:cubicBezTo>
                <a:cubicBezTo>
                  <a:pt x="29" y="65"/>
                  <a:pt x="29" y="65"/>
                  <a:pt x="29" y="65"/>
                </a:cubicBezTo>
                <a:cubicBezTo>
                  <a:pt x="29" y="65"/>
                  <a:pt x="29" y="65"/>
                  <a:pt x="29" y="65"/>
                </a:cubicBezTo>
                <a:cubicBezTo>
                  <a:pt x="29" y="65"/>
                  <a:pt x="29" y="65"/>
                  <a:pt x="29" y="65"/>
                </a:cubicBezTo>
                <a:cubicBezTo>
                  <a:pt x="30" y="65"/>
                  <a:pt x="30" y="65"/>
                  <a:pt x="30" y="65"/>
                </a:cubicBezTo>
                <a:cubicBezTo>
                  <a:pt x="30" y="65"/>
                  <a:pt x="29" y="65"/>
                  <a:pt x="29" y="65"/>
                </a:cubicBezTo>
                <a:cubicBezTo>
                  <a:pt x="30" y="65"/>
                  <a:pt x="30" y="65"/>
                  <a:pt x="30" y="64"/>
                </a:cubicBezTo>
                <a:cubicBezTo>
                  <a:pt x="30" y="64"/>
                  <a:pt x="30" y="64"/>
                  <a:pt x="30" y="64"/>
                </a:cubicBezTo>
                <a:cubicBezTo>
                  <a:pt x="30" y="64"/>
                  <a:pt x="30" y="64"/>
                  <a:pt x="30" y="64"/>
                </a:cubicBezTo>
                <a:cubicBezTo>
                  <a:pt x="30" y="64"/>
                  <a:pt x="30" y="64"/>
                  <a:pt x="30" y="64"/>
                </a:cubicBezTo>
                <a:cubicBezTo>
                  <a:pt x="30" y="64"/>
                  <a:pt x="30" y="64"/>
                  <a:pt x="30" y="64"/>
                </a:cubicBezTo>
                <a:cubicBezTo>
                  <a:pt x="30" y="64"/>
                  <a:pt x="30" y="64"/>
                  <a:pt x="30" y="64"/>
                </a:cubicBezTo>
                <a:cubicBezTo>
                  <a:pt x="30" y="64"/>
                  <a:pt x="30" y="64"/>
                  <a:pt x="30" y="64"/>
                </a:cubicBezTo>
                <a:cubicBezTo>
                  <a:pt x="30" y="64"/>
                  <a:pt x="30" y="64"/>
                  <a:pt x="30" y="65"/>
                </a:cubicBezTo>
                <a:cubicBezTo>
                  <a:pt x="30" y="65"/>
                  <a:pt x="30" y="65"/>
                  <a:pt x="30" y="65"/>
                </a:cubicBezTo>
                <a:cubicBezTo>
                  <a:pt x="30" y="65"/>
                  <a:pt x="30" y="65"/>
                  <a:pt x="30" y="65"/>
                </a:cubicBezTo>
                <a:cubicBezTo>
                  <a:pt x="30" y="65"/>
                  <a:pt x="30" y="65"/>
                  <a:pt x="30" y="65"/>
                </a:cubicBezTo>
                <a:cubicBezTo>
                  <a:pt x="30" y="65"/>
                  <a:pt x="30" y="66"/>
                  <a:pt x="29" y="66"/>
                </a:cubicBezTo>
                <a:cubicBezTo>
                  <a:pt x="30" y="66"/>
                  <a:pt x="30" y="65"/>
                  <a:pt x="30" y="64"/>
                </a:cubicBezTo>
                <a:cubicBezTo>
                  <a:pt x="30" y="64"/>
                  <a:pt x="30" y="64"/>
                  <a:pt x="31" y="64"/>
                </a:cubicBezTo>
                <a:cubicBezTo>
                  <a:pt x="31" y="64"/>
                  <a:pt x="31" y="64"/>
                  <a:pt x="31" y="64"/>
                </a:cubicBezTo>
                <a:cubicBezTo>
                  <a:pt x="31" y="64"/>
                  <a:pt x="31" y="64"/>
                  <a:pt x="31" y="64"/>
                </a:cubicBezTo>
                <a:cubicBezTo>
                  <a:pt x="31" y="64"/>
                  <a:pt x="31" y="64"/>
                  <a:pt x="31" y="64"/>
                </a:cubicBezTo>
                <a:cubicBezTo>
                  <a:pt x="31" y="64"/>
                  <a:pt x="31" y="64"/>
                  <a:pt x="31" y="64"/>
                </a:cubicBezTo>
                <a:cubicBezTo>
                  <a:pt x="31" y="64"/>
                  <a:pt x="31" y="64"/>
                  <a:pt x="31" y="64"/>
                </a:cubicBezTo>
                <a:cubicBezTo>
                  <a:pt x="31" y="64"/>
                  <a:pt x="31" y="63"/>
                  <a:pt x="31" y="63"/>
                </a:cubicBezTo>
                <a:cubicBezTo>
                  <a:pt x="31" y="63"/>
                  <a:pt x="31" y="63"/>
                  <a:pt x="31" y="63"/>
                </a:cubicBezTo>
                <a:cubicBezTo>
                  <a:pt x="31" y="63"/>
                  <a:pt x="31" y="63"/>
                  <a:pt x="31" y="63"/>
                </a:cubicBezTo>
                <a:cubicBezTo>
                  <a:pt x="32" y="63"/>
                  <a:pt x="32" y="63"/>
                  <a:pt x="32" y="63"/>
                </a:cubicBezTo>
                <a:cubicBezTo>
                  <a:pt x="32" y="63"/>
                  <a:pt x="32" y="63"/>
                  <a:pt x="32" y="63"/>
                </a:cubicBezTo>
                <a:cubicBezTo>
                  <a:pt x="32" y="63"/>
                  <a:pt x="32" y="63"/>
                  <a:pt x="32" y="63"/>
                </a:cubicBezTo>
                <a:cubicBezTo>
                  <a:pt x="32" y="62"/>
                  <a:pt x="32" y="63"/>
                  <a:pt x="32" y="62"/>
                </a:cubicBezTo>
                <a:cubicBezTo>
                  <a:pt x="32" y="62"/>
                  <a:pt x="32" y="62"/>
                  <a:pt x="32" y="62"/>
                </a:cubicBezTo>
                <a:cubicBezTo>
                  <a:pt x="32" y="62"/>
                  <a:pt x="32" y="62"/>
                  <a:pt x="32" y="63"/>
                </a:cubicBezTo>
                <a:cubicBezTo>
                  <a:pt x="32" y="63"/>
                  <a:pt x="32" y="63"/>
                  <a:pt x="32" y="63"/>
                </a:cubicBezTo>
                <a:cubicBezTo>
                  <a:pt x="32" y="63"/>
                  <a:pt x="32" y="63"/>
                  <a:pt x="32" y="63"/>
                </a:cubicBezTo>
                <a:cubicBezTo>
                  <a:pt x="32" y="63"/>
                  <a:pt x="32" y="63"/>
                  <a:pt x="32" y="63"/>
                </a:cubicBezTo>
                <a:cubicBezTo>
                  <a:pt x="32" y="63"/>
                  <a:pt x="32" y="63"/>
                  <a:pt x="32" y="64"/>
                </a:cubicBezTo>
                <a:cubicBezTo>
                  <a:pt x="32" y="64"/>
                  <a:pt x="32" y="64"/>
                  <a:pt x="32" y="64"/>
                </a:cubicBezTo>
                <a:cubicBezTo>
                  <a:pt x="32" y="64"/>
                  <a:pt x="32" y="64"/>
                  <a:pt x="32" y="64"/>
                </a:cubicBezTo>
                <a:cubicBezTo>
                  <a:pt x="32" y="64"/>
                  <a:pt x="32" y="64"/>
                  <a:pt x="32" y="64"/>
                </a:cubicBezTo>
                <a:cubicBezTo>
                  <a:pt x="32" y="64"/>
                  <a:pt x="32" y="64"/>
                  <a:pt x="32" y="64"/>
                </a:cubicBezTo>
                <a:cubicBezTo>
                  <a:pt x="32" y="64"/>
                  <a:pt x="32" y="64"/>
                  <a:pt x="32" y="64"/>
                </a:cubicBezTo>
                <a:cubicBezTo>
                  <a:pt x="32" y="64"/>
                  <a:pt x="32" y="64"/>
                  <a:pt x="32" y="64"/>
                </a:cubicBezTo>
                <a:cubicBezTo>
                  <a:pt x="32" y="64"/>
                  <a:pt x="32" y="64"/>
                  <a:pt x="32" y="64"/>
                </a:cubicBezTo>
                <a:cubicBezTo>
                  <a:pt x="32" y="64"/>
                  <a:pt x="32" y="64"/>
                  <a:pt x="32" y="63"/>
                </a:cubicBezTo>
                <a:cubicBezTo>
                  <a:pt x="32" y="63"/>
                  <a:pt x="32" y="63"/>
                  <a:pt x="32" y="64"/>
                </a:cubicBezTo>
                <a:cubicBezTo>
                  <a:pt x="33" y="64"/>
                  <a:pt x="33" y="63"/>
                  <a:pt x="33" y="63"/>
                </a:cubicBezTo>
                <a:cubicBezTo>
                  <a:pt x="33" y="63"/>
                  <a:pt x="33" y="63"/>
                  <a:pt x="33" y="63"/>
                </a:cubicBezTo>
                <a:cubicBezTo>
                  <a:pt x="33" y="63"/>
                  <a:pt x="33" y="63"/>
                  <a:pt x="33" y="63"/>
                </a:cubicBezTo>
                <a:cubicBezTo>
                  <a:pt x="33" y="63"/>
                  <a:pt x="33" y="63"/>
                  <a:pt x="33" y="63"/>
                </a:cubicBezTo>
                <a:cubicBezTo>
                  <a:pt x="33" y="63"/>
                  <a:pt x="33" y="64"/>
                  <a:pt x="33" y="63"/>
                </a:cubicBezTo>
                <a:cubicBezTo>
                  <a:pt x="33" y="63"/>
                  <a:pt x="33" y="63"/>
                  <a:pt x="33" y="63"/>
                </a:cubicBezTo>
                <a:cubicBezTo>
                  <a:pt x="33" y="63"/>
                  <a:pt x="33" y="63"/>
                  <a:pt x="33" y="62"/>
                </a:cubicBezTo>
                <a:cubicBezTo>
                  <a:pt x="33" y="63"/>
                  <a:pt x="33" y="63"/>
                  <a:pt x="33" y="63"/>
                </a:cubicBezTo>
                <a:cubicBezTo>
                  <a:pt x="33" y="63"/>
                  <a:pt x="34" y="63"/>
                  <a:pt x="34" y="63"/>
                </a:cubicBezTo>
                <a:cubicBezTo>
                  <a:pt x="34" y="63"/>
                  <a:pt x="33" y="63"/>
                  <a:pt x="33" y="63"/>
                </a:cubicBezTo>
                <a:cubicBezTo>
                  <a:pt x="33" y="63"/>
                  <a:pt x="33" y="62"/>
                  <a:pt x="33" y="62"/>
                </a:cubicBezTo>
                <a:cubicBezTo>
                  <a:pt x="33" y="62"/>
                  <a:pt x="33" y="63"/>
                  <a:pt x="34" y="63"/>
                </a:cubicBezTo>
                <a:cubicBezTo>
                  <a:pt x="34" y="62"/>
                  <a:pt x="34" y="62"/>
                  <a:pt x="34" y="62"/>
                </a:cubicBezTo>
                <a:cubicBezTo>
                  <a:pt x="34" y="62"/>
                  <a:pt x="34" y="62"/>
                  <a:pt x="34" y="62"/>
                </a:cubicBezTo>
                <a:cubicBezTo>
                  <a:pt x="34" y="62"/>
                  <a:pt x="34" y="62"/>
                  <a:pt x="34" y="62"/>
                </a:cubicBezTo>
                <a:cubicBezTo>
                  <a:pt x="34" y="62"/>
                  <a:pt x="34" y="62"/>
                  <a:pt x="34" y="62"/>
                </a:cubicBezTo>
                <a:cubicBezTo>
                  <a:pt x="34" y="62"/>
                  <a:pt x="34" y="62"/>
                  <a:pt x="34" y="62"/>
                </a:cubicBezTo>
                <a:cubicBezTo>
                  <a:pt x="34" y="62"/>
                  <a:pt x="34" y="62"/>
                  <a:pt x="34" y="61"/>
                </a:cubicBezTo>
                <a:cubicBezTo>
                  <a:pt x="34" y="61"/>
                  <a:pt x="34" y="62"/>
                  <a:pt x="34" y="62"/>
                </a:cubicBezTo>
                <a:cubicBezTo>
                  <a:pt x="34" y="62"/>
                  <a:pt x="34" y="61"/>
                  <a:pt x="34" y="61"/>
                </a:cubicBezTo>
                <a:cubicBezTo>
                  <a:pt x="34" y="61"/>
                  <a:pt x="34" y="61"/>
                  <a:pt x="34" y="61"/>
                </a:cubicBezTo>
                <a:cubicBezTo>
                  <a:pt x="34" y="61"/>
                  <a:pt x="34" y="61"/>
                  <a:pt x="34" y="61"/>
                </a:cubicBezTo>
                <a:cubicBezTo>
                  <a:pt x="34" y="61"/>
                  <a:pt x="34" y="61"/>
                  <a:pt x="34" y="61"/>
                </a:cubicBezTo>
                <a:cubicBezTo>
                  <a:pt x="34" y="61"/>
                  <a:pt x="34" y="61"/>
                  <a:pt x="34" y="61"/>
                </a:cubicBezTo>
                <a:cubicBezTo>
                  <a:pt x="34" y="61"/>
                  <a:pt x="34" y="61"/>
                  <a:pt x="34" y="61"/>
                </a:cubicBezTo>
                <a:cubicBezTo>
                  <a:pt x="34" y="61"/>
                  <a:pt x="34" y="61"/>
                  <a:pt x="34" y="61"/>
                </a:cubicBezTo>
                <a:cubicBezTo>
                  <a:pt x="34" y="61"/>
                  <a:pt x="34" y="61"/>
                  <a:pt x="34" y="60"/>
                </a:cubicBezTo>
                <a:cubicBezTo>
                  <a:pt x="34" y="61"/>
                  <a:pt x="34" y="61"/>
                  <a:pt x="34" y="61"/>
                </a:cubicBezTo>
                <a:cubicBezTo>
                  <a:pt x="34" y="61"/>
                  <a:pt x="34" y="60"/>
                  <a:pt x="34" y="60"/>
                </a:cubicBezTo>
                <a:cubicBezTo>
                  <a:pt x="34" y="60"/>
                  <a:pt x="35" y="60"/>
                  <a:pt x="35" y="59"/>
                </a:cubicBezTo>
                <a:cubicBezTo>
                  <a:pt x="35" y="59"/>
                  <a:pt x="35" y="59"/>
                  <a:pt x="35" y="59"/>
                </a:cubicBezTo>
                <a:cubicBezTo>
                  <a:pt x="35" y="59"/>
                  <a:pt x="35" y="59"/>
                  <a:pt x="35" y="60"/>
                </a:cubicBezTo>
                <a:cubicBezTo>
                  <a:pt x="35" y="59"/>
                  <a:pt x="35" y="60"/>
                  <a:pt x="35" y="60"/>
                </a:cubicBezTo>
                <a:cubicBezTo>
                  <a:pt x="35" y="60"/>
                  <a:pt x="35" y="60"/>
                  <a:pt x="35" y="60"/>
                </a:cubicBezTo>
                <a:cubicBezTo>
                  <a:pt x="35" y="60"/>
                  <a:pt x="35" y="60"/>
                  <a:pt x="35" y="60"/>
                </a:cubicBezTo>
                <a:cubicBezTo>
                  <a:pt x="35" y="60"/>
                  <a:pt x="35" y="61"/>
                  <a:pt x="34" y="61"/>
                </a:cubicBezTo>
                <a:cubicBezTo>
                  <a:pt x="34" y="61"/>
                  <a:pt x="34" y="61"/>
                  <a:pt x="34" y="61"/>
                </a:cubicBezTo>
                <a:cubicBezTo>
                  <a:pt x="34" y="61"/>
                  <a:pt x="34" y="61"/>
                  <a:pt x="35" y="61"/>
                </a:cubicBezTo>
                <a:cubicBezTo>
                  <a:pt x="35" y="61"/>
                  <a:pt x="35" y="61"/>
                  <a:pt x="35" y="61"/>
                </a:cubicBezTo>
                <a:cubicBezTo>
                  <a:pt x="35" y="61"/>
                  <a:pt x="35" y="61"/>
                  <a:pt x="35" y="61"/>
                </a:cubicBezTo>
                <a:cubicBezTo>
                  <a:pt x="35" y="61"/>
                  <a:pt x="35" y="61"/>
                  <a:pt x="35" y="60"/>
                </a:cubicBezTo>
                <a:cubicBezTo>
                  <a:pt x="35" y="60"/>
                  <a:pt x="35" y="60"/>
                  <a:pt x="35" y="60"/>
                </a:cubicBezTo>
                <a:cubicBezTo>
                  <a:pt x="35" y="60"/>
                  <a:pt x="35" y="60"/>
                  <a:pt x="35" y="60"/>
                </a:cubicBezTo>
                <a:cubicBezTo>
                  <a:pt x="36" y="60"/>
                  <a:pt x="35" y="60"/>
                  <a:pt x="35" y="59"/>
                </a:cubicBezTo>
                <a:cubicBezTo>
                  <a:pt x="35" y="59"/>
                  <a:pt x="35" y="60"/>
                  <a:pt x="36" y="59"/>
                </a:cubicBezTo>
                <a:cubicBezTo>
                  <a:pt x="36" y="60"/>
                  <a:pt x="35" y="60"/>
                  <a:pt x="35" y="60"/>
                </a:cubicBezTo>
                <a:cubicBezTo>
                  <a:pt x="36" y="60"/>
                  <a:pt x="36" y="60"/>
                  <a:pt x="36" y="59"/>
                </a:cubicBezTo>
                <a:cubicBezTo>
                  <a:pt x="36" y="59"/>
                  <a:pt x="36" y="59"/>
                  <a:pt x="36" y="59"/>
                </a:cubicBezTo>
                <a:cubicBezTo>
                  <a:pt x="36" y="59"/>
                  <a:pt x="36" y="58"/>
                  <a:pt x="36" y="58"/>
                </a:cubicBezTo>
                <a:cubicBezTo>
                  <a:pt x="36" y="58"/>
                  <a:pt x="36" y="59"/>
                  <a:pt x="36" y="58"/>
                </a:cubicBezTo>
                <a:cubicBezTo>
                  <a:pt x="36" y="58"/>
                  <a:pt x="36" y="58"/>
                  <a:pt x="36" y="59"/>
                </a:cubicBezTo>
                <a:cubicBezTo>
                  <a:pt x="36" y="58"/>
                  <a:pt x="36" y="58"/>
                  <a:pt x="36" y="58"/>
                </a:cubicBezTo>
                <a:cubicBezTo>
                  <a:pt x="36" y="58"/>
                  <a:pt x="36" y="58"/>
                  <a:pt x="36" y="58"/>
                </a:cubicBezTo>
                <a:cubicBezTo>
                  <a:pt x="36" y="58"/>
                  <a:pt x="36" y="58"/>
                  <a:pt x="36" y="58"/>
                </a:cubicBezTo>
                <a:cubicBezTo>
                  <a:pt x="35" y="58"/>
                  <a:pt x="35" y="58"/>
                  <a:pt x="35" y="58"/>
                </a:cubicBezTo>
                <a:cubicBezTo>
                  <a:pt x="35" y="58"/>
                  <a:pt x="35" y="58"/>
                  <a:pt x="35" y="57"/>
                </a:cubicBezTo>
                <a:cubicBezTo>
                  <a:pt x="35" y="58"/>
                  <a:pt x="35" y="57"/>
                  <a:pt x="36" y="57"/>
                </a:cubicBezTo>
                <a:cubicBezTo>
                  <a:pt x="36" y="57"/>
                  <a:pt x="35" y="58"/>
                  <a:pt x="35" y="58"/>
                </a:cubicBezTo>
                <a:cubicBezTo>
                  <a:pt x="36" y="58"/>
                  <a:pt x="36" y="58"/>
                  <a:pt x="36" y="58"/>
                </a:cubicBezTo>
                <a:cubicBezTo>
                  <a:pt x="36" y="58"/>
                  <a:pt x="36" y="57"/>
                  <a:pt x="36" y="57"/>
                </a:cubicBezTo>
                <a:cubicBezTo>
                  <a:pt x="36" y="57"/>
                  <a:pt x="36" y="57"/>
                  <a:pt x="36" y="57"/>
                </a:cubicBezTo>
                <a:cubicBezTo>
                  <a:pt x="36" y="57"/>
                  <a:pt x="36" y="58"/>
                  <a:pt x="36" y="58"/>
                </a:cubicBezTo>
                <a:cubicBezTo>
                  <a:pt x="36" y="58"/>
                  <a:pt x="36" y="58"/>
                  <a:pt x="36" y="58"/>
                </a:cubicBezTo>
                <a:cubicBezTo>
                  <a:pt x="36" y="58"/>
                  <a:pt x="36" y="58"/>
                  <a:pt x="36" y="58"/>
                </a:cubicBezTo>
                <a:cubicBezTo>
                  <a:pt x="36" y="58"/>
                  <a:pt x="36" y="58"/>
                  <a:pt x="36" y="58"/>
                </a:cubicBezTo>
                <a:cubicBezTo>
                  <a:pt x="36" y="58"/>
                  <a:pt x="37" y="58"/>
                  <a:pt x="37" y="57"/>
                </a:cubicBezTo>
                <a:cubicBezTo>
                  <a:pt x="37" y="57"/>
                  <a:pt x="36" y="57"/>
                  <a:pt x="37" y="57"/>
                </a:cubicBezTo>
                <a:cubicBezTo>
                  <a:pt x="37" y="57"/>
                  <a:pt x="37" y="57"/>
                  <a:pt x="37" y="57"/>
                </a:cubicBezTo>
                <a:cubicBezTo>
                  <a:pt x="37" y="57"/>
                  <a:pt x="37" y="57"/>
                  <a:pt x="37" y="57"/>
                </a:cubicBezTo>
                <a:cubicBezTo>
                  <a:pt x="37" y="57"/>
                  <a:pt x="37" y="57"/>
                  <a:pt x="37" y="57"/>
                </a:cubicBezTo>
                <a:cubicBezTo>
                  <a:pt x="37" y="57"/>
                  <a:pt x="37" y="57"/>
                  <a:pt x="38" y="57"/>
                </a:cubicBezTo>
                <a:cubicBezTo>
                  <a:pt x="38" y="57"/>
                  <a:pt x="37" y="57"/>
                  <a:pt x="37" y="57"/>
                </a:cubicBezTo>
                <a:cubicBezTo>
                  <a:pt x="37" y="57"/>
                  <a:pt x="37" y="57"/>
                  <a:pt x="37" y="57"/>
                </a:cubicBezTo>
                <a:cubicBezTo>
                  <a:pt x="37" y="57"/>
                  <a:pt x="37" y="57"/>
                  <a:pt x="37" y="57"/>
                </a:cubicBezTo>
                <a:cubicBezTo>
                  <a:pt x="37" y="57"/>
                  <a:pt x="37" y="57"/>
                  <a:pt x="37" y="58"/>
                </a:cubicBezTo>
                <a:cubicBezTo>
                  <a:pt x="37" y="58"/>
                  <a:pt x="37" y="58"/>
                  <a:pt x="37" y="59"/>
                </a:cubicBezTo>
                <a:cubicBezTo>
                  <a:pt x="37" y="59"/>
                  <a:pt x="37" y="59"/>
                  <a:pt x="37" y="59"/>
                </a:cubicBezTo>
                <a:cubicBezTo>
                  <a:pt x="37" y="59"/>
                  <a:pt x="37" y="59"/>
                  <a:pt x="36" y="59"/>
                </a:cubicBezTo>
                <a:cubicBezTo>
                  <a:pt x="36" y="59"/>
                  <a:pt x="36" y="59"/>
                  <a:pt x="36" y="59"/>
                </a:cubicBezTo>
                <a:cubicBezTo>
                  <a:pt x="36" y="59"/>
                  <a:pt x="36" y="59"/>
                  <a:pt x="36" y="59"/>
                </a:cubicBezTo>
                <a:cubicBezTo>
                  <a:pt x="37" y="59"/>
                  <a:pt x="36" y="60"/>
                  <a:pt x="36" y="60"/>
                </a:cubicBezTo>
                <a:cubicBezTo>
                  <a:pt x="36" y="60"/>
                  <a:pt x="36" y="59"/>
                  <a:pt x="36" y="59"/>
                </a:cubicBezTo>
                <a:cubicBezTo>
                  <a:pt x="36" y="59"/>
                  <a:pt x="36" y="60"/>
                  <a:pt x="36" y="60"/>
                </a:cubicBezTo>
                <a:cubicBezTo>
                  <a:pt x="36" y="60"/>
                  <a:pt x="36" y="60"/>
                  <a:pt x="36" y="60"/>
                </a:cubicBezTo>
                <a:cubicBezTo>
                  <a:pt x="36" y="60"/>
                  <a:pt x="36" y="60"/>
                  <a:pt x="37" y="60"/>
                </a:cubicBezTo>
                <a:cubicBezTo>
                  <a:pt x="37" y="60"/>
                  <a:pt x="37" y="60"/>
                  <a:pt x="37" y="60"/>
                </a:cubicBezTo>
                <a:cubicBezTo>
                  <a:pt x="37" y="60"/>
                  <a:pt x="36" y="60"/>
                  <a:pt x="36" y="60"/>
                </a:cubicBezTo>
                <a:cubicBezTo>
                  <a:pt x="36" y="59"/>
                  <a:pt x="37" y="59"/>
                  <a:pt x="37" y="59"/>
                </a:cubicBezTo>
                <a:cubicBezTo>
                  <a:pt x="37" y="59"/>
                  <a:pt x="37" y="59"/>
                  <a:pt x="37" y="59"/>
                </a:cubicBezTo>
                <a:cubicBezTo>
                  <a:pt x="37" y="59"/>
                  <a:pt x="37" y="59"/>
                  <a:pt x="37" y="59"/>
                </a:cubicBezTo>
                <a:cubicBezTo>
                  <a:pt x="37" y="59"/>
                  <a:pt x="37" y="59"/>
                  <a:pt x="37" y="59"/>
                </a:cubicBezTo>
                <a:cubicBezTo>
                  <a:pt x="37" y="59"/>
                  <a:pt x="37" y="59"/>
                  <a:pt x="37" y="59"/>
                </a:cubicBezTo>
                <a:cubicBezTo>
                  <a:pt x="37" y="59"/>
                  <a:pt x="37" y="58"/>
                  <a:pt x="37" y="58"/>
                </a:cubicBezTo>
                <a:cubicBezTo>
                  <a:pt x="37" y="58"/>
                  <a:pt x="37" y="58"/>
                  <a:pt x="38" y="58"/>
                </a:cubicBezTo>
                <a:cubicBezTo>
                  <a:pt x="38" y="58"/>
                  <a:pt x="37" y="58"/>
                  <a:pt x="37" y="58"/>
                </a:cubicBezTo>
                <a:cubicBezTo>
                  <a:pt x="37" y="58"/>
                  <a:pt x="37" y="58"/>
                  <a:pt x="37" y="58"/>
                </a:cubicBezTo>
                <a:cubicBezTo>
                  <a:pt x="37" y="58"/>
                  <a:pt x="37" y="58"/>
                  <a:pt x="37" y="57"/>
                </a:cubicBezTo>
                <a:cubicBezTo>
                  <a:pt x="38" y="57"/>
                  <a:pt x="37" y="58"/>
                  <a:pt x="38" y="58"/>
                </a:cubicBezTo>
                <a:cubicBezTo>
                  <a:pt x="38" y="58"/>
                  <a:pt x="38" y="58"/>
                  <a:pt x="37" y="58"/>
                </a:cubicBezTo>
                <a:cubicBezTo>
                  <a:pt x="38" y="57"/>
                  <a:pt x="38" y="57"/>
                  <a:pt x="38" y="57"/>
                </a:cubicBezTo>
                <a:cubicBezTo>
                  <a:pt x="38" y="57"/>
                  <a:pt x="38" y="57"/>
                  <a:pt x="38" y="57"/>
                </a:cubicBezTo>
                <a:cubicBezTo>
                  <a:pt x="38" y="57"/>
                  <a:pt x="38" y="57"/>
                  <a:pt x="38" y="58"/>
                </a:cubicBezTo>
                <a:cubicBezTo>
                  <a:pt x="38" y="58"/>
                  <a:pt x="38" y="57"/>
                  <a:pt x="38" y="57"/>
                </a:cubicBezTo>
                <a:cubicBezTo>
                  <a:pt x="38" y="57"/>
                  <a:pt x="38" y="57"/>
                  <a:pt x="38" y="57"/>
                </a:cubicBezTo>
                <a:cubicBezTo>
                  <a:pt x="38" y="57"/>
                  <a:pt x="38" y="58"/>
                  <a:pt x="38" y="58"/>
                </a:cubicBezTo>
                <a:cubicBezTo>
                  <a:pt x="38" y="58"/>
                  <a:pt x="38" y="58"/>
                  <a:pt x="38" y="58"/>
                </a:cubicBezTo>
                <a:cubicBezTo>
                  <a:pt x="38" y="58"/>
                  <a:pt x="38" y="58"/>
                  <a:pt x="38" y="58"/>
                </a:cubicBezTo>
                <a:cubicBezTo>
                  <a:pt x="38" y="58"/>
                  <a:pt x="38" y="58"/>
                  <a:pt x="38" y="58"/>
                </a:cubicBezTo>
                <a:cubicBezTo>
                  <a:pt x="38" y="58"/>
                  <a:pt x="38" y="57"/>
                  <a:pt x="38" y="57"/>
                </a:cubicBezTo>
                <a:cubicBezTo>
                  <a:pt x="38" y="57"/>
                  <a:pt x="38" y="57"/>
                  <a:pt x="38" y="57"/>
                </a:cubicBezTo>
                <a:cubicBezTo>
                  <a:pt x="38" y="57"/>
                  <a:pt x="38" y="57"/>
                  <a:pt x="38" y="57"/>
                </a:cubicBezTo>
                <a:cubicBezTo>
                  <a:pt x="38" y="57"/>
                  <a:pt x="38" y="57"/>
                  <a:pt x="38" y="57"/>
                </a:cubicBezTo>
                <a:cubicBezTo>
                  <a:pt x="38" y="57"/>
                  <a:pt x="38" y="57"/>
                  <a:pt x="38" y="57"/>
                </a:cubicBezTo>
                <a:cubicBezTo>
                  <a:pt x="38" y="57"/>
                  <a:pt x="38" y="57"/>
                  <a:pt x="38" y="57"/>
                </a:cubicBezTo>
                <a:cubicBezTo>
                  <a:pt x="38" y="56"/>
                  <a:pt x="38" y="56"/>
                  <a:pt x="39" y="56"/>
                </a:cubicBezTo>
                <a:cubicBezTo>
                  <a:pt x="38" y="56"/>
                  <a:pt x="38" y="56"/>
                  <a:pt x="38" y="56"/>
                </a:cubicBezTo>
                <a:cubicBezTo>
                  <a:pt x="38" y="56"/>
                  <a:pt x="38" y="56"/>
                  <a:pt x="38" y="56"/>
                </a:cubicBezTo>
                <a:cubicBezTo>
                  <a:pt x="38" y="56"/>
                  <a:pt x="38" y="55"/>
                  <a:pt x="38" y="55"/>
                </a:cubicBezTo>
                <a:cubicBezTo>
                  <a:pt x="39" y="55"/>
                  <a:pt x="38" y="56"/>
                  <a:pt x="39" y="56"/>
                </a:cubicBezTo>
                <a:cubicBezTo>
                  <a:pt x="39" y="56"/>
                  <a:pt x="39" y="55"/>
                  <a:pt x="39" y="56"/>
                </a:cubicBezTo>
                <a:cubicBezTo>
                  <a:pt x="39" y="56"/>
                  <a:pt x="39" y="56"/>
                  <a:pt x="39" y="56"/>
                </a:cubicBezTo>
                <a:cubicBezTo>
                  <a:pt x="39" y="56"/>
                  <a:pt x="39" y="55"/>
                  <a:pt x="39" y="55"/>
                </a:cubicBezTo>
                <a:cubicBezTo>
                  <a:pt x="39" y="56"/>
                  <a:pt x="39" y="56"/>
                  <a:pt x="39" y="56"/>
                </a:cubicBezTo>
                <a:cubicBezTo>
                  <a:pt x="39" y="56"/>
                  <a:pt x="39" y="56"/>
                  <a:pt x="39" y="56"/>
                </a:cubicBezTo>
                <a:cubicBezTo>
                  <a:pt x="39" y="56"/>
                  <a:pt x="39" y="56"/>
                  <a:pt x="39" y="56"/>
                </a:cubicBezTo>
                <a:cubicBezTo>
                  <a:pt x="39" y="56"/>
                  <a:pt x="40" y="56"/>
                  <a:pt x="40" y="55"/>
                </a:cubicBezTo>
                <a:cubicBezTo>
                  <a:pt x="40" y="55"/>
                  <a:pt x="40" y="55"/>
                  <a:pt x="40" y="55"/>
                </a:cubicBezTo>
                <a:cubicBezTo>
                  <a:pt x="40" y="55"/>
                  <a:pt x="39" y="55"/>
                  <a:pt x="39" y="55"/>
                </a:cubicBezTo>
                <a:cubicBezTo>
                  <a:pt x="39" y="55"/>
                  <a:pt x="39" y="55"/>
                  <a:pt x="39" y="55"/>
                </a:cubicBezTo>
                <a:cubicBezTo>
                  <a:pt x="39" y="56"/>
                  <a:pt x="39" y="55"/>
                  <a:pt x="39" y="55"/>
                </a:cubicBezTo>
                <a:cubicBezTo>
                  <a:pt x="39" y="55"/>
                  <a:pt x="39" y="55"/>
                  <a:pt x="39" y="55"/>
                </a:cubicBezTo>
                <a:cubicBezTo>
                  <a:pt x="39" y="55"/>
                  <a:pt x="39" y="55"/>
                  <a:pt x="39" y="55"/>
                </a:cubicBezTo>
                <a:cubicBezTo>
                  <a:pt x="39" y="55"/>
                  <a:pt x="39" y="55"/>
                  <a:pt x="39" y="55"/>
                </a:cubicBezTo>
                <a:cubicBezTo>
                  <a:pt x="39" y="55"/>
                  <a:pt x="39" y="55"/>
                  <a:pt x="40" y="55"/>
                </a:cubicBezTo>
                <a:cubicBezTo>
                  <a:pt x="40" y="55"/>
                  <a:pt x="39" y="55"/>
                  <a:pt x="39" y="55"/>
                </a:cubicBezTo>
                <a:cubicBezTo>
                  <a:pt x="40" y="55"/>
                  <a:pt x="40" y="55"/>
                  <a:pt x="40" y="55"/>
                </a:cubicBezTo>
                <a:cubicBezTo>
                  <a:pt x="40" y="55"/>
                  <a:pt x="40" y="55"/>
                  <a:pt x="40" y="55"/>
                </a:cubicBezTo>
                <a:cubicBezTo>
                  <a:pt x="40" y="55"/>
                  <a:pt x="40" y="55"/>
                  <a:pt x="40" y="55"/>
                </a:cubicBezTo>
                <a:cubicBezTo>
                  <a:pt x="40" y="55"/>
                  <a:pt x="40" y="55"/>
                  <a:pt x="40" y="55"/>
                </a:cubicBezTo>
                <a:cubicBezTo>
                  <a:pt x="40" y="55"/>
                  <a:pt x="40" y="55"/>
                  <a:pt x="40" y="54"/>
                </a:cubicBezTo>
                <a:cubicBezTo>
                  <a:pt x="40" y="55"/>
                  <a:pt x="40" y="55"/>
                  <a:pt x="40" y="55"/>
                </a:cubicBezTo>
                <a:cubicBezTo>
                  <a:pt x="40" y="55"/>
                  <a:pt x="41" y="55"/>
                  <a:pt x="41" y="55"/>
                </a:cubicBezTo>
                <a:cubicBezTo>
                  <a:pt x="41" y="55"/>
                  <a:pt x="40" y="55"/>
                  <a:pt x="40" y="54"/>
                </a:cubicBezTo>
                <a:cubicBezTo>
                  <a:pt x="40" y="54"/>
                  <a:pt x="40" y="54"/>
                  <a:pt x="40" y="54"/>
                </a:cubicBezTo>
                <a:cubicBezTo>
                  <a:pt x="41" y="54"/>
                  <a:pt x="41" y="54"/>
                  <a:pt x="41" y="55"/>
                </a:cubicBezTo>
                <a:cubicBezTo>
                  <a:pt x="41" y="54"/>
                  <a:pt x="41" y="54"/>
                  <a:pt x="41" y="54"/>
                </a:cubicBezTo>
                <a:cubicBezTo>
                  <a:pt x="41" y="54"/>
                  <a:pt x="41" y="54"/>
                  <a:pt x="41" y="54"/>
                </a:cubicBezTo>
                <a:cubicBezTo>
                  <a:pt x="41" y="54"/>
                  <a:pt x="41" y="54"/>
                  <a:pt x="41" y="54"/>
                </a:cubicBezTo>
                <a:cubicBezTo>
                  <a:pt x="41" y="54"/>
                  <a:pt x="41" y="54"/>
                  <a:pt x="41" y="54"/>
                </a:cubicBezTo>
                <a:cubicBezTo>
                  <a:pt x="42" y="53"/>
                  <a:pt x="42" y="53"/>
                  <a:pt x="42" y="53"/>
                </a:cubicBezTo>
                <a:cubicBezTo>
                  <a:pt x="42" y="53"/>
                  <a:pt x="42" y="54"/>
                  <a:pt x="42" y="54"/>
                </a:cubicBezTo>
                <a:cubicBezTo>
                  <a:pt x="42" y="54"/>
                  <a:pt x="42" y="54"/>
                  <a:pt x="42" y="54"/>
                </a:cubicBezTo>
                <a:cubicBezTo>
                  <a:pt x="42" y="54"/>
                  <a:pt x="42" y="54"/>
                  <a:pt x="42" y="54"/>
                </a:cubicBezTo>
                <a:cubicBezTo>
                  <a:pt x="42" y="54"/>
                  <a:pt x="42" y="54"/>
                  <a:pt x="42" y="54"/>
                </a:cubicBezTo>
                <a:cubicBezTo>
                  <a:pt x="42" y="54"/>
                  <a:pt x="42" y="54"/>
                  <a:pt x="42" y="54"/>
                </a:cubicBezTo>
                <a:cubicBezTo>
                  <a:pt x="42" y="54"/>
                  <a:pt x="42" y="54"/>
                  <a:pt x="41" y="54"/>
                </a:cubicBezTo>
                <a:cubicBezTo>
                  <a:pt x="42" y="54"/>
                  <a:pt x="42" y="54"/>
                  <a:pt x="42" y="54"/>
                </a:cubicBezTo>
                <a:cubicBezTo>
                  <a:pt x="42" y="55"/>
                  <a:pt x="42" y="55"/>
                  <a:pt x="42" y="55"/>
                </a:cubicBezTo>
                <a:cubicBezTo>
                  <a:pt x="42" y="55"/>
                  <a:pt x="42" y="55"/>
                  <a:pt x="42" y="55"/>
                </a:cubicBezTo>
                <a:cubicBezTo>
                  <a:pt x="41" y="55"/>
                  <a:pt x="42" y="56"/>
                  <a:pt x="41" y="56"/>
                </a:cubicBezTo>
                <a:cubicBezTo>
                  <a:pt x="41" y="56"/>
                  <a:pt x="41" y="56"/>
                  <a:pt x="41" y="56"/>
                </a:cubicBezTo>
                <a:cubicBezTo>
                  <a:pt x="41" y="56"/>
                  <a:pt x="41" y="56"/>
                  <a:pt x="41" y="56"/>
                </a:cubicBezTo>
                <a:cubicBezTo>
                  <a:pt x="41" y="56"/>
                  <a:pt x="41" y="56"/>
                  <a:pt x="41" y="57"/>
                </a:cubicBezTo>
                <a:cubicBezTo>
                  <a:pt x="41" y="57"/>
                  <a:pt x="41" y="57"/>
                  <a:pt x="41" y="57"/>
                </a:cubicBezTo>
                <a:cubicBezTo>
                  <a:pt x="41" y="57"/>
                  <a:pt x="41" y="57"/>
                  <a:pt x="41" y="57"/>
                </a:cubicBezTo>
                <a:cubicBezTo>
                  <a:pt x="41" y="57"/>
                  <a:pt x="41" y="57"/>
                  <a:pt x="40" y="58"/>
                </a:cubicBezTo>
                <a:cubicBezTo>
                  <a:pt x="40" y="58"/>
                  <a:pt x="40" y="58"/>
                  <a:pt x="40" y="58"/>
                </a:cubicBezTo>
                <a:cubicBezTo>
                  <a:pt x="40" y="58"/>
                  <a:pt x="40" y="59"/>
                  <a:pt x="39" y="59"/>
                </a:cubicBezTo>
                <a:cubicBezTo>
                  <a:pt x="40" y="59"/>
                  <a:pt x="40" y="59"/>
                  <a:pt x="40" y="58"/>
                </a:cubicBezTo>
                <a:cubicBezTo>
                  <a:pt x="40" y="58"/>
                  <a:pt x="40" y="58"/>
                  <a:pt x="40" y="59"/>
                </a:cubicBezTo>
                <a:cubicBezTo>
                  <a:pt x="40" y="59"/>
                  <a:pt x="40" y="59"/>
                  <a:pt x="39" y="59"/>
                </a:cubicBezTo>
                <a:cubicBezTo>
                  <a:pt x="39" y="58"/>
                  <a:pt x="39" y="60"/>
                  <a:pt x="39" y="60"/>
                </a:cubicBezTo>
                <a:cubicBezTo>
                  <a:pt x="39" y="60"/>
                  <a:pt x="39" y="60"/>
                  <a:pt x="39" y="60"/>
                </a:cubicBezTo>
                <a:cubicBezTo>
                  <a:pt x="39" y="60"/>
                  <a:pt x="39" y="60"/>
                  <a:pt x="38" y="60"/>
                </a:cubicBezTo>
                <a:cubicBezTo>
                  <a:pt x="38" y="61"/>
                  <a:pt x="38" y="60"/>
                  <a:pt x="38" y="60"/>
                </a:cubicBezTo>
                <a:cubicBezTo>
                  <a:pt x="38" y="61"/>
                  <a:pt x="38" y="62"/>
                  <a:pt x="37" y="63"/>
                </a:cubicBezTo>
                <a:cubicBezTo>
                  <a:pt x="37" y="63"/>
                  <a:pt x="37" y="63"/>
                  <a:pt x="37" y="64"/>
                </a:cubicBezTo>
                <a:cubicBezTo>
                  <a:pt x="37" y="64"/>
                  <a:pt x="37" y="63"/>
                  <a:pt x="37" y="63"/>
                </a:cubicBezTo>
                <a:cubicBezTo>
                  <a:pt x="37" y="63"/>
                  <a:pt x="37" y="63"/>
                  <a:pt x="37" y="64"/>
                </a:cubicBezTo>
                <a:cubicBezTo>
                  <a:pt x="37" y="64"/>
                  <a:pt x="37" y="64"/>
                  <a:pt x="37" y="64"/>
                </a:cubicBezTo>
                <a:cubicBezTo>
                  <a:pt x="37" y="64"/>
                  <a:pt x="37" y="64"/>
                  <a:pt x="37" y="64"/>
                </a:cubicBezTo>
                <a:cubicBezTo>
                  <a:pt x="37" y="64"/>
                  <a:pt x="37" y="64"/>
                  <a:pt x="37" y="64"/>
                </a:cubicBezTo>
                <a:cubicBezTo>
                  <a:pt x="37" y="64"/>
                  <a:pt x="37" y="64"/>
                  <a:pt x="37" y="64"/>
                </a:cubicBezTo>
                <a:cubicBezTo>
                  <a:pt x="37" y="64"/>
                  <a:pt x="37" y="64"/>
                  <a:pt x="37" y="64"/>
                </a:cubicBezTo>
                <a:cubicBezTo>
                  <a:pt x="37" y="64"/>
                  <a:pt x="36" y="64"/>
                  <a:pt x="36" y="65"/>
                </a:cubicBezTo>
                <a:cubicBezTo>
                  <a:pt x="36" y="65"/>
                  <a:pt x="36" y="65"/>
                  <a:pt x="36" y="65"/>
                </a:cubicBezTo>
                <a:cubicBezTo>
                  <a:pt x="36" y="65"/>
                  <a:pt x="36" y="65"/>
                  <a:pt x="36" y="65"/>
                </a:cubicBezTo>
                <a:cubicBezTo>
                  <a:pt x="36" y="65"/>
                  <a:pt x="36" y="65"/>
                  <a:pt x="36" y="65"/>
                </a:cubicBezTo>
                <a:cubicBezTo>
                  <a:pt x="36" y="65"/>
                  <a:pt x="36" y="65"/>
                  <a:pt x="36" y="65"/>
                </a:cubicBezTo>
                <a:cubicBezTo>
                  <a:pt x="36" y="65"/>
                  <a:pt x="36" y="66"/>
                  <a:pt x="36" y="66"/>
                </a:cubicBezTo>
                <a:cubicBezTo>
                  <a:pt x="36" y="66"/>
                  <a:pt x="36" y="66"/>
                  <a:pt x="36" y="66"/>
                </a:cubicBezTo>
                <a:cubicBezTo>
                  <a:pt x="35" y="67"/>
                  <a:pt x="35" y="67"/>
                  <a:pt x="35" y="67"/>
                </a:cubicBezTo>
                <a:cubicBezTo>
                  <a:pt x="35" y="67"/>
                  <a:pt x="35" y="67"/>
                  <a:pt x="35" y="67"/>
                </a:cubicBezTo>
                <a:cubicBezTo>
                  <a:pt x="35" y="67"/>
                  <a:pt x="35" y="68"/>
                  <a:pt x="34" y="68"/>
                </a:cubicBezTo>
                <a:cubicBezTo>
                  <a:pt x="34" y="68"/>
                  <a:pt x="35" y="68"/>
                  <a:pt x="35" y="67"/>
                </a:cubicBezTo>
                <a:cubicBezTo>
                  <a:pt x="34" y="67"/>
                  <a:pt x="34" y="68"/>
                  <a:pt x="34" y="68"/>
                </a:cubicBezTo>
                <a:cubicBezTo>
                  <a:pt x="34" y="68"/>
                  <a:pt x="35" y="67"/>
                  <a:pt x="35" y="67"/>
                </a:cubicBezTo>
                <a:cubicBezTo>
                  <a:pt x="35" y="67"/>
                  <a:pt x="35" y="67"/>
                  <a:pt x="35" y="67"/>
                </a:cubicBezTo>
                <a:cubicBezTo>
                  <a:pt x="35" y="67"/>
                  <a:pt x="35" y="67"/>
                  <a:pt x="35" y="67"/>
                </a:cubicBezTo>
                <a:cubicBezTo>
                  <a:pt x="35" y="66"/>
                  <a:pt x="35" y="66"/>
                  <a:pt x="36" y="65"/>
                </a:cubicBezTo>
                <a:cubicBezTo>
                  <a:pt x="35" y="65"/>
                  <a:pt x="36" y="65"/>
                  <a:pt x="35" y="65"/>
                </a:cubicBezTo>
                <a:cubicBezTo>
                  <a:pt x="36" y="65"/>
                  <a:pt x="36" y="63"/>
                  <a:pt x="37" y="63"/>
                </a:cubicBezTo>
                <a:cubicBezTo>
                  <a:pt x="37" y="63"/>
                  <a:pt x="37" y="63"/>
                  <a:pt x="37" y="63"/>
                </a:cubicBezTo>
                <a:cubicBezTo>
                  <a:pt x="37" y="63"/>
                  <a:pt x="37" y="63"/>
                  <a:pt x="37" y="62"/>
                </a:cubicBezTo>
                <a:cubicBezTo>
                  <a:pt x="37" y="62"/>
                  <a:pt x="37" y="62"/>
                  <a:pt x="38" y="62"/>
                </a:cubicBezTo>
                <a:cubicBezTo>
                  <a:pt x="38" y="61"/>
                  <a:pt x="38" y="61"/>
                  <a:pt x="37" y="61"/>
                </a:cubicBezTo>
                <a:cubicBezTo>
                  <a:pt x="38" y="61"/>
                  <a:pt x="38" y="61"/>
                  <a:pt x="38" y="61"/>
                </a:cubicBezTo>
                <a:cubicBezTo>
                  <a:pt x="38" y="61"/>
                  <a:pt x="38" y="61"/>
                  <a:pt x="38" y="61"/>
                </a:cubicBezTo>
                <a:cubicBezTo>
                  <a:pt x="38" y="61"/>
                  <a:pt x="38" y="61"/>
                  <a:pt x="38" y="61"/>
                </a:cubicBezTo>
                <a:cubicBezTo>
                  <a:pt x="38" y="61"/>
                  <a:pt x="38" y="61"/>
                  <a:pt x="38" y="61"/>
                </a:cubicBezTo>
                <a:cubicBezTo>
                  <a:pt x="38" y="61"/>
                  <a:pt x="37" y="61"/>
                  <a:pt x="37" y="62"/>
                </a:cubicBezTo>
                <a:cubicBezTo>
                  <a:pt x="37" y="62"/>
                  <a:pt x="37" y="62"/>
                  <a:pt x="37" y="62"/>
                </a:cubicBezTo>
                <a:cubicBezTo>
                  <a:pt x="37" y="62"/>
                  <a:pt x="37" y="62"/>
                  <a:pt x="37" y="62"/>
                </a:cubicBezTo>
                <a:cubicBezTo>
                  <a:pt x="37" y="62"/>
                  <a:pt x="37" y="62"/>
                  <a:pt x="37" y="62"/>
                </a:cubicBezTo>
                <a:cubicBezTo>
                  <a:pt x="37" y="62"/>
                  <a:pt x="36" y="63"/>
                  <a:pt x="37" y="63"/>
                </a:cubicBezTo>
                <a:cubicBezTo>
                  <a:pt x="37" y="63"/>
                  <a:pt x="36" y="63"/>
                  <a:pt x="36" y="62"/>
                </a:cubicBezTo>
                <a:cubicBezTo>
                  <a:pt x="36" y="62"/>
                  <a:pt x="36" y="63"/>
                  <a:pt x="36" y="63"/>
                </a:cubicBezTo>
                <a:cubicBezTo>
                  <a:pt x="36" y="62"/>
                  <a:pt x="36" y="63"/>
                  <a:pt x="36" y="62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2"/>
                  <a:pt x="37" y="62"/>
                  <a:pt x="37" y="62"/>
                </a:cubicBezTo>
                <a:cubicBezTo>
                  <a:pt x="37" y="62"/>
                  <a:pt x="37" y="61"/>
                  <a:pt x="37" y="61"/>
                </a:cubicBezTo>
                <a:cubicBezTo>
                  <a:pt x="37" y="61"/>
                  <a:pt x="37" y="61"/>
                  <a:pt x="37" y="61"/>
                </a:cubicBezTo>
                <a:cubicBezTo>
                  <a:pt x="37" y="61"/>
                  <a:pt x="37" y="61"/>
                  <a:pt x="37" y="62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2"/>
                  <a:pt x="36" y="62"/>
                  <a:pt x="36" y="62"/>
                </a:cubicBezTo>
                <a:cubicBezTo>
                  <a:pt x="35" y="62"/>
                  <a:pt x="36" y="62"/>
                  <a:pt x="36" y="62"/>
                </a:cubicBezTo>
                <a:cubicBezTo>
                  <a:pt x="36" y="62"/>
                  <a:pt x="36" y="62"/>
                  <a:pt x="35" y="62"/>
                </a:cubicBezTo>
                <a:cubicBezTo>
                  <a:pt x="35" y="62"/>
                  <a:pt x="35" y="62"/>
                  <a:pt x="35" y="62"/>
                </a:cubicBezTo>
                <a:cubicBezTo>
                  <a:pt x="35" y="62"/>
                  <a:pt x="35" y="62"/>
                  <a:pt x="35" y="62"/>
                </a:cubicBezTo>
                <a:cubicBezTo>
                  <a:pt x="35" y="63"/>
                  <a:pt x="35" y="63"/>
                  <a:pt x="35" y="63"/>
                </a:cubicBezTo>
                <a:cubicBezTo>
                  <a:pt x="35" y="63"/>
                  <a:pt x="35" y="63"/>
                  <a:pt x="35" y="63"/>
                </a:cubicBezTo>
                <a:cubicBezTo>
                  <a:pt x="35" y="63"/>
                  <a:pt x="35" y="63"/>
                  <a:pt x="35" y="63"/>
                </a:cubicBezTo>
                <a:cubicBezTo>
                  <a:pt x="35" y="63"/>
                  <a:pt x="35" y="64"/>
                  <a:pt x="34" y="64"/>
                </a:cubicBezTo>
                <a:cubicBezTo>
                  <a:pt x="34" y="64"/>
                  <a:pt x="34" y="64"/>
                  <a:pt x="34" y="64"/>
                </a:cubicBezTo>
                <a:cubicBezTo>
                  <a:pt x="34" y="64"/>
                  <a:pt x="34" y="65"/>
                  <a:pt x="34" y="65"/>
                </a:cubicBezTo>
                <a:cubicBezTo>
                  <a:pt x="34" y="65"/>
                  <a:pt x="34" y="65"/>
                  <a:pt x="34" y="66"/>
                </a:cubicBezTo>
                <a:cubicBezTo>
                  <a:pt x="34" y="65"/>
                  <a:pt x="34" y="65"/>
                  <a:pt x="34" y="64"/>
                </a:cubicBezTo>
                <a:cubicBezTo>
                  <a:pt x="34" y="64"/>
                  <a:pt x="34" y="64"/>
                  <a:pt x="35" y="64"/>
                </a:cubicBezTo>
                <a:cubicBezTo>
                  <a:pt x="35" y="64"/>
                  <a:pt x="34" y="64"/>
                  <a:pt x="34" y="64"/>
                </a:cubicBezTo>
                <a:cubicBezTo>
                  <a:pt x="35" y="64"/>
                  <a:pt x="34" y="64"/>
                  <a:pt x="34" y="65"/>
                </a:cubicBezTo>
                <a:cubicBezTo>
                  <a:pt x="34" y="65"/>
                  <a:pt x="34" y="65"/>
                  <a:pt x="34" y="65"/>
                </a:cubicBezTo>
                <a:cubicBezTo>
                  <a:pt x="34" y="65"/>
                  <a:pt x="34" y="65"/>
                  <a:pt x="34" y="65"/>
                </a:cubicBezTo>
                <a:cubicBezTo>
                  <a:pt x="34" y="65"/>
                  <a:pt x="34" y="65"/>
                  <a:pt x="35" y="65"/>
                </a:cubicBezTo>
                <a:cubicBezTo>
                  <a:pt x="34" y="65"/>
                  <a:pt x="34" y="65"/>
                  <a:pt x="34" y="65"/>
                </a:cubicBezTo>
                <a:cubicBezTo>
                  <a:pt x="34" y="65"/>
                  <a:pt x="34" y="65"/>
                  <a:pt x="34" y="66"/>
                </a:cubicBezTo>
                <a:cubicBezTo>
                  <a:pt x="34" y="65"/>
                  <a:pt x="34" y="65"/>
                  <a:pt x="34" y="65"/>
                </a:cubicBezTo>
                <a:cubicBezTo>
                  <a:pt x="34" y="65"/>
                  <a:pt x="34" y="65"/>
                  <a:pt x="34" y="65"/>
                </a:cubicBezTo>
                <a:cubicBezTo>
                  <a:pt x="34" y="66"/>
                  <a:pt x="34" y="66"/>
                  <a:pt x="34" y="66"/>
                </a:cubicBezTo>
                <a:cubicBezTo>
                  <a:pt x="34" y="66"/>
                  <a:pt x="34" y="66"/>
                  <a:pt x="34" y="66"/>
                </a:cubicBezTo>
                <a:cubicBezTo>
                  <a:pt x="34" y="66"/>
                  <a:pt x="34" y="66"/>
                  <a:pt x="34" y="66"/>
                </a:cubicBezTo>
                <a:cubicBezTo>
                  <a:pt x="34" y="66"/>
                  <a:pt x="34" y="67"/>
                  <a:pt x="34" y="67"/>
                </a:cubicBezTo>
                <a:cubicBezTo>
                  <a:pt x="34" y="67"/>
                  <a:pt x="34" y="67"/>
                  <a:pt x="34" y="67"/>
                </a:cubicBezTo>
                <a:cubicBezTo>
                  <a:pt x="34" y="67"/>
                  <a:pt x="34" y="67"/>
                  <a:pt x="34" y="67"/>
                </a:cubicBezTo>
                <a:cubicBezTo>
                  <a:pt x="34" y="67"/>
                  <a:pt x="34" y="67"/>
                  <a:pt x="34" y="67"/>
                </a:cubicBezTo>
                <a:cubicBezTo>
                  <a:pt x="34" y="67"/>
                  <a:pt x="34" y="67"/>
                  <a:pt x="34" y="67"/>
                </a:cubicBezTo>
                <a:cubicBezTo>
                  <a:pt x="34" y="67"/>
                  <a:pt x="34" y="67"/>
                  <a:pt x="33" y="67"/>
                </a:cubicBezTo>
                <a:cubicBezTo>
                  <a:pt x="33" y="67"/>
                  <a:pt x="33" y="67"/>
                  <a:pt x="33" y="67"/>
                </a:cubicBezTo>
                <a:cubicBezTo>
                  <a:pt x="33" y="67"/>
                  <a:pt x="34" y="67"/>
                  <a:pt x="34" y="67"/>
                </a:cubicBezTo>
                <a:cubicBezTo>
                  <a:pt x="34" y="67"/>
                  <a:pt x="34" y="67"/>
                  <a:pt x="34" y="68"/>
                </a:cubicBezTo>
                <a:cubicBezTo>
                  <a:pt x="33" y="68"/>
                  <a:pt x="33" y="68"/>
                  <a:pt x="33" y="68"/>
                </a:cubicBezTo>
                <a:cubicBezTo>
                  <a:pt x="33" y="68"/>
                  <a:pt x="33" y="68"/>
                  <a:pt x="33" y="68"/>
                </a:cubicBezTo>
                <a:cubicBezTo>
                  <a:pt x="33" y="68"/>
                  <a:pt x="34" y="68"/>
                  <a:pt x="34" y="68"/>
                </a:cubicBezTo>
                <a:cubicBezTo>
                  <a:pt x="34" y="68"/>
                  <a:pt x="33" y="68"/>
                  <a:pt x="33" y="68"/>
                </a:cubicBezTo>
                <a:cubicBezTo>
                  <a:pt x="33" y="68"/>
                  <a:pt x="33" y="68"/>
                  <a:pt x="33" y="69"/>
                </a:cubicBezTo>
                <a:cubicBezTo>
                  <a:pt x="33" y="69"/>
                  <a:pt x="33" y="69"/>
                  <a:pt x="33" y="68"/>
                </a:cubicBezTo>
                <a:cubicBezTo>
                  <a:pt x="34" y="69"/>
                  <a:pt x="33" y="69"/>
                  <a:pt x="33" y="69"/>
                </a:cubicBezTo>
                <a:cubicBezTo>
                  <a:pt x="33" y="70"/>
                  <a:pt x="33" y="70"/>
                  <a:pt x="32" y="71"/>
                </a:cubicBezTo>
                <a:cubicBezTo>
                  <a:pt x="32" y="71"/>
                  <a:pt x="32" y="71"/>
                  <a:pt x="32" y="71"/>
                </a:cubicBezTo>
                <a:cubicBezTo>
                  <a:pt x="32" y="71"/>
                  <a:pt x="32" y="71"/>
                  <a:pt x="32" y="71"/>
                </a:cubicBezTo>
                <a:cubicBezTo>
                  <a:pt x="32" y="71"/>
                  <a:pt x="32" y="71"/>
                  <a:pt x="32" y="71"/>
                </a:cubicBezTo>
                <a:cubicBezTo>
                  <a:pt x="32" y="71"/>
                  <a:pt x="32" y="71"/>
                  <a:pt x="32" y="71"/>
                </a:cubicBezTo>
                <a:cubicBezTo>
                  <a:pt x="32" y="71"/>
                  <a:pt x="32" y="70"/>
                  <a:pt x="32" y="70"/>
                </a:cubicBezTo>
                <a:cubicBezTo>
                  <a:pt x="32" y="70"/>
                  <a:pt x="32" y="70"/>
                  <a:pt x="32" y="71"/>
                </a:cubicBezTo>
                <a:cubicBezTo>
                  <a:pt x="33" y="70"/>
                  <a:pt x="33" y="70"/>
                  <a:pt x="32" y="69"/>
                </a:cubicBezTo>
                <a:cubicBezTo>
                  <a:pt x="32" y="69"/>
                  <a:pt x="32" y="70"/>
                  <a:pt x="32" y="70"/>
                </a:cubicBezTo>
                <a:cubicBezTo>
                  <a:pt x="32" y="70"/>
                  <a:pt x="32" y="70"/>
                  <a:pt x="32" y="70"/>
                </a:cubicBezTo>
                <a:cubicBezTo>
                  <a:pt x="32" y="70"/>
                  <a:pt x="32" y="70"/>
                  <a:pt x="32" y="70"/>
                </a:cubicBezTo>
                <a:cubicBezTo>
                  <a:pt x="32" y="70"/>
                  <a:pt x="32" y="70"/>
                  <a:pt x="32" y="70"/>
                </a:cubicBezTo>
                <a:cubicBezTo>
                  <a:pt x="32" y="70"/>
                  <a:pt x="32" y="70"/>
                  <a:pt x="32" y="70"/>
                </a:cubicBezTo>
                <a:cubicBezTo>
                  <a:pt x="32" y="70"/>
                  <a:pt x="32" y="70"/>
                  <a:pt x="32" y="70"/>
                </a:cubicBezTo>
                <a:cubicBezTo>
                  <a:pt x="32" y="70"/>
                  <a:pt x="32" y="70"/>
                  <a:pt x="32" y="70"/>
                </a:cubicBezTo>
                <a:cubicBezTo>
                  <a:pt x="32" y="70"/>
                  <a:pt x="32" y="70"/>
                  <a:pt x="32" y="70"/>
                </a:cubicBezTo>
                <a:cubicBezTo>
                  <a:pt x="32" y="71"/>
                  <a:pt x="31" y="71"/>
                  <a:pt x="31" y="71"/>
                </a:cubicBezTo>
                <a:cubicBezTo>
                  <a:pt x="31" y="71"/>
                  <a:pt x="31" y="71"/>
                  <a:pt x="31" y="71"/>
                </a:cubicBezTo>
                <a:cubicBezTo>
                  <a:pt x="31" y="72"/>
                  <a:pt x="31" y="72"/>
                  <a:pt x="31" y="72"/>
                </a:cubicBezTo>
                <a:cubicBezTo>
                  <a:pt x="31" y="72"/>
                  <a:pt x="31" y="72"/>
                  <a:pt x="31" y="72"/>
                </a:cubicBezTo>
                <a:cubicBezTo>
                  <a:pt x="31" y="72"/>
                  <a:pt x="31" y="72"/>
                  <a:pt x="31" y="72"/>
                </a:cubicBezTo>
                <a:cubicBezTo>
                  <a:pt x="31" y="72"/>
                  <a:pt x="31" y="72"/>
                  <a:pt x="31" y="72"/>
                </a:cubicBezTo>
                <a:cubicBezTo>
                  <a:pt x="31" y="72"/>
                  <a:pt x="31" y="72"/>
                  <a:pt x="31" y="72"/>
                </a:cubicBezTo>
                <a:cubicBezTo>
                  <a:pt x="31" y="72"/>
                  <a:pt x="31" y="73"/>
                  <a:pt x="31" y="73"/>
                </a:cubicBezTo>
                <a:cubicBezTo>
                  <a:pt x="31" y="73"/>
                  <a:pt x="31" y="73"/>
                  <a:pt x="31" y="73"/>
                </a:cubicBezTo>
                <a:cubicBezTo>
                  <a:pt x="31" y="73"/>
                  <a:pt x="31" y="73"/>
                  <a:pt x="31" y="73"/>
                </a:cubicBezTo>
                <a:cubicBezTo>
                  <a:pt x="31" y="73"/>
                  <a:pt x="31" y="73"/>
                  <a:pt x="31" y="73"/>
                </a:cubicBezTo>
                <a:cubicBezTo>
                  <a:pt x="31" y="73"/>
                  <a:pt x="31" y="73"/>
                  <a:pt x="31" y="73"/>
                </a:cubicBezTo>
                <a:cubicBezTo>
                  <a:pt x="32" y="73"/>
                  <a:pt x="31" y="73"/>
                  <a:pt x="31" y="74"/>
                </a:cubicBezTo>
                <a:cubicBezTo>
                  <a:pt x="31" y="74"/>
                  <a:pt x="31" y="74"/>
                  <a:pt x="31" y="74"/>
                </a:cubicBezTo>
                <a:cubicBezTo>
                  <a:pt x="31" y="74"/>
                  <a:pt x="30" y="75"/>
                  <a:pt x="30" y="75"/>
                </a:cubicBezTo>
                <a:cubicBezTo>
                  <a:pt x="30" y="75"/>
                  <a:pt x="30" y="75"/>
                  <a:pt x="30" y="75"/>
                </a:cubicBezTo>
                <a:cubicBezTo>
                  <a:pt x="30" y="75"/>
                  <a:pt x="30" y="75"/>
                  <a:pt x="30" y="75"/>
                </a:cubicBezTo>
                <a:cubicBezTo>
                  <a:pt x="30" y="75"/>
                  <a:pt x="30" y="75"/>
                  <a:pt x="30" y="75"/>
                </a:cubicBezTo>
                <a:cubicBezTo>
                  <a:pt x="30" y="75"/>
                  <a:pt x="30" y="76"/>
                  <a:pt x="30" y="76"/>
                </a:cubicBezTo>
                <a:cubicBezTo>
                  <a:pt x="30" y="75"/>
                  <a:pt x="30" y="76"/>
                  <a:pt x="30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30" y="76"/>
                  <a:pt x="30" y="75"/>
                  <a:pt x="31" y="74"/>
                </a:cubicBezTo>
                <a:cubicBezTo>
                  <a:pt x="31" y="74"/>
                  <a:pt x="31" y="74"/>
                  <a:pt x="31" y="74"/>
                </a:cubicBezTo>
                <a:cubicBezTo>
                  <a:pt x="31" y="74"/>
                  <a:pt x="31" y="74"/>
                  <a:pt x="31" y="74"/>
                </a:cubicBezTo>
                <a:cubicBezTo>
                  <a:pt x="31" y="74"/>
                  <a:pt x="31" y="74"/>
                  <a:pt x="31" y="74"/>
                </a:cubicBezTo>
                <a:cubicBezTo>
                  <a:pt x="31" y="74"/>
                  <a:pt x="31" y="74"/>
                  <a:pt x="31" y="73"/>
                </a:cubicBezTo>
                <a:cubicBezTo>
                  <a:pt x="31" y="73"/>
                  <a:pt x="31" y="73"/>
                  <a:pt x="31" y="73"/>
                </a:cubicBezTo>
                <a:cubicBezTo>
                  <a:pt x="32" y="72"/>
                  <a:pt x="33" y="70"/>
                  <a:pt x="34" y="68"/>
                </a:cubicBezTo>
                <a:cubicBezTo>
                  <a:pt x="34" y="68"/>
                  <a:pt x="34" y="69"/>
                  <a:pt x="34" y="69"/>
                </a:cubicBezTo>
                <a:cubicBezTo>
                  <a:pt x="34" y="69"/>
                  <a:pt x="34" y="68"/>
                  <a:pt x="34" y="68"/>
                </a:cubicBezTo>
                <a:cubicBezTo>
                  <a:pt x="34" y="68"/>
                  <a:pt x="35" y="68"/>
                  <a:pt x="34" y="68"/>
                </a:cubicBezTo>
                <a:cubicBezTo>
                  <a:pt x="34" y="68"/>
                  <a:pt x="34" y="69"/>
                  <a:pt x="34" y="69"/>
                </a:cubicBezTo>
                <a:cubicBezTo>
                  <a:pt x="34" y="69"/>
                  <a:pt x="34" y="69"/>
                  <a:pt x="34" y="69"/>
                </a:cubicBezTo>
                <a:cubicBezTo>
                  <a:pt x="34" y="69"/>
                  <a:pt x="34" y="69"/>
                  <a:pt x="34" y="70"/>
                </a:cubicBezTo>
                <a:cubicBezTo>
                  <a:pt x="34" y="70"/>
                  <a:pt x="34" y="70"/>
                  <a:pt x="33" y="70"/>
                </a:cubicBezTo>
                <a:cubicBezTo>
                  <a:pt x="34" y="70"/>
                  <a:pt x="33" y="70"/>
                  <a:pt x="33" y="70"/>
                </a:cubicBezTo>
                <a:cubicBezTo>
                  <a:pt x="33" y="70"/>
                  <a:pt x="34" y="70"/>
                  <a:pt x="34" y="70"/>
                </a:cubicBezTo>
                <a:cubicBezTo>
                  <a:pt x="34" y="70"/>
                  <a:pt x="34" y="70"/>
                  <a:pt x="33" y="70"/>
                </a:cubicBezTo>
                <a:cubicBezTo>
                  <a:pt x="33" y="70"/>
                  <a:pt x="33" y="70"/>
                  <a:pt x="33" y="70"/>
                </a:cubicBezTo>
                <a:cubicBezTo>
                  <a:pt x="33" y="70"/>
                  <a:pt x="33" y="70"/>
                  <a:pt x="33" y="70"/>
                </a:cubicBezTo>
                <a:cubicBezTo>
                  <a:pt x="33" y="70"/>
                  <a:pt x="33" y="70"/>
                  <a:pt x="33" y="71"/>
                </a:cubicBezTo>
                <a:cubicBezTo>
                  <a:pt x="33" y="71"/>
                  <a:pt x="33" y="70"/>
                  <a:pt x="33" y="71"/>
                </a:cubicBezTo>
                <a:cubicBezTo>
                  <a:pt x="33" y="71"/>
                  <a:pt x="33" y="71"/>
                  <a:pt x="33" y="71"/>
                </a:cubicBezTo>
                <a:cubicBezTo>
                  <a:pt x="33" y="71"/>
                  <a:pt x="33" y="71"/>
                  <a:pt x="33" y="71"/>
                </a:cubicBezTo>
                <a:cubicBezTo>
                  <a:pt x="33" y="71"/>
                  <a:pt x="33" y="71"/>
                  <a:pt x="33" y="71"/>
                </a:cubicBezTo>
                <a:cubicBezTo>
                  <a:pt x="33" y="71"/>
                  <a:pt x="32" y="72"/>
                  <a:pt x="32" y="72"/>
                </a:cubicBezTo>
                <a:cubicBezTo>
                  <a:pt x="32" y="72"/>
                  <a:pt x="32" y="72"/>
                  <a:pt x="32" y="72"/>
                </a:cubicBezTo>
                <a:cubicBezTo>
                  <a:pt x="32" y="72"/>
                  <a:pt x="32" y="72"/>
                  <a:pt x="32" y="72"/>
                </a:cubicBezTo>
                <a:cubicBezTo>
                  <a:pt x="32" y="73"/>
                  <a:pt x="31" y="75"/>
                  <a:pt x="30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30" y="76"/>
                  <a:pt x="30" y="77"/>
                  <a:pt x="29" y="77"/>
                </a:cubicBezTo>
                <a:cubicBezTo>
                  <a:pt x="29" y="77"/>
                  <a:pt x="30" y="77"/>
                  <a:pt x="30" y="77"/>
                </a:cubicBezTo>
                <a:cubicBezTo>
                  <a:pt x="30" y="77"/>
                  <a:pt x="29" y="77"/>
                  <a:pt x="29" y="78"/>
                </a:cubicBezTo>
                <a:cubicBezTo>
                  <a:pt x="29" y="78"/>
                  <a:pt x="29" y="77"/>
                  <a:pt x="29" y="78"/>
                </a:cubicBezTo>
                <a:cubicBezTo>
                  <a:pt x="29" y="77"/>
                  <a:pt x="30" y="77"/>
                  <a:pt x="30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29" y="76"/>
                  <a:pt x="30" y="76"/>
                  <a:pt x="29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29" y="76"/>
                  <a:pt x="29" y="76"/>
                  <a:pt x="29" y="76"/>
                </a:cubicBezTo>
                <a:cubicBezTo>
                  <a:pt x="29" y="76"/>
                  <a:pt x="29" y="77"/>
                  <a:pt x="29" y="77"/>
                </a:cubicBezTo>
                <a:cubicBezTo>
                  <a:pt x="29" y="77"/>
                  <a:pt x="29" y="77"/>
                  <a:pt x="29" y="77"/>
                </a:cubicBezTo>
                <a:cubicBezTo>
                  <a:pt x="29" y="77"/>
                  <a:pt x="29" y="77"/>
                  <a:pt x="29" y="77"/>
                </a:cubicBezTo>
                <a:cubicBezTo>
                  <a:pt x="29" y="77"/>
                  <a:pt x="29" y="77"/>
                  <a:pt x="29" y="77"/>
                </a:cubicBezTo>
                <a:cubicBezTo>
                  <a:pt x="29" y="77"/>
                  <a:pt x="29" y="77"/>
                  <a:pt x="29" y="77"/>
                </a:cubicBezTo>
                <a:cubicBezTo>
                  <a:pt x="29" y="77"/>
                  <a:pt x="29" y="78"/>
                  <a:pt x="28" y="78"/>
                </a:cubicBezTo>
                <a:cubicBezTo>
                  <a:pt x="28" y="78"/>
                  <a:pt x="28" y="78"/>
                  <a:pt x="28" y="78"/>
                </a:cubicBezTo>
                <a:cubicBezTo>
                  <a:pt x="28" y="78"/>
                  <a:pt x="28" y="78"/>
                  <a:pt x="28" y="79"/>
                </a:cubicBezTo>
                <a:cubicBezTo>
                  <a:pt x="28" y="78"/>
                  <a:pt x="28" y="78"/>
                  <a:pt x="28" y="78"/>
                </a:cubicBezTo>
                <a:cubicBezTo>
                  <a:pt x="28" y="78"/>
                  <a:pt x="28" y="78"/>
                  <a:pt x="28" y="78"/>
                </a:cubicBezTo>
                <a:cubicBezTo>
                  <a:pt x="28" y="78"/>
                  <a:pt x="28" y="78"/>
                  <a:pt x="28" y="78"/>
                </a:cubicBezTo>
                <a:cubicBezTo>
                  <a:pt x="28" y="78"/>
                  <a:pt x="28" y="78"/>
                  <a:pt x="28" y="78"/>
                </a:cubicBezTo>
                <a:cubicBezTo>
                  <a:pt x="28" y="78"/>
                  <a:pt x="28" y="78"/>
                  <a:pt x="28" y="78"/>
                </a:cubicBezTo>
                <a:cubicBezTo>
                  <a:pt x="28" y="78"/>
                  <a:pt x="28" y="78"/>
                  <a:pt x="28" y="78"/>
                </a:cubicBezTo>
                <a:cubicBezTo>
                  <a:pt x="28" y="78"/>
                  <a:pt x="28" y="78"/>
                  <a:pt x="27" y="78"/>
                </a:cubicBezTo>
                <a:cubicBezTo>
                  <a:pt x="27" y="78"/>
                  <a:pt x="28" y="78"/>
                  <a:pt x="28" y="78"/>
                </a:cubicBezTo>
                <a:cubicBezTo>
                  <a:pt x="28" y="78"/>
                  <a:pt x="28" y="78"/>
                  <a:pt x="28" y="78"/>
                </a:cubicBezTo>
                <a:cubicBezTo>
                  <a:pt x="28" y="78"/>
                  <a:pt x="28" y="77"/>
                  <a:pt x="28" y="77"/>
                </a:cubicBezTo>
                <a:cubicBezTo>
                  <a:pt x="28" y="77"/>
                  <a:pt x="28" y="77"/>
                  <a:pt x="28" y="77"/>
                </a:cubicBezTo>
                <a:cubicBezTo>
                  <a:pt x="28" y="77"/>
                  <a:pt x="28" y="77"/>
                  <a:pt x="28" y="78"/>
                </a:cubicBezTo>
                <a:cubicBezTo>
                  <a:pt x="29" y="77"/>
                  <a:pt x="29" y="77"/>
                  <a:pt x="29" y="76"/>
                </a:cubicBezTo>
                <a:cubicBezTo>
                  <a:pt x="29" y="76"/>
                  <a:pt x="29" y="76"/>
                  <a:pt x="29" y="76"/>
                </a:cubicBezTo>
                <a:cubicBezTo>
                  <a:pt x="29" y="76"/>
                  <a:pt x="29" y="76"/>
                  <a:pt x="29" y="76"/>
                </a:cubicBezTo>
                <a:cubicBezTo>
                  <a:pt x="29" y="76"/>
                  <a:pt x="29" y="76"/>
                  <a:pt x="29" y="76"/>
                </a:cubicBezTo>
                <a:cubicBezTo>
                  <a:pt x="29" y="76"/>
                  <a:pt x="29" y="76"/>
                  <a:pt x="29" y="76"/>
                </a:cubicBezTo>
                <a:cubicBezTo>
                  <a:pt x="29" y="76"/>
                  <a:pt x="29" y="76"/>
                  <a:pt x="29" y="76"/>
                </a:cubicBezTo>
                <a:cubicBezTo>
                  <a:pt x="29" y="76"/>
                  <a:pt x="29" y="75"/>
                  <a:pt x="29" y="75"/>
                </a:cubicBezTo>
                <a:cubicBezTo>
                  <a:pt x="29" y="75"/>
                  <a:pt x="29" y="75"/>
                  <a:pt x="29" y="75"/>
                </a:cubicBezTo>
                <a:cubicBezTo>
                  <a:pt x="29" y="75"/>
                  <a:pt x="29" y="75"/>
                  <a:pt x="29" y="74"/>
                </a:cubicBezTo>
                <a:cubicBezTo>
                  <a:pt x="29" y="74"/>
                  <a:pt x="29" y="74"/>
                  <a:pt x="29" y="74"/>
                </a:cubicBezTo>
                <a:cubicBezTo>
                  <a:pt x="29" y="74"/>
                  <a:pt x="29" y="74"/>
                  <a:pt x="29" y="75"/>
                </a:cubicBezTo>
                <a:cubicBezTo>
                  <a:pt x="29" y="75"/>
                  <a:pt x="29" y="75"/>
                  <a:pt x="29" y="75"/>
                </a:cubicBezTo>
                <a:cubicBezTo>
                  <a:pt x="29" y="75"/>
                  <a:pt x="29" y="75"/>
                  <a:pt x="29" y="75"/>
                </a:cubicBezTo>
                <a:cubicBezTo>
                  <a:pt x="29" y="75"/>
                  <a:pt x="29" y="75"/>
                  <a:pt x="29" y="75"/>
                </a:cubicBezTo>
                <a:cubicBezTo>
                  <a:pt x="29" y="75"/>
                  <a:pt x="29" y="75"/>
                  <a:pt x="29" y="75"/>
                </a:cubicBezTo>
                <a:cubicBezTo>
                  <a:pt x="29" y="75"/>
                  <a:pt x="29" y="75"/>
                  <a:pt x="29" y="75"/>
                </a:cubicBezTo>
                <a:cubicBezTo>
                  <a:pt x="29" y="75"/>
                  <a:pt x="29" y="75"/>
                  <a:pt x="29" y="75"/>
                </a:cubicBezTo>
                <a:cubicBezTo>
                  <a:pt x="28" y="75"/>
                  <a:pt x="29" y="75"/>
                  <a:pt x="29" y="75"/>
                </a:cubicBezTo>
                <a:cubicBezTo>
                  <a:pt x="29" y="75"/>
                  <a:pt x="28" y="75"/>
                  <a:pt x="28" y="75"/>
                </a:cubicBezTo>
                <a:cubicBezTo>
                  <a:pt x="28" y="75"/>
                  <a:pt x="28" y="75"/>
                  <a:pt x="28" y="75"/>
                </a:cubicBezTo>
                <a:cubicBezTo>
                  <a:pt x="29" y="75"/>
                  <a:pt x="28" y="76"/>
                  <a:pt x="28" y="76"/>
                </a:cubicBezTo>
                <a:cubicBezTo>
                  <a:pt x="28" y="76"/>
                  <a:pt x="28" y="76"/>
                  <a:pt x="28" y="76"/>
                </a:cubicBezTo>
                <a:cubicBezTo>
                  <a:pt x="28" y="76"/>
                  <a:pt x="28" y="76"/>
                  <a:pt x="28" y="76"/>
                </a:cubicBezTo>
                <a:cubicBezTo>
                  <a:pt x="28" y="76"/>
                  <a:pt x="28" y="76"/>
                  <a:pt x="28" y="76"/>
                </a:cubicBezTo>
                <a:cubicBezTo>
                  <a:pt x="28" y="76"/>
                  <a:pt x="28" y="76"/>
                  <a:pt x="28" y="76"/>
                </a:cubicBezTo>
                <a:cubicBezTo>
                  <a:pt x="28" y="75"/>
                  <a:pt x="28" y="75"/>
                  <a:pt x="28" y="75"/>
                </a:cubicBezTo>
                <a:cubicBezTo>
                  <a:pt x="28" y="75"/>
                  <a:pt x="28" y="75"/>
                  <a:pt x="28" y="75"/>
                </a:cubicBezTo>
                <a:cubicBezTo>
                  <a:pt x="28" y="75"/>
                  <a:pt x="28" y="75"/>
                  <a:pt x="28" y="75"/>
                </a:cubicBezTo>
                <a:cubicBezTo>
                  <a:pt x="28" y="75"/>
                  <a:pt x="28" y="75"/>
                  <a:pt x="28" y="75"/>
                </a:cubicBezTo>
                <a:cubicBezTo>
                  <a:pt x="28" y="75"/>
                  <a:pt x="28" y="75"/>
                  <a:pt x="28" y="75"/>
                </a:cubicBezTo>
                <a:cubicBezTo>
                  <a:pt x="28" y="75"/>
                  <a:pt x="28" y="75"/>
                  <a:pt x="28" y="75"/>
                </a:cubicBezTo>
                <a:cubicBezTo>
                  <a:pt x="27" y="75"/>
                  <a:pt x="27" y="76"/>
                  <a:pt x="27" y="76"/>
                </a:cubicBezTo>
                <a:cubicBezTo>
                  <a:pt x="27" y="76"/>
                  <a:pt x="27" y="75"/>
                  <a:pt x="27" y="75"/>
                </a:cubicBezTo>
                <a:cubicBezTo>
                  <a:pt x="27" y="75"/>
                  <a:pt x="27" y="76"/>
                  <a:pt x="27" y="76"/>
                </a:cubicBezTo>
                <a:cubicBezTo>
                  <a:pt x="26" y="76"/>
                  <a:pt x="27" y="75"/>
                  <a:pt x="27" y="75"/>
                </a:cubicBezTo>
                <a:cubicBezTo>
                  <a:pt x="27" y="75"/>
                  <a:pt x="27" y="75"/>
                  <a:pt x="27" y="75"/>
                </a:cubicBezTo>
                <a:cubicBezTo>
                  <a:pt x="27" y="75"/>
                  <a:pt x="27" y="75"/>
                  <a:pt x="27" y="75"/>
                </a:cubicBezTo>
                <a:cubicBezTo>
                  <a:pt x="27" y="75"/>
                  <a:pt x="28" y="75"/>
                  <a:pt x="28" y="75"/>
                </a:cubicBezTo>
                <a:cubicBezTo>
                  <a:pt x="28" y="75"/>
                  <a:pt x="28" y="75"/>
                  <a:pt x="28" y="75"/>
                </a:cubicBezTo>
                <a:cubicBezTo>
                  <a:pt x="28" y="75"/>
                  <a:pt x="28" y="75"/>
                  <a:pt x="28" y="75"/>
                </a:cubicBezTo>
                <a:cubicBezTo>
                  <a:pt x="28" y="75"/>
                  <a:pt x="28" y="75"/>
                  <a:pt x="28" y="75"/>
                </a:cubicBezTo>
                <a:cubicBezTo>
                  <a:pt x="28" y="74"/>
                  <a:pt x="28" y="74"/>
                  <a:pt x="28" y="74"/>
                </a:cubicBezTo>
                <a:cubicBezTo>
                  <a:pt x="28" y="74"/>
                  <a:pt x="28" y="74"/>
                  <a:pt x="28" y="74"/>
                </a:cubicBezTo>
                <a:cubicBezTo>
                  <a:pt x="28" y="74"/>
                  <a:pt x="28" y="74"/>
                  <a:pt x="28" y="74"/>
                </a:cubicBezTo>
                <a:cubicBezTo>
                  <a:pt x="28" y="73"/>
                  <a:pt x="28" y="73"/>
                  <a:pt x="28" y="73"/>
                </a:cubicBezTo>
                <a:cubicBezTo>
                  <a:pt x="28" y="73"/>
                  <a:pt x="29" y="73"/>
                  <a:pt x="29" y="73"/>
                </a:cubicBezTo>
                <a:cubicBezTo>
                  <a:pt x="29" y="73"/>
                  <a:pt x="28" y="73"/>
                  <a:pt x="28" y="73"/>
                </a:cubicBezTo>
                <a:cubicBezTo>
                  <a:pt x="28" y="73"/>
                  <a:pt x="29" y="73"/>
                  <a:pt x="29" y="73"/>
                </a:cubicBezTo>
                <a:cubicBezTo>
                  <a:pt x="29" y="73"/>
                  <a:pt x="29" y="73"/>
                  <a:pt x="29" y="73"/>
                </a:cubicBezTo>
                <a:cubicBezTo>
                  <a:pt x="29" y="72"/>
                  <a:pt x="29" y="72"/>
                  <a:pt x="29" y="71"/>
                </a:cubicBezTo>
                <a:cubicBezTo>
                  <a:pt x="29" y="71"/>
                  <a:pt x="29" y="71"/>
                  <a:pt x="29" y="72"/>
                </a:cubicBezTo>
                <a:cubicBezTo>
                  <a:pt x="29" y="72"/>
                  <a:pt x="29" y="71"/>
                  <a:pt x="30" y="71"/>
                </a:cubicBezTo>
                <a:cubicBezTo>
                  <a:pt x="29" y="71"/>
                  <a:pt x="29" y="71"/>
                  <a:pt x="30" y="71"/>
                </a:cubicBezTo>
                <a:cubicBezTo>
                  <a:pt x="29" y="71"/>
                  <a:pt x="29" y="71"/>
                  <a:pt x="29" y="71"/>
                </a:cubicBezTo>
                <a:cubicBezTo>
                  <a:pt x="29" y="71"/>
                  <a:pt x="29" y="71"/>
                  <a:pt x="29" y="71"/>
                </a:cubicBezTo>
                <a:cubicBezTo>
                  <a:pt x="29" y="71"/>
                  <a:pt x="29" y="71"/>
                  <a:pt x="29" y="72"/>
                </a:cubicBezTo>
                <a:cubicBezTo>
                  <a:pt x="29" y="71"/>
                  <a:pt x="29" y="72"/>
                  <a:pt x="29" y="72"/>
                </a:cubicBezTo>
                <a:cubicBezTo>
                  <a:pt x="29" y="72"/>
                  <a:pt x="29" y="72"/>
                  <a:pt x="29" y="72"/>
                </a:cubicBezTo>
                <a:cubicBezTo>
                  <a:pt x="29" y="72"/>
                  <a:pt x="29" y="72"/>
                  <a:pt x="29" y="72"/>
                </a:cubicBezTo>
                <a:cubicBezTo>
                  <a:pt x="28" y="72"/>
                  <a:pt x="28" y="73"/>
                  <a:pt x="28" y="73"/>
                </a:cubicBezTo>
                <a:cubicBezTo>
                  <a:pt x="28" y="73"/>
                  <a:pt x="28" y="73"/>
                  <a:pt x="28" y="73"/>
                </a:cubicBezTo>
                <a:cubicBezTo>
                  <a:pt x="28" y="73"/>
                  <a:pt x="28" y="73"/>
                  <a:pt x="28" y="73"/>
                </a:cubicBezTo>
                <a:cubicBezTo>
                  <a:pt x="28" y="74"/>
                  <a:pt x="28" y="73"/>
                  <a:pt x="28" y="73"/>
                </a:cubicBezTo>
                <a:cubicBezTo>
                  <a:pt x="28" y="73"/>
                  <a:pt x="28" y="74"/>
                  <a:pt x="28" y="74"/>
                </a:cubicBezTo>
                <a:cubicBezTo>
                  <a:pt x="28" y="74"/>
                  <a:pt x="28" y="74"/>
                  <a:pt x="28" y="74"/>
                </a:cubicBezTo>
                <a:cubicBezTo>
                  <a:pt x="27" y="74"/>
                  <a:pt x="27" y="74"/>
                  <a:pt x="27" y="74"/>
                </a:cubicBezTo>
                <a:cubicBezTo>
                  <a:pt x="27" y="74"/>
                  <a:pt x="27" y="74"/>
                  <a:pt x="27" y="74"/>
                </a:cubicBezTo>
                <a:cubicBezTo>
                  <a:pt x="27" y="74"/>
                  <a:pt x="27" y="74"/>
                  <a:pt x="27" y="74"/>
                </a:cubicBezTo>
                <a:cubicBezTo>
                  <a:pt x="27" y="74"/>
                  <a:pt x="27" y="73"/>
                  <a:pt x="27" y="73"/>
                </a:cubicBezTo>
                <a:cubicBezTo>
                  <a:pt x="27" y="73"/>
                  <a:pt x="27" y="73"/>
                  <a:pt x="27" y="73"/>
                </a:cubicBezTo>
                <a:cubicBezTo>
                  <a:pt x="27" y="73"/>
                  <a:pt x="27" y="73"/>
                  <a:pt x="27" y="72"/>
                </a:cubicBezTo>
                <a:cubicBezTo>
                  <a:pt x="27" y="72"/>
                  <a:pt x="27" y="72"/>
                  <a:pt x="27" y="72"/>
                </a:cubicBezTo>
                <a:cubicBezTo>
                  <a:pt x="27" y="72"/>
                  <a:pt x="27" y="72"/>
                  <a:pt x="27" y="73"/>
                </a:cubicBezTo>
                <a:cubicBezTo>
                  <a:pt x="27" y="73"/>
                  <a:pt x="27" y="73"/>
                  <a:pt x="27" y="73"/>
                </a:cubicBezTo>
                <a:cubicBezTo>
                  <a:pt x="26" y="73"/>
                  <a:pt x="26" y="74"/>
                  <a:pt x="26" y="74"/>
                </a:cubicBezTo>
                <a:cubicBezTo>
                  <a:pt x="26" y="74"/>
                  <a:pt x="27" y="73"/>
                  <a:pt x="27" y="73"/>
                </a:cubicBezTo>
                <a:cubicBezTo>
                  <a:pt x="27" y="73"/>
                  <a:pt x="26" y="74"/>
                  <a:pt x="26" y="74"/>
                </a:cubicBezTo>
                <a:cubicBezTo>
                  <a:pt x="26" y="74"/>
                  <a:pt x="26" y="74"/>
                  <a:pt x="27" y="74"/>
                </a:cubicBezTo>
                <a:cubicBezTo>
                  <a:pt x="27" y="74"/>
                  <a:pt x="27" y="74"/>
                  <a:pt x="27" y="74"/>
                </a:cubicBezTo>
                <a:cubicBezTo>
                  <a:pt x="27" y="75"/>
                  <a:pt x="27" y="75"/>
                  <a:pt x="27" y="75"/>
                </a:cubicBezTo>
                <a:cubicBezTo>
                  <a:pt x="26" y="74"/>
                  <a:pt x="26" y="74"/>
                  <a:pt x="26" y="75"/>
                </a:cubicBezTo>
                <a:cubicBezTo>
                  <a:pt x="26" y="74"/>
                  <a:pt x="26" y="74"/>
                  <a:pt x="26" y="74"/>
                </a:cubicBezTo>
                <a:close/>
                <a:moveTo>
                  <a:pt x="40" y="58"/>
                </a:moveTo>
                <a:cubicBezTo>
                  <a:pt x="40" y="58"/>
                  <a:pt x="40" y="58"/>
                  <a:pt x="40" y="58"/>
                </a:cubicBezTo>
                <a:cubicBezTo>
                  <a:pt x="40" y="58"/>
                  <a:pt x="40" y="58"/>
                  <a:pt x="40" y="58"/>
                </a:cubicBezTo>
                <a:cubicBezTo>
                  <a:pt x="40" y="58"/>
                  <a:pt x="40" y="58"/>
                  <a:pt x="40" y="58"/>
                </a:cubicBezTo>
                <a:close/>
                <a:moveTo>
                  <a:pt x="36" y="65"/>
                </a:moveTo>
                <a:cubicBezTo>
                  <a:pt x="36" y="65"/>
                  <a:pt x="36" y="64"/>
                  <a:pt x="37" y="64"/>
                </a:cubicBezTo>
                <a:cubicBezTo>
                  <a:pt x="36" y="64"/>
                  <a:pt x="36" y="64"/>
                  <a:pt x="36" y="64"/>
                </a:cubicBezTo>
                <a:cubicBezTo>
                  <a:pt x="36" y="64"/>
                  <a:pt x="36" y="65"/>
                  <a:pt x="36" y="65"/>
                </a:cubicBezTo>
                <a:close/>
                <a:moveTo>
                  <a:pt x="36" y="62"/>
                </a:moveTo>
                <a:cubicBezTo>
                  <a:pt x="36" y="62"/>
                  <a:pt x="36" y="62"/>
                  <a:pt x="36" y="62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2"/>
                  <a:pt x="36" y="62"/>
                  <a:pt x="36" y="62"/>
                </a:cubicBezTo>
                <a:close/>
                <a:moveTo>
                  <a:pt x="37" y="61"/>
                </a:moveTo>
                <a:cubicBezTo>
                  <a:pt x="37" y="61"/>
                  <a:pt x="37" y="61"/>
                  <a:pt x="37" y="61"/>
                </a:cubicBezTo>
                <a:cubicBezTo>
                  <a:pt x="37" y="61"/>
                  <a:pt x="37" y="60"/>
                  <a:pt x="37" y="61"/>
                </a:cubicBezTo>
                <a:cubicBezTo>
                  <a:pt x="37" y="60"/>
                  <a:pt x="37" y="60"/>
                  <a:pt x="37" y="60"/>
                </a:cubicBezTo>
                <a:cubicBezTo>
                  <a:pt x="37" y="61"/>
                  <a:pt x="37" y="61"/>
                  <a:pt x="37" y="61"/>
                </a:cubicBezTo>
                <a:cubicBezTo>
                  <a:pt x="37" y="61"/>
                  <a:pt x="37" y="61"/>
                  <a:pt x="37" y="61"/>
                </a:cubicBezTo>
                <a:close/>
                <a:moveTo>
                  <a:pt x="37" y="61"/>
                </a:moveTo>
                <a:cubicBezTo>
                  <a:pt x="37" y="61"/>
                  <a:pt x="37" y="61"/>
                  <a:pt x="37" y="61"/>
                </a:cubicBezTo>
                <a:cubicBezTo>
                  <a:pt x="38" y="61"/>
                  <a:pt x="37" y="61"/>
                  <a:pt x="37" y="61"/>
                </a:cubicBezTo>
                <a:close/>
                <a:moveTo>
                  <a:pt x="38" y="61"/>
                </a:moveTo>
                <a:cubicBezTo>
                  <a:pt x="38" y="61"/>
                  <a:pt x="38" y="60"/>
                  <a:pt x="38" y="60"/>
                </a:cubicBezTo>
                <a:cubicBezTo>
                  <a:pt x="38" y="60"/>
                  <a:pt x="38" y="60"/>
                  <a:pt x="38" y="60"/>
                </a:cubicBezTo>
                <a:cubicBezTo>
                  <a:pt x="38" y="60"/>
                  <a:pt x="38" y="60"/>
                  <a:pt x="38" y="60"/>
                </a:cubicBezTo>
                <a:cubicBezTo>
                  <a:pt x="38" y="60"/>
                  <a:pt x="38" y="60"/>
                  <a:pt x="38" y="61"/>
                </a:cubicBezTo>
                <a:cubicBezTo>
                  <a:pt x="38" y="61"/>
                  <a:pt x="38" y="61"/>
                  <a:pt x="38" y="61"/>
                </a:cubicBezTo>
                <a:close/>
                <a:moveTo>
                  <a:pt x="38" y="61"/>
                </a:moveTo>
                <a:cubicBezTo>
                  <a:pt x="38" y="61"/>
                  <a:pt x="38" y="60"/>
                  <a:pt x="38" y="60"/>
                </a:cubicBezTo>
                <a:cubicBezTo>
                  <a:pt x="38" y="60"/>
                  <a:pt x="38" y="60"/>
                  <a:pt x="38" y="60"/>
                </a:cubicBezTo>
                <a:cubicBezTo>
                  <a:pt x="38" y="60"/>
                  <a:pt x="38" y="60"/>
                  <a:pt x="38" y="60"/>
                </a:cubicBezTo>
                <a:cubicBezTo>
                  <a:pt x="38" y="60"/>
                  <a:pt x="38" y="60"/>
                  <a:pt x="38" y="61"/>
                </a:cubicBezTo>
                <a:close/>
                <a:moveTo>
                  <a:pt x="40" y="57"/>
                </a:moveTo>
                <a:cubicBezTo>
                  <a:pt x="40" y="57"/>
                  <a:pt x="40" y="57"/>
                  <a:pt x="40" y="57"/>
                </a:cubicBezTo>
                <a:cubicBezTo>
                  <a:pt x="40" y="57"/>
                  <a:pt x="40" y="57"/>
                  <a:pt x="40" y="57"/>
                </a:cubicBezTo>
                <a:cubicBezTo>
                  <a:pt x="40" y="57"/>
                  <a:pt x="40" y="57"/>
                  <a:pt x="40" y="57"/>
                </a:cubicBezTo>
                <a:close/>
                <a:moveTo>
                  <a:pt x="39" y="58"/>
                </a:moveTo>
                <a:cubicBezTo>
                  <a:pt x="40" y="58"/>
                  <a:pt x="40" y="57"/>
                  <a:pt x="40" y="57"/>
                </a:cubicBezTo>
                <a:cubicBezTo>
                  <a:pt x="39" y="57"/>
                  <a:pt x="40" y="57"/>
                  <a:pt x="39" y="58"/>
                </a:cubicBezTo>
                <a:close/>
                <a:moveTo>
                  <a:pt x="38" y="59"/>
                </a:moveTo>
                <a:cubicBezTo>
                  <a:pt x="38" y="60"/>
                  <a:pt x="38" y="60"/>
                  <a:pt x="38" y="60"/>
                </a:cubicBezTo>
                <a:cubicBezTo>
                  <a:pt x="38" y="60"/>
                  <a:pt x="38" y="60"/>
                  <a:pt x="38" y="60"/>
                </a:cubicBezTo>
                <a:cubicBezTo>
                  <a:pt x="38" y="60"/>
                  <a:pt x="38" y="60"/>
                  <a:pt x="38" y="60"/>
                </a:cubicBezTo>
                <a:cubicBezTo>
                  <a:pt x="38" y="60"/>
                  <a:pt x="38" y="60"/>
                  <a:pt x="38" y="60"/>
                </a:cubicBezTo>
                <a:cubicBezTo>
                  <a:pt x="38" y="60"/>
                  <a:pt x="38" y="60"/>
                  <a:pt x="38" y="60"/>
                </a:cubicBezTo>
                <a:cubicBezTo>
                  <a:pt x="38" y="60"/>
                  <a:pt x="38" y="60"/>
                  <a:pt x="38" y="60"/>
                </a:cubicBezTo>
                <a:cubicBezTo>
                  <a:pt x="38" y="60"/>
                  <a:pt x="38" y="60"/>
                  <a:pt x="38" y="59"/>
                </a:cubicBezTo>
                <a:cubicBezTo>
                  <a:pt x="38" y="60"/>
                  <a:pt x="38" y="60"/>
                  <a:pt x="38" y="60"/>
                </a:cubicBezTo>
                <a:cubicBezTo>
                  <a:pt x="39" y="59"/>
                  <a:pt x="39" y="58"/>
                  <a:pt x="39" y="58"/>
                </a:cubicBezTo>
                <a:cubicBezTo>
                  <a:pt x="39" y="58"/>
                  <a:pt x="39" y="59"/>
                  <a:pt x="38" y="59"/>
                </a:cubicBezTo>
                <a:cubicBezTo>
                  <a:pt x="38" y="59"/>
                  <a:pt x="38" y="59"/>
                  <a:pt x="38" y="59"/>
                </a:cubicBezTo>
                <a:close/>
                <a:moveTo>
                  <a:pt x="40" y="56"/>
                </a:moveTo>
                <a:cubicBezTo>
                  <a:pt x="40" y="56"/>
                  <a:pt x="40" y="56"/>
                  <a:pt x="40" y="56"/>
                </a:cubicBezTo>
                <a:cubicBezTo>
                  <a:pt x="40" y="56"/>
                  <a:pt x="40" y="55"/>
                  <a:pt x="40" y="55"/>
                </a:cubicBezTo>
                <a:cubicBezTo>
                  <a:pt x="40" y="56"/>
                  <a:pt x="40" y="56"/>
                  <a:pt x="40" y="56"/>
                </a:cubicBezTo>
                <a:close/>
                <a:moveTo>
                  <a:pt x="40" y="56"/>
                </a:moveTo>
                <a:cubicBezTo>
                  <a:pt x="40" y="56"/>
                  <a:pt x="40" y="56"/>
                  <a:pt x="40" y="56"/>
                </a:cubicBezTo>
                <a:cubicBezTo>
                  <a:pt x="40" y="56"/>
                  <a:pt x="40" y="56"/>
                  <a:pt x="40" y="56"/>
                </a:cubicBezTo>
                <a:cubicBezTo>
                  <a:pt x="40" y="56"/>
                  <a:pt x="40" y="56"/>
                  <a:pt x="40" y="56"/>
                </a:cubicBezTo>
                <a:close/>
                <a:moveTo>
                  <a:pt x="40" y="56"/>
                </a:moveTo>
                <a:cubicBezTo>
                  <a:pt x="40" y="56"/>
                  <a:pt x="39" y="56"/>
                  <a:pt x="39" y="56"/>
                </a:cubicBezTo>
                <a:cubicBezTo>
                  <a:pt x="39" y="56"/>
                  <a:pt x="40" y="56"/>
                  <a:pt x="40" y="56"/>
                </a:cubicBezTo>
                <a:close/>
                <a:moveTo>
                  <a:pt x="38" y="58"/>
                </a:moveTo>
                <a:cubicBezTo>
                  <a:pt x="38" y="58"/>
                  <a:pt x="38" y="58"/>
                  <a:pt x="38" y="58"/>
                </a:cubicBezTo>
                <a:cubicBezTo>
                  <a:pt x="38" y="58"/>
                  <a:pt x="38" y="58"/>
                  <a:pt x="38" y="58"/>
                </a:cubicBezTo>
                <a:close/>
                <a:moveTo>
                  <a:pt x="39" y="56"/>
                </a:moveTo>
                <a:cubicBezTo>
                  <a:pt x="39" y="56"/>
                  <a:pt x="39" y="56"/>
                  <a:pt x="39" y="56"/>
                </a:cubicBezTo>
                <a:cubicBezTo>
                  <a:pt x="39" y="56"/>
                  <a:pt x="39" y="56"/>
                  <a:pt x="39" y="56"/>
                </a:cubicBezTo>
                <a:close/>
                <a:moveTo>
                  <a:pt x="38" y="56"/>
                </a:moveTo>
                <a:cubicBezTo>
                  <a:pt x="38" y="56"/>
                  <a:pt x="38" y="56"/>
                  <a:pt x="38" y="56"/>
                </a:cubicBezTo>
                <a:cubicBezTo>
                  <a:pt x="38" y="56"/>
                  <a:pt x="38" y="56"/>
                  <a:pt x="39" y="56"/>
                </a:cubicBezTo>
                <a:cubicBezTo>
                  <a:pt x="39" y="56"/>
                  <a:pt x="38" y="56"/>
                  <a:pt x="39" y="56"/>
                </a:cubicBezTo>
                <a:cubicBezTo>
                  <a:pt x="39" y="56"/>
                  <a:pt x="39" y="56"/>
                  <a:pt x="39" y="56"/>
                </a:cubicBezTo>
                <a:cubicBezTo>
                  <a:pt x="39" y="56"/>
                  <a:pt x="39" y="56"/>
                  <a:pt x="39" y="56"/>
                </a:cubicBezTo>
                <a:cubicBezTo>
                  <a:pt x="38" y="56"/>
                  <a:pt x="39" y="56"/>
                  <a:pt x="38" y="56"/>
                </a:cubicBezTo>
                <a:close/>
                <a:moveTo>
                  <a:pt x="38" y="57"/>
                </a:moveTo>
                <a:cubicBezTo>
                  <a:pt x="38" y="57"/>
                  <a:pt x="38" y="56"/>
                  <a:pt x="38" y="56"/>
                </a:cubicBezTo>
                <a:cubicBezTo>
                  <a:pt x="38" y="56"/>
                  <a:pt x="38" y="56"/>
                  <a:pt x="38" y="56"/>
                </a:cubicBezTo>
                <a:cubicBezTo>
                  <a:pt x="38" y="57"/>
                  <a:pt x="38" y="56"/>
                  <a:pt x="38" y="57"/>
                </a:cubicBezTo>
                <a:cubicBezTo>
                  <a:pt x="38" y="57"/>
                  <a:pt x="38" y="57"/>
                  <a:pt x="38" y="57"/>
                </a:cubicBezTo>
                <a:cubicBezTo>
                  <a:pt x="38" y="57"/>
                  <a:pt x="38" y="57"/>
                  <a:pt x="38" y="57"/>
                </a:cubicBezTo>
                <a:cubicBezTo>
                  <a:pt x="38" y="57"/>
                  <a:pt x="38" y="57"/>
                  <a:pt x="38" y="57"/>
                </a:cubicBezTo>
                <a:close/>
                <a:moveTo>
                  <a:pt x="39" y="56"/>
                </a:moveTo>
                <a:cubicBezTo>
                  <a:pt x="39" y="56"/>
                  <a:pt x="38" y="57"/>
                  <a:pt x="38" y="57"/>
                </a:cubicBezTo>
                <a:cubicBezTo>
                  <a:pt x="38" y="57"/>
                  <a:pt x="38" y="57"/>
                  <a:pt x="39" y="57"/>
                </a:cubicBezTo>
                <a:cubicBezTo>
                  <a:pt x="38" y="57"/>
                  <a:pt x="38" y="57"/>
                  <a:pt x="38" y="57"/>
                </a:cubicBezTo>
                <a:cubicBezTo>
                  <a:pt x="39" y="57"/>
                  <a:pt x="39" y="57"/>
                  <a:pt x="39" y="56"/>
                </a:cubicBezTo>
                <a:close/>
                <a:moveTo>
                  <a:pt x="36" y="60"/>
                </a:moveTo>
                <a:cubicBezTo>
                  <a:pt x="36" y="61"/>
                  <a:pt x="36" y="61"/>
                  <a:pt x="36" y="61"/>
                </a:cubicBezTo>
                <a:cubicBezTo>
                  <a:pt x="36" y="62"/>
                  <a:pt x="36" y="61"/>
                  <a:pt x="36" y="61"/>
                </a:cubicBezTo>
                <a:cubicBezTo>
                  <a:pt x="36" y="61"/>
                  <a:pt x="37" y="61"/>
                  <a:pt x="37" y="61"/>
                </a:cubicBezTo>
                <a:cubicBezTo>
                  <a:pt x="37" y="61"/>
                  <a:pt x="36" y="61"/>
                  <a:pt x="36" y="61"/>
                </a:cubicBezTo>
                <a:cubicBezTo>
                  <a:pt x="36" y="61"/>
                  <a:pt x="36" y="61"/>
                  <a:pt x="37" y="61"/>
                </a:cubicBezTo>
                <a:cubicBezTo>
                  <a:pt x="37" y="61"/>
                  <a:pt x="37" y="61"/>
                  <a:pt x="37" y="61"/>
                </a:cubicBezTo>
                <a:cubicBezTo>
                  <a:pt x="37" y="61"/>
                  <a:pt x="37" y="60"/>
                  <a:pt x="37" y="60"/>
                </a:cubicBezTo>
                <a:cubicBezTo>
                  <a:pt x="37" y="60"/>
                  <a:pt x="37" y="60"/>
                  <a:pt x="37" y="60"/>
                </a:cubicBezTo>
                <a:cubicBezTo>
                  <a:pt x="37" y="60"/>
                  <a:pt x="37" y="60"/>
                  <a:pt x="37" y="60"/>
                </a:cubicBezTo>
                <a:cubicBezTo>
                  <a:pt x="37" y="60"/>
                  <a:pt x="37" y="60"/>
                  <a:pt x="37" y="60"/>
                </a:cubicBezTo>
                <a:cubicBezTo>
                  <a:pt x="37" y="60"/>
                  <a:pt x="37" y="60"/>
                  <a:pt x="37" y="59"/>
                </a:cubicBezTo>
                <a:cubicBezTo>
                  <a:pt x="37" y="59"/>
                  <a:pt x="38" y="59"/>
                  <a:pt x="38" y="60"/>
                </a:cubicBezTo>
                <a:cubicBezTo>
                  <a:pt x="37" y="60"/>
                  <a:pt x="37" y="60"/>
                  <a:pt x="37" y="60"/>
                </a:cubicBezTo>
                <a:cubicBezTo>
                  <a:pt x="37" y="60"/>
                  <a:pt x="37" y="60"/>
                  <a:pt x="37" y="60"/>
                </a:cubicBezTo>
                <a:cubicBezTo>
                  <a:pt x="37" y="60"/>
                  <a:pt x="38" y="60"/>
                  <a:pt x="38" y="60"/>
                </a:cubicBezTo>
                <a:cubicBezTo>
                  <a:pt x="38" y="60"/>
                  <a:pt x="38" y="60"/>
                  <a:pt x="38" y="60"/>
                </a:cubicBezTo>
                <a:cubicBezTo>
                  <a:pt x="38" y="60"/>
                  <a:pt x="38" y="60"/>
                  <a:pt x="38" y="60"/>
                </a:cubicBezTo>
                <a:cubicBezTo>
                  <a:pt x="38" y="59"/>
                  <a:pt x="38" y="59"/>
                  <a:pt x="38" y="59"/>
                </a:cubicBezTo>
                <a:cubicBezTo>
                  <a:pt x="38" y="59"/>
                  <a:pt x="38" y="59"/>
                  <a:pt x="38" y="59"/>
                </a:cubicBezTo>
                <a:cubicBezTo>
                  <a:pt x="38" y="59"/>
                  <a:pt x="38" y="59"/>
                  <a:pt x="38" y="59"/>
                </a:cubicBezTo>
                <a:cubicBezTo>
                  <a:pt x="38" y="59"/>
                  <a:pt x="38" y="59"/>
                  <a:pt x="38" y="59"/>
                </a:cubicBezTo>
                <a:cubicBezTo>
                  <a:pt x="38" y="59"/>
                  <a:pt x="38" y="59"/>
                  <a:pt x="38" y="59"/>
                </a:cubicBezTo>
                <a:cubicBezTo>
                  <a:pt x="37" y="59"/>
                  <a:pt x="38" y="59"/>
                  <a:pt x="38" y="59"/>
                </a:cubicBezTo>
                <a:cubicBezTo>
                  <a:pt x="38" y="59"/>
                  <a:pt x="37" y="59"/>
                  <a:pt x="37" y="59"/>
                </a:cubicBezTo>
                <a:cubicBezTo>
                  <a:pt x="37" y="60"/>
                  <a:pt x="37" y="60"/>
                  <a:pt x="37" y="60"/>
                </a:cubicBezTo>
                <a:cubicBezTo>
                  <a:pt x="37" y="60"/>
                  <a:pt x="37" y="60"/>
                  <a:pt x="37" y="60"/>
                </a:cubicBezTo>
                <a:cubicBezTo>
                  <a:pt x="37" y="60"/>
                  <a:pt x="37" y="60"/>
                  <a:pt x="37" y="60"/>
                </a:cubicBezTo>
                <a:cubicBezTo>
                  <a:pt x="37" y="60"/>
                  <a:pt x="36" y="60"/>
                  <a:pt x="36" y="60"/>
                </a:cubicBezTo>
                <a:close/>
                <a:moveTo>
                  <a:pt x="3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60"/>
                  <a:pt x="36" y="60"/>
                  <a:pt x="36" y="60"/>
                </a:cubicBezTo>
                <a:cubicBezTo>
                  <a:pt x="36" y="60"/>
                  <a:pt x="36" y="60"/>
                  <a:pt x="36" y="60"/>
                </a:cubicBezTo>
                <a:close/>
                <a:moveTo>
                  <a:pt x="27" y="67"/>
                </a:moveTo>
                <a:cubicBezTo>
                  <a:pt x="27" y="67"/>
                  <a:pt x="27" y="67"/>
                  <a:pt x="27" y="67"/>
                </a:cubicBezTo>
                <a:cubicBezTo>
                  <a:pt x="27" y="67"/>
                  <a:pt x="27" y="67"/>
                  <a:pt x="27" y="67"/>
                </a:cubicBezTo>
                <a:cubicBezTo>
                  <a:pt x="27" y="68"/>
                  <a:pt x="27" y="67"/>
                  <a:pt x="27" y="67"/>
                </a:cubicBezTo>
                <a:close/>
                <a:moveTo>
                  <a:pt x="26" y="68"/>
                </a:moveTo>
                <a:cubicBezTo>
                  <a:pt x="26" y="68"/>
                  <a:pt x="26" y="69"/>
                  <a:pt x="26" y="69"/>
                </a:cubicBezTo>
                <a:cubicBezTo>
                  <a:pt x="26" y="69"/>
                  <a:pt x="26" y="68"/>
                  <a:pt x="26" y="68"/>
                </a:cubicBezTo>
                <a:close/>
                <a:moveTo>
                  <a:pt x="27" y="67"/>
                </a:moveTo>
                <a:cubicBezTo>
                  <a:pt x="27" y="67"/>
                  <a:pt x="27" y="67"/>
                  <a:pt x="27" y="67"/>
                </a:cubicBezTo>
                <a:cubicBezTo>
                  <a:pt x="27" y="67"/>
                  <a:pt x="28" y="67"/>
                  <a:pt x="28" y="67"/>
                </a:cubicBezTo>
                <a:cubicBezTo>
                  <a:pt x="28" y="67"/>
                  <a:pt x="28" y="67"/>
                  <a:pt x="28" y="67"/>
                </a:cubicBezTo>
                <a:cubicBezTo>
                  <a:pt x="28" y="67"/>
                  <a:pt x="28" y="67"/>
                  <a:pt x="28" y="67"/>
                </a:cubicBezTo>
                <a:cubicBezTo>
                  <a:pt x="27" y="67"/>
                  <a:pt x="27" y="67"/>
                  <a:pt x="27" y="67"/>
                </a:cubicBezTo>
                <a:cubicBezTo>
                  <a:pt x="27" y="67"/>
                  <a:pt x="27" y="67"/>
                  <a:pt x="27" y="67"/>
                </a:cubicBezTo>
                <a:cubicBezTo>
                  <a:pt x="27" y="67"/>
                  <a:pt x="28" y="67"/>
                  <a:pt x="27" y="67"/>
                </a:cubicBezTo>
                <a:close/>
                <a:moveTo>
                  <a:pt x="27" y="67"/>
                </a:moveTo>
                <a:cubicBezTo>
                  <a:pt x="27" y="67"/>
                  <a:pt x="27" y="68"/>
                  <a:pt x="27" y="68"/>
                </a:cubicBezTo>
                <a:cubicBezTo>
                  <a:pt x="28" y="68"/>
                  <a:pt x="28" y="67"/>
                  <a:pt x="27" y="67"/>
                </a:cubicBezTo>
                <a:close/>
                <a:moveTo>
                  <a:pt x="29" y="67"/>
                </a:moveTo>
                <a:cubicBezTo>
                  <a:pt x="29" y="66"/>
                  <a:pt x="29" y="66"/>
                  <a:pt x="29" y="66"/>
                </a:cubicBezTo>
                <a:cubicBezTo>
                  <a:pt x="29" y="66"/>
                  <a:pt x="29" y="66"/>
                  <a:pt x="29" y="66"/>
                </a:cubicBezTo>
                <a:cubicBezTo>
                  <a:pt x="29" y="66"/>
                  <a:pt x="29" y="66"/>
                  <a:pt x="29" y="66"/>
                </a:cubicBezTo>
                <a:cubicBezTo>
                  <a:pt x="29" y="66"/>
                  <a:pt x="29" y="66"/>
                  <a:pt x="29" y="66"/>
                </a:cubicBezTo>
                <a:cubicBezTo>
                  <a:pt x="29" y="66"/>
                  <a:pt x="29" y="66"/>
                  <a:pt x="29" y="66"/>
                </a:cubicBezTo>
                <a:cubicBezTo>
                  <a:pt x="29" y="66"/>
                  <a:pt x="29" y="66"/>
                  <a:pt x="29" y="66"/>
                </a:cubicBezTo>
                <a:cubicBezTo>
                  <a:pt x="29" y="66"/>
                  <a:pt x="29" y="66"/>
                  <a:pt x="29" y="66"/>
                </a:cubicBezTo>
                <a:cubicBezTo>
                  <a:pt x="29" y="67"/>
                  <a:pt x="29" y="67"/>
                  <a:pt x="29" y="67"/>
                </a:cubicBezTo>
                <a:cubicBezTo>
                  <a:pt x="28" y="67"/>
                  <a:pt x="29" y="67"/>
                  <a:pt x="28" y="67"/>
                </a:cubicBezTo>
                <a:cubicBezTo>
                  <a:pt x="28" y="67"/>
                  <a:pt x="28" y="67"/>
                  <a:pt x="28" y="67"/>
                </a:cubicBezTo>
                <a:cubicBezTo>
                  <a:pt x="29" y="67"/>
                  <a:pt x="29" y="67"/>
                  <a:pt x="29" y="67"/>
                </a:cubicBezTo>
                <a:cubicBezTo>
                  <a:pt x="29" y="67"/>
                  <a:pt x="29" y="67"/>
                  <a:pt x="29" y="67"/>
                </a:cubicBezTo>
                <a:cubicBezTo>
                  <a:pt x="29" y="67"/>
                  <a:pt x="29" y="67"/>
                  <a:pt x="29" y="67"/>
                </a:cubicBezTo>
                <a:cubicBezTo>
                  <a:pt x="29" y="67"/>
                  <a:pt x="29" y="67"/>
                  <a:pt x="29" y="67"/>
                </a:cubicBezTo>
                <a:cubicBezTo>
                  <a:pt x="29" y="66"/>
                  <a:pt x="29" y="67"/>
                  <a:pt x="29" y="67"/>
                </a:cubicBezTo>
                <a:close/>
                <a:moveTo>
                  <a:pt x="32" y="64"/>
                </a:moveTo>
                <a:cubicBezTo>
                  <a:pt x="32" y="64"/>
                  <a:pt x="31" y="64"/>
                  <a:pt x="31" y="64"/>
                </a:cubicBezTo>
                <a:cubicBezTo>
                  <a:pt x="32" y="64"/>
                  <a:pt x="32" y="64"/>
                  <a:pt x="32" y="64"/>
                </a:cubicBezTo>
                <a:cubicBezTo>
                  <a:pt x="32" y="64"/>
                  <a:pt x="32" y="64"/>
                  <a:pt x="32" y="64"/>
                </a:cubicBezTo>
                <a:close/>
                <a:moveTo>
                  <a:pt x="31" y="65"/>
                </a:moveTo>
                <a:cubicBezTo>
                  <a:pt x="31" y="65"/>
                  <a:pt x="31" y="65"/>
                  <a:pt x="31" y="65"/>
                </a:cubicBezTo>
                <a:cubicBezTo>
                  <a:pt x="31" y="65"/>
                  <a:pt x="31" y="65"/>
                  <a:pt x="31" y="65"/>
                </a:cubicBezTo>
                <a:cubicBezTo>
                  <a:pt x="31" y="65"/>
                  <a:pt x="31" y="65"/>
                  <a:pt x="31" y="65"/>
                </a:cubicBezTo>
                <a:close/>
                <a:moveTo>
                  <a:pt x="31" y="65"/>
                </a:moveTo>
                <a:cubicBezTo>
                  <a:pt x="31" y="65"/>
                  <a:pt x="31" y="65"/>
                  <a:pt x="31" y="65"/>
                </a:cubicBezTo>
                <a:cubicBezTo>
                  <a:pt x="31" y="65"/>
                  <a:pt x="31" y="65"/>
                  <a:pt x="31" y="64"/>
                </a:cubicBezTo>
                <a:cubicBezTo>
                  <a:pt x="31" y="64"/>
                  <a:pt x="31" y="64"/>
                  <a:pt x="31" y="64"/>
                </a:cubicBezTo>
                <a:cubicBezTo>
                  <a:pt x="31" y="64"/>
                  <a:pt x="31" y="64"/>
                  <a:pt x="31" y="64"/>
                </a:cubicBezTo>
                <a:cubicBezTo>
                  <a:pt x="31" y="64"/>
                  <a:pt x="31" y="64"/>
                  <a:pt x="31" y="64"/>
                </a:cubicBezTo>
                <a:cubicBezTo>
                  <a:pt x="31" y="64"/>
                  <a:pt x="31" y="64"/>
                  <a:pt x="31" y="64"/>
                </a:cubicBezTo>
                <a:cubicBezTo>
                  <a:pt x="31" y="64"/>
                  <a:pt x="31" y="64"/>
                  <a:pt x="31" y="65"/>
                </a:cubicBezTo>
                <a:cubicBezTo>
                  <a:pt x="31" y="65"/>
                  <a:pt x="31" y="64"/>
                  <a:pt x="31" y="65"/>
                </a:cubicBezTo>
                <a:cubicBezTo>
                  <a:pt x="31" y="65"/>
                  <a:pt x="31" y="64"/>
                  <a:pt x="31" y="65"/>
                </a:cubicBezTo>
                <a:close/>
                <a:moveTo>
                  <a:pt x="31" y="65"/>
                </a:moveTo>
                <a:cubicBezTo>
                  <a:pt x="31" y="65"/>
                  <a:pt x="31" y="65"/>
                  <a:pt x="31" y="65"/>
                </a:cubicBezTo>
                <a:cubicBezTo>
                  <a:pt x="31" y="65"/>
                  <a:pt x="31" y="65"/>
                  <a:pt x="31" y="65"/>
                </a:cubicBezTo>
                <a:cubicBezTo>
                  <a:pt x="31" y="65"/>
                  <a:pt x="31" y="65"/>
                  <a:pt x="31" y="65"/>
                </a:cubicBezTo>
                <a:cubicBezTo>
                  <a:pt x="31" y="65"/>
                  <a:pt x="31" y="65"/>
                  <a:pt x="31" y="65"/>
                </a:cubicBezTo>
                <a:cubicBezTo>
                  <a:pt x="31" y="65"/>
                  <a:pt x="31" y="65"/>
                  <a:pt x="31" y="65"/>
                </a:cubicBezTo>
                <a:close/>
                <a:moveTo>
                  <a:pt x="31" y="65"/>
                </a:moveTo>
                <a:cubicBezTo>
                  <a:pt x="32" y="64"/>
                  <a:pt x="32" y="64"/>
                  <a:pt x="32" y="64"/>
                </a:cubicBezTo>
                <a:cubicBezTo>
                  <a:pt x="32" y="64"/>
                  <a:pt x="32" y="64"/>
                  <a:pt x="32" y="64"/>
                </a:cubicBezTo>
                <a:cubicBezTo>
                  <a:pt x="32" y="64"/>
                  <a:pt x="31" y="65"/>
                  <a:pt x="31" y="65"/>
                </a:cubicBezTo>
                <a:close/>
                <a:moveTo>
                  <a:pt x="27" y="73"/>
                </a:moveTo>
                <a:cubicBezTo>
                  <a:pt x="28" y="73"/>
                  <a:pt x="27" y="73"/>
                  <a:pt x="27" y="73"/>
                </a:cubicBezTo>
                <a:cubicBezTo>
                  <a:pt x="27" y="73"/>
                  <a:pt x="27" y="73"/>
                  <a:pt x="27" y="73"/>
                </a:cubicBezTo>
                <a:cubicBezTo>
                  <a:pt x="27" y="73"/>
                  <a:pt x="27" y="73"/>
                  <a:pt x="27" y="73"/>
                </a:cubicBezTo>
                <a:close/>
                <a:moveTo>
                  <a:pt x="28" y="71"/>
                </a:moveTo>
                <a:cubicBezTo>
                  <a:pt x="28" y="71"/>
                  <a:pt x="29" y="71"/>
                  <a:pt x="28" y="71"/>
                </a:cubicBezTo>
                <a:cubicBezTo>
                  <a:pt x="28" y="71"/>
                  <a:pt x="28" y="71"/>
                  <a:pt x="28" y="71"/>
                </a:cubicBezTo>
                <a:close/>
                <a:moveTo>
                  <a:pt x="29" y="70"/>
                </a:moveTo>
                <a:cubicBezTo>
                  <a:pt x="29" y="71"/>
                  <a:pt x="29" y="71"/>
                  <a:pt x="29" y="71"/>
                </a:cubicBezTo>
                <a:cubicBezTo>
                  <a:pt x="29" y="71"/>
                  <a:pt x="29" y="71"/>
                  <a:pt x="29" y="71"/>
                </a:cubicBezTo>
                <a:cubicBezTo>
                  <a:pt x="29" y="71"/>
                  <a:pt x="29" y="71"/>
                  <a:pt x="28" y="71"/>
                </a:cubicBezTo>
                <a:cubicBezTo>
                  <a:pt x="28" y="71"/>
                  <a:pt x="28" y="71"/>
                  <a:pt x="29" y="70"/>
                </a:cubicBezTo>
                <a:cubicBezTo>
                  <a:pt x="28" y="70"/>
                  <a:pt x="28" y="71"/>
                  <a:pt x="28" y="71"/>
                </a:cubicBezTo>
                <a:cubicBezTo>
                  <a:pt x="29" y="71"/>
                  <a:pt x="28" y="71"/>
                  <a:pt x="29" y="71"/>
                </a:cubicBezTo>
                <a:cubicBezTo>
                  <a:pt x="29" y="71"/>
                  <a:pt x="29" y="71"/>
                  <a:pt x="29" y="71"/>
                </a:cubicBezTo>
                <a:cubicBezTo>
                  <a:pt x="29" y="71"/>
                  <a:pt x="29" y="71"/>
                  <a:pt x="29" y="71"/>
                </a:cubicBezTo>
                <a:cubicBezTo>
                  <a:pt x="29" y="71"/>
                  <a:pt x="29" y="71"/>
                  <a:pt x="29" y="71"/>
                </a:cubicBezTo>
                <a:cubicBezTo>
                  <a:pt x="29" y="71"/>
                  <a:pt x="29" y="71"/>
                  <a:pt x="29" y="70"/>
                </a:cubicBezTo>
                <a:close/>
                <a:moveTo>
                  <a:pt x="30" y="69"/>
                </a:moveTo>
                <a:cubicBezTo>
                  <a:pt x="29" y="70"/>
                  <a:pt x="29" y="70"/>
                  <a:pt x="29" y="70"/>
                </a:cubicBezTo>
                <a:cubicBezTo>
                  <a:pt x="29" y="70"/>
                  <a:pt x="29" y="70"/>
                  <a:pt x="29" y="70"/>
                </a:cubicBezTo>
                <a:cubicBezTo>
                  <a:pt x="29" y="70"/>
                  <a:pt x="29" y="70"/>
                  <a:pt x="29" y="70"/>
                </a:cubicBezTo>
                <a:cubicBezTo>
                  <a:pt x="29" y="70"/>
                  <a:pt x="29" y="70"/>
                  <a:pt x="29" y="70"/>
                </a:cubicBezTo>
                <a:cubicBezTo>
                  <a:pt x="29" y="70"/>
                  <a:pt x="30" y="70"/>
                  <a:pt x="30" y="69"/>
                </a:cubicBezTo>
                <a:close/>
                <a:moveTo>
                  <a:pt x="31" y="68"/>
                </a:moveTo>
                <a:cubicBezTo>
                  <a:pt x="31" y="67"/>
                  <a:pt x="31" y="67"/>
                  <a:pt x="31" y="67"/>
                </a:cubicBezTo>
                <a:cubicBezTo>
                  <a:pt x="31" y="67"/>
                  <a:pt x="31" y="67"/>
                  <a:pt x="31" y="67"/>
                </a:cubicBezTo>
                <a:cubicBezTo>
                  <a:pt x="31" y="67"/>
                  <a:pt x="31" y="67"/>
                  <a:pt x="31" y="67"/>
                </a:cubicBezTo>
                <a:cubicBezTo>
                  <a:pt x="31" y="67"/>
                  <a:pt x="31" y="67"/>
                  <a:pt x="31" y="67"/>
                </a:cubicBezTo>
                <a:cubicBezTo>
                  <a:pt x="31" y="67"/>
                  <a:pt x="31" y="68"/>
                  <a:pt x="31" y="68"/>
                </a:cubicBezTo>
                <a:cubicBezTo>
                  <a:pt x="31" y="67"/>
                  <a:pt x="31" y="67"/>
                  <a:pt x="31" y="67"/>
                </a:cubicBezTo>
                <a:cubicBezTo>
                  <a:pt x="31" y="67"/>
                  <a:pt x="31" y="67"/>
                  <a:pt x="31" y="67"/>
                </a:cubicBezTo>
                <a:cubicBezTo>
                  <a:pt x="31" y="67"/>
                  <a:pt x="31" y="67"/>
                  <a:pt x="31" y="67"/>
                </a:cubicBezTo>
                <a:cubicBezTo>
                  <a:pt x="31" y="67"/>
                  <a:pt x="31" y="67"/>
                  <a:pt x="31" y="67"/>
                </a:cubicBezTo>
                <a:cubicBezTo>
                  <a:pt x="31" y="67"/>
                  <a:pt x="30" y="67"/>
                  <a:pt x="31" y="68"/>
                </a:cubicBezTo>
                <a:close/>
                <a:moveTo>
                  <a:pt x="30" y="68"/>
                </a:moveTo>
                <a:cubicBezTo>
                  <a:pt x="30" y="68"/>
                  <a:pt x="31" y="68"/>
                  <a:pt x="31" y="68"/>
                </a:cubicBezTo>
                <a:cubicBezTo>
                  <a:pt x="31" y="68"/>
                  <a:pt x="30" y="68"/>
                  <a:pt x="30" y="68"/>
                </a:cubicBezTo>
                <a:close/>
                <a:moveTo>
                  <a:pt x="30" y="68"/>
                </a:moveTo>
                <a:cubicBezTo>
                  <a:pt x="30" y="69"/>
                  <a:pt x="30" y="69"/>
                  <a:pt x="30" y="69"/>
                </a:cubicBezTo>
                <a:cubicBezTo>
                  <a:pt x="30" y="69"/>
                  <a:pt x="30" y="69"/>
                  <a:pt x="30" y="69"/>
                </a:cubicBezTo>
                <a:cubicBezTo>
                  <a:pt x="30" y="69"/>
                  <a:pt x="30" y="68"/>
                  <a:pt x="30" y="68"/>
                </a:cubicBezTo>
                <a:close/>
                <a:moveTo>
                  <a:pt x="30" y="71"/>
                </a:moveTo>
                <a:cubicBezTo>
                  <a:pt x="30" y="71"/>
                  <a:pt x="29" y="71"/>
                  <a:pt x="29" y="71"/>
                </a:cubicBezTo>
                <a:cubicBezTo>
                  <a:pt x="29" y="71"/>
                  <a:pt x="29" y="71"/>
                  <a:pt x="29" y="71"/>
                </a:cubicBezTo>
                <a:cubicBezTo>
                  <a:pt x="29" y="70"/>
                  <a:pt x="30" y="71"/>
                  <a:pt x="30" y="70"/>
                </a:cubicBezTo>
                <a:cubicBezTo>
                  <a:pt x="30" y="70"/>
                  <a:pt x="30" y="70"/>
                  <a:pt x="30" y="70"/>
                </a:cubicBezTo>
                <a:cubicBezTo>
                  <a:pt x="30" y="70"/>
                  <a:pt x="30" y="70"/>
                  <a:pt x="29" y="70"/>
                </a:cubicBezTo>
                <a:cubicBezTo>
                  <a:pt x="29" y="70"/>
                  <a:pt x="29" y="70"/>
                  <a:pt x="29" y="70"/>
                </a:cubicBezTo>
                <a:cubicBezTo>
                  <a:pt x="29" y="70"/>
                  <a:pt x="29" y="70"/>
                  <a:pt x="29" y="70"/>
                </a:cubicBezTo>
                <a:cubicBezTo>
                  <a:pt x="29" y="70"/>
                  <a:pt x="29" y="71"/>
                  <a:pt x="29" y="71"/>
                </a:cubicBezTo>
                <a:cubicBezTo>
                  <a:pt x="29" y="71"/>
                  <a:pt x="29" y="71"/>
                  <a:pt x="30" y="71"/>
                </a:cubicBezTo>
                <a:close/>
                <a:moveTo>
                  <a:pt x="30" y="69"/>
                </a:moveTo>
                <a:cubicBezTo>
                  <a:pt x="30" y="69"/>
                  <a:pt x="30" y="70"/>
                  <a:pt x="30" y="70"/>
                </a:cubicBezTo>
                <a:cubicBezTo>
                  <a:pt x="30" y="70"/>
                  <a:pt x="30" y="70"/>
                  <a:pt x="30" y="70"/>
                </a:cubicBezTo>
                <a:cubicBezTo>
                  <a:pt x="30" y="70"/>
                  <a:pt x="30" y="69"/>
                  <a:pt x="30" y="69"/>
                </a:cubicBezTo>
                <a:close/>
                <a:moveTo>
                  <a:pt x="30" y="70"/>
                </a:moveTo>
                <a:cubicBezTo>
                  <a:pt x="29" y="70"/>
                  <a:pt x="30" y="70"/>
                  <a:pt x="30" y="70"/>
                </a:cubicBezTo>
                <a:cubicBezTo>
                  <a:pt x="30" y="70"/>
                  <a:pt x="30" y="70"/>
                  <a:pt x="30" y="70"/>
                </a:cubicBezTo>
                <a:close/>
                <a:moveTo>
                  <a:pt x="31" y="69"/>
                </a:moveTo>
                <a:cubicBezTo>
                  <a:pt x="31" y="69"/>
                  <a:pt x="31" y="69"/>
                  <a:pt x="31" y="69"/>
                </a:cubicBezTo>
                <a:cubicBezTo>
                  <a:pt x="31" y="69"/>
                  <a:pt x="31" y="69"/>
                  <a:pt x="31" y="69"/>
                </a:cubicBezTo>
                <a:cubicBezTo>
                  <a:pt x="31" y="69"/>
                  <a:pt x="31" y="69"/>
                  <a:pt x="31" y="69"/>
                </a:cubicBezTo>
                <a:cubicBezTo>
                  <a:pt x="31" y="69"/>
                  <a:pt x="31" y="68"/>
                  <a:pt x="31" y="68"/>
                </a:cubicBezTo>
                <a:cubicBezTo>
                  <a:pt x="31" y="68"/>
                  <a:pt x="31" y="69"/>
                  <a:pt x="30" y="69"/>
                </a:cubicBezTo>
                <a:cubicBezTo>
                  <a:pt x="31" y="69"/>
                  <a:pt x="30" y="69"/>
                  <a:pt x="30" y="69"/>
                </a:cubicBezTo>
                <a:cubicBezTo>
                  <a:pt x="30" y="69"/>
                  <a:pt x="30" y="69"/>
                  <a:pt x="30" y="69"/>
                </a:cubicBezTo>
                <a:cubicBezTo>
                  <a:pt x="30" y="69"/>
                  <a:pt x="30" y="69"/>
                  <a:pt x="30" y="69"/>
                </a:cubicBezTo>
                <a:cubicBezTo>
                  <a:pt x="30" y="69"/>
                  <a:pt x="30" y="69"/>
                  <a:pt x="30" y="69"/>
                </a:cubicBezTo>
                <a:cubicBezTo>
                  <a:pt x="30" y="69"/>
                  <a:pt x="30" y="69"/>
                  <a:pt x="30" y="69"/>
                </a:cubicBezTo>
                <a:cubicBezTo>
                  <a:pt x="30" y="69"/>
                  <a:pt x="30" y="69"/>
                  <a:pt x="30" y="69"/>
                </a:cubicBezTo>
                <a:cubicBezTo>
                  <a:pt x="30" y="69"/>
                  <a:pt x="30" y="70"/>
                  <a:pt x="30" y="69"/>
                </a:cubicBezTo>
                <a:cubicBezTo>
                  <a:pt x="30" y="69"/>
                  <a:pt x="30" y="69"/>
                  <a:pt x="31" y="69"/>
                </a:cubicBezTo>
                <a:cubicBezTo>
                  <a:pt x="31" y="69"/>
                  <a:pt x="30" y="69"/>
                  <a:pt x="31" y="69"/>
                </a:cubicBezTo>
                <a:close/>
                <a:moveTo>
                  <a:pt x="31" y="68"/>
                </a:moveTo>
                <a:cubicBezTo>
                  <a:pt x="31" y="68"/>
                  <a:pt x="31" y="68"/>
                  <a:pt x="31" y="68"/>
                </a:cubicBezTo>
                <a:cubicBezTo>
                  <a:pt x="31" y="68"/>
                  <a:pt x="31" y="68"/>
                  <a:pt x="31" y="68"/>
                </a:cubicBezTo>
                <a:cubicBezTo>
                  <a:pt x="31" y="68"/>
                  <a:pt x="32" y="68"/>
                  <a:pt x="32" y="68"/>
                </a:cubicBezTo>
                <a:cubicBezTo>
                  <a:pt x="31" y="68"/>
                  <a:pt x="32" y="67"/>
                  <a:pt x="32" y="67"/>
                </a:cubicBezTo>
                <a:cubicBezTo>
                  <a:pt x="31" y="67"/>
                  <a:pt x="31" y="67"/>
                  <a:pt x="31" y="68"/>
                </a:cubicBezTo>
                <a:cubicBezTo>
                  <a:pt x="31" y="68"/>
                  <a:pt x="31" y="68"/>
                  <a:pt x="31" y="68"/>
                </a:cubicBezTo>
                <a:cubicBezTo>
                  <a:pt x="31" y="68"/>
                  <a:pt x="31" y="68"/>
                  <a:pt x="31" y="68"/>
                </a:cubicBezTo>
                <a:close/>
                <a:moveTo>
                  <a:pt x="32" y="66"/>
                </a:moveTo>
                <a:cubicBezTo>
                  <a:pt x="32" y="66"/>
                  <a:pt x="32" y="67"/>
                  <a:pt x="32" y="67"/>
                </a:cubicBezTo>
                <a:cubicBezTo>
                  <a:pt x="32" y="67"/>
                  <a:pt x="32" y="66"/>
                  <a:pt x="32" y="66"/>
                </a:cubicBezTo>
                <a:close/>
                <a:moveTo>
                  <a:pt x="32" y="66"/>
                </a:moveTo>
                <a:cubicBezTo>
                  <a:pt x="33" y="66"/>
                  <a:pt x="32" y="66"/>
                  <a:pt x="32" y="66"/>
                </a:cubicBezTo>
                <a:cubicBezTo>
                  <a:pt x="32" y="66"/>
                  <a:pt x="33" y="65"/>
                  <a:pt x="33" y="65"/>
                </a:cubicBezTo>
                <a:cubicBezTo>
                  <a:pt x="32" y="65"/>
                  <a:pt x="32" y="65"/>
                  <a:pt x="32" y="66"/>
                </a:cubicBezTo>
                <a:close/>
                <a:moveTo>
                  <a:pt x="33" y="65"/>
                </a:moveTo>
                <a:cubicBezTo>
                  <a:pt x="33" y="65"/>
                  <a:pt x="33" y="65"/>
                  <a:pt x="33" y="64"/>
                </a:cubicBezTo>
                <a:cubicBezTo>
                  <a:pt x="33" y="65"/>
                  <a:pt x="33" y="65"/>
                  <a:pt x="33" y="65"/>
                </a:cubicBezTo>
                <a:cubicBezTo>
                  <a:pt x="33" y="65"/>
                  <a:pt x="33" y="65"/>
                  <a:pt x="33" y="65"/>
                </a:cubicBezTo>
                <a:close/>
                <a:moveTo>
                  <a:pt x="31" y="70"/>
                </a:moveTo>
                <a:cubicBezTo>
                  <a:pt x="31" y="70"/>
                  <a:pt x="31" y="70"/>
                  <a:pt x="31" y="69"/>
                </a:cubicBezTo>
                <a:cubicBezTo>
                  <a:pt x="31" y="70"/>
                  <a:pt x="30" y="70"/>
                  <a:pt x="30" y="69"/>
                </a:cubicBezTo>
                <a:cubicBezTo>
                  <a:pt x="30" y="70"/>
                  <a:pt x="30" y="70"/>
                  <a:pt x="30" y="70"/>
                </a:cubicBezTo>
                <a:cubicBezTo>
                  <a:pt x="30" y="70"/>
                  <a:pt x="30" y="69"/>
                  <a:pt x="31" y="70"/>
                </a:cubicBezTo>
                <a:close/>
                <a:moveTo>
                  <a:pt x="31" y="68"/>
                </a:moveTo>
                <a:cubicBezTo>
                  <a:pt x="31" y="69"/>
                  <a:pt x="31" y="69"/>
                  <a:pt x="31" y="69"/>
                </a:cubicBezTo>
                <a:cubicBezTo>
                  <a:pt x="31" y="69"/>
                  <a:pt x="31" y="69"/>
                  <a:pt x="31" y="69"/>
                </a:cubicBezTo>
                <a:cubicBezTo>
                  <a:pt x="31" y="69"/>
                  <a:pt x="31" y="69"/>
                  <a:pt x="31" y="69"/>
                </a:cubicBezTo>
                <a:cubicBezTo>
                  <a:pt x="31" y="69"/>
                  <a:pt x="31" y="69"/>
                  <a:pt x="31" y="70"/>
                </a:cubicBezTo>
                <a:cubicBezTo>
                  <a:pt x="31" y="70"/>
                  <a:pt x="31" y="69"/>
                  <a:pt x="31" y="69"/>
                </a:cubicBezTo>
                <a:cubicBezTo>
                  <a:pt x="31" y="69"/>
                  <a:pt x="32" y="69"/>
                  <a:pt x="32" y="69"/>
                </a:cubicBezTo>
                <a:cubicBezTo>
                  <a:pt x="32" y="69"/>
                  <a:pt x="32" y="69"/>
                  <a:pt x="31" y="69"/>
                </a:cubicBezTo>
                <a:cubicBezTo>
                  <a:pt x="31" y="69"/>
                  <a:pt x="32" y="68"/>
                  <a:pt x="32" y="68"/>
                </a:cubicBezTo>
                <a:cubicBezTo>
                  <a:pt x="32" y="68"/>
                  <a:pt x="32" y="68"/>
                  <a:pt x="32" y="68"/>
                </a:cubicBezTo>
                <a:cubicBezTo>
                  <a:pt x="31" y="68"/>
                  <a:pt x="32" y="68"/>
                  <a:pt x="31" y="68"/>
                </a:cubicBezTo>
                <a:cubicBezTo>
                  <a:pt x="31" y="68"/>
                  <a:pt x="31" y="68"/>
                  <a:pt x="31" y="68"/>
                </a:cubicBezTo>
                <a:cubicBezTo>
                  <a:pt x="31" y="68"/>
                  <a:pt x="31" y="68"/>
                  <a:pt x="31" y="68"/>
                </a:cubicBezTo>
                <a:close/>
                <a:moveTo>
                  <a:pt x="30" y="72"/>
                </a:moveTo>
                <a:cubicBezTo>
                  <a:pt x="30" y="72"/>
                  <a:pt x="30" y="72"/>
                  <a:pt x="29" y="73"/>
                </a:cubicBezTo>
                <a:cubicBezTo>
                  <a:pt x="30" y="73"/>
                  <a:pt x="30" y="73"/>
                  <a:pt x="30" y="72"/>
                </a:cubicBezTo>
                <a:cubicBezTo>
                  <a:pt x="30" y="72"/>
                  <a:pt x="30" y="72"/>
                  <a:pt x="30" y="72"/>
                </a:cubicBezTo>
                <a:close/>
                <a:moveTo>
                  <a:pt x="30" y="72"/>
                </a:moveTo>
                <a:cubicBezTo>
                  <a:pt x="30" y="72"/>
                  <a:pt x="30" y="72"/>
                  <a:pt x="30" y="72"/>
                </a:cubicBezTo>
                <a:cubicBezTo>
                  <a:pt x="30" y="72"/>
                  <a:pt x="30" y="72"/>
                  <a:pt x="30" y="72"/>
                </a:cubicBezTo>
                <a:cubicBezTo>
                  <a:pt x="30" y="72"/>
                  <a:pt x="30" y="72"/>
                  <a:pt x="30" y="72"/>
                </a:cubicBezTo>
                <a:close/>
                <a:moveTo>
                  <a:pt x="30" y="71"/>
                </a:moveTo>
                <a:cubicBezTo>
                  <a:pt x="30" y="71"/>
                  <a:pt x="30" y="71"/>
                  <a:pt x="30" y="71"/>
                </a:cubicBezTo>
                <a:cubicBezTo>
                  <a:pt x="30" y="71"/>
                  <a:pt x="30" y="71"/>
                  <a:pt x="30" y="71"/>
                </a:cubicBezTo>
                <a:cubicBezTo>
                  <a:pt x="30" y="71"/>
                  <a:pt x="30" y="71"/>
                  <a:pt x="30" y="71"/>
                </a:cubicBezTo>
                <a:close/>
                <a:moveTo>
                  <a:pt x="30" y="71"/>
                </a:moveTo>
                <a:cubicBezTo>
                  <a:pt x="30" y="71"/>
                  <a:pt x="30" y="71"/>
                  <a:pt x="30" y="72"/>
                </a:cubicBezTo>
                <a:cubicBezTo>
                  <a:pt x="30" y="71"/>
                  <a:pt x="30" y="71"/>
                  <a:pt x="30" y="71"/>
                </a:cubicBezTo>
                <a:close/>
                <a:moveTo>
                  <a:pt x="29" y="73"/>
                </a:moveTo>
                <a:cubicBezTo>
                  <a:pt x="29" y="73"/>
                  <a:pt x="29" y="73"/>
                  <a:pt x="29" y="73"/>
                </a:cubicBezTo>
                <a:cubicBezTo>
                  <a:pt x="29" y="73"/>
                  <a:pt x="29" y="73"/>
                  <a:pt x="29" y="73"/>
                </a:cubicBezTo>
                <a:cubicBezTo>
                  <a:pt x="29" y="73"/>
                  <a:pt x="28" y="73"/>
                  <a:pt x="29" y="73"/>
                </a:cubicBezTo>
                <a:close/>
                <a:moveTo>
                  <a:pt x="29" y="72"/>
                </a:moveTo>
                <a:cubicBezTo>
                  <a:pt x="29" y="72"/>
                  <a:pt x="29" y="72"/>
                  <a:pt x="29" y="72"/>
                </a:cubicBezTo>
                <a:cubicBezTo>
                  <a:pt x="29" y="72"/>
                  <a:pt x="29" y="72"/>
                  <a:pt x="29" y="72"/>
                </a:cubicBezTo>
                <a:close/>
                <a:moveTo>
                  <a:pt x="29" y="73"/>
                </a:moveTo>
                <a:cubicBezTo>
                  <a:pt x="29" y="73"/>
                  <a:pt x="29" y="73"/>
                  <a:pt x="29" y="73"/>
                </a:cubicBezTo>
                <a:cubicBezTo>
                  <a:pt x="29" y="73"/>
                  <a:pt x="29" y="73"/>
                  <a:pt x="29" y="73"/>
                </a:cubicBezTo>
                <a:close/>
                <a:moveTo>
                  <a:pt x="30" y="71"/>
                </a:moveTo>
                <a:cubicBezTo>
                  <a:pt x="30" y="71"/>
                  <a:pt x="30" y="71"/>
                  <a:pt x="30" y="71"/>
                </a:cubicBezTo>
                <a:cubicBezTo>
                  <a:pt x="30" y="71"/>
                  <a:pt x="30" y="71"/>
                  <a:pt x="30" y="71"/>
                </a:cubicBezTo>
                <a:cubicBezTo>
                  <a:pt x="30" y="71"/>
                  <a:pt x="30" y="71"/>
                  <a:pt x="30" y="71"/>
                </a:cubicBezTo>
                <a:cubicBezTo>
                  <a:pt x="30" y="71"/>
                  <a:pt x="30" y="71"/>
                  <a:pt x="30" y="71"/>
                </a:cubicBezTo>
                <a:close/>
                <a:moveTo>
                  <a:pt x="29" y="74"/>
                </a:moveTo>
                <a:cubicBezTo>
                  <a:pt x="28" y="74"/>
                  <a:pt x="28" y="73"/>
                  <a:pt x="28" y="73"/>
                </a:cubicBezTo>
                <a:cubicBezTo>
                  <a:pt x="28" y="74"/>
                  <a:pt x="29" y="74"/>
                  <a:pt x="28" y="74"/>
                </a:cubicBezTo>
                <a:cubicBezTo>
                  <a:pt x="28" y="74"/>
                  <a:pt x="28" y="74"/>
                  <a:pt x="29" y="74"/>
                </a:cubicBezTo>
                <a:close/>
                <a:moveTo>
                  <a:pt x="28" y="75"/>
                </a:moveTo>
                <a:cubicBezTo>
                  <a:pt x="28" y="75"/>
                  <a:pt x="29" y="74"/>
                  <a:pt x="28" y="74"/>
                </a:cubicBezTo>
                <a:cubicBezTo>
                  <a:pt x="28" y="74"/>
                  <a:pt x="28" y="74"/>
                  <a:pt x="28" y="74"/>
                </a:cubicBezTo>
                <a:cubicBezTo>
                  <a:pt x="28" y="74"/>
                  <a:pt x="28" y="74"/>
                  <a:pt x="28" y="74"/>
                </a:cubicBezTo>
                <a:cubicBezTo>
                  <a:pt x="28" y="74"/>
                  <a:pt x="28" y="74"/>
                  <a:pt x="28" y="75"/>
                </a:cubicBezTo>
                <a:cubicBezTo>
                  <a:pt x="28" y="75"/>
                  <a:pt x="28" y="75"/>
                  <a:pt x="28" y="75"/>
                </a:cubicBezTo>
                <a:close/>
                <a:moveTo>
                  <a:pt x="28" y="75"/>
                </a:moveTo>
                <a:cubicBezTo>
                  <a:pt x="28" y="75"/>
                  <a:pt x="28" y="76"/>
                  <a:pt x="28" y="76"/>
                </a:cubicBezTo>
                <a:cubicBezTo>
                  <a:pt x="28" y="75"/>
                  <a:pt x="28" y="76"/>
                  <a:pt x="28" y="75"/>
                </a:cubicBezTo>
                <a:close/>
                <a:moveTo>
                  <a:pt x="30" y="73"/>
                </a:moveTo>
                <a:cubicBezTo>
                  <a:pt x="30" y="73"/>
                  <a:pt x="30" y="73"/>
                  <a:pt x="30" y="73"/>
                </a:cubicBezTo>
                <a:cubicBezTo>
                  <a:pt x="29" y="73"/>
                  <a:pt x="29" y="73"/>
                  <a:pt x="29" y="73"/>
                </a:cubicBezTo>
                <a:cubicBezTo>
                  <a:pt x="29" y="73"/>
                  <a:pt x="29" y="73"/>
                  <a:pt x="29" y="73"/>
                </a:cubicBezTo>
                <a:cubicBezTo>
                  <a:pt x="29" y="73"/>
                  <a:pt x="29" y="74"/>
                  <a:pt x="29" y="74"/>
                </a:cubicBezTo>
                <a:cubicBezTo>
                  <a:pt x="29" y="73"/>
                  <a:pt x="29" y="73"/>
                  <a:pt x="30" y="73"/>
                </a:cubicBezTo>
                <a:close/>
                <a:moveTo>
                  <a:pt x="30" y="74"/>
                </a:moveTo>
                <a:cubicBezTo>
                  <a:pt x="30" y="74"/>
                  <a:pt x="30" y="74"/>
                  <a:pt x="30" y="74"/>
                </a:cubicBezTo>
                <a:cubicBezTo>
                  <a:pt x="30" y="74"/>
                  <a:pt x="29" y="74"/>
                  <a:pt x="29" y="74"/>
                </a:cubicBezTo>
                <a:cubicBezTo>
                  <a:pt x="29" y="74"/>
                  <a:pt x="30" y="74"/>
                  <a:pt x="30" y="74"/>
                </a:cubicBezTo>
                <a:close/>
                <a:moveTo>
                  <a:pt x="30" y="74"/>
                </a:moveTo>
                <a:cubicBezTo>
                  <a:pt x="30" y="74"/>
                  <a:pt x="29" y="74"/>
                  <a:pt x="29" y="75"/>
                </a:cubicBezTo>
                <a:cubicBezTo>
                  <a:pt x="30" y="74"/>
                  <a:pt x="30" y="74"/>
                  <a:pt x="30" y="74"/>
                </a:cubicBezTo>
                <a:close/>
                <a:moveTo>
                  <a:pt x="30" y="75"/>
                </a:moveTo>
                <a:cubicBezTo>
                  <a:pt x="30" y="75"/>
                  <a:pt x="29" y="75"/>
                  <a:pt x="30" y="75"/>
                </a:cubicBezTo>
                <a:cubicBezTo>
                  <a:pt x="30" y="75"/>
                  <a:pt x="30" y="75"/>
                  <a:pt x="30" y="75"/>
                </a:cubicBezTo>
                <a:close/>
                <a:moveTo>
                  <a:pt x="29" y="76"/>
                </a:moveTo>
                <a:cubicBezTo>
                  <a:pt x="29" y="76"/>
                  <a:pt x="29" y="76"/>
                  <a:pt x="29" y="76"/>
                </a:cubicBezTo>
                <a:cubicBezTo>
                  <a:pt x="29" y="76"/>
                  <a:pt x="29" y="77"/>
                  <a:pt x="29" y="77"/>
                </a:cubicBezTo>
                <a:cubicBezTo>
                  <a:pt x="29" y="76"/>
                  <a:pt x="29" y="77"/>
                  <a:pt x="29" y="76"/>
                </a:cubicBezTo>
                <a:close/>
                <a:moveTo>
                  <a:pt x="29" y="76"/>
                </a:moveTo>
                <a:cubicBezTo>
                  <a:pt x="29" y="76"/>
                  <a:pt x="29" y="76"/>
                  <a:pt x="29" y="76"/>
                </a:cubicBezTo>
                <a:cubicBezTo>
                  <a:pt x="29" y="76"/>
                  <a:pt x="29" y="76"/>
                  <a:pt x="29" y="76"/>
                </a:cubicBezTo>
                <a:close/>
                <a:moveTo>
                  <a:pt x="29" y="75"/>
                </a:moveTo>
                <a:cubicBezTo>
                  <a:pt x="29" y="75"/>
                  <a:pt x="29" y="75"/>
                  <a:pt x="29" y="75"/>
                </a:cubicBezTo>
                <a:cubicBezTo>
                  <a:pt x="29" y="76"/>
                  <a:pt x="29" y="76"/>
                  <a:pt x="29" y="76"/>
                </a:cubicBezTo>
                <a:cubicBezTo>
                  <a:pt x="29" y="76"/>
                  <a:pt x="29" y="76"/>
                  <a:pt x="29" y="76"/>
                </a:cubicBezTo>
                <a:cubicBezTo>
                  <a:pt x="29" y="76"/>
                  <a:pt x="29" y="76"/>
                  <a:pt x="30" y="76"/>
                </a:cubicBezTo>
                <a:cubicBezTo>
                  <a:pt x="30" y="76"/>
                  <a:pt x="29" y="76"/>
                  <a:pt x="29" y="76"/>
                </a:cubicBezTo>
                <a:cubicBezTo>
                  <a:pt x="29" y="76"/>
                  <a:pt x="29" y="75"/>
                  <a:pt x="29" y="75"/>
                </a:cubicBezTo>
                <a:close/>
                <a:moveTo>
                  <a:pt x="30" y="73"/>
                </a:moveTo>
                <a:cubicBezTo>
                  <a:pt x="30" y="74"/>
                  <a:pt x="30" y="74"/>
                  <a:pt x="30" y="74"/>
                </a:cubicBezTo>
                <a:cubicBezTo>
                  <a:pt x="30" y="74"/>
                  <a:pt x="30" y="74"/>
                  <a:pt x="30" y="74"/>
                </a:cubicBezTo>
                <a:cubicBezTo>
                  <a:pt x="30" y="74"/>
                  <a:pt x="30" y="74"/>
                  <a:pt x="30" y="74"/>
                </a:cubicBezTo>
                <a:lnTo>
                  <a:pt x="30" y="73"/>
                </a:lnTo>
                <a:close/>
                <a:moveTo>
                  <a:pt x="30" y="73"/>
                </a:moveTo>
                <a:cubicBezTo>
                  <a:pt x="30" y="73"/>
                  <a:pt x="30" y="73"/>
                  <a:pt x="30" y="73"/>
                </a:cubicBezTo>
                <a:cubicBezTo>
                  <a:pt x="30" y="73"/>
                  <a:pt x="30" y="72"/>
                  <a:pt x="30" y="72"/>
                </a:cubicBezTo>
                <a:cubicBezTo>
                  <a:pt x="30" y="72"/>
                  <a:pt x="30" y="73"/>
                  <a:pt x="30" y="73"/>
                </a:cubicBezTo>
                <a:cubicBezTo>
                  <a:pt x="30" y="73"/>
                  <a:pt x="30" y="73"/>
                  <a:pt x="30" y="73"/>
                </a:cubicBezTo>
                <a:cubicBezTo>
                  <a:pt x="30" y="73"/>
                  <a:pt x="29" y="73"/>
                  <a:pt x="30" y="73"/>
                </a:cubicBezTo>
                <a:cubicBezTo>
                  <a:pt x="30" y="73"/>
                  <a:pt x="30" y="73"/>
                  <a:pt x="30" y="73"/>
                </a:cubicBezTo>
                <a:cubicBezTo>
                  <a:pt x="30" y="73"/>
                  <a:pt x="30" y="73"/>
                  <a:pt x="30" y="73"/>
                </a:cubicBezTo>
                <a:cubicBezTo>
                  <a:pt x="29" y="73"/>
                  <a:pt x="29" y="73"/>
                  <a:pt x="29" y="74"/>
                </a:cubicBezTo>
                <a:cubicBezTo>
                  <a:pt x="29" y="74"/>
                  <a:pt x="29" y="74"/>
                  <a:pt x="29" y="74"/>
                </a:cubicBezTo>
                <a:cubicBezTo>
                  <a:pt x="30" y="74"/>
                  <a:pt x="30" y="73"/>
                  <a:pt x="30" y="73"/>
                </a:cubicBezTo>
                <a:cubicBezTo>
                  <a:pt x="30" y="73"/>
                  <a:pt x="30" y="73"/>
                  <a:pt x="30" y="73"/>
                </a:cubicBezTo>
                <a:cubicBezTo>
                  <a:pt x="30" y="73"/>
                  <a:pt x="31" y="73"/>
                  <a:pt x="31" y="72"/>
                </a:cubicBezTo>
                <a:cubicBezTo>
                  <a:pt x="31" y="72"/>
                  <a:pt x="31" y="72"/>
                  <a:pt x="31" y="72"/>
                </a:cubicBezTo>
                <a:cubicBezTo>
                  <a:pt x="31" y="72"/>
                  <a:pt x="31" y="72"/>
                  <a:pt x="31" y="72"/>
                </a:cubicBezTo>
                <a:cubicBezTo>
                  <a:pt x="30" y="72"/>
                  <a:pt x="30" y="72"/>
                  <a:pt x="30" y="73"/>
                </a:cubicBezTo>
                <a:close/>
                <a:moveTo>
                  <a:pt x="31" y="72"/>
                </a:moveTo>
                <a:cubicBezTo>
                  <a:pt x="30" y="72"/>
                  <a:pt x="30" y="72"/>
                  <a:pt x="30" y="72"/>
                </a:cubicBezTo>
                <a:cubicBezTo>
                  <a:pt x="30" y="71"/>
                  <a:pt x="30" y="72"/>
                  <a:pt x="30" y="72"/>
                </a:cubicBezTo>
                <a:cubicBezTo>
                  <a:pt x="30" y="72"/>
                  <a:pt x="30" y="72"/>
                  <a:pt x="30" y="72"/>
                </a:cubicBezTo>
                <a:cubicBezTo>
                  <a:pt x="30" y="72"/>
                  <a:pt x="30" y="72"/>
                  <a:pt x="30" y="72"/>
                </a:cubicBezTo>
                <a:cubicBezTo>
                  <a:pt x="30" y="72"/>
                  <a:pt x="30" y="72"/>
                  <a:pt x="30" y="72"/>
                </a:cubicBezTo>
                <a:cubicBezTo>
                  <a:pt x="31" y="72"/>
                  <a:pt x="31" y="72"/>
                  <a:pt x="31" y="72"/>
                </a:cubicBezTo>
                <a:cubicBezTo>
                  <a:pt x="30" y="72"/>
                  <a:pt x="31" y="72"/>
                  <a:pt x="31" y="72"/>
                </a:cubicBezTo>
                <a:close/>
                <a:moveTo>
                  <a:pt x="31" y="71"/>
                </a:moveTo>
                <a:cubicBezTo>
                  <a:pt x="31" y="71"/>
                  <a:pt x="31" y="71"/>
                  <a:pt x="31" y="71"/>
                </a:cubicBezTo>
                <a:cubicBezTo>
                  <a:pt x="31" y="71"/>
                  <a:pt x="30" y="71"/>
                  <a:pt x="31" y="71"/>
                </a:cubicBezTo>
                <a:close/>
                <a:moveTo>
                  <a:pt x="31" y="71"/>
                </a:moveTo>
                <a:cubicBezTo>
                  <a:pt x="31" y="71"/>
                  <a:pt x="31" y="71"/>
                  <a:pt x="31" y="71"/>
                </a:cubicBezTo>
                <a:cubicBezTo>
                  <a:pt x="31" y="71"/>
                  <a:pt x="31" y="72"/>
                  <a:pt x="31" y="72"/>
                </a:cubicBezTo>
                <a:cubicBezTo>
                  <a:pt x="31" y="72"/>
                  <a:pt x="31" y="72"/>
                  <a:pt x="31" y="72"/>
                </a:cubicBezTo>
                <a:cubicBezTo>
                  <a:pt x="31" y="71"/>
                  <a:pt x="31" y="71"/>
                  <a:pt x="31" y="71"/>
                </a:cubicBezTo>
                <a:close/>
                <a:moveTo>
                  <a:pt x="32" y="69"/>
                </a:moveTo>
                <a:cubicBezTo>
                  <a:pt x="32" y="69"/>
                  <a:pt x="32" y="69"/>
                  <a:pt x="32" y="69"/>
                </a:cubicBezTo>
                <a:cubicBezTo>
                  <a:pt x="32" y="70"/>
                  <a:pt x="32" y="69"/>
                  <a:pt x="32" y="69"/>
                </a:cubicBezTo>
                <a:close/>
                <a:moveTo>
                  <a:pt x="33" y="69"/>
                </a:moveTo>
                <a:cubicBezTo>
                  <a:pt x="33" y="69"/>
                  <a:pt x="33" y="69"/>
                  <a:pt x="33" y="69"/>
                </a:cubicBezTo>
                <a:cubicBezTo>
                  <a:pt x="33" y="69"/>
                  <a:pt x="33" y="69"/>
                  <a:pt x="33" y="69"/>
                </a:cubicBezTo>
                <a:cubicBezTo>
                  <a:pt x="32" y="69"/>
                  <a:pt x="33" y="69"/>
                  <a:pt x="33" y="69"/>
                </a:cubicBezTo>
                <a:cubicBezTo>
                  <a:pt x="33" y="69"/>
                  <a:pt x="32" y="69"/>
                  <a:pt x="32" y="69"/>
                </a:cubicBezTo>
                <a:cubicBezTo>
                  <a:pt x="33" y="69"/>
                  <a:pt x="32" y="69"/>
                  <a:pt x="33" y="69"/>
                </a:cubicBezTo>
                <a:close/>
                <a:moveTo>
                  <a:pt x="33" y="68"/>
                </a:moveTo>
                <a:cubicBezTo>
                  <a:pt x="33" y="68"/>
                  <a:pt x="33" y="68"/>
                  <a:pt x="33" y="69"/>
                </a:cubicBezTo>
                <a:cubicBezTo>
                  <a:pt x="33" y="68"/>
                  <a:pt x="33" y="69"/>
                  <a:pt x="33" y="69"/>
                </a:cubicBezTo>
                <a:cubicBezTo>
                  <a:pt x="33" y="69"/>
                  <a:pt x="33" y="69"/>
                  <a:pt x="32" y="69"/>
                </a:cubicBezTo>
                <a:cubicBezTo>
                  <a:pt x="32" y="69"/>
                  <a:pt x="32" y="69"/>
                  <a:pt x="32" y="69"/>
                </a:cubicBezTo>
                <a:cubicBezTo>
                  <a:pt x="33" y="70"/>
                  <a:pt x="33" y="69"/>
                  <a:pt x="33" y="69"/>
                </a:cubicBezTo>
                <a:cubicBezTo>
                  <a:pt x="33" y="69"/>
                  <a:pt x="33" y="70"/>
                  <a:pt x="33" y="70"/>
                </a:cubicBezTo>
                <a:cubicBezTo>
                  <a:pt x="33" y="69"/>
                  <a:pt x="33" y="69"/>
                  <a:pt x="33" y="69"/>
                </a:cubicBezTo>
                <a:cubicBezTo>
                  <a:pt x="33" y="69"/>
                  <a:pt x="33" y="69"/>
                  <a:pt x="33" y="69"/>
                </a:cubicBezTo>
                <a:cubicBezTo>
                  <a:pt x="33" y="69"/>
                  <a:pt x="33" y="69"/>
                  <a:pt x="33" y="69"/>
                </a:cubicBezTo>
                <a:cubicBezTo>
                  <a:pt x="33" y="69"/>
                  <a:pt x="33" y="69"/>
                  <a:pt x="33" y="69"/>
                </a:cubicBezTo>
                <a:cubicBezTo>
                  <a:pt x="33" y="69"/>
                  <a:pt x="33" y="69"/>
                  <a:pt x="33" y="69"/>
                </a:cubicBezTo>
                <a:cubicBezTo>
                  <a:pt x="33" y="69"/>
                  <a:pt x="33" y="68"/>
                  <a:pt x="33" y="68"/>
                </a:cubicBezTo>
                <a:cubicBezTo>
                  <a:pt x="33" y="69"/>
                  <a:pt x="33" y="69"/>
                  <a:pt x="33" y="69"/>
                </a:cubicBezTo>
                <a:cubicBezTo>
                  <a:pt x="33" y="69"/>
                  <a:pt x="33" y="69"/>
                  <a:pt x="33" y="69"/>
                </a:cubicBezTo>
                <a:cubicBezTo>
                  <a:pt x="33" y="69"/>
                  <a:pt x="33" y="68"/>
                  <a:pt x="33" y="68"/>
                </a:cubicBezTo>
                <a:close/>
                <a:moveTo>
                  <a:pt x="33" y="68"/>
                </a:moveTo>
                <a:cubicBezTo>
                  <a:pt x="33" y="68"/>
                  <a:pt x="33" y="68"/>
                  <a:pt x="33" y="69"/>
                </a:cubicBezTo>
                <a:cubicBezTo>
                  <a:pt x="33" y="68"/>
                  <a:pt x="33" y="68"/>
                  <a:pt x="33" y="68"/>
                </a:cubicBezTo>
                <a:close/>
                <a:moveTo>
                  <a:pt x="32" y="68"/>
                </a:moveTo>
                <a:cubicBezTo>
                  <a:pt x="33" y="68"/>
                  <a:pt x="33" y="68"/>
                  <a:pt x="33" y="68"/>
                </a:cubicBezTo>
                <a:cubicBezTo>
                  <a:pt x="33" y="68"/>
                  <a:pt x="33" y="68"/>
                  <a:pt x="33" y="68"/>
                </a:cubicBezTo>
                <a:cubicBezTo>
                  <a:pt x="33" y="68"/>
                  <a:pt x="33" y="68"/>
                  <a:pt x="33" y="68"/>
                </a:cubicBezTo>
                <a:cubicBezTo>
                  <a:pt x="33" y="68"/>
                  <a:pt x="32" y="68"/>
                  <a:pt x="32" y="68"/>
                </a:cubicBezTo>
                <a:close/>
                <a:moveTo>
                  <a:pt x="32" y="68"/>
                </a:moveTo>
                <a:cubicBezTo>
                  <a:pt x="32" y="68"/>
                  <a:pt x="32" y="68"/>
                  <a:pt x="32" y="68"/>
                </a:cubicBezTo>
                <a:cubicBezTo>
                  <a:pt x="32" y="68"/>
                  <a:pt x="32" y="68"/>
                  <a:pt x="32" y="68"/>
                </a:cubicBezTo>
                <a:cubicBezTo>
                  <a:pt x="32" y="68"/>
                  <a:pt x="32" y="68"/>
                  <a:pt x="32" y="67"/>
                </a:cubicBezTo>
                <a:cubicBezTo>
                  <a:pt x="32" y="68"/>
                  <a:pt x="33" y="67"/>
                  <a:pt x="32" y="67"/>
                </a:cubicBezTo>
                <a:cubicBezTo>
                  <a:pt x="33" y="67"/>
                  <a:pt x="33" y="67"/>
                  <a:pt x="33" y="67"/>
                </a:cubicBezTo>
                <a:cubicBezTo>
                  <a:pt x="33" y="67"/>
                  <a:pt x="33" y="67"/>
                  <a:pt x="32" y="67"/>
                </a:cubicBezTo>
                <a:cubicBezTo>
                  <a:pt x="32" y="67"/>
                  <a:pt x="32" y="67"/>
                  <a:pt x="32" y="67"/>
                </a:cubicBezTo>
                <a:cubicBezTo>
                  <a:pt x="32" y="67"/>
                  <a:pt x="32" y="67"/>
                  <a:pt x="32" y="67"/>
                </a:cubicBezTo>
                <a:cubicBezTo>
                  <a:pt x="32" y="67"/>
                  <a:pt x="32" y="67"/>
                  <a:pt x="32" y="67"/>
                </a:cubicBezTo>
                <a:cubicBezTo>
                  <a:pt x="32" y="67"/>
                  <a:pt x="32" y="67"/>
                  <a:pt x="32" y="67"/>
                </a:cubicBezTo>
                <a:cubicBezTo>
                  <a:pt x="32" y="67"/>
                  <a:pt x="32" y="67"/>
                  <a:pt x="32" y="67"/>
                </a:cubicBezTo>
                <a:cubicBezTo>
                  <a:pt x="32" y="67"/>
                  <a:pt x="31" y="67"/>
                  <a:pt x="32" y="68"/>
                </a:cubicBezTo>
                <a:cubicBezTo>
                  <a:pt x="32" y="67"/>
                  <a:pt x="32" y="67"/>
                  <a:pt x="32" y="67"/>
                </a:cubicBezTo>
                <a:cubicBezTo>
                  <a:pt x="32" y="68"/>
                  <a:pt x="32" y="68"/>
                  <a:pt x="32" y="68"/>
                </a:cubicBezTo>
                <a:cubicBezTo>
                  <a:pt x="32" y="68"/>
                  <a:pt x="32" y="68"/>
                  <a:pt x="32" y="68"/>
                </a:cubicBezTo>
                <a:cubicBezTo>
                  <a:pt x="32" y="68"/>
                  <a:pt x="32" y="68"/>
                  <a:pt x="32" y="68"/>
                </a:cubicBezTo>
                <a:cubicBezTo>
                  <a:pt x="32" y="68"/>
                  <a:pt x="32" y="68"/>
                  <a:pt x="32" y="68"/>
                </a:cubicBezTo>
                <a:cubicBezTo>
                  <a:pt x="32" y="68"/>
                  <a:pt x="32" y="68"/>
                  <a:pt x="32" y="68"/>
                </a:cubicBezTo>
                <a:cubicBezTo>
                  <a:pt x="32" y="68"/>
                  <a:pt x="32" y="68"/>
                  <a:pt x="32" y="68"/>
                </a:cubicBezTo>
                <a:cubicBezTo>
                  <a:pt x="32" y="68"/>
                  <a:pt x="32" y="69"/>
                  <a:pt x="32" y="69"/>
                </a:cubicBezTo>
                <a:cubicBezTo>
                  <a:pt x="32" y="69"/>
                  <a:pt x="32" y="69"/>
                  <a:pt x="32" y="69"/>
                </a:cubicBezTo>
                <a:cubicBezTo>
                  <a:pt x="32" y="69"/>
                  <a:pt x="32" y="69"/>
                  <a:pt x="32" y="69"/>
                </a:cubicBezTo>
                <a:cubicBezTo>
                  <a:pt x="32" y="69"/>
                  <a:pt x="32" y="68"/>
                  <a:pt x="32" y="68"/>
                </a:cubicBezTo>
                <a:cubicBezTo>
                  <a:pt x="32" y="69"/>
                  <a:pt x="32" y="69"/>
                  <a:pt x="32" y="69"/>
                </a:cubicBezTo>
                <a:cubicBezTo>
                  <a:pt x="32" y="69"/>
                  <a:pt x="32" y="69"/>
                  <a:pt x="32" y="69"/>
                </a:cubicBezTo>
                <a:cubicBezTo>
                  <a:pt x="32" y="69"/>
                  <a:pt x="31" y="70"/>
                  <a:pt x="31" y="70"/>
                </a:cubicBezTo>
                <a:cubicBezTo>
                  <a:pt x="32" y="70"/>
                  <a:pt x="32" y="69"/>
                  <a:pt x="32" y="69"/>
                </a:cubicBezTo>
                <a:cubicBezTo>
                  <a:pt x="32" y="68"/>
                  <a:pt x="32" y="68"/>
                  <a:pt x="33" y="68"/>
                </a:cubicBezTo>
                <a:cubicBezTo>
                  <a:pt x="33" y="68"/>
                  <a:pt x="33" y="68"/>
                  <a:pt x="33" y="67"/>
                </a:cubicBezTo>
                <a:cubicBezTo>
                  <a:pt x="33" y="67"/>
                  <a:pt x="33" y="67"/>
                  <a:pt x="33" y="67"/>
                </a:cubicBezTo>
                <a:cubicBezTo>
                  <a:pt x="33" y="67"/>
                  <a:pt x="33" y="67"/>
                  <a:pt x="33" y="67"/>
                </a:cubicBezTo>
                <a:cubicBezTo>
                  <a:pt x="33" y="67"/>
                  <a:pt x="33" y="67"/>
                  <a:pt x="33" y="67"/>
                </a:cubicBezTo>
                <a:cubicBezTo>
                  <a:pt x="33" y="67"/>
                  <a:pt x="33" y="67"/>
                  <a:pt x="33" y="67"/>
                </a:cubicBezTo>
                <a:cubicBezTo>
                  <a:pt x="33" y="67"/>
                  <a:pt x="33" y="67"/>
                  <a:pt x="33" y="67"/>
                </a:cubicBezTo>
                <a:cubicBezTo>
                  <a:pt x="33" y="67"/>
                  <a:pt x="32" y="67"/>
                  <a:pt x="32" y="68"/>
                </a:cubicBezTo>
                <a:close/>
                <a:moveTo>
                  <a:pt x="34" y="64"/>
                </a:moveTo>
                <a:cubicBezTo>
                  <a:pt x="34" y="64"/>
                  <a:pt x="34" y="64"/>
                  <a:pt x="34" y="64"/>
                </a:cubicBezTo>
                <a:cubicBezTo>
                  <a:pt x="33" y="64"/>
                  <a:pt x="33" y="64"/>
                  <a:pt x="33" y="64"/>
                </a:cubicBezTo>
                <a:cubicBezTo>
                  <a:pt x="33" y="64"/>
                  <a:pt x="34" y="64"/>
                  <a:pt x="34" y="64"/>
                </a:cubicBezTo>
                <a:cubicBezTo>
                  <a:pt x="33" y="64"/>
                  <a:pt x="33" y="64"/>
                  <a:pt x="33" y="64"/>
                </a:cubicBezTo>
                <a:cubicBezTo>
                  <a:pt x="33" y="64"/>
                  <a:pt x="34" y="64"/>
                  <a:pt x="34" y="64"/>
                </a:cubicBezTo>
                <a:close/>
                <a:moveTo>
                  <a:pt x="33" y="65"/>
                </a:moveTo>
                <a:cubicBezTo>
                  <a:pt x="33" y="65"/>
                  <a:pt x="33" y="66"/>
                  <a:pt x="33" y="66"/>
                </a:cubicBezTo>
                <a:cubicBezTo>
                  <a:pt x="32" y="66"/>
                  <a:pt x="32" y="66"/>
                  <a:pt x="32" y="66"/>
                </a:cubicBezTo>
                <a:cubicBezTo>
                  <a:pt x="33" y="66"/>
                  <a:pt x="33" y="66"/>
                  <a:pt x="33" y="66"/>
                </a:cubicBezTo>
                <a:cubicBezTo>
                  <a:pt x="33" y="66"/>
                  <a:pt x="33" y="66"/>
                  <a:pt x="33" y="66"/>
                </a:cubicBezTo>
                <a:cubicBezTo>
                  <a:pt x="33" y="66"/>
                  <a:pt x="33" y="66"/>
                  <a:pt x="33" y="66"/>
                </a:cubicBezTo>
                <a:cubicBezTo>
                  <a:pt x="33" y="66"/>
                  <a:pt x="33" y="66"/>
                  <a:pt x="33" y="65"/>
                </a:cubicBezTo>
                <a:cubicBezTo>
                  <a:pt x="33" y="65"/>
                  <a:pt x="33" y="66"/>
                  <a:pt x="33" y="66"/>
                </a:cubicBezTo>
                <a:cubicBezTo>
                  <a:pt x="33" y="65"/>
                  <a:pt x="33" y="65"/>
                  <a:pt x="33" y="65"/>
                </a:cubicBezTo>
                <a:close/>
                <a:moveTo>
                  <a:pt x="33" y="66"/>
                </a:moveTo>
                <a:cubicBezTo>
                  <a:pt x="33" y="66"/>
                  <a:pt x="33" y="66"/>
                  <a:pt x="33" y="65"/>
                </a:cubicBezTo>
                <a:cubicBezTo>
                  <a:pt x="33" y="66"/>
                  <a:pt x="33" y="65"/>
                  <a:pt x="33" y="66"/>
                </a:cubicBezTo>
                <a:cubicBezTo>
                  <a:pt x="33" y="66"/>
                  <a:pt x="33" y="66"/>
                  <a:pt x="33" y="66"/>
                </a:cubicBezTo>
                <a:close/>
                <a:moveTo>
                  <a:pt x="34" y="65"/>
                </a:moveTo>
                <a:cubicBezTo>
                  <a:pt x="34" y="65"/>
                  <a:pt x="34" y="64"/>
                  <a:pt x="34" y="64"/>
                </a:cubicBezTo>
                <a:cubicBezTo>
                  <a:pt x="34" y="64"/>
                  <a:pt x="34" y="64"/>
                  <a:pt x="34" y="64"/>
                </a:cubicBezTo>
                <a:cubicBezTo>
                  <a:pt x="34" y="64"/>
                  <a:pt x="34" y="64"/>
                  <a:pt x="34" y="64"/>
                </a:cubicBezTo>
                <a:cubicBezTo>
                  <a:pt x="34" y="64"/>
                  <a:pt x="34" y="64"/>
                  <a:pt x="34" y="64"/>
                </a:cubicBezTo>
                <a:cubicBezTo>
                  <a:pt x="34" y="64"/>
                  <a:pt x="34" y="64"/>
                  <a:pt x="33" y="64"/>
                </a:cubicBezTo>
                <a:cubicBezTo>
                  <a:pt x="34" y="64"/>
                  <a:pt x="34" y="65"/>
                  <a:pt x="34" y="65"/>
                </a:cubicBezTo>
                <a:cubicBezTo>
                  <a:pt x="33" y="64"/>
                  <a:pt x="33" y="65"/>
                  <a:pt x="33" y="65"/>
                </a:cubicBezTo>
                <a:cubicBezTo>
                  <a:pt x="33" y="65"/>
                  <a:pt x="33" y="65"/>
                  <a:pt x="33" y="65"/>
                </a:cubicBezTo>
                <a:cubicBezTo>
                  <a:pt x="33" y="65"/>
                  <a:pt x="33" y="65"/>
                  <a:pt x="33" y="65"/>
                </a:cubicBezTo>
                <a:cubicBezTo>
                  <a:pt x="33" y="65"/>
                  <a:pt x="33" y="65"/>
                  <a:pt x="33" y="65"/>
                </a:cubicBezTo>
                <a:cubicBezTo>
                  <a:pt x="33" y="65"/>
                  <a:pt x="34" y="65"/>
                  <a:pt x="34" y="65"/>
                </a:cubicBezTo>
                <a:close/>
                <a:moveTo>
                  <a:pt x="34" y="64"/>
                </a:moveTo>
                <a:cubicBezTo>
                  <a:pt x="34" y="64"/>
                  <a:pt x="34" y="63"/>
                  <a:pt x="34" y="63"/>
                </a:cubicBezTo>
                <a:cubicBezTo>
                  <a:pt x="34" y="63"/>
                  <a:pt x="34" y="64"/>
                  <a:pt x="34" y="64"/>
                </a:cubicBezTo>
                <a:close/>
                <a:moveTo>
                  <a:pt x="36" y="61"/>
                </a:moveTo>
                <a:cubicBezTo>
                  <a:pt x="36" y="61"/>
                  <a:pt x="36" y="61"/>
                  <a:pt x="36" y="61"/>
                </a:cubicBezTo>
                <a:cubicBezTo>
                  <a:pt x="36" y="60"/>
                  <a:pt x="36" y="60"/>
                  <a:pt x="36" y="60"/>
                </a:cubicBezTo>
                <a:cubicBezTo>
                  <a:pt x="36" y="61"/>
                  <a:pt x="36" y="61"/>
                  <a:pt x="36" y="61"/>
                </a:cubicBezTo>
                <a:cubicBezTo>
                  <a:pt x="36" y="61"/>
                  <a:pt x="36" y="61"/>
                  <a:pt x="36" y="61"/>
                </a:cubicBezTo>
                <a:cubicBezTo>
                  <a:pt x="36" y="61"/>
                  <a:pt x="36" y="61"/>
                  <a:pt x="36" y="61"/>
                </a:cubicBezTo>
                <a:close/>
                <a:moveTo>
                  <a:pt x="36" y="60"/>
                </a:moveTo>
                <a:cubicBezTo>
                  <a:pt x="36" y="60"/>
                  <a:pt x="36" y="60"/>
                  <a:pt x="36" y="60"/>
                </a:cubicBezTo>
                <a:cubicBezTo>
                  <a:pt x="36" y="60"/>
                  <a:pt x="36" y="60"/>
                  <a:pt x="36" y="60"/>
                </a:cubicBezTo>
                <a:cubicBezTo>
                  <a:pt x="36" y="60"/>
                  <a:pt x="36" y="60"/>
                  <a:pt x="36" y="60"/>
                </a:cubicBezTo>
                <a:cubicBezTo>
                  <a:pt x="36" y="60"/>
                  <a:pt x="36" y="60"/>
                  <a:pt x="36" y="60"/>
                </a:cubicBezTo>
                <a:close/>
                <a:moveTo>
                  <a:pt x="37" y="58"/>
                </a:moveTo>
                <a:cubicBezTo>
                  <a:pt x="36" y="58"/>
                  <a:pt x="37" y="58"/>
                  <a:pt x="36" y="58"/>
                </a:cubicBezTo>
                <a:cubicBezTo>
                  <a:pt x="36" y="58"/>
                  <a:pt x="36" y="58"/>
                  <a:pt x="36" y="59"/>
                </a:cubicBezTo>
                <a:cubicBezTo>
                  <a:pt x="37" y="58"/>
                  <a:pt x="37" y="59"/>
                  <a:pt x="36" y="59"/>
                </a:cubicBezTo>
                <a:cubicBezTo>
                  <a:pt x="37" y="59"/>
                  <a:pt x="37" y="59"/>
                  <a:pt x="37" y="58"/>
                </a:cubicBezTo>
                <a:close/>
                <a:moveTo>
                  <a:pt x="36" y="60"/>
                </a:moveTo>
                <a:cubicBezTo>
                  <a:pt x="35" y="60"/>
                  <a:pt x="35" y="60"/>
                  <a:pt x="35" y="60"/>
                </a:cubicBezTo>
                <a:cubicBezTo>
                  <a:pt x="36" y="60"/>
                  <a:pt x="36" y="60"/>
                  <a:pt x="36" y="60"/>
                </a:cubicBezTo>
                <a:close/>
                <a:moveTo>
                  <a:pt x="37" y="58"/>
                </a:moveTo>
                <a:cubicBezTo>
                  <a:pt x="37" y="58"/>
                  <a:pt x="37" y="58"/>
                  <a:pt x="36" y="58"/>
                </a:cubicBezTo>
                <a:cubicBezTo>
                  <a:pt x="37" y="58"/>
                  <a:pt x="37" y="58"/>
                  <a:pt x="37" y="58"/>
                </a:cubicBezTo>
                <a:cubicBezTo>
                  <a:pt x="37" y="58"/>
                  <a:pt x="37" y="58"/>
                  <a:pt x="37" y="58"/>
                </a:cubicBezTo>
                <a:cubicBezTo>
                  <a:pt x="37" y="58"/>
                  <a:pt x="37" y="58"/>
                  <a:pt x="37" y="58"/>
                </a:cubicBezTo>
                <a:close/>
                <a:moveTo>
                  <a:pt x="37" y="58"/>
                </a:moveTo>
                <a:cubicBezTo>
                  <a:pt x="37" y="58"/>
                  <a:pt x="37" y="58"/>
                  <a:pt x="37" y="58"/>
                </a:cubicBezTo>
                <a:cubicBezTo>
                  <a:pt x="37" y="58"/>
                  <a:pt x="37" y="58"/>
                  <a:pt x="37" y="58"/>
                </a:cubicBezTo>
                <a:cubicBezTo>
                  <a:pt x="37" y="58"/>
                  <a:pt x="37" y="57"/>
                  <a:pt x="37" y="57"/>
                </a:cubicBezTo>
                <a:cubicBezTo>
                  <a:pt x="37" y="57"/>
                  <a:pt x="37" y="57"/>
                  <a:pt x="37" y="57"/>
                </a:cubicBezTo>
                <a:cubicBezTo>
                  <a:pt x="37" y="57"/>
                  <a:pt x="37" y="57"/>
                  <a:pt x="37" y="57"/>
                </a:cubicBezTo>
                <a:cubicBezTo>
                  <a:pt x="37" y="57"/>
                  <a:pt x="37" y="58"/>
                  <a:pt x="37" y="58"/>
                </a:cubicBezTo>
                <a:close/>
                <a:moveTo>
                  <a:pt x="36" y="59"/>
                </a:moveTo>
                <a:cubicBezTo>
                  <a:pt x="36" y="59"/>
                  <a:pt x="36" y="58"/>
                  <a:pt x="36" y="59"/>
                </a:cubicBezTo>
                <a:cubicBezTo>
                  <a:pt x="36" y="59"/>
                  <a:pt x="36" y="59"/>
                  <a:pt x="36" y="59"/>
                </a:cubicBezTo>
                <a:close/>
                <a:moveTo>
                  <a:pt x="35" y="61"/>
                </a:moveTo>
                <a:cubicBezTo>
                  <a:pt x="35" y="61"/>
                  <a:pt x="35" y="61"/>
                  <a:pt x="35" y="61"/>
                </a:cubicBezTo>
                <a:cubicBezTo>
                  <a:pt x="35" y="61"/>
                  <a:pt x="35" y="61"/>
                  <a:pt x="35" y="61"/>
                </a:cubicBezTo>
                <a:close/>
                <a:moveTo>
                  <a:pt x="34" y="63"/>
                </a:moveTo>
                <a:cubicBezTo>
                  <a:pt x="34" y="63"/>
                  <a:pt x="34" y="63"/>
                  <a:pt x="33" y="63"/>
                </a:cubicBezTo>
                <a:cubicBezTo>
                  <a:pt x="33" y="64"/>
                  <a:pt x="34" y="64"/>
                  <a:pt x="34" y="63"/>
                </a:cubicBezTo>
                <a:cubicBezTo>
                  <a:pt x="34" y="63"/>
                  <a:pt x="34" y="64"/>
                  <a:pt x="34" y="64"/>
                </a:cubicBezTo>
                <a:cubicBezTo>
                  <a:pt x="34" y="63"/>
                  <a:pt x="34" y="63"/>
                  <a:pt x="34" y="64"/>
                </a:cubicBezTo>
                <a:cubicBezTo>
                  <a:pt x="34" y="63"/>
                  <a:pt x="34" y="63"/>
                  <a:pt x="34" y="63"/>
                </a:cubicBezTo>
                <a:cubicBezTo>
                  <a:pt x="34" y="63"/>
                  <a:pt x="34" y="63"/>
                  <a:pt x="34" y="63"/>
                </a:cubicBezTo>
                <a:cubicBezTo>
                  <a:pt x="34" y="63"/>
                  <a:pt x="34" y="62"/>
                  <a:pt x="34" y="62"/>
                </a:cubicBezTo>
                <a:cubicBezTo>
                  <a:pt x="34" y="62"/>
                  <a:pt x="34" y="62"/>
                  <a:pt x="34" y="62"/>
                </a:cubicBezTo>
                <a:cubicBezTo>
                  <a:pt x="34" y="63"/>
                  <a:pt x="34" y="63"/>
                  <a:pt x="34" y="63"/>
                </a:cubicBezTo>
                <a:cubicBezTo>
                  <a:pt x="35" y="63"/>
                  <a:pt x="34" y="62"/>
                  <a:pt x="35" y="62"/>
                </a:cubicBezTo>
                <a:cubicBezTo>
                  <a:pt x="35" y="62"/>
                  <a:pt x="35" y="62"/>
                  <a:pt x="35" y="62"/>
                </a:cubicBezTo>
                <a:cubicBezTo>
                  <a:pt x="35" y="63"/>
                  <a:pt x="35" y="63"/>
                  <a:pt x="34" y="63"/>
                </a:cubicBezTo>
                <a:cubicBezTo>
                  <a:pt x="35" y="63"/>
                  <a:pt x="35" y="63"/>
                  <a:pt x="35" y="63"/>
                </a:cubicBezTo>
                <a:cubicBezTo>
                  <a:pt x="35" y="62"/>
                  <a:pt x="35" y="62"/>
                  <a:pt x="35" y="62"/>
                </a:cubicBezTo>
                <a:cubicBezTo>
                  <a:pt x="35" y="62"/>
                  <a:pt x="35" y="62"/>
                  <a:pt x="35" y="62"/>
                </a:cubicBezTo>
                <a:cubicBezTo>
                  <a:pt x="35" y="62"/>
                  <a:pt x="35" y="62"/>
                  <a:pt x="35" y="62"/>
                </a:cubicBezTo>
                <a:cubicBezTo>
                  <a:pt x="35" y="62"/>
                  <a:pt x="35" y="62"/>
                  <a:pt x="35" y="62"/>
                </a:cubicBezTo>
                <a:cubicBezTo>
                  <a:pt x="35" y="62"/>
                  <a:pt x="35" y="62"/>
                  <a:pt x="35" y="62"/>
                </a:cubicBezTo>
                <a:cubicBezTo>
                  <a:pt x="35" y="62"/>
                  <a:pt x="35" y="62"/>
                  <a:pt x="35" y="62"/>
                </a:cubicBezTo>
                <a:cubicBezTo>
                  <a:pt x="35" y="62"/>
                  <a:pt x="35" y="62"/>
                  <a:pt x="34" y="62"/>
                </a:cubicBezTo>
                <a:cubicBezTo>
                  <a:pt x="34" y="62"/>
                  <a:pt x="34" y="62"/>
                  <a:pt x="34" y="62"/>
                </a:cubicBezTo>
                <a:cubicBezTo>
                  <a:pt x="35" y="62"/>
                  <a:pt x="35" y="61"/>
                  <a:pt x="35" y="61"/>
                </a:cubicBezTo>
                <a:cubicBezTo>
                  <a:pt x="35" y="61"/>
                  <a:pt x="35" y="61"/>
                  <a:pt x="35" y="61"/>
                </a:cubicBezTo>
                <a:cubicBezTo>
                  <a:pt x="35" y="61"/>
                  <a:pt x="35" y="61"/>
                  <a:pt x="35" y="61"/>
                </a:cubicBezTo>
                <a:cubicBezTo>
                  <a:pt x="35" y="62"/>
                  <a:pt x="34" y="62"/>
                  <a:pt x="34" y="62"/>
                </a:cubicBezTo>
                <a:cubicBezTo>
                  <a:pt x="34" y="62"/>
                  <a:pt x="33" y="63"/>
                  <a:pt x="34" y="63"/>
                </a:cubicBezTo>
                <a:close/>
                <a:moveTo>
                  <a:pt x="33" y="64"/>
                </a:moveTo>
                <a:cubicBezTo>
                  <a:pt x="33" y="64"/>
                  <a:pt x="33" y="64"/>
                  <a:pt x="33" y="64"/>
                </a:cubicBezTo>
                <a:cubicBezTo>
                  <a:pt x="33" y="64"/>
                  <a:pt x="33" y="64"/>
                  <a:pt x="33" y="64"/>
                </a:cubicBezTo>
                <a:cubicBezTo>
                  <a:pt x="33" y="64"/>
                  <a:pt x="33" y="64"/>
                  <a:pt x="33" y="64"/>
                </a:cubicBezTo>
                <a:cubicBezTo>
                  <a:pt x="33" y="64"/>
                  <a:pt x="33" y="64"/>
                  <a:pt x="33" y="64"/>
                </a:cubicBezTo>
                <a:close/>
                <a:moveTo>
                  <a:pt x="32" y="65"/>
                </a:moveTo>
                <a:cubicBezTo>
                  <a:pt x="33" y="65"/>
                  <a:pt x="33" y="65"/>
                  <a:pt x="33" y="65"/>
                </a:cubicBezTo>
                <a:cubicBezTo>
                  <a:pt x="33" y="65"/>
                  <a:pt x="33" y="65"/>
                  <a:pt x="33" y="65"/>
                </a:cubicBezTo>
                <a:cubicBezTo>
                  <a:pt x="33" y="65"/>
                  <a:pt x="32" y="65"/>
                  <a:pt x="32" y="65"/>
                </a:cubicBezTo>
                <a:close/>
                <a:moveTo>
                  <a:pt x="31" y="67"/>
                </a:moveTo>
                <a:cubicBezTo>
                  <a:pt x="31" y="67"/>
                  <a:pt x="31" y="67"/>
                  <a:pt x="31" y="67"/>
                </a:cubicBezTo>
                <a:cubicBezTo>
                  <a:pt x="32" y="67"/>
                  <a:pt x="32" y="67"/>
                  <a:pt x="31" y="67"/>
                </a:cubicBezTo>
                <a:close/>
                <a:moveTo>
                  <a:pt x="31" y="66"/>
                </a:moveTo>
                <a:cubicBezTo>
                  <a:pt x="31" y="66"/>
                  <a:pt x="31" y="66"/>
                  <a:pt x="31" y="66"/>
                </a:cubicBezTo>
                <a:cubicBezTo>
                  <a:pt x="31" y="66"/>
                  <a:pt x="31" y="66"/>
                  <a:pt x="32" y="66"/>
                </a:cubicBezTo>
                <a:cubicBezTo>
                  <a:pt x="31" y="66"/>
                  <a:pt x="32" y="66"/>
                  <a:pt x="31" y="66"/>
                </a:cubicBezTo>
                <a:cubicBezTo>
                  <a:pt x="31" y="66"/>
                  <a:pt x="31" y="66"/>
                  <a:pt x="31" y="66"/>
                </a:cubicBezTo>
                <a:cubicBezTo>
                  <a:pt x="31" y="67"/>
                  <a:pt x="31" y="67"/>
                  <a:pt x="31" y="67"/>
                </a:cubicBezTo>
                <a:cubicBezTo>
                  <a:pt x="31" y="67"/>
                  <a:pt x="31" y="67"/>
                  <a:pt x="31" y="67"/>
                </a:cubicBezTo>
                <a:cubicBezTo>
                  <a:pt x="31" y="67"/>
                  <a:pt x="32" y="66"/>
                  <a:pt x="32" y="66"/>
                </a:cubicBezTo>
                <a:cubicBezTo>
                  <a:pt x="31" y="66"/>
                  <a:pt x="32" y="66"/>
                  <a:pt x="31" y="66"/>
                </a:cubicBezTo>
                <a:close/>
                <a:moveTo>
                  <a:pt x="33" y="64"/>
                </a:moveTo>
                <a:cubicBezTo>
                  <a:pt x="33" y="64"/>
                  <a:pt x="32" y="64"/>
                  <a:pt x="33" y="64"/>
                </a:cubicBezTo>
                <a:cubicBezTo>
                  <a:pt x="33" y="64"/>
                  <a:pt x="33" y="64"/>
                  <a:pt x="33" y="64"/>
                </a:cubicBezTo>
                <a:cubicBezTo>
                  <a:pt x="33" y="64"/>
                  <a:pt x="33" y="64"/>
                  <a:pt x="33" y="64"/>
                </a:cubicBezTo>
                <a:cubicBezTo>
                  <a:pt x="33" y="64"/>
                  <a:pt x="33" y="64"/>
                  <a:pt x="33" y="64"/>
                </a:cubicBezTo>
                <a:close/>
                <a:moveTo>
                  <a:pt x="31" y="66"/>
                </a:moveTo>
                <a:cubicBezTo>
                  <a:pt x="32" y="66"/>
                  <a:pt x="32" y="66"/>
                  <a:pt x="32" y="66"/>
                </a:cubicBezTo>
                <a:cubicBezTo>
                  <a:pt x="32" y="66"/>
                  <a:pt x="32" y="66"/>
                  <a:pt x="32" y="65"/>
                </a:cubicBezTo>
                <a:cubicBezTo>
                  <a:pt x="32" y="65"/>
                  <a:pt x="32" y="65"/>
                  <a:pt x="32" y="65"/>
                </a:cubicBezTo>
                <a:cubicBezTo>
                  <a:pt x="32" y="66"/>
                  <a:pt x="32" y="65"/>
                  <a:pt x="31" y="66"/>
                </a:cubicBezTo>
                <a:close/>
                <a:moveTo>
                  <a:pt x="32" y="65"/>
                </a:moveTo>
                <a:cubicBezTo>
                  <a:pt x="32" y="65"/>
                  <a:pt x="32" y="65"/>
                  <a:pt x="32" y="65"/>
                </a:cubicBezTo>
                <a:cubicBezTo>
                  <a:pt x="32" y="64"/>
                  <a:pt x="32" y="65"/>
                  <a:pt x="32" y="65"/>
                </a:cubicBezTo>
                <a:close/>
                <a:moveTo>
                  <a:pt x="32" y="65"/>
                </a:moveTo>
                <a:cubicBezTo>
                  <a:pt x="31" y="65"/>
                  <a:pt x="31" y="65"/>
                  <a:pt x="31" y="65"/>
                </a:cubicBezTo>
                <a:cubicBezTo>
                  <a:pt x="31" y="65"/>
                  <a:pt x="31" y="65"/>
                  <a:pt x="31" y="66"/>
                </a:cubicBezTo>
                <a:cubicBezTo>
                  <a:pt x="31" y="65"/>
                  <a:pt x="31" y="65"/>
                  <a:pt x="32" y="65"/>
                </a:cubicBezTo>
                <a:close/>
                <a:moveTo>
                  <a:pt x="30" y="68"/>
                </a:moveTo>
                <a:cubicBezTo>
                  <a:pt x="30" y="68"/>
                  <a:pt x="30" y="68"/>
                  <a:pt x="30" y="68"/>
                </a:cubicBezTo>
                <a:cubicBezTo>
                  <a:pt x="30" y="68"/>
                  <a:pt x="30" y="68"/>
                  <a:pt x="30" y="68"/>
                </a:cubicBezTo>
                <a:close/>
                <a:moveTo>
                  <a:pt x="29" y="69"/>
                </a:moveTo>
                <a:cubicBezTo>
                  <a:pt x="29" y="69"/>
                  <a:pt x="29" y="69"/>
                  <a:pt x="29" y="69"/>
                </a:cubicBezTo>
                <a:cubicBezTo>
                  <a:pt x="29" y="70"/>
                  <a:pt x="29" y="69"/>
                  <a:pt x="29" y="70"/>
                </a:cubicBezTo>
                <a:cubicBezTo>
                  <a:pt x="29" y="69"/>
                  <a:pt x="29" y="69"/>
                  <a:pt x="29" y="69"/>
                </a:cubicBezTo>
                <a:cubicBezTo>
                  <a:pt x="29" y="69"/>
                  <a:pt x="29" y="69"/>
                  <a:pt x="29" y="69"/>
                </a:cubicBezTo>
                <a:cubicBezTo>
                  <a:pt x="29" y="69"/>
                  <a:pt x="29" y="69"/>
                  <a:pt x="29" y="69"/>
                </a:cubicBezTo>
                <a:cubicBezTo>
                  <a:pt x="29" y="69"/>
                  <a:pt x="29" y="69"/>
                  <a:pt x="29" y="69"/>
                </a:cubicBezTo>
                <a:close/>
                <a:moveTo>
                  <a:pt x="29" y="70"/>
                </a:moveTo>
                <a:cubicBezTo>
                  <a:pt x="29" y="70"/>
                  <a:pt x="29" y="70"/>
                  <a:pt x="29" y="70"/>
                </a:cubicBezTo>
                <a:cubicBezTo>
                  <a:pt x="29" y="70"/>
                  <a:pt x="29" y="69"/>
                  <a:pt x="29" y="70"/>
                </a:cubicBezTo>
                <a:cubicBezTo>
                  <a:pt x="29" y="70"/>
                  <a:pt x="29" y="70"/>
                  <a:pt x="29" y="70"/>
                </a:cubicBezTo>
                <a:cubicBezTo>
                  <a:pt x="29" y="70"/>
                  <a:pt x="29" y="70"/>
                  <a:pt x="29" y="70"/>
                </a:cubicBezTo>
                <a:close/>
                <a:moveTo>
                  <a:pt x="29" y="70"/>
                </a:moveTo>
                <a:cubicBezTo>
                  <a:pt x="29" y="70"/>
                  <a:pt x="28" y="70"/>
                  <a:pt x="29" y="70"/>
                </a:cubicBezTo>
                <a:cubicBezTo>
                  <a:pt x="29" y="70"/>
                  <a:pt x="29" y="70"/>
                  <a:pt x="29" y="70"/>
                </a:cubicBezTo>
                <a:cubicBezTo>
                  <a:pt x="29" y="70"/>
                  <a:pt x="29" y="70"/>
                  <a:pt x="29" y="70"/>
                </a:cubicBezTo>
                <a:close/>
                <a:moveTo>
                  <a:pt x="29" y="69"/>
                </a:moveTo>
                <a:cubicBezTo>
                  <a:pt x="29" y="69"/>
                  <a:pt x="29" y="69"/>
                  <a:pt x="29" y="69"/>
                </a:cubicBezTo>
                <a:cubicBezTo>
                  <a:pt x="29" y="69"/>
                  <a:pt x="29" y="69"/>
                  <a:pt x="29" y="69"/>
                </a:cubicBezTo>
                <a:close/>
                <a:moveTo>
                  <a:pt x="27" y="72"/>
                </a:moveTo>
                <a:cubicBezTo>
                  <a:pt x="27" y="73"/>
                  <a:pt x="27" y="73"/>
                  <a:pt x="27" y="73"/>
                </a:cubicBezTo>
                <a:cubicBezTo>
                  <a:pt x="27" y="73"/>
                  <a:pt x="27" y="72"/>
                  <a:pt x="27" y="72"/>
                </a:cubicBezTo>
                <a:cubicBezTo>
                  <a:pt x="27" y="73"/>
                  <a:pt x="28" y="73"/>
                  <a:pt x="27" y="73"/>
                </a:cubicBezTo>
                <a:cubicBezTo>
                  <a:pt x="28" y="73"/>
                  <a:pt x="28" y="73"/>
                  <a:pt x="28" y="73"/>
                </a:cubicBezTo>
                <a:cubicBezTo>
                  <a:pt x="28" y="73"/>
                  <a:pt x="28" y="73"/>
                  <a:pt x="28" y="72"/>
                </a:cubicBezTo>
                <a:cubicBezTo>
                  <a:pt x="28" y="73"/>
                  <a:pt x="28" y="73"/>
                  <a:pt x="28" y="73"/>
                </a:cubicBezTo>
                <a:cubicBezTo>
                  <a:pt x="28" y="72"/>
                  <a:pt x="28" y="72"/>
                  <a:pt x="28" y="72"/>
                </a:cubicBezTo>
                <a:cubicBezTo>
                  <a:pt x="28" y="72"/>
                  <a:pt x="28" y="72"/>
                  <a:pt x="28" y="72"/>
                </a:cubicBezTo>
                <a:cubicBezTo>
                  <a:pt x="28" y="72"/>
                  <a:pt x="28" y="72"/>
                  <a:pt x="28" y="72"/>
                </a:cubicBezTo>
                <a:cubicBezTo>
                  <a:pt x="28" y="71"/>
                  <a:pt x="28" y="72"/>
                  <a:pt x="28" y="72"/>
                </a:cubicBezTo>
                <a:cubicBezTo>
                  <a:pt x="28" y="72"/>
                  <a:pt x="28" y="72"/>
                  <a:pt x="28" y="72"/>
                </a:cubicBezTo>
                <a:cubicBezTo>
                  <a:pt x="28" y="72"/>
                  <a:pt x="28" y="72"/>
                  <a:pt x="28" y="72"/>
                </a:cubicBezTo>
                <a:cubicBezTo>
                  <a:pt x="27" y="72"/>
                  <a:pt x="27" y="72"/>
                  <a:pt x="27" y="72"/>
                </a:cubicBezTo>
                <a:cubicBezTo>
                  <a:pt x="27" y="72"/>
                  <a:pt x="27" y="72"/>
                  <a:pt x="27" y="72"/>
                </a:cubicBezTo>
                <a:cubicBezTo>
                  <a:pt x="27" y="72"/>
                  <a:pt x="27" y="72"/>
                  <a:pt x="27" y="72"/>
                </a:cubicBezTo>
                <a:close/>
                <a:moveTo>
                  <a:pt x="25" y="75"/>
                </a:moveTo>
                <a:cubicBezTo>
                  <a:pt x="25" y="75"/>
                  <a:pt x="25" y="75"/>
                  <a:pt x="25" y="75"/>
                </a:cubicBezTo>
                <a:cubicBezTo>
                  <a:pt x="25" y="75"/>
                  <a:pt x="25" y="75"/>
                  <a:pt x="25" y="75"/>
                </a:cubicBezTo>
                <a:cubicBezTo>
                  <a:pt x="25" y="75"/>
                  <a:pt x="25" y="75"/>
                  <a:pt x="25" y="75"/>
                </a:cubicBezTo>
                <a:cubicBezTo>
                  <a:pt x="26" y="75"/>
                  <a:pt x="25" y="74"/>
                  <a:pt x="25" y="75"/>
                </a:cubicBezTo>
                <a:close/>
                <a:moveTo>
                  <a:pt x="31" y="63"/>
                </a:moveTo>
                <a:cubicBezTo>
                  <a:pt x="31" y="63"/>
                  <a:pt x="31" y="63"/>
                  <a:pt x="31" y="63"/>
                </a:cubicBezTo>
                <a:cubicBezTo>
                  <a:pt x="32" y="63"/>
                  <a:pt x="31" y="63"/>
                  <a:pt x="31" y="63"/>
                </a:cubicBezTo>
                <a:close/>
                <a:moveTo>
                  <a:pt x="36" y="51"/>
                </a:moveTo>
                <a:cubicBezTo>
                  <a:pt x="36" y="50"/>
                  <a:pt x="36" y="51"/>
                  <a:pt x="36" y="51"/>
                </a:cubicBezTo>
                <a:cubicBezTo>
                  <a:pt x="36" y="51"/>
                  <a:pt x="36" y="51"/>
                  <a:pt x="36" y="51"/>
                </a:cubicBezTo>
                <a:cubicBezTo>
                  <a:pt x="36" y="50"/>
                  <a:pt x="35" y="50"/>
                  <a:pt x="36" y="50"/>
                </a:cubicBezTo>
                <a:cubicBezTo>
                  <a:pt x="36" y="50"/>
                  <a:pt x="36" y="51"/>
                  <a:pt x="36" y="51"/>
                </a:cubicBezTo>
                <a:close/>
                <a:moveTo>
                  <a:pt x="32" y="49"/>
                </a:moveTo>
                <a:cubicBezTo>
                  <a:pt x="32" y="49"/>
                  <a:pt x="32" y="49"/>
                  <a:pt x="32" y="49"/>
                </a:cubicBezTo>
                <a:cubicBezTo>
                  <a:pt x="32" y="49"/>
                  <a:pt x="32" y="49"/>
                  <a:pt x="32" y="49"/>
                </a:cubicBezTo>
                <a:cubicBezTo>
                  <a:pt x="32" y="49"/>
                  <a:pt x="32" y="49"/>
                  <a:pt x="32" y="49"/>
                </a:cubicBezTo>
                <a:cubicBezTo>
                  <a:pt x="32" y="49"/>
                  <a:pt x="32" y="49"/>
                  <a:pt x="32" y="49"/>
                </a:cubicBezTo>
                <a:close/>
                <a:moveTo>
                  <a:pt x="37" y="52"/>
                </a:moveTo>
                <a:cubicBezTo>
                  <a:pt x="37" y="52"/>
                  <a:pt x="37" y="52"/>
                  <a:pt x="37" y="52"/>
                </a:cubicBezTo>
                <a:cubicBezTo>
                  <a:pt x="37" y="52"/>
                  <a:pt x="37" y="52"/>
                  <a:pt x="37" y="51"/>
                </a:cubicBezTo>
                <a:cubicBezTo>
                  <a:pt x="37" y="51"/>
                  <a:pt x="37" y="51"/>
                  <a:pt x="37" y="51"/>
                </a:cubicBezTo>
                <a:cubicBezTo>
                  <a:pt x="37" y="51"/>
                  <a:pt x="37" y="51"/>
                  <a:pt x="37" y="51"/>
                </a:cubicBezTo>
                <a:cubicBezTo>
                  <a:pt x="37" y="52"/>
                  <a:pt x="37" y="52"/>
                  <a:pt x="37" y="52"/>
                </a:cubicBezTo>
                <a:cubicBezTo>
                  <a:pt x="37" y="52"/>
                  <a:pt x="37" y="51"/>
                  <a:pt x="37" y="51"/>
                </a:cubicBezTo>
                <a:cubicBezTo>
                  <a:pt x="37" y="51"/>
                  <a:pt x="37" y="52"/>
                  <a:pt x="37" y="52"/>
                </a:cubicBezTo>
                <a:close/>
                <a:moveTo>
                  <a:pt x="36" y="52"/>
                </a:moveTo>
                <a:cubicBezTo>
                  <a:pt x="36" y="51"/>
                  <a:pt x="36" y="51"/>
                  <a:pt x="36" y="51"/>
                </a:cubicBezTo>
                <a:cubicBezTo>
                  <a:pt x="36" y="51"/>
                  <a:pt x="36" y="51"/>
                  <a:pt x="37" y="51"/>
                </a:cubicBezTo>
                <a:cubicBezTo>
                  <a:pt x="37" y="51"/>
                  <a:pt x="37" y="51"/>
                  <a:pt x="37" y="51"/>
                </a:cubicBezTo>
                <a:cubicBezTo>
                  <a:pt x="37" y="51"/>
                  <a:pt x="37" y="52"/>
                  <a:pt x="36" y="52"/>
                </a:cubicBezTo>
                <a:cubicBezTo>
                  <a:pt x="37" y="51"/>
                  <a:pt x="37" y="52"/>
                  <a:pt x="37" y="51"/>
                </a:cubicBezTo>
                <a:cubicBezTo>
                  <a:pt x="37" y="51"/>
                  <a:pt x="37" y="51"/>
                  <a:pt x="37" y="51"/>
                </a:cubicBezTo>
                <a:cubicBezTo>
                  <a:pt x="36" y="51"/>
                  <a:pt x="36" y="51"/>
                  <a:pt x="36" y="51"/>
                </a:cubicBezTo>
                <a:cubicBezTo>
                  <a:pt x="36" y="52"/>
                  <a:pt x="36" y="52"/>
                  <a:pt x="36" y="52"/>
                </a:cubicBezTo>
                <a:cubicBezTo>
                  <a:pt x="36" y="52"/>
                  <a:pt x="36" y="52"/>
                  <a:pt x="36" y="52"/>
                </a:cubicBezTo>
                <a:cubicBezTo>
                  <a:pt x="36" y="52"/>
                  <a:pt x="36" y="52"/>
                  <a:pt x="36" y="52"/>
                </a:cubicBezTo>
                <a:cubicBezTo>
                  <a:pt x="36" y="52"/>
                  <a:pt x="36" y="52"/>
                  <a:pt x="36" y="52"/>
                </a:cubicBezTo>
                <a:cubicBezTo>
                  <a:pt x="36" y="52"/>
                  <a:pt x="36" y="52"/>
                  <a:pt x="35" y="52"/>
                </a:cubicBezTo>
                <a:cubicBezTo>
                  <a:pt x="36" y="52"/>
                  <a:pt x="35" y="52"/>
                  <a:pt x="36" y="52"/>
                </a:cubicBezTo>
                <a:close/>
                <a:moveTo>
                  <a:pt x="38" y="52"/>
                </a:moveTo>
                <a:cubicBezTo>
                  <a:pt x="38" y="52"/>
                  <a:pt x="38" y="52"/>
                  <a:pt x="38" y="52"/>
                </a:cubicBezTo>
                <a:cubicBezTo>
                  <a:pt x="38" y="52"/>
                  <a:pt x="38" y="52"/>
                  <a:pt x="38" y="52"/>
                </a:cubicBezTo>
                <a:cubicBezTo>
                  <a:pt x="38" y="52"/>
                  <a:pt x="38" y="52"/>
                  <a:pt x="38" y="52"/>
                </a:cubicBezTo>
                <a:close/>
                <a:moveTo>
                  <a:pt x="31" y="49"/>
                </a:moveTo>
                <a:cubicBezTo>
                  <a:pt x="32" y="49"/>
                  <a:pt x="32" y="49"/>
                  <a:pt x="31" y="49"/>
                </a:cubicBezTo>
                <a:cubicBezTo>
                  <a:pt x="31" y="49"/>
                  <a:pt x="31" y="49"/>
                  <a:pt x="31" y="49"/>
                </a:cubicBezTo>
                <a:cubicBezTo>
                  <a:pt x="31" y="49"/>
                  <a:pt x="31" y="49"/>
                  <a:pt x="31" y="49"/>
                </a:cubicBezTo>
                <a:cubicBezTo>
                  <a:pt x="31" y="49"/>
                  <a:pt x="31" y="49"/>
                  <a:pt x="31" y="49"/>
                </a:cubicBezTo>
                <a:close/>
                <a:moveTo>
                  <a:pt x="36" y="55"/>
                </a:moveTo>
                <a:cubicBezTo>
                  <a:pt x="37" y="55"/>
                  <a:pt x="37" y="55"/>
                  <a:pt x="37" y="55"/>
                </a:cubicBezTo>
                <a:cubicBezTo>
                  <a:pt x="37" y="55"/>
                  <a:pt x="37" y="55"/>
                  <a:pt x="37" y="55"/>
                </a:cubicBezTo>
                <a:cubicBezTo>
                  <a:pt x="37" y="55"/>
                  <a:pt x="36" y="55"/>
                  <a:pt x="36" y="55"/>
                </a:cubicBezTo>
                <a:cubicBezTo>
                  <a:pt x="36" y="55"/>
                  <a:pt x="36" y="56"/>
                  <a:pt x="36" y="56"/>
                </a:cubicBezTo>
                <a:cubicBezTo>
                  <a:pt x="35" y="56"/>
                  <a:pt x="35" y="56"/>
                  <a:pt x="35" y="56"/>
                </a:cubicBezTo>
                <a:cubicBezTo>
                  <a:pt x="35" y="56"/>
                  <a:pt x="36" y="56"/>
                  <a:pt x="36" y="55"/>
                </a:cubicBezTo>
                <a:cubicBezTo>
                  <a:pt x="36" y="55"/>
                  <a:pt x="36" y="55"/>
                  <a:pt x="36" y="55"/>
                </a:cubicBezTo>
                <a:cubicBezTo>
                  <a:pt x="36" y="55"/>
                  <a:pt x="36" y="55"/>
                  <a:pt x="36" y="55"/>
                </a:cubicBezTo>
                <a:cubicBezTo>
                  <a:pt x="36" y="55"/>
                  <a:pt x="36" y="55"/>
                  <a:pt x="36" y="55"/>
                </a:cubicBezTo>
                <a:cubicBezTo>
                  <a:pt x="36" y="55"/>
                  <a:pt x="36" y="55"/>
                  <a:pt x="36" y="55"/>
                </a:cubicBezTo>
                <a:cubicBezTo>
                  <a:pt x="36" y="55"/>
                  <a:pt x="36" y="55"/>
                  <a:pt x="36" y="54"/>
                </a:cubicBezTo>
                <a:cubicBezTo>
                  <a:pt x="36" y="54"/>
                  <a:pt x="36" y="54"/>
                  <a:pt x="36" y="54"/>
                </a:cubicBezTo>
                <a:cubicBezTo>
                  <a:pt x="36" y="54"/>
                  <a:pt x="36" y="55"/>
                  <a:pt x="36" y="55"/>
                </a:cubicBezTo>
                <a:cubicBezTo>
                  <a:pt x="36" y="54"/>
                  <a:pt x="37" y="54"/>
                  <a:pt x="37" y="54"/>
                </a:cubicBezTo>
                <a:cubicBezTo>
                  <a:pt x="37" y="54"/>
                  <a:pt x="37" y="54"/>
                  <a:pt x="37" y="54"/>
                </a:cubicBezTo>
                <a:cubicBezTo>
                  <a:pt x="37" y="53"/>
                  <a:pt x="37" y="53"/>
                  <a:pt x="38" y="53"/>
                </a:cubicBezTo>
                <a:cubicBezTo>
                  <a:pt x="38" y="53"/>
                  <a:pt x="37" y="53"/>
                  <a:pt x="37" y="53"/>
                </a:cubicBezTo>
                <a:cubicBezTo>
                  <a:pt x="38" y="53"/>
                  <a:pt x="38" y="52"/>
                  <a:pt x="38" y="52"/>
                </a:cubicBezTo>
                <a:cubicBezTo>
                  <a:pt x="38" y="52"/>
                  <a:pt x="38" y="52"/>
                  <a:pt x="38" y="52"/>
                </a:cubicBezTo>
                <a:cubicBezTo>
                  <a:pt x="38" y="52"/>
                  <a:pt x="38" y="52"/>
                  <a:pt x="38" y="52"/>
                </a:cubicBezTo>
                <a:cubicBezTo>
                  <a:pt x="38" y="53"/>
                  <a:pt x="38" y="53"/>
                  <a:pt x="38" y="53"/>
                </a:cubicBezTo>
                <a:cubicBezTo>
                  <a:pt x="38" y="53"/>
                  <a:pt x="38" y="53"/>
                  <a:pt x="38" y="53"/>
                </a:cubicBezTo>
                <a:cubicBezTo>
                  <a:pt x="38" y="53"/>
                  <a:pt x="38" y="53"/>
                  <a:pt x="38" y="53"/>
                </a:cubicBezTo>
                <a:cubicBezTo>
                  <a:pt x="38" y="53"/>
                  <a:pt x="38" y="53"/>
                  <a:pt x="38" y="53"/>
                </a:cubicBezTo>
                <a:cubicBezTo>
                  <a:pt x="38" y="53"/>
                  <a:pt x="38" y="53"/>
                  <a:pt x="38" y="53"/>
                </a:cubicBezTo>
                <a:cubicBezTo>
                  <a:pt x="37" y="53"/>
                  <a:pt x="37" y="54"/>
                  <a:pt x="37" y="54"/>
                </a:cubicBezTo>
                <a:cubicBezTo>
                  <a:pt x="37" y="54"/>
                  <a:pt x="37" y="54"/>
                  <a:pt x="37" y="54"/>
                </a:cubicBezTo>
                <a:cubicBezTo>
                  <a:pt x="37" y="54"/>
                  <a:pt x="37" y="54"/>
                  <a:pt x="37" y="54"/>
                </a:cubicBezTo>
                <a:cubicBezTo>
                  <a:pt x="37" y="54"/>
                  <a:pt x="37" y="55"/>
                  <a:pt x="37" y="55"/>
                </a:cubicBezTo>
                <a:cubicBezTo>
                  <a:pt x="37" y="55"/>
                  <a:pt x="37" y="55"/>
                  <a:pt x="37" y="55"/>
                </a:cubicBezTo>
                <a:cubicBezTo>
                  <a:pt x="37" y="55"/>
                  <a:pt x="37" y="55"/>
                  <a:pt x="37" y="55"/>
                </a:cubicBezTo>
                <a:cubicBezTo>
                  <a:pt x="37" y="55"/>
                  <a:pt x="37" y="55"/>
                  <a:pt x="37" y="55"/>
                </a:cubicBezTo>
                <a:cubicBezTo>
                  <a:pt x="37" y="55"/>
                  <a:pt x="37" y="55"/>
                  <a:pt x="37" y="55"/>
                </a:cubicBezTo>
                <a:cubicBezTo>
                  <a:pt x="37" y="55"/>
                  <a:pt x="37" y="55"/>
                  <a:pt x="37" y="56"/>
                </a:cubicBezTo>
                <a:cubicBezTo>
                  <a:pt x="37" y="55"/>
                  <a:pt x="37" y="55"/>
                  <a:pt x="37" y="55"/>
                </a:cubicBezTo>
                <a:cubicBezTo>
                  <a:pt x="37" y="56"/>
                  <a:pt x="37" y="56"/>
                  <a:pt x="36" y="56"/>
                </a:cubicBezTo>
                <a:cubicBezTo>
                  <a:pt x="36" y="56"/>
                  <a:pt x="37" y="56"/>
                  <a:pt x="36" y="56"/>
                </a:cubicBezTo>
                <a:cubicBezTo>
                  <a:pt x="36" y="56"/>
                  <a:pt x="36" y="55"/>
                  <a:pt x="36" y="55"/>
                </a:cubicBezTo>
                <a:close/>
                <a:moveTo>
                  <a:pt x="37" y="54"/>
                </a:moveTo>
                <a:cubicBezTo>
                  <a:pt x="37" y="54"/>
                  <a:pt x="37" y="54"/>
                  <a:pt x="37" y="54"/>
                </a:cubicBezTo>
                <a:cubicBezTo>
                  <a:pt x="37" y="54"/>
                  <a:pt x="37" y="54"/>
                  <a:pt x="37" y="54"/>
                </a:cubicBezTo>
                <a:cubicBezTo>
                  <a:pt x="37" y="54"/>
                  <a:pt x="37" y="55"/>
                  <a:pt x="37" y="54"/>
                </a:cubicBezTo>
                <a:cubicBezTo>
                  <a:pt x="37" y="54"/>
                  <a:pt x="37" y="54"/>
                  <a:pt x="37" y="54"/>
                </a:cubicBezTo>
                <a:close/>
                <a:moveTo>
                  <a:pt x="34" y="51"/>
                </a:moveTo>
                <a:cubicBezTo>
                  <a:pt x="34" y="51"/>
                  <a:pt x="34" y="51"/>
                  <a:pt x="34" y="51"/>
                </a:cubicBezTo>
                <a:cubicBezTo>
                  <a:pt x="34" y="51"/>
                  <a:pt x="34" y="51"/>
                  <a:pt x="34" y="52"/>
                </a:cubicBezTo>
                <a:cubicBezTo>
                  <a:pt x="34" y="51"/>
                  <a:pt x="34" y="51"/>
                  <a:pt x="34" y="51"/>
                </a:cubicBezTo>
                <a:cubicBezTo>
                  <a:pt x="34" y="51"/>
                  <a:pt x="34" y="52"/>
                  <a:pt x="34" y="52"/>
                </a:cubicBezTo>
                <a:cubicBezTo>
                  <a:pt x="34" y="52"/>
                  <a:pt x="34" y="52"/>
                  <a:pt x="34" y="52"/>
                </a:cubicBezTo>
                <a:cubicBezTo>
                  <a:pt x="34" y="51"/>
                  <a:pt x="34" y="51"/>
                  <a:pt x="34" y="51"/>
                </a:cubicBezTo>
                <a:close/>
                <a:moveTo>
                  <a:pt x="32" y="50"/>
                </a:moveTo>
                <a:cubicBezTo>
                  <a:pt x="32" y="50"/>
                  <a:pt x="32" y="50"/>
                  <a:pt x="32" y="50"/>
                </a:cubicBezTo>
                <a:cubicBezTo>
                  <a:pt x="32" y="50"/>
                  <a:pt x="32" y="50"/>
                  <a:pt x="32" y="50"/>
                </a:cubicBezTo>
                <a:cubicBezTo>
                  <a:pt x="32" y="50"/>
                  <a:pt x="32" y="50"/>
                  <a:pt x="32" y="50"/>
                </a:cubicBezTo>
                <a:cubicBezTo>
                  <a:pt x="32" y="51"/>
                  <a:pt x="32" y="51"/>
                  <a:pt x="32" y="51"/>
                </a:cubicBezTo>
                <a:cubicBezTo>
                  <a:pt x="32" y="51"/>
                  <a:pt x="32" y="51"/>
                  <a:pt x="31" y="51"/>
                </a:cubicBezTo>
                <a:cubicBezTo>
                  <a:pt x="32" y="51"/>
                  <a:pt x="32" y="51"/>
                  <a:pt x="32" y="51"/>
                </a:cubicBezTo>
                <a:cubicBezTo>
                  <a:pt x="32" y="51"/>
                  <a:pt x="32" y="51"/>
                  <a:pt x="31" y="51"/>
                </a:cubicBezTo>
                <a:cubicBezTo>
                  <a:pt x="32" y="51"/>
                  <a:pt x="32" y="51"/>
                  <a:pt x="32" y="50"/>
                </a:cubicBezTo>
                <a:close/>
                <a:moveTo>
                  <a:pt x="32" y="50"/>
                </a:moveTo>
                <a:cubicBezTo>
                  <a:pt x="32" y="51"/>
                  <a:pt x="32" y="51"/>
                  <a:pt x="33" y="51"/>
                </a:cubicBezTo>
                <a:cubicBezTo>
                  <a:pt x="32" y="51"/>
                  <a:pt x="32" y="51"/>
                  <a:pt x="32" y="51"/>
                </a:cubicBezTo>
                <a:cubicBezTo>
                  <a:pt x="32" y="51"/>
                  <a:pt x="33" y="51"/>
                  <a:pt x="32" y="51"/>
                </a:cubicBezTo>
                <a:cubicBezTo>
                  <a:pt x="33" y="51"/>
                  <a:pt x="33" y="51"/>
                  <a:pt x="33" y="51"/>
                </a:cubicBezTo>
                <a:cubicBezTo>
                  <a:pt x="33" y="51"/>
                  <a:pt x="33" y="51"/>
                  <a:pt x="33" y="51"/>
                </a:cubicBezTo>
                <a:cubicBezTo>
                  <a:pt x="33" y="51"/>
                  <a:pt x="33" y="51"/>
                  <a:pt x="33" y="52"/>
                </a:cubicBezTo>
                <a:cubicBezTo>
                  <a:pt x="33" y="52"/>
                  <a:pt x="33" y="52"/>
                  <a:pt x="33" y="52"/>
                </a:cubicBezTo>
                <a:cubicBezTo>
                  <a:pt x="33" y="52"/>
                  <a:pt x="33" y="52"/>
                  <a:pt x="33" y="52"/>
                </a:cubicBezTo>
                <a:cubicBezTo>
                  <a:pt x="33" y="52"/>
                  <a:pt x="33" y="52"/>
                  <a:pt x="33" y="52"/>
                </a:cubicBezTo>
                <a:cubicBezTo>
                  <a:pt x="33" y="52"/>
                  <a:pt x="32" y="52"/>
                  <a:pt x="32" y="53"/>
                </a:cubicBezTo>
                <a:cubicBezTo>
                  <a:pt x="32" y="52"/>
                  <a:pt x="32" y="52"/>
                  <a:pt x="32" y="52"/>
                </a:cubicBezTo>
                <a:cubicBezTo>
                  <a:pt x="32" y="52"/>
                  <a:pt x="32" y="52"/>
                  <a:pt x="32" y="52"/>
                </a:cubicBezTo>
                <a:cubicBezTo>
                  <a:pt x="32" y="52"/>
                  <a:pt x="32" y="52"/>
                  <a:pt x="32" y="52"/>
                </a:cubicBezTo>
                <a:cubicBezTo>
                  <a:pt x="32" y="52"/>
                  <a:pt x="32" y="52"/>
                  <a:pt x="33" y="51"/>
                </a:cubicBezTo>
                <a:cubicBezTo>
                  <a:pt x="32" y="51"/>
                  <a:pt x="32" y="51"/>
                  <a:pt x="32" y="51"/>
                </a:cubicBezTo>
                <a:cubicBezTo>
                  <a:pt x="32" y="52"/>
                  <a:pt x="32" y="52"/>
                  <a:pt x="32" y="51"/>
                </a:cubicBezTo>
                <a:cubicBezTo>
                  <a:pt x="32" y="52"/>
                  <a:pt x="32" y="52"/>
                  <a:pt x="32" y="52"/>
                </a:cubicBezTo>
                <a:cubicBezTo>
                  <a:pt x="32" y="52"/>
                  <a:pt x="32" y="52"/>
                  <a:pt x="32" y="52"/>
                </a:cubicBezTo>
                <a:cubicBezTo>
                  <a:pt x="32" y="52"/>
                  <a:pt x="32" y="52"/>
                  <a:pt x="31" y="53"/>
                </a:cubicBezTo>
                <a:cubicBezTo>
                  <a:pt x="31" y="53"/>
                  <a:pt x="31" y="53"/>
                  <a:pt x="31" y="53"/>
                </a:cubicBezTo>
                <a:cubicBezTo>
                  <a:pt x="31" y="53"/>
                  <a:pt x="32" y="52"/>
                  <a:pt x="32" y="52"/>
                </a:cubicBezTo>
                <a:cubicBezTo>
                  <a:pt x="32" y="51"/>
                  <a:pt x="32" y="51"/>
                  <a:pt x="32" y="51"/>
                </a:cubicBezTo>
                <a:cubicBezTo>
                  <a:pt x="32" y="51"/>
                  <a:pt x="32" y="51"/>
                  <a:pt x="32" y="51"/>
                </a:cubicBezTo>
                <a:cubicBezTo>
                  <a:pt x="32" y="50"/>
                  <a:pt x="32" y="51"/>
                  <a:pt x="32" y="51"/>
                </a:cubicBezTo>
                <a:cubicBezTo>
                  <a:pt x="32" y="50"/>
                  <a:pt x="32" y="50"/>
                  <a:pt x="32" y="50"/>
                </a:cubicBezTo>
                <a:cubicBezTo>
                  <a:pt x="32" y="50"/>
                  <a:pt x="32" y="51"/>
                  <a:pt x="32" y="50"/>
                </a:cubicBezTo>
                <a:close/>
                <a:moveTo>
                  <a:pt x="34" y="52"/>
                </a:moveTo>
                <a:cubicBezTo>
                  <a:pt x="34" y="52"/>
                  <a:pt x="34" y="52"/>
                  <a:pt x="34" y="52"/>
                </a:cubicBezTo>
                <a:cubicBezTo>
                  <a:pt x="34" y="52"/>
                  <a:pt x="34" y="52"/>
                  <a:pt x="34" y="52"/>
                </a:cubicBezTo>
                <a:cubicBezTo>
                  <a:pt x="34" y="52"/>
                  <a:pt x="34" y="52"/>
                  <a:pt x="34" y="52"/>
                </a:cubicBezTo>
                <a:cubicBezTo>
                  <a:pt x="34" y="52"/>
                  <a:pt x="34" y="52"/>
                  <a:pt x="33" y="52"/>
                </a:cubicBezTo>
                <a:cubicBezTo>
                  <a:pt x="34" y="52"/>
                  <a:pt x="34" y="52"/>
                  <a:pt x="34" y="52"/>
                </a:cubicBezTo>
                <a:cubicBezTo>
                  <a:pt x="34" y="52"/>
                  <a:pt x="34" y="52"/>
                  <a:pt x="34" y="52"/>
                </a:cubicBezTo>
                <a:close/>
                <a:moveTo>
                  <a:pt x="34" y="53"/>
                </a:moveTo>
                <a:cubicBezTo>
                  <a:pt x="34" y="53"/>
                  <a:pt x="34" y="53"/>
                  <a:pt x="34" y="53"/>
                </a:cubicBezTo>
                <a:cubicBezTo>
                  <a:pt x="34" y="53"/>
                  <a:pt x="34" y="53"/>
                  <a:pt x="34" y="53"/>
                </a:cubicBezTo>
                <a:cubicBezTo>
                  <a:pt x="34" y="53"/>
                  <a:pt x="34" y="53"/>
                  <a:pt x="34" y="53"/>
                </a:cubicBezTo>
                <a:cubicBezTo>
                  <a:pt x="34" y="53"/>
                  <a:pt x="34" y="53"/>
                  <a:pt x="34" y="53"/>
                </a:cubicBezTo>
                <a:cubicBezTo>
                  <a:pt x="34" y="53"/>
                  <a:pt x="34" y="53"/>
                  <a:pt x="34" y="52"/>
                </a:cubicBezTo>
                <a:cubicBezTo>
                  <a:pt x="35" y="53"/>
                  <a:pt x="34" y="53"/>
                  <a:pt x="34" y="53"/>
                </a:cubicBezTo>
                <a:cubicBezTo>
                  <a:pt x="34" y="53"/>
                  <a:pt x="34" y="53"/>
                  <a:pt x="34" y="53"/>
                </a:cubicBezTo>
                <a:cubicBezTo>
                  <a:pt x="34" y="53"/>
                  <a:pt x="34" y="53"/>
                  <a:pt x="34" y="53"/>
                </a:cubicBezTo>
                <a:cubicBezTo>
                  <a:pt x="34" y="53"/>
                  <a:pt x="34" y="53"/>
                  <a:pt x="34" y="53"/>
                </a:cubicBezTo>
                <a:cubicBezTo>
                  <a:pt x="34" y="53"/>
                  <a:pt x="34" y="53"/>
                  <a:pt x="34" y="53"/>
                </a:cubicBezTo>
                <a:cubicBezTo>
                  <a:pt x="34" y="53"/>
                  <a:pt x="34" y="53"/>
                  <a:pt x="34" y="53"/>
                </a:cubicBezTo>
                <a:close/>
                <a:moveTo>
                  <a:pt x="33" y="53"/>
                </a:moveTo>
                <a:cubicBezTo>
                  <a:pt x="33" y="53"/>
                  <a:pt x="33" y="53"/>
                  <a:pt x="33" y="53"/>
                </a:cubicBezTo>
                <a:cubicBezTo>
                  <a:pt x="33" y="53"/>
                  <a:pt x="33" y="53"/>
                  <a:pt x="33" y="53"/>
                </a:cubicBezTo>
                <a:cubicBezTo>
                  <a:pt x="33" y="53"/>
                  <a:pt x="33" y="53"/>
                  <a:pt x="33" y="53"/>
                </a:cubicBezTo>
                <a:cubicBezTo>
                  <a:pt x="33" y="53"/>
                  <a:pt x="33" y="53"/>
                  <a:pt x="33" y="53"/>
                </a:cubicBezTo>
                <a:close/>
                <a:moveTo>
                  <a:pt x="38" y="56"/>
                </a:moveTo>
                <a:cubicBezTo>
                  <a:pt x="38" y="56"/>
                  <a:pt x="38" y="56"/>
                  <a:pt x="38" y="56"/>
                </a:cubicBezTo>
                <a:cubicBezTo>
                  <a:pt x="38" y="56"/>
                  <a:pt x="38" y="56"/>
                  <a:pt x="38" y="56"/>
                </a:cubicBezTo>
                <a:cubicBezTo>
                  <a:pt x="38" y="56"/>
                  <a:pt x="38" y="56"/>
                  <a:pt x="38" y="56"/>
                </a:cubicBezTo>
                <a:cubicBezTo>
                  <a:pt x="38" y="56"/>
                  <a:pt x="38" y="55"/>
                  <a:pt x="38" y="55"/>
                </a:cubicBezTo>
                <a:cubicBezTo>
                  <a:pt x="38" y="55"/>
                  <a:pt x="38" y="55"/>
                  <a:pt x="38" y="55"/>
                </a:cubicBezTo>
                <a:cubicBezTo>
                  <a:pt x="38" y="56"/>
                  <a:pt x="38" y="56"/>
                  <a:pt x="38" y="56"/>
                </a:cubicBezTo>
                <a:cubicBezTo>
                  <a:pt x="38" y="56"/>
                  <a:pt x="38" y="56"/>
                  <a:pt x="38" y="56"/>
                </a:cubicBezTo>
                <a:cubicBezTo>
                  <a:pt x="38" y="56"/>
                  <a:pt x="38" y="56"/>
                  <a:pt x="38" y="56"/>
                </a:cubicBezTo>
                <a:close/>
                <a:moveTo>
                  <a:pt x="34" y="55"/>
                </a:moveTo>
                <a:cubicBezTo>
                  <a:pt x="34" y="55"/>
                  <a:pt x="34" y="55"/>
                  <a:pt x="34" y="55"/>
                </a:cubicBezTo>
                <a:cubicBezTo>
                  <a:pt x="34" y="55"/>
                  <a:pt x="34" y="55"/>
                  <a:pt x="34" y="55"/>
                </a:cubicBezTo>
                <a:cubicBezTo>
                  <a:pt x="34" y="55"/>
                  <a:pt x="34" y="55"/>
                  <a:pt x="34" y="55"/>
                </a:cubicBezTo>
                <a:cubicBezTo>
                  <a:pt x="34" y="55"/>
                  <a:pt x="34" y="55"/>
                  <a:pt x="34" y="55"/>
                </a:cubicBezTo>
                <a:cubicBezTo>
                  <a:pt x="34" y="55"/>
                  <a:pt x="34" y="55"/>
                  <a:pt x="34" y="55"/>
                </a:cubicBezTo>
                <a:cubicBezTo>
                  <a:pt x="34" y="55"/>
                  <a:pt x="34" y="55"/>
                  <a:pt x="34" y="55"/>
                </a:cubicBezTo>
                <a:cubicBezTo>
                  <a:pt x="34" y="55"/>
                  <a:pt x="34" y="55"/>
                  <a:pt x="33" y="55"/>
                </a:cubicBezTo>
                <a:cubicBezTo>
                  <a:pt x="34" y="55"/>
                  <a:pt x="34" y="55"/>
                  <a:pt x="34" y="55"/>
                </a:cubicBezTo>
                <a:cubicBezTo>
                  <a:pt x="34" y="55"/>
                  <a:pt x="34" y="55"/>
                  <a:pt x="33" y="55"/>
                </a:cubicBezTo>
                <a:cubicBezTo>
                  <a:pt x="33" y="55"/>
                  <a:pt x="33" y="55"/>
                  <a:pt x="33" y="55"/>
                </a:cubicBezTo>
                <a:cubicBezTo>
                  <a:pt x="33" y="55"/>
                  <a:pt x="33" y="54"/>
                  <a:pt x="33" y="54"/>
                </a:cubicBezTo>
                <a:cubicBezTo>
                  <a:pt x="33" y="54"/>
                  <a:pt x="33" y="54"/>
                  <a:pt x="33" y="54"/>
                </a:cubicBezTo>
                <a:cubicBezTo>
                  <a:pt x="33" y="54"/>
                  <a:pt x="33" y="54"/>
                  <a:pt x="33" y="54"/>
                </a:cubicBezTo>
                <a:cubicBezTo>
                  <a:pt x="33" y="54"/>
                  <a:pt x="33" y="54"/>
                  <a:pt x="33" y="54"/>
                </a:cubicBezTo>
                <a:cubicBezTo>
                  <a:pt x="34" y="54"/>
                  <a:pt x="34" y="54"/>
                  <a:pt x="34" y="54"/>
                </a:cubicBezTo>
                <a:cubicBezTo>
                  <a:pt x="34" y="54"/>
                  <a:pt x="34" y="53"/>
                  <a:pt x="34" y="54"/>
                </a:cubicBezTo>
                <a:cubicBezTo>
                  <a:pt x="34" y="54"/>
                  <a:pt x="34" y="54"/>
                  <a:pt x="34" y="54"/>
                </a:cubicBezTo>
                <a:cubicBezTo>
                  <a:pt x="34" y="53"/>
                  <a:pt x="34" y="53"/>
                  <a:pt x="34" y="53"/>
                </a:cubicBezTo>
                <a:cubicBezTo>
                  <a:pt x="34" y="54"/>
                  <a:pt x="34" y="53"/>
                  <a:pt x="34" y="53"/>
                </a:cubicBezTo>
                <a:cubicBezTo>
                  <a:pt x="34" y="54"/>
                  <a:pt x="34" y="54"/>
                  <a:pt x="34" y="55"/>
                </a:cubicBezTo>
                <a:close/>
                <a:moveTo>
                  <a:pt x="32" y="54"/>
                </a:moveTo>
                <a:cubicBezTo>
                  <a:pt x="33" y="54"/>
                  <a:pt x="33" y="54"/>
                  <a:pt x="33" y="54"/>
                </a:cubicBezTo>
                <a:cubicBezTo>
                  <a:pt x="33" y="54"/>
                  <a:pt x="33" y="54"/>
                  <a:pt x="33" y="53"/>
                </a:cubicBezTo>
                <a:cubicBezTo>
                  <a:pt x="33" y="53"/>
                  <a:pt x="33" y="54"/>
                  <a:pt x="33" y="54"/>
                </a:cubicBezTo>
                <a:cubicBezTo>
                  <a:pt x="33" y="54"/>
                  <a:pt x="33" y="54"/>
                  <a:pt x="33" y="54"/>
                </a:cubicBezTo>
                <a:cubicBezTo>
                  <a:pt x="33" y="54"/>
                  <a:pt x="33" y="54"/>
                  <a:pt x="32" y="54"/>
                </a:cubicBezTo>
                <a:close/>
                <a:moveTo>
                  <a:pt x="30" y="55"/>
                </a:moveTo>
                <a:cubicBezTo>
                  <a:pt x="30" y="55"/>
                  <a:pt x="30" y="55"/>
                  <a:pt x="30" y="55"/>
                </a:cubicBezTo>
                <a:cubicBezTo>
                  <a:pt x="30" y="55"/>
                  <a:pt x="30" y="55"/>
                  <a:pt x="30" y="55"/>
                </a:cubicBezTo>
                <a:close/>
                <a:moveTo>
                  <a:pt x="30" y="55"/>
                </a:moveTo>
                <a:cubicBezTo>
                  <a:pt x="30" y="55"/>
                  <a:pt x="30" y="55"/>
                  <a:pt x="30" y="55"/>
                </a:cubicBezTo>
                <a:cubicBezTo>
                  <a:pt x="30" y="55"/>
                  <a:pt x="30" y="55"/>
                  <a:pt x="30" y="55"/>
                </a:cubicBezTo>
                <a:close/>
                <a:moveTo>
                  <a:pt x="29" y="55"/>
                </a:moveTo>
                <a:cubicBezTo>
                  <a:pt x="30" y="55"/>
                  <a:pt x="29" y="55"/>
                  <a:pt x="30" y="55"/>
                </a:cubicBezTo>
                <a:cubicBezTo>
                  <a:pt x="30" y="54"/>
                  <a:pt x="30" y="54"/>
                  <a:pt x="30" y="54"/>
                </a:cubicBezTo>
                <a:cubicBezTo>
                  <a:pt x="30" y="54"/>
                  <a:pt x="30" y="54"/>
                  <a:pt x="30" y="54"/>
                </a:cubicBezTo>
                <a:cubicBezTo>
                  <a:pt x="30" y="53"/>
                  <a:pt x="30" y="53"/>
                  <a:pt x="30" y="53"/>
                </a:cubicBezTo>
                <a:cubicBezTo>
                  <a:pt x="30" y="53"/>
                  <a:pt x="30" y="54"/>
                  <a:pt x="30" y="54"/>
                </a:cubicBezTo>
                <a:cubicBezTo>
                  <a:pt x="30" y="54"/>
                  <a:pt x="30" y="54"/>
                  <a:pt x="30" y="53"/>
                </a:cubicBezTo>
                <a:cubicBezTo>
                  <a:pt x="30" y="54"/>
                  <a:pt x="30" y="53"/>
                  <a:pt x="30" y="53"/>
                </a:cubicBezTo>
                <a:cubicBezTo>
                  <a:pt x="30" y="53"/>
                  <a:pt x="30" y="54"/>
                  <a:pt x="30" y="54"/>
                </a:cubicBezTo>
                <a:cubicBezTo>
                  <a:pt x="30" y="54"/>
                  <a:pt x="30" y="54"/>
                  <a:pt x="30" y="54"/>
                </a:cubicBezTo>
                <a:cubicBezTo>
                  <a:pt x="30" y="54"/>
                  <a:pt x="30" y="54"/>
                  <a:pt x="30" y="54"/>
                </a:cubicBezTo>
                <a:cubicBezTo>
                  <a:pt x="30" y="54"/>
                  <a:pt x="30" y="55"/>
                  <a:pt x="30" y="55"/>
                </a:cubicBezTo>
                <a:cubicBezTo>
                  <a:pt x="30" y="55"/>
                  <a:pt x="30" y="55"/>
                  <a:pt x="29" y="55"/>
                </a:cubicBezTo>
                <a:close/>
                <a:moveTo>
                  <a:pt x="30" y="54"/>
                </a:moveTo>
                <a:cubicBezTo>
                  <a:pt x="30" y="54"/>
                  <a:pt x="30" y="54"/>
                  <a:pt x="30" y="54"/>
                </a:cubicBezTo>
                <a:cubicBezTo>
                  <a:pt x="30" y="54"/>
                  <a:pt x="30" y="54"/>
                  <a:pt x="30" y="54"/>
                </a:cubicBezTo>
                <a:close/>
                <a:moveTo>
                  <a:pt x="33" y="55"/>
                </a:moveTo>
                <a:cubicBezTo>
                  <a:pt x="33" y="55"/>
                  <a:pt x="33" y="55"/>
                  <a:pt x="33" y="55"/>
                </a:cubicBezTo>
                <a:cubicBezTo>
                  <a:pt x="33" y="55"/>
                  <a:pt x="33" y="55"/>
                  <a:pt x="33" y="55"/>
                </a:cubicBezTo>
                <a:cubicBezTo>
                  <a:pt x="33" y="55"/>
                  <a:pt x="33" y="55"/>
                  <a:pt x="33" y="55"/>
                </a:cubicBezTo>
                <a:cubicBezTo>
                  <a:pt x="33" y="55"/>
                  <a:pt x="33" y="55"/>
                  <a:pt x="33" y="55"/>
                </a:cubicBezTo>
                <a:close/>
                <a:moveTo>
                  <a:pt x="32" y="56"/>
                </a:moveTo>
                <a:cubicBezTo>
                  <a:pt x="32" y="55"/>
                  <a:pt x="32" y="55"/>
                  <a:pt x="32" y="55"/>
                </a:cubicBezTo>
                <a:cubicBezTo>
                  <a:pt x="32" y="55"/>
                  <a:pt x="32" y="55"/>
                  <a:pt x="32" y="55"/>
                </a:cubicBezTo>
                <a:cubicBezTo>
                  <a:pt x="32" y="55"/>
                  <a:pt x="32" y="55"/>
                  <a:pt x="32" y="55"/>
                </a:cubicBezTo>
                <a:cubicBezTo>
                  <a:pt x="32" y="55"/>
                  <a:pt x="32" y="55"/>
                  <a:pt x="32" y="55"/>
                </a:cubicBezTo>
                <a:cubicBezTo>
                  <a:pt x="32" y="55"/>
                  <a:pt x="32" y="55"/>
                  <a:pt x="32" y="55"/>
                </a:cubicBezTo>
                <a:cubicBezTo>
                  <a:pt x="32" y="55"/>
                  <a:pt x="33" y="55"/>
                  <a:pt x="33" y="55"/>
                </a:cubicBezTo>
                <a:cubicBezTo>
                  <a:pt x="33" y="55"/>
                  <a:pt x="33" y="55"/>
                  <a:pt x="33" y="56"/>
                </a:cubicBezTo>
                <a:cubicBezTo>
                  <a:pt x="32" y="56"/>
                  <a:pt x="32" y="55"/>
                  <a:pt x="32" y="55"/>
                </a:cubicBezTo>
                <a:cubicBezTo>
                  <a:pt x="32" y="55"/>
                  <a:pt x="32" y="56"/>
                  <a:pt x="32" y="56"/>
                </a:cubicBezTo>
                <a:cubicBezTo>
                  <a:pt x="32" y="56"/>
                  <a:pt x="33" y="56"/>
                  <a:pt x="32" y="56"/>
                </a:cubicBezTo>
                <a:cubicBezTo>
                  <a:pt x="33" y="56"/>
                  <a:pt x="32" y="55"/>
                  <a:pt x="33" y="56"/>
                </a:cubicBezTo>
                <a:cubicBezTo>
                  <a:pt x="33" y="56"/>
                  <a:pt x="33" y="56"/>
                  <a:pt x="32" y="56"/>
                </a:cubicBezTo>
                <a:cubicBezTo>
                  <a:pt x="32" y="56"/>
                  <a:pt x="32" y="56"/>
                  <a:pt x="32" y="56"/>
                </a:cubicBezTo>
                <a:cubicBezTo>
                  <a:pt x="32" y="56"/>
                  <a:pt x="32" y="56"/>
                  <a:pt x="32" y="56"/>
                </a:cubicBezTo>
                <a:cubicBezTo>
                  <a:pt x="32" y="56"/>
                  <a:pt x="32" y="56"/>
                  <a:pt x="32" y="56"/>
                </a:cubicBezTo>
                <a:cubicBezTo>
                  <a:pt x="32" y="56"/>
                  <a:pt x="32" y="56"/>
                  <a:pt x="32" y="57"/>
                </a:cubicBezTo>
                <a:cubicBezTo>
                  <a:pt x="32" y="57"/>
                  <a:pt x="32" y="57"/>
                  <a:pt x="32" y="57"/>
                </a:cubicBezTo>
                <a:cubicBezTo>
                  <a:pt x="32" y="57"/>
                  <a:pt x="32" y="57"/>
                  <a:pt x="32" y="57"/>
                </a:cubicBezTo>
                <a:cubicBezTo>
                  <a:pt x="32" y="57"/>
                  <a:pt x="32" y="57"/>
                  <a:pt x="32" y="57"/>
                </a:cubicBezTo>
                <a:cubicBezTo>
                  <a:pt x="32" y="57"/>
                  <a:pt x="32" y="58"/>
                  <a:pt x="32" y="57"/>
                </a:cubicBezTo>
                <a:cubicBezTo>
                  <a:pt x="32" y="58"/>
                  <a:pt x="31" y="58"/>
                  <a:pt x="31" y="58"/>
                </a:cubicBezTo>
                <a:cubicBezTo>
                  <a:pt x="31" y="58"/>
                  <a:pt x="31" y="57"/>
                  <a:pt x="31" y="57"/>
                </a:cubicBezTo>
                <a:cubicBezTo>
                  <a:pt x="31" y="57"/>
                  <a:pt x="32" y="57"/>
                  <a:pt x="31" y="57"/>
                </a:cubicBezTo>
                <a:cubicBezTo>
                  <a:pt x="32" y="57"/>
                  <a:pt x="32" y="57"/>
                  <a:pt x="32" y="57"/>
                </a:cubicBezTo>
                <a:cubicBezTo>
                  <a:pt x="32" y="57"/>
                  <a:pt x="32" y="57"/>
                  <a:pt x="32" y="57"/>
                </a:cubicBezTo>
                <a:cubicBezTo>
                  <a:pt x="32" y="56"/>
                  <a:pt x="32" y="56"/>
                  <a:pt x="32" y="56"/>
                </a:cubicBezTo>
                <a:cubicBezTo>
                  <a:pt x="32" y="56"/>
                  <a:pt x="32" y="55"/>
                  <a:pt x="32" y="56"/>
                </a:cubicBezTo>
                <a:close/>
                <a:moveTo>
                  <a:pt x="30" y="55"/>
                </a:moveTo>
                <a:cubicBezTo>
                  <a:pt x="30" y="55"/>
                  <a:pt x="30" y="55"/>
                  <a:pt x="30" y="55"/>
                </a:cubicBezTo>
                <a:cubicBezTo>
                  <a:pt x="30" y="55"/>
                  <a:pt x="30" y="55"/>
                  <a:pt x="30" y="55"/>
                </a:cubicBezTo>
                <a:cubicBezTo>
                  <a:pt x="30" y="55"/>
                  <a:pt x="30" y="54"/>
                  <a:pt x="31" y="54"/>
                </a:cubicBezTo>
                <a:cubicBezTo>
                  <a:pt x="31" y="54"/>
                  <a:pt x="31" y="54"/>
                  <a:pt x="31" y="54"/>
                </a:cubicBezTo>
                <a:cubicBezTo>
                  <a:pt x="31" y="54"/>
                  <a:pt x="31" y="54"/>
                  <a:pt x="31" y="54"/>
                </a:cubicBezTo>
                <a:cubicBezTo>
                  <a:pt x="31" y="54"/>
                  <a:pt x="31" y="54"/>
                  <a:pt x="31" y="54"/>
                </a:cubicBezTo>
                <a:cubicBezTo>
                  <a:pt x="31" y="53"/>
                  <a:pt x="31" y="53"/>
                  <a:pt x="31" y="53"/>
                </a:cubicBezTo>
                <a:cubicBezTo>
                  <a:pt x="31" y="53"/>
                  <a:pt x="31" y="54"/>
                  <a:pt x="31" y="54"/>
                </a:cubicBezTo>
                <a:cubicBezTo>
                  <a:pt x="31" y="54"/>
                  <a:pt x="31" y="53"/>
                  <a:pt x="31" y="53"/>
                </a:cubicBezTo>
                <a:cubicBezTo>
                  <a:pt x="31" y="53"/>
                  <a:pt x="31" y="54"/>
                  <a:pt x="31" y="54"/>
                </a:cubicBezTo>
                <a:cubicBezTo>
                  <a:pt x="31" y="54"/>
                  <a:pt x="31" y="54"/>
                  <a:pt x="31" y="54"/>
                </a:cubicBezTo>
                <a:cubicBezTo>
                  <a:pt x="31" y="54"/>
                  <a:pt x="31" y="54"/>
                  <a:pt x="31" y="54"/>
                </a:cubicBezTo>
                <a:cubicBezTo>
                  <a:pt x="31" y="55"/>
                  <a:pt x="31" y="55"/>
                  <a:pt x="31" y="55"/>
                </a:cubicBezTo>
                <a:cubicBezTo>
                  <a:pt x="31" y="55"/>
                  <a:pt x="30" y="55"/>
                  <a:pt x="30" y="55"/>
                </a:cubicBezTo>
                <a:cubicBezTo>
                  <a:pt x="30" y="55"/>
                  <a:pt x="30" y="55"/>
                  <a:pt x="30" y="55"/>
                </a:cubicBezTo>
                <a:close/>
                <a:moveTo>
                  <a:pt x="30" y="55"/>
                </a:moveTo>
                <a:cubicBezTo>
                  <a:pt x="30" y="55"/>
                  <a:pt x="30" y="55"/>
                  <a:pt x="30" y="55"/>
                </a:cubicBezTo>
                <a:cubicBezTo>
                  <a:pt x="30" y="55"/>
                  <a:pt x="30" y="55"/>
                  <a:pt x="30" y="55"/>
                </a:cubicBezTo>
                <a:close/>
                <a:moveTo>
                  <a:pt x="35" y="57"/>
                </a:moveTo>
                <a:cubicBezTo>
                  <a:pt x="35" y="57"/>
                  <a:pt x="35" y="57"/>
                  <a:pt x="35" y="57"/>
                </a:cubicBezTo>
                <a:cubicBezTo>
                  <a:pt x="35" y="57"/>
                  <a:pt x="35" y="57"/>
                  <a:pt x="35" y="57"/>
                </a:cubicBezTo>
                <a:cubicBezTo>
                  <a:pt x="35" y="57"/>
                  <a:pt x="35" y="57"/>
                  <a:pt x="35" y="57"/>
                </a:cubicBezTo>
                <a:cubicBezTo>
                  <a:pt x="35" y="57"/>
                  <a:pt x="35" y="57"/>
                  <a:pt x="35" y="57"/>
                </a:cubicBezTo>
                <a:close/>
                <a:moveTo>
                  <a:pt x="33" y="57"/>
                </a:moveTo>
                <a:cubicBezTo>
                  <a:pt x="33" y="57"/>
                  <a:pt x="33" y="57"/>
                  <a:pt x="33" y="57"/>
                </a:cubicBezTo>
                <a:cubicBezTo>
                  <a:pt x="33" y="57"/>
                  <a:pt x="33" y="56"/>
                  <a:pt x="34" y="56"/>
                </a:cubicBezTo>
                <a:cubicBezTo>
                  <a:pt x="34" y="56"/>
                  <a:pt x="33" y="56"/>
                  <a:pt x="33" y="56"/>
                </a:cubicBezTo>
                <a:cubicBezTo>
                  <a:pt x="34" y="56"/>
                  <a:pt x="33" y="56"/>
                  <a:pt x="34" y="56"/>
                </a:cubicBezTo>
                <a:cubicBezTo>
                  <a:pt x="34" y="56"/>
                  <a:pt x="34" y="56"/>
                  <a:pt x="34" y="56"/>
                </a:cubicBezTo>
                <a:cubicBezTo>
                  <a:pt x="34" y="56"/>
                  <a:pt x="34" y="56"/>
                  <a:pt x="33" y="57"/>
                </a:cubicBezTo>
                <a:cubicBezTo>
                  <a:pt x="34" y="57"/>
                  <a:pt x="33" y="57"/>
                  <a:pt x="33" y="57"/>
                </a:cubicBezTo>
                <a:cubicBezTo>
                  <a:pt x="33" y="57"/>
                  <a:pt x="33" y="57"/>
                  <a:pt x="33" y="57"/>
                </a:cubicBezTo>
                <a:close/>
                <a:moveTo>
                  <a:pt x="35" y="57"/>
                </a:moveTo>
                <a:cubicBezTo>
                  <a:pt x="35" y="57"/>
                  <a:pt x="35" y="57"/>
                  <a:pt x="35" y="57"/>
                </a:cubicBezTo>
                <a:cubicBezTo>
                  <a:pt x="35" y="57"/>
                  <a:pt x="35" y="56"/>
                  <a:pt x="35" y="57"/>
                </a:cubicBezTo>
                <a:cubicBezTo>
                  <a:pt x="35" y="57"/>
                  <a:pt x="35" y="57"/>
                  <a:pt x="35" y="57"/>
                </a:cubicBezTo>
                <a:cubicBezTo>
                  <a:pt x="35" y="57"/>
                  <a:pt x="35" y="57"/>
                  <a:pt x="35" y="57"/>
                </a:cubicBezTo>
                <a:cubicBezTo>
                  <a:pt x="35" y="57"/>
                  <a:pt x="34" y="57"/>
                  <a:pt x="34" y="57"/>
                </a:cubicBezTo>
                <a:cubicBezTo>
                  <a:pt x="34" y="57"/>
                  <a:pt x="34" y="57"/>
                  <a:pt x="35" y="57"/>
                </a:cubicBezTo>
                <a:close/>
                <a:moveTo>
                  <a:pt x="36" y="57"/>
                </a:moveTo>
                <a:cubicBezTo>
                  <a:pt x="37" y="58"/>
                  <a:pt x="36" y="58"/>
                  <a:pt x="36" y="57"/>
                </a:cubicBezTo>
                <a:cubicBezTo>
                  <a:pt x="36" y="57"/>
                  <a:pt x="36" y="57"/>
                  <a:pt x="36" y="57"/>
                </a:cubicBezTo>
                <a:cubicBezTo>
                  <a:pt x="37" y="57"/>
                  <a:pt x="36" y="58"/>
                  <a:pt x="36" y="57"/>
                </a:cubicBezTo>
                <a:close/>
                <a:moveTo>
                  <a:pt x="31" y="55"/>
                </a:moveTo>
                <a:cubicBezTo>
                  <a:pt x="31" y="55"/>
                  <a:pt x="31" y="55"/>
                  <a:pt x="31" y="55"/>
                </a:cubicBezTo>
                <a:cubicBezTo>
                  <a:pt x="31" y="55"/>
                  <a:pt x="31" y="55"/>
                  <a:pt x="31" y="55"/>
                </a:cubicBezTo>
                <a:cubicBezTo>
                  <a:pt x="31" y="55"/>
                  <a:pt x="31" y="55"/>
                  <a:pt x="31" y="55"/>
                </a:cubicBezTo>
                <a:close/>
                <a:moveTo>
                  <a:pt x="34" y="59"/>
                </a:moveTo>
                <a:cubicBezTo>
                  <a:pt x="34" y="59"/>
                  <a:pt x="34" y="59"/>
                  <a:pt x="33" y="59"/>
                </a:cubicBezTo>
                <a:cubicBezTo>
                  <a:pt x="34" y="59"/>
                  <a:pt x="34" y="59"/>
                  <a:pt x="34" y="59"/>
                </a:cubicBezTo>
                <a:cubicBezTo>
                  <a:pt x="34" y="59"/>
                  <a:pt x="34" y="58"/>
                  <a:pt x="34" y="58"/>
                </a:cubicBezTo>
                <a:cubicBezTo>
                  <a:pt x="34" y="58"/>
                  <a:pt x="34" y="58"/>
                  <a:pt x="34" y="58"/>
                </a:cubicBezTo>
                <a:cubicBezTo>
                  <a:pt x="34" y="58"/>
                  <a:pt x="34" y="58"/>
                  <a:pt x="34" y="58"/>
                </a:cubicBezTo>
                <a:cubicBezTo>
                  <a:pt x="34" y="58"/>
                  <a:pt x="34" y="58"/>
                  <a:pt x="34" y="58"/>
                </a:cubicBezTo>
                <a:cubicBezTo>
                  <a:pt x="34" y="57"/>
                  <a:pt x="34" y="57"/>
                  <a:pt x="34" y="57"/>
                </a:cubicBezTo>
                <a:cubicBezTo>
                  <a:pt x="34" y="57"/>
                  <a:pt x="34" y="58"/>
                  <a:pt x="34" y="58"/>
                </a:cubicBezTo>
                <a:cubicBezTo>
                  <a:pt x="34" y="58"/>
                  <a:pt x="34" y="58"/>
                  <a:pt x="35" y="57"/>
                </a:cubicBezTo>
                <a:cubicBezTo>
                  <a:pt x="35" y="58"/>
                  <a:pt x="34" y="59"/>
                  <a:pt x="34" y="59"/>
                </a:cubicBezTo>
                <a:cubicBezTo>
                  <a:pt x="34" y="59"/>
                  <a:pt x="34" y="59"/>
                  <a:pt x="34" y="59"/>
                </a:cubicBezTo>
                <a:cubicBezTo>
                  <a:pt x="33" y="59"/>
                  <a:pt x="34" y="59"/>
                  <a:pt x="34" y="59"/>
                </a:cubicBezTo>
                <a:close/>
                <a:moveTo>
                  <a:pt x="30" y="56"/>
                </a:moveTo>
                <a:cubicBezTo>
                  <a:pt x="30" y="56"/>
                  <a:pt x="30" y="56"/>
                  <a:pt x="30" y="56"/>
                </a:cubicBezTo>
                <a:cubicBezTo>
                  <a:pt x="30" y="55"/>
                  <a:pt x="30" y="56"/>
                  <a:pt x="30" y="56"/>
                </a:cubicBezTo>
                <a:cubicBezTo>
                  <a:pt x="30" y="56"/>
                  <a:pt x="30" y="56"/>
                  <a:pt x="30" y="56"/>
                </a:cubicBezTo>
                <a:cubicBezTo>
                  <a:pt x="30" y="56"/>
                  <a:pt x="30" y="56"/>
                  <a:pt x="30" y="57"/>
                </a:cubicBezTo>
                <a:cubicBezTo>
                  <a:pt x="30" y="57"/>
                  <a:pt x="30" y="57"/>
                  <a:pt x="29" y="57"/>
                </a:cubicBezTo>
                <a:cubicBezTo>
                  <a:pt x="29" y="57"/>
                  <a:pt x="30" y="57"/>
                  <a:pt x="29" y="57"/>
                </a:cubicBezTo>
                <a:cubicBezTo>
                  <a:pt x="29" y="57"/>
                  <a:pt x="29" y="57"/>
                  <a:pt x="29" y="57"/>
                </a:cubicBezTo>
                <a:cubicBezTo>
                  <a:pt x="29" y="58"/>
                  <a:pt x="29" y="58"/>
                  <a:pt x="29" y="58"/>
                </a:cubicBezTo>
                <a:cubicBezTo>
                  <a:pt x="29" y="58"/>
                  <a:pt x="29" y="58"/>
                  <a:pt x="29" y="57"/>
                </a:cubicBezTo>
                <a:cubicBezTo>
                  <a:pt x="30" y="57"/>
                  <a:pt x="29" y="56"/>
                  <a:pt x="30" y="56"/>
                </a:cubicBezTo>
                <a:cubicBezTo>
                  <a:pt x="30" y="56"/>
                  <a:pt x="30" y="56"/>
                  <a:pt x="30" y="56"/>
                </a:cubicBezTo>
                <a:cubicBezTo>
                  <a:pt x="30" y="55"/>
                  <a:pt x="30" y="56"/>
                  <a:pt x="30" y="55"/>
                </a:cubicBezTo>
                <a:cubicBezTo>
                  <a:pt x="30" y="55"/>
                  <a:pt x="30" y="55"/>
                  <a:pt x="30" y="55"/>
                </a:cubicBezTo>
                <a:cubicBezTo>
                  <a:pt x="30" y="55"/>
                  <a:pt x="30" y="55"/>
                  <a:pt x="31" y="55"/>
                </a:cubicBezTo>
                <a:cubicBezTo>
                  <a:pt x="30" y="56"/>
                  <a:pt x="31" y="56"/>
                  <a:pt x="30" y="56"/>
                </a:cubicBezTo>
                <a:close/>
                <a:moveTo>
                  <a:pt x="33" y="59"/>
                </a:moveTo>
                <a:cubicBezTo>
                  <a:pt x="33" y="59"/>
                  <a:pt x="33" y="58"/>
                  <a:pt x="33" y="58"/>
                </a:cubicBezTo>
                <a:cubicBezTo>
                  <a:pt x="33" y="58"/>
                  <a:pt x="33" y="59"/>
                  <a:pt x="33" y="59"/>
                </a:cubicBezTo>
                <a:cubicBezTo>
                  <a:pt x="33" y="58"/>
                  <a:pt x="33" y="58"/>
                  <a:pt x="34" y="57"/>
                </a:cubicBezTo>
                <a:cubicBezTo>
                  <a:pt x="34" y="58"/>
                  <a:pt x="34" y="58"/>
                  <a:pt x="33" y="59"/>
                </a:cubicBezTo>
                <a:close/>
                <a:moveTo>
                  <a:pt x="29" y="56"/>
                </a:moveTo>
                <a:cubicBezTo>
                  <a:pt x="29" y="56"/>
                  <a:pt x="29" y="56"/>
                  <a:pt x="30" y="56"/>
                </a:cubicBezTo>
                <a:cubicBezTo>
                  <a:pt x="30" y="56"/>
                  <a:pt x="29" y="56"/>
                  <a:pt x="29" y="56"/>
                </a:cubicBezTo>
                <a:close/>
                <a:moveTo>
                  <a:pt x="35" y="60"/>
                </a:moveTo>
                <a:cubicBezTo>
                  <a:pt x="35" y="60"/>
                  <a:pt x="35" y="60"/>
                  <a:pt x="35" y="60"/>
                </a:cubicBezTo>
                <a:cubicBezTo>
                  <a:pt x="35" y="60"/>
                  <a:pt x="35" y="60"/>
                  <a:pt x="35" y="60"/>
                </a:cubicBezTo>
                <a:close/>
                <a:moveTo>
                  <a:pt x="31" y="58"/>
                </a:moveTo>
                <a:cubicBezTo>
                  <a:pt x="31" y="58"/>
                  <a:pt x="31" y="59"/>
                  <a:pt x="31" y="59"/>
                </a:cubicBezTo>
                <a:cubicBezTo>
                  <a:pt x="31" y="59"/>
                  <a:pt x="31" y="60"/>
                  <a:pt x="30" y="59"/>
                </a:cubicBezTo>
                <a:cubicBezTo>
                  <a:pt x="31" y="59"/>
                  <a:pt x="31" y="59"/>
                  <a:pt x="31" y="58"/>
                </a:cubicBezTo>
                <a:cubicBezTo>
                  <a:pt x="31" y="58"/>
                  <a:pt x="31" y="58"/>
                  <a:pt x="31" y="58"/>
                </a:cubicBezTo>
                <a:cubicBezTo>
                  <a:pt x="31" y="58"/>
                  <a:pt x="31" y="58"/>
                  <a:pt x="31" y="58"/>
                </a:cubicBezTo>
                <a:cubicBezTo>
                  <a:pt x="31" y="58"/>
                  <a:pt x="31" y="58"/>
                  <a:pt x="31" y="58"/>
                </a:cubicBezTo>
                <a:cubicBezTo>
                  <a:pt x="31" y="58"/>
                  <a:pt x="31" y="58"/>
                  <a:pt x="31" y="58"/>
                </a:cubicBezTo>
                <a:cubicBezTo>
                  <a:pt x="31" y="58"/>
                  <a:pt x="31" y="58"/>
                  <a:pt x="31" y="58"/>
                </a:cubicBezTo>
                <a:cubicBezTo>
                  <a:pt x="31" y="58"/>
                  <a:pt x="31" y="58"/>
                  <a:pt x="31" y="58"/>
                </a:cubicBezTo>
                <a:close/>
                <a:moveTo>
                  <a:pt x="36" y="61"/>
                </a:moveTo>
                <a:cubicBezTo>
                  <a:pt x="36" y="61"/>
                  <a:pt x="36" y="61"/>
                  <a:pt x="36" y="61"/>
                </a:cubicBezTo>
                <a:cubicBezTo>
                  <a:pt x="36" y="61"/>
                  <a:pt x="36" y="61"/>
                  <a:pt x="36" y="61"/>
                </a:cubicBezTo>
                <a:cubicBezTo>
                  <a:pt x="36" y="61"/>
                  <a:pt x="36" y="61"/>
                  <a:pt x="36" y="61"/>
                </a:cubicBezTo>
                <a:close/>
                <a:moveTo>
                  <a:pt x="28" y="57"/>
                </a:moveTo>
                <a:cubicBezTo>
                  <a:pt x="28" y="57"/>
                  <a:pt x="28" y="57"/>
                  <a:pt x="28" y="57"/>
                </a:cubicBezTo>
                <a:cubicBezTo>
                  <a:pt x="28" y="57"/>
                  <a:pt x="28" y="57"/>
                  <a:pt x="28" y="58"/>
                </a:cubicBezTo>
                <a:cubicBezTo>
                  <a:pt x="27" y="58"/>
                  <a:pt x="28" y="57"/>
                  <a:pt x="28" y="57"/>
                </a:cubicBezTo>
                <a:close/>
                <a:moveTo>
                  <a:pt x="31" y="59"/>
                </a:moveTo>
                <a:cubicBezTo>
                  <a:pt x="31" y="59"/>
                  <a:pt x="30" y="59"/>
                  <a:pt x="30" y="59"/>
                </a:cubicBezTo>
                <a:cubicBezTo>
                  <a:pt x="30" y="59"/>
                  <a:pt x="30" y="59"/>
                  <a:pt x="31" y="59"/>
                </a:cubicBezTo>
                <a:close/>
                <a:moveTo>
                  <a:pt x="36" y="63"/>
                </a:moveTo>
                <a:cubicBezTo>
                  <a:pt x="36" y="63"/>
                  <a:pt x="36" y="64"/>
                  <a:pt x="36" y="64"/>
                </a:cubicBezTo>
                <a:cubicBezTo>
                  <a:pt x="36" y="63"/>
                  <a:pt x="36" y="63"/>
                  <a:pt x="36" y="63"/>
                </a:cubicBezTo>
                <a:cubicBezTo>
                  <a:pt x="36" y="63"/>
                  <a:pt x="36" y="63"/>
                  <a:pt x="36" y="63"/>
                </a:cubicBezTo>
                <a:cubicBezTo>
                  <a:pt x="36" y="63"/>
                  <a:pt x="36" y="63"/>
                  <a:pt x="36" y="63"/>
                </a:cubicBezTo>
                <a:close/>
                <a:moveTo>
                  <a:pt x="36" y="63"/>
                </a:moveTo>
                <a:cubicBezTo>
                  <a:pt x="36" y="63"/>
                  <a:pt x="36" y="63"/>
                  <a:pt x="36" y="63"/>
                </a:cubicBezTo>
                <a:cubicBezTo>
                  <a:pt x="36" y="63"/>
                  <a:pt x="36" y="63"/>
                  <a:pt x="36" y="63"/>
                </a:cubicBezTo>
                <a:cubicBezTo>
                  <a:pt x="36" y="63"/>
                  <a:pt x="35" y="64"/>
                  <a:pt x="35" y="64"/>
                </a:cubicBezTo>
                <a:cubicBezTo>
                  <a:pt x="35" y="64"/>
                  <a:pt x="35" y="64"/>
                  <a:pt x="35" y="63"/>
                </a:cubicBezTo>
                <a:cubicBezTo>
                  <a:pt x="35" y="63"/>
                  <a:pt x="36" y="63"/>
                  <a:pt x="36" y="63"/>
                </a:cubicBezTo>
                <a:cubicBezTo>
                  <a:pt x="36" y="63"/>
                  <a:pt x="36" y="63"/>
                  <a:pt x="36" y="63"/>
                </a:cubicBezTo>
                <a:cubicBezTo>
                  <a:pt x="36" y="63"/>
                  <a:pt x="36" y="63"/>
                  <a:pt x="36" y="63"/>
                </a:cubicBezTo>
                <a:cubicBezTo>
                  <a:pt x="36" y="63"/>
                  <a:pt x="36" y="63"/>
                  <a:pt x="36" y="63"/>
                </a:cubicBezTo>
                <a:close/>
                <a:moveTo>
                  <a:pt x="28" y="61"/>
                </a:moveTo>
                <a:cubicBezTo>
                  <a:pt x="28" y="60"/>
                  <a:pt x="28" y="60"/>
                  <a:pt x="28" y="60"/>
                </a:cubicBezTo>
                <a:cubicBezTo>
                  <a:pt x="28" y="60"/>
                  <a:pt x="28" y="60"/>
                  <a:pt x="28" y="60"/>
                </a:cubicBezTo>
                <a:cubicBezTo>
                  <a:pt x="28" y="60"/>
                  <a:pt x="28" y="60"/>
                  <a:pt x="28" y="60"/>
                </a:cubicBezTo>
                <a:cubicBezTo>
                  <a:pt x="28" y="60"/>
                  <a:pt x="28" y="60"/>
                  <a:pt x="28" y="60"/>
                </a:cubicBezTo>
                <a:cubicBezTo>
                  <a:pt x="28" y="60"/>
                  <a:pt x="28" y="60"/>
                  <a:pt x="28" y="61"/>
                </a:cubicBezTo>
                <a:close/>
                <a:moveTo>
                  <a:pt x="27" y="60"/>
                </a:moveTo>
                <a:cubicBezTo>
                  <a:pt x="27" y="60"/>
                  <a:pt x="27" y="60"/>
                  <a:pt x="27" y="59"/>
                </a:cubicBezTo>
                <a:cubicBezTo>
                  <a:pt x="27" y="59"/>
                  <a:pt x="27" y="59"/>
                  <a:pt x="27" y="59"/>
                </a:cubicBezTo>
                <a:cubicBezTo>
                  <a:pt x="27" y="59"/>
                  <a:pt x="27" y="59"/>
                  <a:pt x="27" y="59"/>
                </a:cubicBezTo>
                <a:cubicBezTo>
                  <a:pt x="27" y="59"/>
                  <a:pt x="27" y="59"/>
                  <a:pt x="27" y="59"/>
                </a:cubicBezTo>
                <a:cubicBezTo>
                  <a:pt x="27" y="59"/>
                  <a:pt x="27" y="59"/>
                  <a:pt x="27" y="60"/>
                </a:cubicBezTo>
                <a:close/>
                <a:moveTo>
                  <a:pt x="26" y="61"/>
                </a:moveTo>
                <a:cubicBezTo>
                  <a:pt x="26" y="61"/>
                  <a:pt x="26" y="61"/>
                  <a:pt x="26" y="61"/>
                </a:cubicBezTo>
                <a:cubicBezTo>
                  <a:pt x="26" y="61"/>
                  <a:pt x="26" y="62"/>
                  <a:pt x="26" y="62"/>
                </a:cubicBezTo>
                <a:cubicBezTo>
                  <a:pt x="26" y="61"/>
                  <a:pt x="26" y="60"/>
                  <a:pt x="26" y="60"/>
                </a:cubicBezTo>
                <a:cubicBezTo>
                  <a:pt x="27" y="60"/>
                  <a:pt x="26" y="60"/>
                  <a:pt x="26" y="60"/>
                </a:cubicBezTo>
                <a:cubicBezTo>
                  <a:pt x="26" y="60"/>
                  <a:pt x="27" y="60"/>
                  <a:pt x="27" y="60"/>
                </a:cubicBezTo>
                <a:cubicBezTo>
                  <a:pt x="27" y="60"/>
                  <a:pt x="27" y="60"/>
                  <a:pt x="26" y="60"/>
                </a:cubicBezTo>
                <a:cubicBezTo>
                  <a:pt x="26" y="60"/>
                  <a:pt x="26" y="60"/>
                  <a:pt x="26" y="60"/>
                </a:cubicBezTo>
                <a:cubicBezTo>
                  <a:pt x="26" y="61"/>
                  <a:pt x="26" y="61"/>
                  <a:pt x="26" y="61"/>
                </a:cubicBezTo>
                <a:cubicBezTo>
                  <a:pt x="26" y="61"/>
                  <a:pt x="26" y="61"/>
                  <a:pt x="26" y="61"/>
                </a:cubicBezTo>
                <a:cubicBezTo>
                  <a:pt x="26" y="61"/>
                  <a:pt x="26" y="61"/>
                  <a:pt x="26" y="61"/>
                </a:cubicBezTo>
                <a:close/>
                <a:moveTo>
                  <a:pt x="28" y="61"/>
                </a:moveTo>
                <a:cubicBezTo>
                  <a:pt x="28" y="60"/>
                  <a:pt x="28" y="61"/>
                  <a:pt x="28" y="61"/>
                </a:cubicBezTo>
                <a:cubicBezTo>
                  <a:pt x="28" y="61"/>
                  <a:pt x="28" y="61"/>
                  <a:pt x="28" y="60"/>
                </a:cubicBezTo>
                <a:cubicBezTo>
                  <a:pt x="28" y="60"/>
                  <a:pt x="28" y="61"/>
                  <a:pt x="28" y="61"/>
                </a:cubicBezTo>
                <a:close/>
                <a:moveTo>
                  <a:pt x="27" y="63"/>
                </a:moveTo>
                <a:cubicBezTo>
                  <a:pt x="27" y="63"/>
                  <a:pt x="28" y="62"/>
                  <a:pt x="28" y="61"/>
                </a:cubicBezTo>
                <a:cubicBezTo>
                  <a:pt x="28" y="62"/>
                  <a:pt x="28" y="62"/>
                  <a:pt x="28" y="62"/>
                </a:cubicBezTo>
                <a:cubicBezTo>
                  <a:pt x="28" y="62"/>
                  <a:pt x="28" y="62"/>
                  <a:pt x="28" y="62"/>
                </a:cubicBezTo>
                <a:cubicBezTo>
                  <a:pt x="28" y="62"/>
                  <a:pt x="28" y="61"/>
                  <a:pt x="28" y="61"/>
                </a:cubicBezTo>
                <a:cubicBezTo>
                  <a:pt x="29" y="61"/>
                  <a:pt x="28" y="61"/>
                  <a:pt x="29" y="61"/>
                </a:cubicBezTo>
                <a:cubicBezTo>
                  <a:pt x="28" y="62"/>
                  <a:pt x="28" y="62"/>
                  <a:pt x="28" y="62"/>
                </a:cubicBezTo>
                <a:cubicBezTo>
                  <a:pt x="28" y="62"/>
                  <a:pt x="28" y="62"/>
                  <a:pt x="29" y="62"/>
                </a:cubicBezTo>
                <a:cubicBezTo>
                  <a:pt x="29" y="62"/>
                  <a:pt x="29" y="62"/>
                  <a:pt x="29" y="62"/>
                </a:cubicBezTo>
                <a:cubicBezTo>
                  <a:pt x="29" y="61"/>
                  <a:pt x="29" y="62"/>
                  <a:pt x="29" y="61"/>
                </a:cubicBezTo>
                <a:cubicBezTo>
                  <a:pt x="29" y="61"/>
                  <a:pt x="29" y="62"/>
                  <a:pt x="29" y="62"/>
                </a:cubicBezTo>
                <a:cubicBezTo>
                  <a:pt x="29" y="61"/>
                  <a:pt x="29" y="62"/>
                  <a:pt x="29" y="62"/>
                </a:cubicBezTo>
                <a:cubicBezTo>
                  <a:pt x="29" y="62"/>
                  <a:pt x="29" y="62"/>
                  <a:pt x="29" y="62"/>
                </a:cubicBezTo>
                <a:cubicBezTo>
                  <a:pt x="29" y="62"/>
                  <a:pt x="29" y="62"/>
                  <a:pt x="29" y="62"/>
                </a:cubicBezTo>
                <a:cubicBezTo>
                  <a:pt x="29" y="62"/>
                  <a:pt x="29" y="62"/>
                  <a:pt x="29" y="62"/>
                </a:cubicBezTo>
                <a:cubicBezTo>
                  <a:pt x="29" y="63"/>
                  <a:pt x="29" y="63"/>
                  <a:pt x="29" y="63"/>
                </a:cubicBezTo>
                <a:cubicBezTo>
                  <a:pt x="29" y="63"/>
                  <a:pt x="29" y="63"/>
                  <a:pt x="29" y="63"/>
                </a:cubicBezTo>
                <a:cubicBezTo>
                  <a:pt x="29" y="63"/>
                  <a:pt x="28" y="63"/>
                  <a:pt x="28" y="63"/>
                </a:cubicBezTo>
                <a:cubicBezTo>
                  <a:pt x="28" y="63"/>
                  <a:pt x="28" y="63"/>
                  <a:pt x="29" y="63"/>
                </a:cubicBezTo>
                <a:cubicBezTo>
                  <a:pt x="28" y="63"/>
                  <a:pt x="28" y="63"/>
                  <a:pt x="28" y="63"/>
                </a:cubicBezTo>
                <a:cubicBezTo>
                  <a:pt x="28" y="63"/>
                  <a:pt x="28" y="63"/>
                  <a:pt x="28" y="63"/>
                </a:cubicBezTo>
                <a:cubicBezTo>
                  <a:pt x="28" y="63"/>
                  <a:pt x="28" y="63"/>
                  <a:pt x="28" y="63"/>
                </a:cubicBezTo>
                <a:cubicBezTo>
                  <a:pt x="28" y="63"/>
                  <a:pt x="28" y="63"/>
                  <a:pt x="28" y="63"/>
                </a:cubicBezTo>
                <a:cubicBezTo>
                  <a:pt x="28" y="63"/>
                  <a:pt x="28" y="63"/>
                  <a:pt x="28" y="63"/>
                </a:cubicBezTo>
                <a:cubicBezTo>
                  <a:pt x="28" y="64"/>
                  <a:pt x="28" y="64"/>
                  <a:pt x="28" y="64"/>
                </a:cubicBezTo>
                <a:cubicBezTo>
                  <a:pt x="28" y="64"/>
                  <a:pt x="28" y="64"/>
                  <a:pt x="28" y="64"/>
                </a:cubicBezTo>
                <a:cubicBezTo>
                  <a:pt x="28" y="64"/>
                  <a:pt x="27" y="64"/>
                  <a:pt x="27" y="65"/>
                </a:cubicBezTo>
                <a:cubicBezTo>
                  <a:pt x="27" y="65"/>
                  <a:pt x="27" y="64"/>
                  <a:pt x="27" y="64"/>
                </a:cubicBezTo>
                <a:cubicBezTo>
                  <a:pt x="27" y="64"/>
                  <a:pt x="27" y="64"/>
                  <a:pt x="27" y="64"/>
                </a:cubicBezTo>
                <a:cubicBezTo>
                  <a:pt x="27" y="64"/>
                  <a:pt x="28" y="64"/>
                  <a:pt x="28" y="64"/>
                </a:cubicBezTo>
                <a:cubicBezTo>
                  <a:pt x="28" y="63"/>
                  <a:pt x="28" y="63"/>
                  <a:pt x="28" y="63"/>
                </a:cubicBezTo>
                <a:cubicBezTo>
                  <a:pt x="28" y="63"/>
                  <a:pt x="28" y="63"/>
                  <a:pt x="28" y="63"/>
                </a:cubicBezTo>
                <a:cubicBezTo>
                  <a:pt x="28" y="63"/>
                  <a:pt x="28" y="63"/>
                  <a:pt x="28" y="63"/>
                </a:cubicBezTo>
                <a:cubicBezTo>
                  <a:pt x="28" y="63"/>
                  <a:pt x="28" y="63"/>
                  <a:pt x="28" y="63"/>
                </a:cubicBezTo>
                <a:cubicBezTo>
                  <a:pt x="28" y="63"/>
                  <a:pt x="27" y="63"/>
                  <a:pt x="27" y="63"/>
                </a:cubicBezTo>
                <a:cubicBezTo>
                  <a:pt x="27" y="63"/>
                  <a:pt x="27" y="63"/>
                  <a:pt x="27" y="64"/>
                </a:cubicBezTo>
                <a:cubicBezTo>
                  <a:pt x="27" y="63"/>
                  <a:pt x="27" y="63"/>
                  <a:pt x="27" y="63"/>
                </a:cubicBezTo>
                <a:close/>
                <a:moveTo>
                  <a:pt x="27" y="61"/>
                </a:moveTo>
                <a:cubicBezTo>
                  <a:pt x="27" y="62"/>
                  <a:pt x="27" y="61"/>
                  <a:pt x="27" y="61"/>
                </a:cubicBezTo>
                <a:cubicBezTo>
                  <a:pt x="27" y="61"/>
                  <a:pt x="27" y="61"/>
                  <a:pt x="27" y="61"/>
                </a:cubicBezTo>
                <a:cubicBezTo>
                  <a:pt x="27" y="61"/>
                  <a:pt x="27" y="61"/>
                  <a:pt x="27" y="61"/>
                </a:cubicBezTo>
                <a:cubicBezTo>
                  <a:pt x="27" y="61"/>
                  <a:pt x="27" y="61"/>
                  <a:pt x="27" y="61"/>
                </a:cubicBezTo>
                <a:cubicBezTo>
                  <a:pt x="27" y="61"/>
                  <a:pt x="27" y="61"/>
                  <a:pt x="27" y="61"/>
                </a:cubicBezTo>
                <a:cubicBezTo>
                  <a:pt x="27" y="61"/>
                  <a:pt x="27" y="61"/>
                  <a:pt x="27" y="61"/>
                </a:cubicBezTo>
                <a:cubicBezTo>
                  <a:pt x="27" y="61"/>
                  <a:pt x="27" y="61"/>
                  <a:pt x="28" y="61"/>
                </a:cubicBezTo>
                <a:cubicBezTo>
                  <a:pt x="27" y="61"/>
                  <a:pt x="27" y="61"/>
                  <a:pt x="27" y="61"/>
                </a:cubicBezTo>
                <a:close/>
                <a:moveTo>
                  <a:pt x="28" y="63"/>
                </a:moveTo>
                <a:cubicBezTo>
                  <a:pt x="28" y="63"/>
                  <a:pt x="29" y="63"/>
                  <a:pt x="29" y="63"/>
                </a:cubicBezTo>
                <a:cubicBezTo>
                  <a:pt x="29" y="63"/>
                  <a:pt x="28" y="64"/>
                  <a:pt x="29" y="63"/>
                </a:cubicBezTo>
                <a:cubicBezTo>
                  <a:pt x="29" y="64"/>
                  <a:pt x="28" y="64"/>
                  <a:pt x="28" y="64"/>
                </a:cubicBezTo>
                <a:cubicBezTo>
                  <a:pt x="28" y="64"/>
                  <a:pt x="28" y="64"/>
                  <a:pt x="28" y="63"/>
                </a:cubicBezTo>
                <a:close/>
                <a:moveTo>
                  <a:pt x="30" y="67"/>
                </a:moveTo>
                <a:cubicBezTo>
                  <a:pt x="30" y="67"/>
                  <a:pt x="30" y="68"/>
                  <a:pt x="30" y="68"/>
                </a:cubicBezTo>
                <a:cubicBezTo>
                  <a:pt x="30" y="68"/>
                  <a:pt x="30" y="68"/>
                  <a:pt x="30" y="68"/>
                </a:cubicBezTo>
                <a:cubicBezTo>
                  <a:pt x="30" y="68"/>
                  <a:pt x="30" y="68"/>
                  <a:pt x="30" y="67"/>
                </a:cubicBezTo>
                <a:close/>
                <a:moveTo>
                  <a:pt x="25" y="66"/>
                </a:moveTo>
                <a:cubicBezTo>
                  <a:pt x="25" y="66"/>
                  <a:pt x="25" y="66"/>
                  <a:pt x="25" y="66"/>
                </a:cubicBezTo>
                <a:cubicBezTo>
                  <a:pt x="25" y="66"/>
                  <a:pt x="25" y="66"/>
                  <a:pt x="25" y="67"/>
                </a:cubicBezTo>
                <a:cubicBezTo>
                  <a:pt x="24" y="66"/>
                  <a:pt x="24" y="67"/>
                  <a:pt x="24" y="67"/>
                </a:cubicBezTo>
                <a:cubicBezTo>
                  <a:pt x="24" y="67"/>
                  <a:pt x="24" y="67"/>
                  <a:pt x="24" y="67"/>
                </a:cubicBezTo>
                <a:cubicBezTo>
                  <a:pt x="24" y="67"/>
                  <a:pt x="24" y="66"/>
                  <a:pt x="24" y="66"/>
                </a:cubicBezTo>
                <a:cubicBezTo>
                  <a:pt x="24" y="66"/>
                  <a:pt x="24" y="66"/>
                  <a:pt x="24" y="66"/>
                </a:cubicBezTo>
                <a:cubicBezTo>
                  <a:pt x="25" y="66"/>
                  <a:pt x="25" y="66"/>
                  <a:pt x="25" y="66"/>
                </a:cubicBezTo>
                <a:cubicBezTo>
                  <a:pt x="24" y="66"/>
                  <a:pt x="24" y="66"/>
                  <a:pt x="24" y="66"/>
                </a:cubicBezTo>
                <a:cubicBezTo>
                  <a:pt x="25" y="66"/>
                  <a:pt x="25" y="66"/>
                  <a:pt x="25" y="66"/>
                </a:cubicBezTo>
                <a:cubicBezTo>
                  <a:pt x="25" y="66"/>
                  <a:pt x="25" y="66"/>
                  <a:pt x="25" y="66"/>
                </a:cubicBezTo>
                <a:cubicBezTo>
                  <a:pt x="25" y="66"/>
                  <a:pt x="25" y="66"/>
                  <a:pt x="25" y="65"/>
                </a:cubicBezTo>
                <a:cubicBezTo>
                  <a:pt x="25" y="66"/>
                  <a:pt x="25" y="66"/>
                  <a:pt x="25" y="66"/>
                </a:cubicBezTo>
                <a:cubicBezTo>
                  <a:pt x="25" y="66"/>
                  <a:pt x="25" y="66"/>
                  <a:pt x="25" y="66"/>
                </a:cubicBezTo>
                <a:close/>
                <a:moveTo>
                  <a:pt x="25" y="66"/>
                </a:moveTo>
                <a:cubicBezTo>
                  <a:pt x="24" y="66"/>
                  <a:pt x="24" y="66"/>
                  <a:pt x="24" y="66"/>
                </a:cubicBezTo>
                <a:cubicBezTo>
                  <a:pt x="24" y="66"/>
                  <a:pt x="24" y="66"/>
                  <a:pt x="24" y="66"/>
                </a:cubicBezTo>
                <a:cubicBezTo>
                  <a:pt x="25" y="66"/>
                  <a:pt x="25" y="66"/>
                  <a:pt x="25" y="66"/>
                </a:cubicBezTo>
                <a:close/>
                <a:moveTo>
                  <a:pt x="32" y="71"/>
                </a:moveTo>
                <a:cubicBezTo>
                  <a:pt x="32" y="71"/>
                  <a:pt x="32" y="71"/>
                  <a:pt x="32" y="71"/>
                </a:cubicBezTo>
                <a:cubicBezTo>
                  <a:pt x="32" y="71"/>
                  <a:pt x="32" y="71"/>
                  <a:pt x="32" y="71"/>
                </a:cubicBezTo>
                <a:close/>
                <a:moveTo>
                  <a:pt x="27" y="70"/>
                </a:moveTo>
                <a:cubicBezTo>
                  <a:pt x="27" y="70"/>
                  <a:pt x="27" y="70"/>
                  <a:pt x="27" y="70"/>
                </a:cubicBezTo>
                <a:cubicBezTo>
                  <a:pt x="27" y="70"/>
                  <a:pt x="27" y="70"/>
                  <a:pt x="27" y="70"/>
                </a:cubicBezTo>
                <a:cubicBezTo>
                  <a:pt x="27" y="70"/>
                  <a:pt x="28" y="69"/>
                  <a:pt x="27" y="69"/>
                </a:cubicBezTo>
                <a:cubicBezTo>
                  <a:pt x="27" y="69"/>
                  <a:pt x="28" y="69"/>
                  <a:pt x="28" y="70"/>
                </a:cubicBezTo>
                <a:cubicBezTo>
                  <a:pt x="28" y="70"/>
                  <a:pt x="27" y="70"/>
                  <a:pt x="28" y="70"/>
                </a:cubicBezTo>
                <a:cubicBezTo>
                  <a:pt x="27" y="70"/>
                  <a:pt x="27" y="70"/>
                  <a:pt x="27" y="71"/>
                </a:cubicBezTo>
                <a:cubicBezTo>
                  <a:pt x="27" y="70"/>
                  <a:pt x="27" y="70"/>
                  <a:pt x="27" y="70"/>
                </a:cubicBezTo>
                <a:cubicBezTo>
                  <a:pt x="27" y="70"/>
                  <a:pt x="27" y="70"/>
                  <a:pt x="27" y="70"/>
                </a:cubicBezTo>
                <a:cubicBezTo>
                  <a:pt x="27" y="70"/>
                  <a:pt x="27" y="70"/>
                  <a:pt x="27" y="70"/>
                </a:cubicBezTo>
                <a:cubicBezTo>
                  <a:pt x="27" y="71"/>
                  <a:pt x="26" y="71"/>
                  <a:pt x="26" y="71"/>
                </a:cubicBezTo>
                <a:cubicBezTo>
                  <a:pt x="26" y="71"/>
                  <a:pt x="26" y="71"/>
                  <a:pt x="27" y="71"/>
                </a:cubicBezTo>
                <a:cubicBezTo>
                  <a:pt x="26" y="70"/>
                  <a:pt x="27" y="70"/>
                  <a:pt x="27" y="70"/>
                </a:cubicBezTo>
                <a:close/>
                <a:moveTo>
                  <a:pt x="28" y="69"/>
                </a:moveTo>
                <a:cubicBezTo>
                  <a:pt x="28" y="69"/>
                  <a:pt x="28" y="69"/>
                  <a:pt x="28" y="69"/>
                </a:cubicBezTo>
                <a:cubicBezTo>
                  <a:pt x="28" y="69"/>
                  <a:pt x="28" y="69"/>
                  <a:pt x="28" y="69"/>
                </a:cubicBezTo>
                <a:cubicBezTo>
                  <a:pt x="28" y="69"/>
                  <a:pt x="28" y="69"/>
                  <a:pt x="28" y="69"/>
                </a:cubicBezTo>
                <a:cubicBezTo>
                  <a:pt x="28" y="69"/>
                  <a:pt x="28" y="69"/>
                  <a:pt x="28" y="69"/>
                </a:cubicBezTo>
                <a:cubicBezTo>
                  <a:pt x="28" y="69"/>
                  <a:pt x="28" y="69"/>
                  <a:pt x="28" y="69"/>
                </a:cubicBezTo>
                <a:cubicBezTo>
                  <a:pt x="28" y="69"/>
                  <a:pt x="28" y="69"/>
                  <a:pt x="28" y="69"/>
                </a:cubicBezTo>
                <a:close/>
                <a:moveTo>
                  <a:pt x="32" y="72"/>
                </a:moveTo>
                <a:cubicBezTo>
                  <a:pt x="32" y="72"/>
                  <a:pt x="32" y="72"/>
                  <a:pt x="32" y="71"/>
                </a:cubicBezTo>
                <a:cubicBezTo>
                  <a:pt x="32" y="71"/>
                  <a:pt x="32" y="72"/>
                  <a:pt x="32" y="72"/>
                </a:cubicBezTo>
                <a:cubicBezTo>
                  <a:pt x="32" y="72"/>
                  <a:pt x="32" y="72"/>
                  <a:pt x="32" y="72"/>
                </a:cubicBezTo>
                <a:cubicBezTo>
                  <a:pt x="32" y="71"/>
                  <a:pt x="32" y="72"/>
                  <a:pt x="32" y="72"/>
                </a:cubicBezTo>
                <a:cubicBezTo>
                  <a:pt x="32" y="72"/>
                  <a:pt x="32" y="72"/>
                  <a:pt x="32" y="72"/>
                </a:cubicBezTo>
                <a:cubicBezTo>
                  <a:pt x="32" y="72"/>
                  <a:pt x="32" y="72"/>
                  <a:pt x="31" y="72"/>
                </a:cubicBezTo>
                <a:cubicBezTo>
                  <a:pt x="31" y="72"/>
                  <a:pt x="32" y="72"/>
                  <a:pt x="32" y="72"/>
                </a:cubicBezTo>
                <a:close/>
                <a:moveTo>
                  <a:pt x="24" y="68"/>
                </a:moveTo>
                <a:cubicBezTo>
                  <a:pt x="24" y="68"/>
                  <a:pt x="23" y="69"/>
                  <a:pt x="23" y="69"/>
                </a:cubicBezTo>
                <a:cubicBezTo>
                  <a:pt x="23" y="69"/>
                  <a:pt x="23" y="68"/>
                  <a:pt x="23" y="69"/>
                </a:cubicBezTo>
                <a:cubicBezTo>
                  <a:pt x="23" y="69"/>
                  <a:pt x="23" y="68"/>
                  <a:pt x="23" y="68"/>
                </a:cubicBezTo>
                <a:cubicBezTo>
                  <a:pt x="23" y="68"/>
                  <a:pt x="23" y="69"/>
                  <a:pt x="23" y="69"/>
                </a:cubicBezTo>
                <a:cubicBezTo>
                  <a:pt x="23" y="69"/>
                  <a:pt x="23" y="69"/>
                  <a:pt x="23" y="69"/>
                </a:cubicBezTo>
                <a:cubicBezTo>
                  <a:pt x="23" y="69"/>
                  <a:pt x="23" y="68"/>
                  <a:pt x="23" y="69"/>
                </a:cubicBezTo>
                <a:cubicBezTo>
                  <a:pt x="23" y="68"/>
                  <a:pt x="23" y="68"/>
                  <a:pt x="23" y="68"/>
                </a:cubicBezTo>
                <a:cubicBezTo>
                  <a:pt x="23" y="68"/>
                  <a:pt x="23" y="68"/>
                  <a:pt x="23" y="68"/>
                </a:cubicBezTo>
                <a:cubicBezTo>
                  <a:pt x="23" y="68"/>
                  <a:pt x="23" y="68"/>
                  <a:pt x="23" y="67"/>
                </a:cubicBezTo>
                <a:cubicBezTo>
                  <a:pt x="23" y="68"/>
                  <a:pt x="23" y="68"/>
                  <a:pt x="23" y="68"/>
                </a:cubicBezTo>
                <a:cubicBezTo>
                  <a:pt x="23" y="68"/>
                  <a:pt x="23" y="68"/>
                  <a:pt x="24" y="68"/>
                </a:cubicBezTo>
                <a:close/>
                <a:moveTo>
                  <a:pt x="32" y="73"/>
                </a:moveTo>
                <a:cubicBezTo>
                  <a:pt x="32" y="73"/>
                  <a:pt x="32" y="73"/>
                  <a:pt x="32" y="73"/>
                </a:cubicBezTo>
                <a:cubicBezTo>
                  <a:pt x="32" y="73"/>
                  <a:pt x="32" y="72"/>
                  <a:pt x="33" y="72"/>
                </a:cubicBezTo>
                <a:cubicBezTo>
                  <a:pt x="33" y="72"/>
                  <a:pt x="32" y="73"/>
                  <a:pt x="32" y="73"/>
                </a:cubicBezTo>
                <a:close/>
                <a:moveTo>
                  <a:pt x="28" y="76"/>
                </a:moveTo>
                <a:cubicBezTo>
                  <a:pt x="29" y="76"/>
                  <a:pt x="28" y="76"/>
                  <a:pt x="28" y="76"/>
                </a:cubicBezTo>
                <a:cubicBezTo>
                  <a:pt x="28" y="76"/>
                  <a:pt x="28" y="76"/>
                  <a:pt x="28" y="76"/>
                </a:cubicBezTo>
                <a:cubicBezTo>
                  <a:pt x="28" y="76"/>
                  <a:pt x="29" y="76"/>
                  <a:pt x="28" y="76"/>
                </a:cubicBezTo>
                <a:cubicBezTo>
                  <a:pt x="28" y="76"/>
                  <a:pt x="28" y="76"/>
                  <a:pt x="28" y="76"/>
                </a:cubicBezTo>
                <a:cubicBezTo>
                  <a:pt x="28" y="75"/>
                  <a:pt x="28" y="75"/>
                  <a:pt x="28" y="75"/>
                </a:cubicBezTo>
                <a:cubicBezTo>
                  <a:pt x="28" y="76"/>
                  <a:pt x="29" y="75"/>
                  <a:pt x="29" y="75"/>
                </a:cubicBezTo>
                <a:cubicBezTo>
                  <a:pt x="29" y="76"/>
                  <a:pt x="28" y="76"/>
                  <a:pt x="28" y="76"/>
                </a:cubicBezTo>
                <a:close/>
                <a:moveTo>
                  <a:pt x="26" y="79"/>
                </a:moveTo>
                <a:cubicBezTo>
                  <a:pt x="26" y="79"/>
                  <a:pt x="26" y="79"/>
                  <a:pt x="26" y="79"/>
                </a:cubicBezTo>
                <a:cubicBezTo>
                  <a:pt x="26" y="78"/>
                  <a:pt x="27" y="78"/>
                  <a:pt x="27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27" y="78"/>
                  <a:pt x="26" y="79"/>
                  <a:pt x="26" y="79"/>
                </a:cubicBezTo>
                <a:cubicBezTo>
                  <a:pt x="26" y="79"/>
                  <a:pt x="26" y="79"/>
                  <a:pt x="26" y="79"/>
                </a:cubicBezTo>
                <a:close/>
                <a:moveTo>
                  <a:pt x="28" y="77"/>
                </a:moveTo>
                <a:cubicBezTo>
                  <a:pt x="28" y="77"/>
                  <a:pt x="28" y="77"/>
                  <a:pt x="28" y="77"/>
                </a:cubicBezTo>
                <a:cubicBezTo>
                  <a:pt x="28" y="77"/>
                  <a:pt x="28" y="77"/>
                  <a:pt x="28" y="77"/>
                </a:cubicBezTo>
                <a:cubicBezTo>
                  <a:pt x="28" y="77"/>
                  <a:pt x="28" y="77"/>
                  <a:pt x="28" y="77"/>
                </a:cubicBezTo>
                <a:cubicBezTo>
                  <a:pt x="28" y="77"/>
                  <a:pt x="28" y="77"/>
                  <a:pt x="28" y="77"/>
                </a:cubicBezTo>
                <a:close/>
                <a:moveTo>
                  <a:pt x="25" y="78"/>
                </a:moveTo>
                <a:cubicBezTo>
                  <a:pt x="25" y="78"/>
                  <a:pt x="25" y="77"/>
                  <a:pt x="26" y="77"/>
                </a:cubicBezTo>
                <a:cubicBezTo>
                  <a:pt x="26" y="77"/>
                  <a:pt x="25" y="78"/>
                  <a:pt x="26" y="78"/>
                </a:cubicBezTo>
                <a:cubicBezTo>
                  <a:pt x="26" y="78"/>
                  <a:pt x="26" y="77"/>
                  <a:pt x="26" y="77"/>
                </a:cubicBezTo>
                <a:cubicBezTo>
                  <a:pt x="26" y="78"/>
                  <a:pt x="25" y="78"/>
                  <a:pt x="25" y="78"/>
                </a:cubicBezTo>
                <a:close/>
                <a:moveTo>
                  <a:pt x="25" y="79"/>
                </a:moveTo>
                <a:cubicBezTo>
                  <a:pt x="25" y="79"/>
                  <a:pt x="25" y="79"/>
                  <a:pt x="25" y="79"/>
                </a:cubicBezTo>
                <a:cubicBezTo>
                  <a:pt x="25" y="79"/>
                  <a:pt x="25" y="79"/>
                  <a:pt x="25" y="79"/>
                </a:cubicBezTo>
                <a:cubicBezTo>
                  <a:pt x="25" y="79"/>
                  <a:pt x="25" y="79"/>
                  <a:pt x="25" y="80"/>
                </a:cubicBezTo>
                <a:cubicBezTo>
                  <a:pt x="25" y="79"/>
                  <a:pt x="25" y="79"/>
                  <a:pt x="25" y="80"/>
                </a:cubicBezTo>
                <a:cubicBezTo>
                  <a:pt x="25" y="79"/>
                  <a:pt x="25" y="79"/>
                  <a:pt x="25" y="79"/>
                </a:cubicBezTo>
                <a:cubicBezTo>
                  <a:pt x="25" y="79"/>
                  <a:pt x="25" y="80"/>
                  <a:pt x="25" y="80"/>
                </a:cubicBezTo>
                <a:cubicBezTo>
                  <a:pt x="25" y="80"/>
                  <a:pt x="25" y="80"/>
                  <a:pt x="25" y="79"/>
                </a:cubicBezTo>
                <a:cubicBezTo>
                  <a:pt x="25" y="79"/>
                  <a:pt x="25" y="79"/>
                  <a:pt x="25" y="80"/>
                </a:cubicBezTo>
                <a:cubicBezTo>
                  <a:pt x="24" y="79"/>
                  <a:pt x="25" y="79"/>
                  <a:pt x="25" y="79"/>
                </a:cubicBezTo>
                <a:cubicBezTo>
                  <a:pt x="25" y="79"/>
                  <a:pt x="25" y="79"/>
                  <a:pt x="25" y="79"/>
                </a:cubicBezTo>
                <a:cubicBezTo>
                  <a:pt x="25" y="79"/>
                  <a:pt x="25" y="78"/>
                  <a:pt x="25" y="78"/>
                </a:cubicBezTo>
                <a:cubicBezTo>
                  <a:pt x="25" y="79"/>
                  <a:pt x="25" y="79"/>
                  <a:pt x="25" y="79"/>
                </a:cubicBezTo>
                <a:cubicBezTo>
                  <a:pt x="25" y="79"/>
                  <a:pt x="26" y="79"/>
                  <a:pt x="25" y="79"/>
                </a:cubicBezTo>
                <a:cubicBezTo>
                  <a:pt x="25" y="78"/>
                  <a:pt x="26" y="79"/>
                  <a:pt x="26" y="79"/>
                </a:cubicBezTo>
                <a:cubicBezTo>
                  <a:pt x="26" y="78"/>
                  <a:pt x="26" y="78"/>
                  <a:pt x="26" y="78"/>
                </a:cubicBezTo>
                <a:cubicBezTo>
                  <a:pt x="26" y="78"/>
                  <a:pt x="26" y="78"/>
                  <a:pt x="25" y="78"/>
                </a:cubicBezTo>
                <a:cubicBezTo>
                  <a:pt x="26" y="78"/>
                  <a:pt x="26" y="78"/>
                  <a:pt x="26" y="78"/>
                </a:cubicBezTo>
                <a:cubicBezTo>
                  <a:pt x="25" y="78"/>
                  <a:pt x="25" y="78"/>
                  <a:pt x="25" y="78"/>
                </a:cubicBezTo>
                <a:cubicBezTo>
                  <a:pt x="25" y="78"/>
                  <a:pt x="25" y="78"/>
                  <a:pt x="25" y="78"/>
                </a:cubicBezTo>
                <a:cubicBezTo>
                  <a:pt x="25" y="78"/>
                  <a:pt x="25" y="78"/>
                  <a:pt x="25" y="78"/>
                </a:cubicBezTo>
                <a:cubicBezTo>
                  <a:pt x="25" y="78"/>
                  <a:pt x="26" y="78"/>
                  <a:pt x="26" y="78"/>
                </a:cubicBezTo>
                <a:cubicBezTo>
                  <a:pt x="26" y="78"/>
                  <a:pt x="26" y="78"/>
                  <a:pt x="26" y="78"/>
                </a:cubicBezTo>
                <a:cubicBezTo>
                  <a:pt x="26" y="78"/>
                  <a:pt x="26" y="78"/>
                  <a:pt x="26" y="78"/>
                </a:cubicBezTo>
                <a:cubicBezTo>
                  <a:pt x="26" y="78"/>
                  <a:pt x="26" y="78"/>
                  <a:pt x="26" y="78"/>
                </a:cubicBezTo>
                <a:cubicBezTo>
                  <a:pt x="26" y="77"/>
                  <a:pt x="26" y="77"/>
                  <a:pt x="26" y="77"/>
                </a:cubicBezTo>
                <a:cubicBezTo>
                  <a:pt x="26" y="77"/>
                  <a:pt x="26" y="77"/>
                  <a:pt x="26" y="77"/>
                </a:cubicBezTo>
                <a:cubicBezTo>
                  <a:pt x="26" y="77"/>
                  <a:pt x="26" y="77"/>
                  <a:pt x="26" y="77"/>
                </a:cubicBezTo>
                <a:cubicBezTo>
                  <a:pt x="26" y="77"/>
                  <a:pt x="26" y="77"/>
                  <a:pt x="27" y="77"/>
                </a:cubicBezTo>
                <a:cubicBezTo>
                  <a:pt x="26" y="77"/>
                  <a:pt x="27" y="76"/>
                  <a:pt x="27" y="76"/>
                </a:cubicBezTo>
                <a:cubicBezTo>
                  <a:pt x="27" y="76"/>
                  <a:pt x="27" y="76"/>
                  <a:pt x="27" y="76"/>
                </a:cubicBezTo>
                <a:cubicBezTo>
                  <a:pt x="27" y="76"/>
                  <a:pt x="27" y="76"/>
                  <a:pt x="27" y="77"/>
                </a:cubicBezTo>
                <a:cubicBezTo>
                  <a:pt x="27" y="77"/>
                  <a:pt x="27" y="77"/>
                  <a:pt x="27" y="76"/>
                </a:cubicBezTo>
                <a:cubicBezTo>
                  <a:pt x="27" y="77"/>
                  <a:pt x="27" y="77"/>
                  <a:pt x="27" y="77"/>
                </a:cubicBezTo>
                <a:cubicBezTo>
                  <a:pt x="27" y="77"/>
                  <a:pt x="27" y="77"/>
                  <a:pt x="26" y="77"/>
                </a:cubicBezTo>
                <a:cubicBezTo>
                  <a:pt x="26" y="77"/>
                  <a:pt x="26" y="77"/>
                  <a:pt x="27" y="77"/>
                </a:cubicBezTo>
                <a:cubicBezTo>
                  <a:pt x="26" y="77"/>
                  <a:pt x="26" y="77"/>
                  <a:pt x="26" y="78"/>
                </a:cubicBezTo>
                <a:cubicBezTo>
                  <a:pt x="26" y="78"/>
                  <a:pt x="26" y="78"/>
                  <a:pt x="26" y="78"/>
                </a:cubicBezTo>
                <a:cubicBezTo>
                  <a:pt x="26" y="78"/>
                  <a:pt x="27" y="78"/>
                  <a:pt x="26" y="78"/>
                </a:cubicBezTo>
                <a:cubicBezTo>
                  <a:pt x="27" y="78"/>
                  <a:pt x="26" y="78"/>
                  <a:pt x="26" y="78"/>
                </a:cubicBezTo>
                <a:cubicBezTo>
                  <a:pt x="26" y="78"/>
                  <a:pt x="26" y="78"/>
                  <a:pt x="26" y="78"/>
                </a:cubicBezTo>
                <a:cubicBezTo>
                  <a:pt x="26" y="78"/>
                  <a:pt x="26" y="78"/>
                  <a:pt x="26" y="78"/>
                </a:cubicBezTo>
                <a:cubicBezTo>
                  <a:pt x="26" y="78"/>
                  <a:pt x="26" y="78"/>
                  <a:pt x="26" y="78"/>
                </a:cubicBezTo>
                <a:cubicBezTo>
                  <a:pt x="26" y="78"/>
                  <a:pt x="26" y="78"/>
                  <a:pt x="26" y="78"/>
                </a:cubicBezTo>
                <a:cubicBezTo>
                  <a:pt x="26" y="78"/>
                  <a:pt x="26" y="78"/>
                  <a:pt x="26" y="78"/>
                </a:cubicBezTo>
                <a:cubicBezTo>
                  <a:pt x="26" y="78"/>
                  <a:pt x="26" y="79"/>
                  <a:pt x="26" y="79"/>
                </a:cubicBezTo>
                <a:cubicBezTo>
                  <a:pt x="26" y="79"/>
                  <a:pt x="25" y="79"/>
                  <a:pt x="25" y="79"/>
                </a:cubicBezTo>
                <a:close/>
                <a:moveTo>
                  <a:pt x="26" y="78"/>
                </a:moveTo>
                <a:cubicBezTo>
                  <a:pt x="26" y="78"/>
                  <a:pt x="26" y="78"/>
                  <a:pt x="26" y="78"/>
                </a:cubicBezTo>
                <a:cubicBezTo>
                  <a:pt x="26" y="78"/>
                  <a:pt x="26" y="78"/>
                  <a:pt x="26" y="78"/>
                </a:cubicBezTo>
                <a:cubicBezTo>
                  <a:pt x="26" y="78"/>
                  <a:pt x="26" y="78"/>
                  <a:pt x="26" y="78"/>
                </a:cubicBezTo>
                <a:close/>
                <a:moveTo>
                  <a:pt x="28" y="77"/>
                </a:moveTo>
                <a:cubicBezTo>
                  <a:pt x="28" y="77"/>
                  <a:pt x="28" y="77"/>
                  <a:pt x="28" y="77"/>
                </a:cubicBezTo>
                <a:cubicBezTo>
                  <a:pt x="28" y="77"/>
                  <a:pt x="28" y="76"/>
                  <a:pt x="28" y="77"/>
                </a:cubicBezTo>
                <a:close/>
                <a:moveTo>
                  <a:pt x="26" y="76"/>
                </a:moveTo>
                <a:cubicBezTo>
                  <a:pt x="26" y="77"/>
                  <a:pt x="26" y="77"/>
                  <a:pt x="26" y="77"/>
                </a:cubicBezTo>
                <a:cubicBezTo>
                  <a:pt x="26" y="77"/>
                  <a:pt x="25" y="77"/>
                  <a:pt x="25" y="77"/>
                </a:cubicBezTo>
                <a:cubicBezTo>
                  <a:pt x="25" y="77"/>
                  <a:pt x="26" y="77"/>
                  <a:pt x="25" y="77"/>
                </a:cubicBezTo>
                <a:cubicBezTo>
                  <a:pt x="26" y="77"/>
                  <a:pt x="26" y="76"/>
                  <a:pt x="26" y="76"/>
                </a:cubicBezTo>
                <a:cubicBezTo>
                  <a:pt x="26" y="76"/>
                  <a:pt x="26" y="76"/>
                  <a:pt x="26" y="76"/>
                </a:cubicBezTo>
                <a:cubicBezTo>
                  <a:pt x="26" y="76"/>
                  <a:pt x="26" y="76"/>
                  <a:pt x="26" y="76"/>
                </a:cubicBezTo>
                <a:close/>
                <a:moveTo>
                  <a:pt x="28" y="78"/>
                </a:moveTo>
                <a:cubicBezTo>
                  <a:pt x="29" y="78"/>
                  <a:pt x="28" y="78"/>
                  <a:pt x="28" y="78"/>
                </a:cubicBezTo>
                <a:cubicBezTo>
                  <a:pt x="28" y="78"/>
                  <a:pt x="28" y="78"/>
                  <a:pt x="29" y="78"/>
                </a:cubicBezTo>
                <a:cubicBezTo>
                  <a:pt x="29" y="78"/>
                  <a:pt x="29" y="78"/>
                  <a:pt x="29" y="78"/>
                </a:cubicBezTo>
                <a:cubicBezTo>
                  <a:pt x="29" y="78"/>
                  <a:pt x="29" y="78"/>
                  <a:pt x="29" y="78"/>
                </a:cubicBezTo>
                <a:cubicBezTo>
                  <a:pt x="28" y="78"/>
                  <a:pt x="28" y="78"/>
                  <a:pt x="28" y="78"/>
                </a:cubicBezTo>
                <a:cubicBezTo>
                  <a:pt x="28" y="78"/>
                  <a:pt x="28" y="78"/>
                  <a:pt x="28" y="78"/>
                </a:cubicBezTo>
                <a:cubicBezTo>
                  <a:pt x="28" y="78"/>
                  <a:pt x="28" y="78"/>
                  <a:pt x="28" y="78"/>
                </a:cubicBezTo>
                <a:close/>
                <a:moveTo>
                  <a:pt x="23" y="76"/>
                </a:moveTo>
                <a:cubicBezTo>
                  <a:pt x="23" y="76"/>
                  <a:pt x="23" y="76"/>
                  <a:pt x="23" y="76"/>
                </a:cubicBezTo>
                <a:cubicBezTo>
                  <a:pt x="23" y="76"/>
                  <a:pt x="23" y="76"/>
                  <a:pt x="23" y="76"/>
                </a:cubicBezTo>
                <a:cubicBezTo>
                  <a:pt x="23" y="76"/>
                  <a:pt x="23" y="76"/>
                  <a:pt x="23" y="76"/>
                </a:cubicBezTo>
                <a:close/>
                <a:moveTo>
                  <a:pt x="29" y="78"/>
                </a:moveTo>
                <a:cubicBezTo>
                  <a:pt x="29" y="78"/>
                  <a:pt x="29" y="78"/>
                  <a:pt x="29" y="78"/>
                </a:cubicBezTo>
                <a:cubicBezTo>
                  <a:pt x="29" y="78"/>
                  <a:pt x="29" y="79"/>
                  <a:pt x="28" y="79"/>
                </a:cubicBezTo>
                <a:cubicBezTo>
                  <a:pt x="28" y="79"/>
                  <a:pt x="28" y="79"/>
                  <a:pt x="29" y="79"/>
                </a:cubicBezTo>
                <a:cubicBezTo>
                  <a:pt x="29" y="78"/>
                  <a:pt x="28" y="78"/>
                  <a:pt x="28" y="78"/>
                </a:cubicBezTo>
                <a:cubicBezTo>
                  <a:pt x="28" y="78"/>
                  <a:pt x="29" y="78"/>
                  <a:pt x="29" y="78"/>
                </a:cubicBezTo>
                <a:close/>
                <a:moveTo>
                  <a:pt x="28" y="79"/>
                </a:moveTo>
                <a:cubicBezTo>
                  <a:pt x="28" y="79"/>
                  <a:pt x="28" y="79"/>
                  <a:pt x="28" y="79"/>
                </a:cubicBezTo>
                <a:cubicBezTo>
                  <a:pt x="28" y="79"/>
                  <a:pt x="28" y="79"/>
                  <a:pt x="27" y="79"/>
                </a:cubicBezTo>
                <a:cubicBezTo>
                  <a:pt x="27" y="79"/>
                  <a:pt x="27" y="79"/>
                  <a:pt x="27" y="79"/>
                </a:cubicBezTo>
                <a:cubicBezTo>
                  <a:pt x="27" y="79"/>
                  <a:pt x="27" y="79"/>
                  <a:pt x="28" y="79"/>
                </a:cubicBezTo>
                <a:cubicBezTo>
                  <a:pt x="28" y="79"/>
                  <a:pt x="28" y="79"/>
                  <a:pt x="28" y="79"/>
                </a:cubicBezTo>
                <a:cubicBezTo>
                  <a:pt x="28" y="79"/>
                  <a:pt x="28" y="79"/>
                  <a:pt x="28" y="79"/>
                </a:cubicBezTo>
                <a:cubicBezTo>
                  <a:pt x="28" y="79"/>
                  <a:pt x="28" y="79"/>
                  <a:pt x="28" y="79"/>
                </a:cubicBezTo>
                <a:close/>
                <a:moveTo>
                  <a:pt x="27" y="81"/>
                </a:moveTo>
                <a:cubicBezTo>
                  <a:pt x="27" y="81"/>
                  <a:pt x="27" y="81"/>
                  <a:pt x="26" y="81"/>
                </a:cubicBezTo>
                <a:cubicBezTo>
                  <a:pt x="27" y="81"/>
                  <a:pt x="27" y="80"/>
                  <a:pt x="27" y="80"/>
                </a:cubicBezTo>
                <a:cubicBezTo>
                  <a:pt x="27" y="80"/>
                  <a:pt x="27" y="79"/>
                  <a:pt x="28" y="80"/>
                </a:cubicBezTo>
                <a:cubicBezTo>
                  <a:pt x="28" y="80"/>
                  <a:pt x="28" y="80"/>
                  <a:pt x="28" y="80"/>
                </a:cubicBezTo>
                <a:cubicBezTo>
                  <a:pt x="28" y="80"/>
                  <a:pt x="27" y="80"/>
                  <a:pt x="27" y="81"/>
                </a:cubicBezTo>
                <a:cubicBezTo>
                  <a:pt x="27" y="80"/>
                  <a:pt x="27" y="81"/>
                  <a:pt x="27" y="81"/>
                </a:cubicBezTo>
                <a:cubicBezTo>
                  <a:pt x="27" y="81"/>
                  <a:pt x="27" y="81"/>
                  <a:pt x="27" y="81"/>
                </a:cubicBezTo>
                <a:cubicBezTo>
                  <a:pt x="27" y="81"/>
                  <a:pt x="27" y="81"/>
                  <a:pt x="27" y="81"/>
                </a:cubicBezTo>
                <a:cubicBezTo>
                  <a:pt x="27" y="81"/>
                  <a:pt x="27" y="81"/>
                  <a:pt x="27" y="81"/>
                </a:cubicBezTo>
                <a:cubicBezTo>
                  <a:pt x="27" y="82"/>
                  <a:pt x="26" y="82"/>
                  <a:pt x="26" y="82"/>
                </a:cubicBezTo>
                <a:cubicBezTo>
                  <a:pt x="26" y="82"/>
                  <a:pt x="26" y="82"/>
                  <a:pt x="26" y="82"/>
                </a:cubicBezTo>
                <a:cubicBezTo>
                  <a:pt x="26" y="82"/>
                  <a:pt x="27" y="81"/>
                  <a:pt x="27" y="81"/>
                </a:cubicBezTo>
                <a:cubicBezTo>
                  <a:pt x="27" y="81"/>
                  <a:pt x="27" y="81"/>
                  <a:pt x="27" y="81"/>
                </a:cubicBezTo>
                <a:cubicBezTo>
                  <a:pt x="27" y="81"/>
                  <a:pt x="27" y="81"/>
                  <a:pt x="27" y="81"/>
                </a:cubicBezTo>
                <a:cubicBezTo>
                  <a:pt x="27" y="81"/>
                  <a:pt x="26" y="81"/>
                  <a:pt x="26" y="81"/>
                </a:cubicBezTo>
                <a:cubicBezTo>
                  <a:pt x="26" y="81"/>
                  <a:pt x="26" y="81"/>
                  <a:pt x="27" y="81"/>
                </a:cubicBezTo>
                <a:cubicBezTo>
                  <a:pt x="27" y="81"/>
                  <a:pt x="27" y="81"/>
                  <a:pt x="27" y="81"/>
                </a:cubicBezTo>
                <a:cubicBezTo>
                  <a:pt x="27" y="82"/>
                  <a:pt x="26" y="82"/>
                  <a:pt x="26" y="82"/>
                </a:cubicBezTo>
                <a:cubicBezTo>
                  <a:pt x="26" y="81"/>
                  <a:pt x="26" y="81"/>
                  <a:pt x="27" y="81"/>
                </a:cubicBezTo>
                <a:close/>
                <a:moveTo>
                  <a:pt x="26" y="81"/>
                </a:moveTo>
                <a:cubicBezTo>
                  <a:pt x="26" y="81"/>
                  <a:pt x="25" y="81"/>
                  <a:pt x="25" y="81"/>
                </a:cubicBezTo>
                <a:cubicBezTo>
                  <a:pt x="26" y="81"/>
                  <a:pt x="26" y="81"/>
                  <a:pt x="26" y="81"/>
                </a:cubicBezTo>
                <a:cubicBezTo>
                  <a:pt x="26" y="81"/>
                  <a:pt x="26" y="81"/>
                  <a:pt x="26" y="81"/>
                </a:cubicBezTo>
                <a:cubicBezTo>
                  <a:pt x="26" y="81"/>
                  <a:pt x="26" y="81"/>
                  <a:pt x="26" y="81"/>
                </a:cubicBezTo>
                <a:cubicBezTo>
                  <a:pt x="26" y="81"/>
                  <a:pt x="26" y="81"/>
                  <a:pt x="26" y="81"/>
                </a:cubicBezTo>
                <a:cubicBezTo>
                  <a:pt x="26" y="81"/>
                  <a:pt x="26" y="81"/>
                  <a:pt x="26" y="81"/>
                </a:cubicBezTo>
                <a:cubicBezTo>
                  <a:pt x="26" y="81"/>
                  <a:pt x="25" y="81"/>
                  <a:pt x="25" y="81"/>
                </a:cubicBezTo>
                <a:cubicBezTo>
                  <a:pt x="25" y="81"/>
                  <a:pt x="26" y="81"/>
                  <a:pt x="26" y="81"/>
                </a:cubicBezTo>
                <a:close/>
                <a:moveTo>
                  <a:pt x="26" y="79"/>
                </a:moveTo>
                <a:cubicBezTo>
                  <a:pt x="26" y="79"/>
                  <a:pt x="26" y="80"/>
                  <a:pt x="26" y="80"/>
                </a:cubicBezTo>
                <a:cubicBezTo>
                  <a:pt x="26" y="80"/>
                  <a:pt x="26" y="80"/>
                  <a:pt x="26" y="80"/>
                </a:cubicBezTo>
                <a:cubicBezTo>
                  <a:pt x="26" y="80"/>
                  <a:pt x="26" y="80"/>
                  <a:pt x="26" y="79"/>
                </a:cubicBezTo>
                <a:close/>
                <a:moveTo>
                  <a:pt x="26" y="81"/>
                </a:moveTo>
                <a:cubicBezTo>
                  <a:pt x="25" y="80"/>
                  <a:pt x="26" y="80"/>
                  <a:pt x="26" y="80"/>
                </a:cubicBezTo>
                <a:cubicBezTo>
                  <a:pt x="26" y="80"/>
                  <a:pt x="26" y="80"/>
                  <a:pt x="26" y="80"/>
                </a:cubicBezTo>
                <a:cubicBezTo>
                  <a:pt x="26" y="80"/>
                  <a:pt x="26" y="80"/>
                  <a:pt x="26" y="81"/>
                </a:cubicBezTo>
                <a:close/>
                <a:moveTo>
                  <a:pt x="26" y="80"/>
                </a:moveTo>
                <a:cubicBezTo>
                  <a:pt x="26" y="80"/>
                  <a:pt x="26" y="80"/>
                  <a:pt x="26" y="80"/>
                </a:cubicBezTo>
                <a:cubicBezTo>
                  <a:pt x="26" y="80"/>
                  <a:pt x="25" y="80"/>
                  <a:pt x="25" y="80"/>
                </a:cubicBezTo>
                <a:cubicBezTo>
                  <a:pt x="25" y="80"/>
                  <a:pt x="26" y="80"/>
                  <a:pt x="26" y="80"/>
                </a:cubicBezTo>
                <a:cubicBezTo>
                  <a:pt x="26" y="80"/>
                  <a:pt x="26" y="80"/>
                  <a:pt x="26" y="80"/>
                </a:cubicBezTo>
                <a:close/>
                <a:moveTo>
                  <a:pt x="26" y="80"/>
                </a:moveTo>
                <a:cubicBezTo>
                  <a:pt x="26" y="80"/>
                  <a:pt x="26" y="80"/>
                  <a:pt x="26" y="80"/>
                </a:cubicBezTo>
                <a:cubicBezTo>
                  <a:pt x="26" y="80"/>
                  <a:pt x="26" y="81"/>
                  <a:pt x="26" y="80"/>
                </a:cubicBezTo>
                <a:close/>
                <a:moveTo>
                  <a:pt x="25" y="81"/>
                </a:moveTo>
                <a:cubicBezTo>
                  <a:pt x="25" y="81"/>
                  <a:pt x="25" y="81"/>
                  <a:pt x="24" y="82"/>
                </a:cubicBezTo>
                <a:cubicBezTo>
                  <a:pt x="24" y="82"/>
                  <a:pt x="24" y="81"/>
                  <a:pt x="24" y="81"/>
                </a:cubicBezTo>
                <a:cubicBezTo>
                  <a:pt x="25" y="81"/>
                  <a:pt x="25" y="81"/>
                  <a:pt x="25" y="81"/>
                </a:cubicBezTo>
                <a:cubicBezTo>
                  <a:pt x="25" y="80"/>
                  <a:pt x="25" y="81"/>
                  <a:pt x="25" y="81"/>
                </a:cubicBezTo>
                <a:close/>
                <a:moveTo>
                  <a:pt x="26" y="83"/>
                </a:moveTo>
                <a:cubicBezTo>
                  <a:pt x="26" y="83"/>
                  <a:pt x="26" y="83"/>
                  <a:pt x="26" y="83"/>
                </a:cubicBezTo>
                <a:cubicBezTo>
                  <a:pt x="26" y="83"/>
                  <a:pt x="26" y="83"/>
                  <a:pt x="26" y="83"/>
                </a:cubicBezTo>
                <a:cubicBezTo>
                  <a:pt x="26" y="83"/>
                  <a:pt x="26" y="83"/>
                  <a:pt x="26" y="84"/>
                </a:cubicBezTo>
                <a:cubicBezTo>
                  <a:pt x="26" y="83"/>
                  <a:pt x="26" y="83"/>
                  <a:pt x="26" y="83"/>
                </a:cubicBezTo>
                <a:close/>
                <a:moveTo>
                  <a:pt x="26" y="84"/>
                </a:moveTo>
                <a:cubicBezTo>
                  <a:pt x="26" y="84"/>
                  <a:pt x="26" y="83"/>
                  <a:pt x="27" y="83"/>
                </a:cubicBezTo>
                <a:cubicBezTo>
                  <a:pt x="26" y="84"/>
                  <a:pt x="26" y="84"/>
                  <a:pt x="26" y="84"/>
                </a:cubicBezTo>
                <a:close/>
                <a:moveTo>
                  <a:pt x="22" y="84"/>
                </a:moveTo>
                <a:cubicBezTo>
                  <a:pt x="22" y="84"/>
                  <a:pt x="22" y="84"/>
                  <a:pt x="22" y="84"/>
                </a:cubicBezTo>
                <a:cubicBezTo>
                  <a:pt x="22" y="84"/>
                  <a:pt x="22" y="84"/>
                  <a:pt x="22" y="84"/>
                </a:cubicBezTo>
                <a:cubicBezTo>
                  <a:pt x="22" y="84"/>
                  <a:pt x="22" y="84"/>
                  <a:pt x="22" y="84"/>
                </a:cubicBezTo>
                <a:cubicBezTo>
                  <a:pt x="22" y="84"/>
                  <a:pt x="22" y="84"/>
                  <a:pt x="22" y="84"/>
                </a:cubicBezTo>
                <a:close/>
                <a:moveTo>
                  <a:pt x="22" y="85"/>
                </a:moveTo>
                <a:cubicBezTo>
                  <a:pt x="22" y="85"/>
                  <a:pt x="22" y="85"/>
                  <a:pt x="22" y="85"/>
                </a:cubicBezTo>
                <a:cubicBezTo>
                  <a:pt x="22" y="85"/>
                  <a:pt x="22" y="85"/>
                  <a:pt x="22" y="85"/>
                </a:cubicBezTo>
                <a:cubicBezTo>
                  <a:pt x="22" y="85"/>
                  <a:pt x="22" y="85"/>
                  <a:pt x="22" y="85"/>
                </a:cubicBezTo>
                <a:cubicBezTo>
                  <a:pt x="22" y="85"/>
                  <a:pt x="22" y="85"/>
                  <a:pt x="22" y="85"/>
                </a:cubicBezTo>
                <a:cubicBezTo>
                  <a:pt x="22" y="84"/>
                  <a:pt x="22" y="85"/>
                  <a:pt x="22" y="85"/>
                </a:cubicBezTo>
                <a:cubicBezTo>
                  <a:pt x="22" y="84"/>
                  <a:pt x="22" y="84"/>
                  <a:pt x="22" y="84"/>
                </a:cubicBezTo>
                <a:cubicBezTo>
                  <a:pt x="22" y="84"/>
                  <a:pt x="22" y="85"/>
                  <a:pt x="22" y="85"/>
                </a:cubicBezTo>
                <a:cubicBezTo>
                  <a:pt x="22" y="85"/>
                  <a:pt x="22" y="85"/>
                  <a:pt x="22" y="85"/>
                </a:cubicBezTo>
                <a:cubicBezTo>
                  <a:pt x="22" y="85"/>
                  <a:pt x="22" y="85"/>
                  <a:pt x="22" y="85"/>
                </a:cubicBezTo>
                <a:cubicBezTo>
                  <a:pt x="22" y="85"/>
                  <a:pt x="22" y="85"/>
                  <a:pt x="22" y="85"/>
                </a:cubicBezTo>
                <a:close/>
                <a:moveTo>
                  <a:pt x="22" y="89"/>
                </a:moveTo>
                <a:cubicBezTo>
                  <a:pt x="22" y="89"/>
                  <a:pt x="22" y="89"/>
                  <a:pt x="22" y="89"/>
                </a:cubicBezTo>
                <a:cubicBezTo>
                  <a:pt x="22" y="89"/>
                  <a:pt x="22" y="90"/>
                  <a:pt x="22" y="89"/>
                </a:cubicBezTo>
                <a:cubicBezTo>
                  <a:pt x="22" y="89"/>
                  <a:pt x="22" y="89"/>
                  <a:pt x="22" y="89"/>
                </a:cubicBezTo>
                <a:cubicBezTo>
                  <a:pt x="22" y="89"/>
                  <a:pt x="22" y="89"/>
                  <a:pt x="22" y="89"/>
                </a:cubicBezTo>
                <a:cubicBezTo>
                  <a:pt x="22" y="89"/>
                  <a:pt x="22" y="89"/>
                  <a:pt x="22" y="88"/>
                </a:cubicBezTo>
                <a:cubicBezTo>
                  <a:pt x="22" y="88"/>
                  <a:pt x="22" y="88"/>
                  <a:pt x="22" y="88"/>
                </a:cubicBezTo>
                <a:cubicBezTo>
                  <a:pt x="22" y="88"/>
                  <a:pt x="22" y="89"/>
                  <a:pt x="22" y="89"/>
                </a:cubicBezTo>
                <a:close/>
                <a:moveTo>
                  <a:pt x="22" y="89"/>
                </a:moveTo>
                <a:cubicBezTo>
                  <a:pt x="22" y="89"/>
                  <a:pt x="22" y="89"/>
                  <a:pt x="22" y="89"/>
                </a:cubicBezTo>
                <a:cubicBezTo>
                  <a:pt x="22" y="89"/>
                  <a:pt x="22" y="89"/>
                  <a:pt x="22" y="89"/>
                </a:cubicBezTo>
                <a:close/>
                <a:moveTo>
                  <a:pt x="22" y="90"/>
                </a:moveTo>
                <a:cubicBezTo>
                  <a:pt x="23" y="89"/>
                  <a:pt x="23" y="89"/>
                  <a:pt x="23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23" y="89"/>
                  <a:pt x="23" y="89"/>
                  <a:pt x="23" y="90"/>
                </a:cubicBezTo>
                <a:cubicBezTo>
                  <a:pt x="23" y="90"/>
                  <a:pt x="23" y="90"/>
                  <a:pt x="22" y="90"/>
                </a:cubicBezTo>
                <a:close/>
                <a:moveTo>
                  <a:pt x="22" y="90"/>
                </a:moveTo>
                <a:cubicBezTo>
                  <a:pt x="22" y="90"/>
                  <a:pt x="22" y="90"/>
                  <a:pt x="22" y="90"/>
                </a:cubicBezTo>
                <a:cubicBezTo>
                  <a:pt x="23" y="90"/>
                  <a:pt x="22" y="90"/>
                  <a:pt x="22" y="90"/>
                </a:cubicBezTo>
                <a:cubicBezTo>
                  <a:pt x="22" y="91"/>
                  <a:pt x="22" y="90"/>
                  <a:pt x="22" y="91"/>
                </a:cubicBezTo>
                <a:cubicBezTo>
                  <a:pt x="22" y="90"/>
                  <a:pt x="22" y="90"/>
                  <a:pt x="22" y="90"/>
                </a:cubicBezTo>
                <a:close/>
                <a:moveTo>
                  <a:pt x="20" y="93"/>
                </a:moveTo>
                <a:cubicBezTo>
                  <a:pt x="20" y="93"/>
                  <a:pt x="20" y="93"/>
                  <a:pt x="20" y="94"/>
                </a:cubicBezTo>
                <a:cubicBezTo>
                  <a:pt x="20" y="94"/>
                  <a:pt x="20" y="93"/>
                  <a:pt x="20" y="93"/>
                </a:cubicBezTo>
                <a:cubicBezTo>
                  <a:pt x="20" y="94"/>
                  <a:pt x="19" y="94"/>
                  <a:pt x="19" y="95"/>
                </a:cubicBezTo>
                <a:cubicBezTo>
                  <a:pt x="19" y="95"/>
                  <a:pt x="19" y="95"/>
                  <a:pt x="19" y="95"/>
                </a:cubicBezTo>
                <a:cubicBezTo>
                  <a:pt x="19" y="95"/>
                  <a:pt x="19" y="95"/>
                  <a:pt x="19" y="96"/>
                </a:cubicBezTo>
                <a:cubicBezTo>
                  <a:pt x="19" y="96"/>
                  <a:pt x="19" y="96"/>
                  <a:pt x="19" y="95"/>
                </a:cubicBezTo>
                <a:cubicBezTo>
                  <a:pt x="19" y="95"/>
                  <a:pt x="19" y="96"/>
                  <a:pt x="19" y="96"/>
                </a:cubicBezTo>
                <a:cubicBezTo>
                  <a:pt x="19" y="96"/>
                  <a:pt x="19" y="96"/>
                  <a:pt x="19" y="96"/>
                </a:cubicBezTo>
                <a:cubicBezTo>
                  <a:pt x="19" y="96"/>
                  <a:pt x="19" y="96"/>
                  <a:pt x="19" y="96"/>
                </a:cubicBezTo>
                <a:cubicBezTo>
                  <a:pt x="19" y="96"/>
                  <a:pt x="18" y="96"/>
                  <a:pt x="18" y="97"/>
                </a:cubicBezTo>
                <a:cubicBezTo>
                  <a:pt x="18" y="96"/>
                  <a:pt x="18" y="96"/>
                  <a:pt x="19" y="96"/>
                </a:cubicBezTo>
                <a:cubicBezTo>
                  <a:pt x="19" y="96"/>
                  <a:pt x="19" y="96"/>
                  <a:pt x="19" y="96"/>
                </a:cubicBezTo>
                <a:cubicBezTo>
                  <a:pt x="19" y="95"/>
                  <a:pt x="19" y="95"/>
                  <a:pt x="19" y="95"/>
                </a:cubicBezTo>
                <a:cubicBezTo>
                  <a:pt x="19" y="95"/>
                  <a:pt x="19" y="95"/>
                  <a:pt x="19" y="95"/>
                </a:cubicBezTo>
                <a:cubicBezTo>
                  <a:pt x="19" y="95"/>
                  <a:pt x="19" y="95"/>
                  <a:pt x="19" y="94"/>
                </a:cubicBezTo>
                <a:cubicBezTo>
                  <a:pt x="19" y="94"/>
                  <a:pt x="19" y="95"/>
                  <a:pt x="19" y="95"/>
                </a:cubicBezTo>
                <a:cubicBezTo>
                  <a:pt x="19" y="94"/>
                  <a:pt x="19" y="94"/>
                  <a:pt x="19" y="94"/>
                </a:cubicBezTo>
                <a:cubicBezTo>
                  <a:pt x="20" y="93"/>
                  <a:pt x="20" y="93"/>
                  <a:pt x="20" y="92"/>
                </a:cubicBezTo>
                <a:cubicBezTo>
                  <a:pt x="21" y="92"/>
                  <a:pt x="20" y="92"/>
                  <a:pt x="21" y="92"/>
                </a:cubicBezTo>
                <a:cubicBezTo>
                  <a:pt x="21" y="92"/>
                  <a:pt x="21" y="92"/>
                  <a:pt x="21" y="92"/>
                </a:cubicBezTo>
                <a:cubicBezTo>
                  <a:pt x="21" y="91"/>
                  <a:pt x="22" y="90"/>
                  <a:pt x="22" y="90"/>
                </a:cubicBezTo>
                <a:cubicBezTo>
                  <a:pt x="22" y="91"/>
                  <a:pt x="21" y="92"/>
                  <a:pt x="21" y="93"/>
                </a:cubicBezTo>
                <a:cubicBezTo>
                  <a:pt x="20" y="93"/>
                  <a:pt x="20" y="93"/>
                  <a:pt x="20" y="93"/>
                </a:cubicBezTo>
                <a:close/>
                <a:moveTo>
                  <a:pt x="21" y="90"/>
                </a:moveTo>
                <a:cubicBezTo>
                  <a:pt x="22" y="90"/>
                  <a:pt x="21" y="90"/>
                  <a:pt x="21" y="90"/>
                </a:cubicBezTo>
                <a:cubicBezTo>
                  <a:pt x="21" y="90"/>
                  <a:pt x="21" y="90"/>
                  <a:pt x="21" y="90"/>
                </a:cubicBezTo>
                <a:cubicBezTo>
                  <a:pt x="21" y="90"/>
                  <a:pt x="21" y="90"/>
                  <a:pt x="21" y="90"/>
                </a:cubicBezTo>
                <a:cubicBezTo>
                  <a:pt x="21" y="89"/>
                  <a:pt x="21" y="90"/>
                  <a:pt x="21" y="90"/>
                </a:cubicBezTo>
                <a:close/>
                <a:moveTo>
                  <a:pt x="18" y="98"/>
                </a:moveTo>
                <a:cubicBezTo>
                  <a:pt x="19" y="97"/>
                  <a:pt x="20" y="96"/>
                  <a:pt x="20" y="95"/>
                </a:cubicBezTo>
                <a:cubicBezTo>
                  <a:pt x="20" y="96"/>
                  <a:pt x="19" y="97"/>
                  <a:pt x="18" y="98"/>
                </a:cubicBezTo>
                <a:close/>
                <a:moveTo>
                  <a:pt x="16" y="100"/>
                </a:moveTo>
                <a:cubicBezTo>
                  <a:pt x="16" y="100"/>
                  <a:pt x="16" y="100"/>
                  <a:pt x="16" y="100"/>
                </a:cubicBezTo>
                <a:cubicBezTo>
                  <a:pt x="16" y="100"/>
                  <a:pt x="16" y="100"/>
                  <a:pt x="16" y="100"/>
                </a:cubicBezTo>
                <a:cubicBezTo>
                  <a:pt x="16" y="100"/>
                  <a:pt x="16" y="100"/>
                  <a:pt x="16" y="100"/>
                </a:cubicBezTo>
                <a:cubicBezTo>
                  <a:pt x="16" y="100"/>
                  <a:pt x="16" y="100"/>
                  <a:pt x="16" y="100"/>
                </a:cubicBezTo>
                <a:cubicBezTo>
                  <a:pt x="16" y="100"/>
                  <a:pt x="16" y="100"/>
                  <a:pt x="16" y="100"/>
                </a:cubicBezTo>
                <a:cubicBezTo>
                  <a:pt x="16" y="100"/>
                  <a:pt x="16" y="100"/>
                  <a:pt x="16" y="100"/>
                </a:cubicBezTo>
                <a:cubicBezTo>
                  <a:pt x="16" y="100"/>
                  <a:pt x="16" y="100"/>
                  <a:pt x="16" y="100"/>
                </a:cubicBezTo>
                <a:close/>
                <a:moveTo>
                  <a:pt x="15" y="105"/>
                </a:moveTo>
                <a:cubicBezTo>
                  <a:pt x="15" y="105"/>
                  <a:pt x="15" y="105"/>
                  <a:pt x="15" y="105"/>
                </a:cubicBezTo>
                <a:cubicBezTo>
                  <a:pt x="15" y="105"/>
                  <a:pt x="15" y="105"/>
                  <a:pt x="15" y="105"/>
                </a:cubicBezTo>
                <a:cubicBezTo>
                  <a:pt x="15" y="105"/>
                  <a:pt x="15" y="105"/>
                  <a:pt x="15" y="105"/>
                </a:cubicBezTo>
                <a:cubicBezTo>
                  <a:pt x="15" y="105"/>
                  <a:pt x="15" y="105"/>
                  <a:pt x="15" y="105"/>
                </a:cubicBezTo>
                <a:cubicBezTo>
                  <a:pt x="15" y="104"/>
                  <a:pt x="15" y="105"/>
                  <a:pt x="15" y="105"/>
                </a:cubicBezTo>
                <a:cubicBezTo>
                  <a:pt x="15" y="104"/>
                  <a:pt x="15" y="105"/>
                  <a:pt x="15" y="104"/>
                </a:cubicBezTo>
                <a:cubicBezTo>
                  <a:pt x="15" y="104"/>
                  <a:pt x="15" y="104"/>
                  <a:pt x="16" y="104"/>
                </a:cubicBezTo>
                <a:cubicBezTo>
                  <a:pt x="15" y="105"/>
                  <a:pt x="15" y="105"/>
                  <a:pt x="16" y="105"/>
                </a:cubicBezTo>
                <a:cubicBezTo>
                  <a:pt x="16" y="105"/>
                  <a:pt x="15" y="105"/>
                  <a:pt x="15" y="105"/>
                </a:cubicBezTo>
                <a:close/>
                <a:moveTo>
                  <a:pt x="12" y="112"/>
                </a:moveTo>
                <a:cubicBezTo>
                  <a:pt x="12" y="112"/>
                  <a:pt x="12" y="111"/>
                  <a:pt x="13" y="111"/>
                </a:cubicBezTo>
                <a:cubicBezTo>
                  <a:pt x="13" y="111"/>
                  <a:pt x="13" y="111"/>
                  <a:pt x="13" y="111"/>
                </a:cubicBezTo>
                <a:cubicBezTo>
                  <a:pt x="13" y="110"/>
                  <a:pt x="13" y="110"/>
                  <a:pt x="13" y="110"/>
                </a:cubicBezTo>
                <a:cubicBezTo>
                  <a:pt x="13" y="110"/>
                  <a:pt x="13" y="111"/>
                  <a:pt x="13" y="111"/>
                </a:cubicBezTo>
                <a:cubicBezTo>
                  <a:pt x="13" y="110"/>
                  <a:pt x="13" y="110"/>
                  <a:pt x="13" y="110"/>
                </a:cubicBezTo>
                <a:cubicBezTo>
                  <a:pt x="13" y="110"/>
                  <a:pt x="13" y="111"/>
                  <a:pt x="13" y="110"/>
                </a:cubicBezTo>
                <a:cubicBezTo>
                  <a:pt x="13" y="110"/>
                  <a:pt x="13" y="109"/>
                  <a:pt x="13" y="108"/>
                </a:cubicBezTo>
                <a:cubicBezTo>
                  <a:pt x="13" y="109"/>
                  <a:pt x="13" y="109"/>
                  <a:pt x="13" y="109"/>
                </a:cubicBezTo>
                <a:cubicBezTo>
                  <a:pt x="13" y="109"/>
                  <a:pt x="13" y="109"/>
                  <a:pt x="13" y="109"/>
                </a:cubicBezTo>
                <a:cubicBezTo>
                  <a:pt x="13" y="109"/>
                  <a:pt x="13" y="108"/>
                  <a:pt x="14" y="108"/>
                </a:cubicBezTo>
                <a:cubicBezTo>
                  <a:pt x="14" y="108"/>
                  <a:pt x="14" y="108"/>
                  <a:pt x="14" y="108"/>
                </a:cubicBezTo>
                <a:cubicBezTo>
                  <a:pt x="14" y="108"/>
                  <a:pt x="14" y="108"/>
                  <a:pt x="14" y="108"/>
                </a:cubicBezTo>
                <a:cubicBezTo>
                  <a:pt x="14" y="108"/>
                  <a:pt x="14" y="108"/>
                  <a:pt x="14" y="108"/>
                </a:cubicBezTo>
                <a:cubicBezTo>
                  <a:pt x="14" y="109"/>
                  <a:pt x="14" y="108"/>
                  <a:pt x="14" y="108"/>
                </a:cubicBezTo>
                <a:cubicBezTo>
                  <a:pt x="14" y="109"/>
                  <a:pt x="14" y="109"/>
                  <a:pt x="13" y="109"/>
                </a:cubicBezTo>
                <a:cubicBezTo>
                  <a:pt x="13" y="109"/>
                  <a:pt x="14" y="109"/>
                  <a:pt x="13" y="109"/>
                </a:cubicBezTo>
                <a:cubicBezTo>
                  <a:pt x="13" y="109"/>
                  <a:pt x="14" y="109"/>
                  <a:pt x="14" y="109"/>
                </a:cubicBezTo>
                <a:cubicBezTo>
                  <a:pt x="13" y="109"/>
                  <a:pt x="13" y="109"/>
                  <a:pt x="13" y="109"/>
                </a:cubicBezTo>
                <a:cubicBezTo>
                  <a:pt x="13" y="109"/>
                  <a:pt x="13" y="109"/>
                  <a:pt x="13" y="109"/>
                </a:cubicBezTo>
                <a:cubicBezTo>
                  <a:pt x="13" y="110"/>
                  <a:pt x="13" y="109"/>
                  <a:pt x="13" y="109"/>
                </a:cubicBezTo>
                <a:cubicBezTo>
                  <a:pt x="13" y="109"/>
                  <a:pt x="13" y="110"/>
                  <a:pt x="13" y="110"/>
                </a:cubicBezTo>
                <a:cubicBezTo>
                  <a:pt x="13" y="110"/>
                  <a:pt x="13" y="110"/>
                  <a:pt x="13" y="110"/>
                </a:cubicBezTo>
                <a:cubicBezTo>
                  <a:pt x="13" y="110"/>
                  <a:pt x="13" y="110"/>
                  <a:pt x="13" y="110"/>
                </a:cubicBezTo>
                <a:cubicBezTo>
                  <a:pt x="13" y="110"/>
                  <a:pt x="13" y="110"/>
                  <a:pt x="13" y="110"/>
                </a:cubicBezTo>
                <a:cubicBezTo>
                  <a:pt x="13" y="110"/>
                  <a:pt x="13" y="110"/>
                  <a:pt x="13" y="110"/>
                </a:cubicBezTo>
                <a:cubicBezTo>
                  <a:pt x="13" y="111"/>
                  <a:pt x="13" y="111"/>
                  <a:pt x="13" y="111"/>
                </a:cubicBezTo>
                <a:cubicBezTo>
                  <a:pt x="13" y="111"/>
                  <a:pt x="13" y="111"/>
                  <a:pt x="13" y="111"/>
                </a:cubicBezTo>
                <a:cubicBezTo>
                  <a:pt x="13" y="111"/>
                  <a:pt x="12" y="111"/>
                  <a:pt x="12" y="112"/>
                </a:cubicBezTo>
                <a:cubicBezTo>
                  <a:pt x="13" y="112"/>
                  <a:pt x="13" y="111"/>
                  <a:pt x="13" y="111"/>
                </a:cubicBezTo>
                <a:cubicBezTo>
                  <a:pt x="13" y="111"/>
                  <a:pt x="12" y="112"/>
                  <a:pt x="12" y="112"/>
                </a:cubicBezTo>
                <a:cubicBezTo>
                  <a:pt x="12" y="112"/>
                  <a:pt x="13" y="111"/>
                  <a:pt x="13" y="111"/>
                </a:cubicBezTo>
                <a:cubicBezTo>
                  <a:pt x="13" y="112"/>
                  <a:pt x="12" y="112"/>
                  <a:pt x="12" y="113"/>
                </a:cubicBezTo>
                <a:cubicBezTo>
                  <a:pt x="12" y="113"/>
                  <a:pt x="12" y="112"/>
                  <a:pt x="12" y="112"/>
                </a:cubicBezTo>
                <a:cubicBezTo>
                  <a:pt x="12" y="112"/>
                  <a:pt x="12" y="112"/>
                  <a:pt x="12" y="112"/>
                </a:cubicBezTo>
                <a:cubicBezTo>
                  <a:pt x="12" y="112"/>
                  <a:pt x="12" y="112"/>
                  <a:pt x="12" y="112"/>
                </a:cubicBezTo>
                <a:cubicBezTo>
                  <a:pt x="12" y="112"/>
                  <a:pt x="12" y="112"/>
                  <a:pt x="12" y="112"/>
                </a:cubicBezTo>
                <a:cubicBezTo>
                  <a:pt x="12" y="112"/>
                  <a:pt x="12" y="112"/>
                  <a:pt x="12" y="112"/>
                </a:cubicBezTo>
                <a:cubicBezTo>
                  <a:pt x="12" y="112"/>
                  <a:pt x="12" y="112"/>
                  <a:pt x="12" y="112"/>
                </a:cubicBezTo>
                <a:close/>
                <a:moveTo>
                  <a:pt x="13" y="108"/>
                </a:moveTo>
                <a:cubicBezTo>
                  <a:pt x="13" y="108"/>
                  <a:pt x="13" y="108"/>
                  <a:pt x="13" y="108"/>
                </a:cubicBezTo>
                <a:cubicBezTo>
                  <a:pt x="13" y="108"/>
                  <a:pt x="13" y="108"/>
                  <a:pt x="13" y="108"/>
                </a:cubicBezTo>
                <a:close/>
                <a:moveTo>
                  <a:pt x="13" y="109"/>
                </a:moveTo>
                <a:cubicBezTo>
                  <a:pt x="13" y="109"/>
                  <a:pt x="13" y="109"/>
                  <a:pt x="12" y="109"/>
                </a:cubicBezTo>
                <a:cubicBezTo>
                  <a:pt x="12" y="109"/>
                  <a:pt x="13" y="108"/>
                  <a:pt x="13" y="109"/>
                </a:cubicBezTo>
                <a:close/>
                <a:moveTo>
                  <a:pt x="12" y="109"/>
                </a:moveTo>
                <a:cubicBezTo>
                  <a:pt x="12" y="109"/>
                  <a:pt x="12" y="109"/>
                  <a:pt x="12" y="109"/>
                </a:cubicBezTo>
                <a:cubicBezTo>
                  <a:pt x="12" y="109"/>
                  <a:pt x="12" y="109"/>
                  <a:pt x="12" y="109"/>
                </a:cubicBezTo>
                <a:close/>
                <a:moveTo>
                  <a:pt x="11" y="115"/>
                </a:moveTo>
                <a:cubicBezTo>
                  <a:pt x="11" y="115"/>
                  <a:pt x="11" y="114"/>
                  <a:pt x="11" y="114"/>
                </a:cubicBezTo>
                <a:cubicBezTo>
                  <a:pt x="11" y="114"/>
                  <a:pt x="11" y="114"/>
                  <a:pt x="11" y="115"/>
                </a:cubicBezTo>
                <a:close/>
                <a:moveTo>
                  <a:pt x="9" y="115"/>
                </a:moveTo>
                <a:cubicBezTo>
                  <a:pt x="9" y="115"/>
                  <a:pt x="9" y="115"/>
                  <a:pt x="9" y="115"/>
                </a:cubicBezTo>
                <a:cubicBezTo>
                  <a:pt x="9" y="115"/>
                  <a:pt x="9" y="115"/>
                  <a:pt x="9" y="114"/>
                </a:cubicBezTo>
                <a:cubicBezTo>
                  <a:pt x="9" y="115"/>
                  <a:pt x="9" y="114"/>
                  <a:pt x="9" y="114"/>
                </a:cubicBezTo>
                <a:cubicBezTo>
                  <a:pt x="9" y="115"/>
                  <a:pt x="9" y="115"/>
                  <a:pt x="9" y="115"/>
                </a:cubicBezTo>
                <a:close/>
                <a:moveTo>
                  <a:pt x="9" y="115"/>
                </a:moveTo>
                <a:cubicBezTo>
                  <a:pt x="9" y="116"/>
                  <a:pt x="9" y="115"/>
                  <a:pt x="9" y="115"/>
                </a:cubicBezTo>
                <a:cubicBezTo>
                  <a:pt x="9" y="115"/>
                  <a:pt x="9" y="115"/>
                  <a:pt x="9" y="115"/>
                </a:cubicBezTo>
                <a:cubicBezTo>
                  <a:pt x="8" y="115"/>
                  <a:pt x="9" y="115"/>
                  <a:pt x="9" y="115"/>
                </a:cubicBezTo>
                <a:cubicBezTo>
                  <a:pt x="9" y="115"/>
                  <a:pt x="9" y="115"/>
                  <a:pt x="9" y="115"/>
                </a:cubicBezTo>
                <a:close/>
                <a:moveTo>
                  <a:pt x="4" y="119"/>
                </a:moveTo>
                <a:cubicBezTo>
                  <a:pt x="4" y="119"/>
                  <a:pt x="4" y="119"/>
                  <a:pt x="4" y="119"/>
                </a:cubicBezTo>
                <a:cubicBezTo>
                  <a:pt x="4" y="119"/>
                  <a:pt x="4" y="119"/>
                  <a:pt x="4" y="120"/>
                </a:cubicBezTo>
                <a:cubicBezTo>
                  <a:pt x="4" y="120"/>
                  <a:pt x="4" y="119"/>
                  <a:pt x="4" y="119"/>
                </a:cubicBezTo>
                <a:close/>
                <a:moveTo>
                  <a:pt x="6" y="122"/>
                </a:moveTo>
                <a:cubicBezTo>
                  <a:pt x="6" y="122"/>
                  <a:pt x="6" y="122"/>
                  <a:pt x="6" y="123"/>
                </a:cubicBezTo>
                <a:cubicBezTo>
                  <a:pt x="6" y="122"/>
                  <a:pt x="6" y="122"/>
                  <a:pt x="6" y="122"/>
                </a:cubicBezTo>
                <a:close/>
                <a:moveTo>
                  <a:pt x="49" y="9"/>
                </a:moveTo>
                <a:cubicBezTo>
                  <a:pt x="49" y="8"/>
                  <a:pt x="50" y="8"/>
                  <a:pt x="50" y="8"/>
                </a:cubicBezTo>
                <a:cubicBezTo>
                  <a:pt x="50" y="9"/>
                  <a:pt x="50" y="9"/>
                  <a:pt x="50" y="9"/>
                </a:cubicBezTo>
                <a:cubicBezTo>
                  <a:pt x="50" y="9"/>
                  <a:pt x="49" y="9"/>
                  <a:pt x="49" y="9"/>
                </a:cubicBezTo>
                <a:close/>
                <a:moveTo>
                  <a:pt x="44" y="25"/>
                </a:moveTo>
                <a:cubicBezTo>
                  <a:pt x="44" y="25"/>
                  <a:pt x="44" y="25"/>
                  <a:pt x="44" y="26"/>
                </a:cubicBezTo>
                <a:cubicBezTo>
                  <a:pt x="44" y="26"/>
                  <a:pt x="44" y="26"/>
                  <a:pt x="44" y="26"/>
                </a:cubicBezTo>
                <a:cubicBezTo>
                  <a:pt x="44" y="26"/>
                  <a:pt x="44" y="26"/>
                  <a:pt x="44" y="25"/>
                </a:cubicBezTo>
                <a:close/>
                <a:moveTo>
                  <a:pt x="46" y="26"/>
                </a:moveTo>
                <a:cubicBezTo>
                  <a:pt x="46" y="26"/>
                  <a:pt x="46" y="26"/>
                  <a:pt x="46" y="26"/>
                </a:cubicBezTo>
                <a:cubicBezTo>
                  <a:pt x="46" y="26"/>
                  <a:pt x="46" y="26"/>
                  <a:pt x="46" y="27"/>
                </a:cubicBezTo>
                <a:cubicBezTo>
                  <a:pt x="46" y="26"/>
                  <a:pt x="46" y="26"/>
                  <a:pt x="46" y="26"/>
                </a:cubicBezTo>
                <a:close/>
                <a:moveTo>
                  <a:pt x="45" y="27"/>
                </a:moveTo>
                <a:cubicBezTo>
                  <a:pt x="45" y="27"/>
                  <a:pt x="45" y="28"/>
                  <a:pt x="45" y="28"/>
                </a:cubicBezTo>
                <a:cubicBezTo>
                  <a:pt x="45" y="28"/>
                  <a:pt x="45" y="28"/>
                  <a:pt x="45" y="28"/>
                </a:cubicBezTo>
                <a:cubicBezTo>
                  <a:pt x="45" y="28"/>
                  <a:pt x="45" y="28"/>
                  <a:pt x="45" y="28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7"/>
                </a:cubicBezTo>
                <a:close/>
                <a:moveTo>
                  <a:pt x="48" y="29"/>
                </a:moveTo>
                <a:cubicBezTo>
                  <a:pt x="48" y="29"/>
                  <a:pt x="48" y="29"/>
                  <a:pt x="48" y="29"/>
                </a:cubicBezTo>
                <a:cubicBezTo>
                  <a:pt x="48" y="29"/>
                  <a:pt x="48" y="30"/>
                  <a:pt x="48" y="30"/>
                </a:cubicBezTo>
                <a:cubicBezTo>
                  <a:pt x="48" y="30"/>
                  <a:pt x="48" y="29"/>
                  <a:pt x="48" y="29"/>
                </a:cubicBezTo>
                <a:cubicBezTo>
                  <a:pt x="47" y="29"/>
                  <a:pt x="47" y="30"/>
                  <a:pt x="47" y="30"/>
                </a:cubicBezTo>
                <a:cubicBezTo>
                  <a:pt x="47" y="30"/>
                  <a:pt x="47" y="29"/>
                  <a:pt x="48" y="29"/>
                </a:cubicBezTo>
                <a:cubicBezTo>
                  <a:pt x="48" y="29"/>
                  <a:pt x="48" y="29"/>
                  <a:pt x="48" y="29"/>
                </a:cubicBezTo>
                <a:cubicBezTo>
                  <a:pt x="48" y="29"/>
                  <a:pt x="48" y="29"/>
                  <a:pt x="48" y="29"/>
                </a:cubicBezTo>
                <a:close/>
                <a:moveTo>
                  <a:pt x="48" y="36"/>
                </a:moveTo>
                <a:cubicBezTo>
                  <a:pt x="48" y="36"/>
                  <a:pt x="48" y="36"/>
                  <a:pt x="48" y="36"/>
                </a:cubicBezTo>
                <a:cubicBezTo>
                  <a:pt x="48" y="36"/>
                  <a:pt x="48" y="36"/>
                  <a:pt x="48" y="36"/>
                </a:cubicBezTo>
                <a:cubicBezTo>
                  <a:pt x="48" y="36"/>
                  <a:pt x="48" y="36"/>
                  <a:pt x="48" y="35"/>
                </a:cubicBezTo>
                <a:cubicBezTo>
                  <a:pt x="48" y="35"/>
                  <a:pt x="48" y="36"/>
                  <a:pt x="49" y="35"/>
                </a:cubicBezTo>
                <a:cubicBezTo>
                  <a:pt x="49" y="36"/>
                  <a:pt x="48" y="36"/>
                  <a:pt x="48" y="36"/>
                </a:cubicBezTo>
                <a:close/>
                <a:moveTo>
                  <a:pt x="42" y="35"/>
                </a:moveTo>
                <a:cubicBezTo>
                  <a:pt x="42" y="35"/>
                  <a:pt x="42" y="35"/>
                  <a:pt x="41" y="35"/>
                </a:cubicBezTo>
                <a:cubicBezTo>
                  <a:pt x="41" y="35"/>
                  <a:pt x="42" y="35"/>
                  <a:pt x="42" y="34"/>
                </a:cubicBezTo>
                <a:cubicBezTo>
                  <a:pt x="42" y="34"/>
                  <a:pt x="42" y="35"/>
                  <a:pt x="42" y="35"/>
                </a:cubicBezTo>
                <a:close/>
                <a:moveTo>
                  <a:pt x="45" y="44"/>
                </a:moveTo>
                <a:cubicBezTo>
                  <a:pt x="45" y="44"/>
                  <a:pt x="45" y="44"/>
                  <a:pt x="45" y="44"/>
                </a:cubicBezTo>
                <a:cubicBezTo>
                  <a:pt x="45" y="44"/>
                  <a:pt x="45" y="44"/>
                  <a:pt x="45" y="44"/>
                </a:cubicBezTo>
                <a:cubicBezTo>
                  <a:pt x="44" y="44"/>
                  <a:pt x="45" y="44"/>
                  <a:pt x="45" y="44"/>
                </a:cubicBezTo>
                <a:cubicBezTo>
                  <a:pt x="45" y="44"/>
                  <a:pt x="45" y="44"/>
                  <a:pt x="45" y="44"/>
                </a:cubicBezTo>
                <a:close/>
                <a:moveTo>
                  <a:pt x="44" y="48"/>
                </a:moveTo>
                <a:cubicBezTo>
                  <a:pt x="44" y="48"/>
                  <a:pt x="44" y="48"/>
                  <a:pt x="44" y="48"/>
                </a:cubicBezTo>
                <a:cubicBezTo>
                  <a:pt x="44" y="48"/>
                  <a:pt x="43" y="49"/>
                  <a:pt x="43" y="49"/>
                </a:cubicBezTo>
                <a:cubicBezTo>
                  <a:pt x="43" y="49"/>
                  <a:pt x="43" y="49"/>
                  <a:pt x="43" y="49"/>
                </a:cubicBezTo>
                <a:cubicBezTo>
                  <a:pt x="43" y="49"/>
                  <a:pt x="43" y="48"/>
                  <a:pt x="44" y="48"/>
                </a:cubicBezTo>
                <a:close/>
                <a:moveTo>
                  <a:pt x="38" y="46"/>
                </a:moveTo>
                <a:cubicBezTo>
                  <a:pt x="38" y="46"/>
                  <a:pt x="38" y="47"/>
                  <a:pt x="38" y="47"/>
                </a:cubicBezTo>
                <a:cubicBezTo>
                  <a:pt x="38" y="47"/>
                  <a:pt x="38" y="47"/>
                  <a:pt x="38" y="47"/>
                </a:cubicBezTo>
                <a:cubicBezTo>
                  <a:pt x="38" y="47"/>
                  <a:pt x="38" y="47"/>
                  <a:pt x="38" y="47"/>
                </a:cubicBezTo>
                <a:cubicBezTo>
                  <a:pt x="38" y="47"/>
                  <a:pt x="38" y="47"/>
                  <a:pt x="38" y="47"/>
                </a:cubicBezTo>
                <a:lnTo>
                  <a:pt x="38" y="46"/>
                </a:lnTo>
                <a:close/>
                <a:moveTo>
                  <a:pt x="37" y="51"/>
                </a:moveTo>
                <a:cubicBezTo>
                  <a:pt x="37" y="51"/>
                  <a:pt x="37" y="51"/>
                  <a:pt x="37" y="51"/>
                </a:cubicBezTo>
                <a:cubicBezTo>
                  <a:pt x="37" y="51"/>
                  <a:pt x="37" y="51"/>
                  <a:pt x="37" y="51"/>
                </a:cubicBezTo>
                <a:cubicBezTo>
                  <a:pt x="38" y="51"/>
                  <a:pt x="37" y="51"/>
                  <a:pt x="37" y="51"/>
                </a:cubicBezTo>
                <a:close/>
                <a:moveTo>
                  <a:pt x="32" y="52"/>
                </a:moveTo>
                <a:cubicBezTo>
                  <a:pt x="32" y="51"/>
                  <a:pt x="32" y="51"/>
                  <a:pt x="32" y="51"/>
                </a:cubicBezTo>
                <a:cubicBezTo>
                  <a:pt x="32" y="51"/>
                  <a:pt x="32" y="51"/>
                  <a:pt x="32" y="51"/>
                </a:cubicBezTo>
                <a:cubicBezTo>
                  <a:pt x="32" y="51"/>
                  <a:pt x="32" y="51"/>
                  <a:pt x="32" y="51"/>
                </a:cubicBezTo>
                <a:cubicBezTo>
                  <a:pt x="32" y="51"/>
                  <a:pt x="32" y="51"/>
                  <a:pt x="32" y="52"/>
                </a:cubicBezTo>
                <a:close/>
                <a:moveTo>
                  <a:pt x="35" y="56"/>
                </a:moveTo>
                <a:cubicBezTo>
                  <a:pt x="35" y="55"/>
                  <a:pt x="35" y="55"/>
                  <a:pt x="35" y="55"/>
                </a:cubicBezTo>
                <a:cubicBezTo>
                  <a:pt x="35" y="54"/>
                  <a:pt x="35" y="54"/>
                  <a:pt x="35" y="54"/>
                </a:cubicBezTo>
                <a:cubicBezTo>
                  <a:pt x="35" y="54"/>
                  <a:pt x="35" y="54"/>
                  <a:pt x="35" y="55"/>
                </a:cubicBezTo>
                <a:cubicBezTo>
                  <a:pt x="35" y="54"/>
                  <a:pt x="35" y="54"/>
                  <a:pt x="35" y="54"/>
                </a:cubicBezTo>
                <a:cubicBezTo>
                  <a:pt x="35" y="54"/>
                  <a:pt x="35" y="54"/>
                  <a:pt x="35" y="54"/>
                </a:cubicBezTo>
                <a:cubicBezTo>
                  <a:pt x="35" y="54"/>
                  <a:pt x="35" y="54"/>
                  <a:pt x="35" y="54"/>
                </a:cubicBezTo>
                <a:cubicBezTo>
                  <a:pt x="35" y="54"/>
                  <a:pt x="35" y="54"/>
                  <a:pt x="35" y="54"/>
                </a:cubicBezTo>
                <a:cubicBezTo>
                  <a:pt x="35" y="54"/>
                  <a:pt x="35" y="54"/>
                  <a:pt x="35" y="54"/>
                </a:cubicBezTo>
                <a:cubicBezTo>
                  <a:pt x="35" y="54"/>
                  <a:pt x="35" y="53"/>
                  <a:pt x="35" y="53"/>
                </a:cubicBezTo>
                <a:cubicBezTo>
                  <a:pt x="36" y="53"/>
                  <a:pt x="35" y="54"/>
                  <a:pt x="36" y="54"/>
                </a:cubicBezTo>
                <a:cubicBezTo>
                  <a:pt x="35" y="54"/>
                  <a:pt x="36" y="54"/>
                  <a:pt x="35" y="54"/>
                </a:cubicBezTo>
                <a:cubicBezTo>
                  <a:pt x="35" y="54"/>
                  <a:pt x="35" y="54"/>
                  <a:pt x="35" y="54"/>
                </a:cubicBezTo>
                <a:cubicBezTo>
                  <a:pt x="36" y="54"/>
                  <a:pt x="35" y="54"/>
                  <a:pt x="36" y="54"/>
                </a:cubicBezTo>
                <a:cubicBezTo>
                  <a:pt x="36" y="54"/>
                  <a:pt x="36" y="54"/>
                  <a:pt x="36" y="54"/>
                </a:cubicBezTo>
                <a:cubicBezTo>
                  <a:pt x="36" y="55"/>
                  <a:pt x="35" y="55"/>
                  <a:pt x="36" y="55"/>
                </a:cubicBezTo>
                <a:cubicBezTo>
                  <a:pt x="35" y="55"/>
                  <a:pt x="35" y="55"/>
                  <a:pt x="35" y="56"/>
                </a:cubicBezTo>
                <a:cubicBezTo>
                  <a:pt x="35" y="56"/>
                  <a:pt x="35" y="55"/>
                  <a:pt x="35" y="55"/>
                </a:cubicBezTo>
                <a:cubicBezTo>
                  <a:pt x="35" y="55"/>
                  <a:pt x="35" y="56"/>
                  <a:pt x="35" y="56"/>
                </a:cubicBezTo>
                <a:close/>
                <a:moveTo>
                  <a:pt x="34" y="56"/>
                </a:moveTo>
                <a:cubicBezTo>
                  <a:pt x="34" y="56"/>
                  <a:pt x="34" y="56"/>
                  <a:pt x="34" y="56"/>
                </a:cubicBezTo>
                <a:cubicBezTo>
                  <a:pt x="34" y="56"/>
                  <a:pt x="34" y="56"/>
                  <a:pt x="34" y="56"/>
                </a:cubicBezTo>
                <a:cubicBezTo>
                  <a:pt x="34" y="56"/>
                  <a:pt x="34" y="56"/>
                  <a:pt x="34" y="56"/>
                </a:cubicBezTo>
                <a:cubicBezTo>
                  <a:pt x="34" y="56"/>
                  <a:pt x="34" y="56"/>
                  <a:pt x="34" y="56"/>
                </a:cubicBezTo>
                <a:cubicBezTo>
                  <a:pt x="34" y="56"/>
                  <a:pt x="34" y="56"/>
                  <a:pt x="34" y="56"/>
                </a:cubicBezTo>
                <a:cubicBezTo>
                  <a:pt x="34" y="56"/>
                  <a:pt x="34" y="56"/>
                  <a:pt x="34" y="56"/>
                </a:cubicBezTo>
                <a:cubicBezTo>
                  <a:pt x="34" y="56"/>
                  <a:pt x="34" y="56"/>
                  <a:pt x="34" y="56"/>
                </a:cubicBezTo>
                <a:close/>
                <a:moveTo>
                  <a:pt x="32" y="58"/>
                </a:moveTo>
                <a:cubicBezTo>
                  <a:pt x="32" y="58"/>
                  <a:pt x="32" y="58"/>
                  <a:pt x="32" y="58"/>
                </a:cubicBezTo>
                <a:cubicBezTo>
                  <a:pt x="32" y="58"/>
                  <a:pt x="32" y="58"/>
                  <a:pt x="32" y="58"/>
                </a:cubicBezTo>
                <a:cubicBezTo>
                  <a:pt x="32" y="58"/>
                  <a:pt x="32" y="58"/>
                  <a:pt x="32" y="58"/>
                </a:cubicBezTo>
                <a:cubicBezTo>
                  <a:pt x="32" y="57"/>
                  <a:pt x="32" y="58"/>
                  <a:pt x="32" y="57"/>
                </a:cubicBezTo>
                <a:cubicBezTo>
                  <a:pt x="32" y="57"/>
                  <a:pt x="32" y="57"/>
                  <a:pt x="32" y="57"/>
                </a:cubicBezTo>
                <a:cubicBezTo>
                  <a:pt x="33" y="57"/>
                  <a:pt x="33" y="57"/>
                  <a:pt x="33" y="57"/>
                </a:cubicBezTo>
                <a:cubicBezTo>
                  <a:pt x="32" y="57"/>
                  <a:pt x="32" y="57"/>
                  <a:pt x="32" y="57"/>
                </a:cubicBezTo>
                <a:cubicBezTo>
                  <a:pt x="32" y="57"/>
                  <a:pt x="33" y="57"/>
                  <a:pt x="33" y="57"/>
                </a:cubicBezTo>
                <a:cubicBezTo>
                  <a:pt x="33" y="57"/>
                  <a:pt x="33" y="57"/>
                  <a:pt x="33" y="57"/>
                </a:cubicBezTo>
                <a:cubicBezTo>
                  <a:pt x="33" y="57"/>
                  <a:pt x="32" y="58"/>
                  <a:pt x="32" y="58"/>
                </a:cubicBezTo>
                <a:cubicBezTo>
                  <a:pt x="32" y="58"/>
                  <a:pt x="32" y="58"/>
                  <a:pt x="32" y="58"/>
                </a:cubicBezTo>
                <a:close/>
                <a:moveTo>
                  <a:pt x="28" y="58"/>
                </a:moveTo>
                <a:cubicBezTo>
                  <a:pt x="28" y="57"/>
                  <a:pt x="29" y="57"/>
                  <a:pt x="29" y="56"/>
                </a:cubicBezTo>
                <a:cubicBezTo>
                  <a:pt x="29" y="56"/>
                  <a:pt x="29" y="57"/>
                  <a:pt x="29" y="57"/>
                </a:cubicBezTo>
                <a:cubicBezTo>
                  <a:pt x="29" y="57"/>
                  <a:pt x="29" y="57"/>
                  <a:pt x="29" y="57"/>
                </a:cubicBezTo>
                <a:cubicBezTo>
                  <a:pt x="29" y="57"/>
                  <a:pt x="29" y="57"/>
                  <a:pt x="29" y="57"/>
                </a:cubicBezTo>
                <a:cubicBezTo>
                  <a:pt x="29" y="57"/>
                  <a:pt x="29" y="57"/>
                  <a:pt x="28" y="58"/>
                </a:cubicBezTo>
                <a:cubicBezTo>
                  <a:pt x="28" y="58"/>
                  <a:pt x="28" y="57"/>
                  <a:pt x="28" y="58"/>
                </a:cubicBezTo>
                <a:close/>
                <a:moveTo>
                  <a:pt x="33" y="60"/>
                </a:moveTo>
                <a:cubicBezTo>
                  <a:pt x="33" y="60"/>
                  <a:pt x="33" y="60"/>
                  <a:pt x="33" y="61"/>
                </a:cubicBezTo>
                <a:cubicBezTo>
                  <a:pt x="33" y="61"/>
                  <a:pt x="33" y="60"/>
                  <a:pt x="33" y="61"/>
                </a:cubicBezTo>
                <a:cubicBezTo>
                  <a:pt x="33" y="60"/>
                  <a:pt x="33" y="60"/>
                  <a:pt x="33" y="60"/>
                </a:cubicBezTo>
                <a:cubicBezTo>
                  <a:pt x="33" y="60"/>
                  <a:pt x="33" y="60"/>
                  <a:pt x="33" y="60"/>
                </a:cubicBezTo>
                <a:close/>
                <a:moveTo>
                  <a:pt x="26" y="76"/>
                </a:moveTo>
                <a:cubicBezTo>
                  <a:pt x="26" y="76"/>
                  <a:pt x="26" y="75"/>
                  <a:pt x="26" y="75"/>
                </a:cubicBezTo>
                <a:cubicBezTo>
                  <a:pt x="26" y="75"/>
                  <a:pt x="26" y="75"/>
                  <a:pt x="26" y="75"/>
                </a:cubicBezTo>
                <a:cubicBezTo>
                  <a:pt x="27" y="75"/>
                  <a:pt x="26" y="75"/>
                  <a:pt x="26" y="75"/>
                </a:cubicBezTo>
                <a:cubicBezTo>
                  <a:pt x="26" y="75"/>
                  <a:pt x="26" y="75"/>
                  <a:pt x="26" y="75"/>
                </a:cubicBezTo>
                <a:cubicBezTo>
                  <a:pt x="27" y="75"/>
                  <a:pt x="27" y="75"/>
                  <a:pt x="27" y="75"/>
                </a:cubicBezTo>
                <a:cubicBezTo>
                  <a:pt x="27" y="76"/>
                  <a:pt x="27" y="76"/>
                  <a:pt x="26" y="76"/>
                </a:cubicBezTo>
                <a:cubicBezTo>
                  <a:pt x="26" y="76"/>
                  <a:pt x="26" y="76"/>
                  <a:pt x="26" y="76"/>
                </a:cubicBezTo>
                <a:cubicBezTo>
                  <a:pt x="26" y="75"/>
                  <a:pt x="26" y="76"/>
                  <a:pt x="26" y="76"/>
                </a:cubicBezTo>
                <a:cubicBezTo>
                  <a:pt x="26" y="76"/>
                  <a:pt x="26" y="76"/>
                  <a:pt x="26" y="76"/>
                </a:cubicBezTo>
                <a:cubicBezTo>
                  <a:pt x="26" y="76"/>
                  <a:pt x="26" y="76"/>
                  <a:pt x="26" y="76"/>
                </a:cubicBezTo>
                <a:cubicBezTo>
                  <a:pt x="26" y="76"/>
                  <a:pt x="26" y="76"/>
                  <a:pt x="26" y="76"/>
                </a:cubicBezTo>
                <a:cubicBezTo>
                  <a:pt x="26" y="76"/>
                  <a:pt x="26" y="76"/>
                  <a:pt x="26" y="76"/>
                </a:cubicBezTo>
                <a:close/>
                <a:moveTo>
                  <a:pt x="25" y="81"/>
                </a:moveTo>
                <a:cubicBezTo>
                  <a:pt x="25" y="81"/>
                  <a:pt x="25" y="81"/>
                  <a:pt x="25" y="81"/>
                </a:cubicBezTo>
                <a:cubicBezTo>
                  <a:pt x="25" y="81"/>
                  <a:pt x="25" y="81"/>
                  <a:pt x="25" y="81"/>
                </a:cubicBezTo>
                <a:cubicBezTo>
                  <a:pt x="25" y="81"/>
                  <a:pt x="25" y="81"/>
                  <a:pt x="25" y="81"/>
                </a:cubicBezTo>
                <a:cubicBezTo>
                  <a:pt x="25" y="81"/>
                  <a:pt x="25" y="81"/>
                  <a:pt x="26" y="81"/>
                </a:cubicBezTo>
                <a:cubicBezTo>
                  <a:pt x="26" y="81"/>
                  <a:pt x="26" y="81"/>
                  <a:pt x="26" y="82"/>
                </a:cubicBezTo>
                <a:cubicBezTo>
                  <a:pt x="25" y="81"/>
                  <a:pt x="25" y="81"/>
                  <a:pt x="25" y="81"/>
                </a:cubicBezTo>
                <a:cubicBezTo>
                  <a:pt x="26" y="82"/>
                  <a:pt x="25" y="82"/>
                  <a:pt x="25" y="82"/>
                </a:cubicBezTo>
                <a:cubicBezTo>
                  <a:pt x="25" y="82"/>
                  <a:pt x="25" y="82"/>
                  <a:pt x="25" y="82"/>
                </a:cubicBezTo>
                <a:cubicBezTo>
                  <a:pt x="25" y="82"/>
                  <a:pt x="25" y="81"/>
                  <a:pt x="25" y="81"/>
                </a:cubicBezTo>
                <a:close/>
              </a:path>
            </a:pathLst>
          </a:custGeom>
          <a:gradFill flip="none" rotWithShape="1">
            <a:gsLst>
              <a:gs pos="84000">
                <a:schemeClr val="accent2">
                  <a:lumMod val="40000"/>
                  <a:lumOff val="60000"/>
                </a:schemeClr>
              </a:gs>
              <a:gs pos="0">
                <a:schemeClr val="accent2"/>
              </a:gs>
              <a:gs pos="55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52" name="文本框 51"/>
          <p:cNvSpPr txBox="1"/>
          <p:nvPr/>
        </p:nvSpPr>
        <p:spPr>
          <a:xfrm>
            <a:off x="672307" y="833065"/>
            <a:ext cx="26677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14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众志成城 抗击疫情</a:t>
            </a:r>
            <a:endParaRPr lang="en-US" altLang="zh-CN" sz="1400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  <a:p>
            <a:r>
              <a:rPr lang="en-US" altLang="zh-CN" sz="14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_</a:t>
            </a:r>
            <a:endParaRPr lang="zh-CN" altLang="en-US" sz="14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社区防控工作方案（试行）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130300"/>
            <a:ext cx="10858500" cy="5003800"/>
            <a:chOff x="660400" y="1130300"/>
            <a:chExt cx="10858500" cy="5003800"/>
          </a:xfrm>
        </p:grpSpPr>
        <p:sp>
          <p:nvSpPr>
            <p:cNvPr id="6" name="任意多边形: 形状 5"/>
            <p:cNvSpPr/>
            <p:nvPr/>
          </p:nvSpPr>
          <p:spPr>
            <a:xfrm>
              <a:off x="1954047" y="1758576"/>
              <a:ext cx="451548" cy="366060"/>
            </a:xfrm>
            <a:custGeom>
              <a:avLst/>
              <a:gdLst>
                <a:gd name="connsiteX0" fmla="*/ 493872 w 604195"/>
                <a:gd name="connsiteY0" fmla="*/ 437764 h 489806"/>
                <a:gd name="connsiteX1" fmla="*/ 478290 w 604195"/>
                <a:gd name="connsiteY1" fmla="*/ 453330 h 489806"/>
                <a:gd name="connsiteX2" fmla="*/ 493872 w 604195"/>
                <a:gd name="connsiteY2" fmla="*/ 469024 h 489806"/>
                <a:gd name="connsiteX3" fmla="*/ 509582 w 604195"/>
                <a:gd name="connsiteY3" fmla="*/ 453330 h 489806"/>
                <a:gd name="connsiteX4" fmla="*/ 493872 w 604195"/>
                <a:gd name="connsiteY4" fmla="*/ 437764 h 489806"/>
                <a:gd name="connsiteX5" fmla="*/ 304116 w 604195"/>
                <a:gd name="connsiteY5" fmla="*/ 437764 h 489806"/>
                <a:gd name="connsiteX6" fmla="*/ 288403 w 604195"/>
                <a:gd name="connsiteY6" fmla="*/ 453330 h 489806"/>
                <a:gd name="connsiteX7" fmla="*/ 304116 w 604195"/>
                <a:gd name="connsiteY7" fmla="*/ 469024 h 489806"/>
                <a:gd name="connsiteX8" fmla="*/ 319700 w 604195"/>
                <a:gd name="connsiteY8" fmla="*/ 453330 h 489806"/>
                <a:gd name="connsiteX9" fmla="*/ 304116 w 604195"/>
                <a:gd name="connsiteY9" fmla="*/ 437764 h 489806"/>
                <a:gd name="connsiteX10" fmla="*/ 493872 w 604195"/>
                <a:gd name="connsiteY10" fmla="*/ 417476 h 489806"/>
                <a:gd name="connsiteX11" fmla="*/ 529889 w 604195"/>
                <a:gd name="connsiteY11" fmla="*/ 453330 h 489806"/>
                <a:gd name="connsiteX12" fmla="*/ 493872 w 604195"/>
                <a:gd name="connsiteY12" fmla="*/ 489312 h 489806"/>
                <a:gd name="connsiteX13" fmla="*/ 457983 w 604195"/>
                <a:gd name="connsiteY13" fmla="*/ 453330 h 489806"/>
                <a:gd name="connsiteX14" fmla="*/ 493872 w 604195"/>
                <a:gd name="connsiteY14" fmla="*/ 417476 h 489806"/>
                <a:gd name="connsiteX15" fmla="*/ 304116 w 604195"/>
                <a:gd name="connsiteY15" fmla="*/ 417476 h 489806"/>
                <a:gd name="connsiteX16" fmla="*/ 340139 w 604195"/>
                <a:gd name="connsiteY16" fmla="*/ 453330 h 489806"/>
                <a:gd name="connsiteX17" fmla="*/ 304116 w 604195"/>
                <a:gd name="connsiteY17" fmla="*/ 489312 h 489806"/>
                <a:gd name="connsiteX18" fmla="*/ 268092 w 604195"/>
                <a:gd name="connsiteY18" fmla="*/ 453330 h 489806"/>
                <a:gd name="connsiteX19" fmla="*/ 304116 w 604195"/>
                <a:gd name="connsiteY19" fmla="*/ 417476 h 489806"/>
                <a:gd name="connsiteX20" fmla="*/ 464381 w 604195"/>
                <a:gd name="connsiteY20" fmla="*/ 306093 h 489806"/>
                <a:gd name="connsiteX21" fmla="*/ 464381 w 604195"/>
                <a:gd name="connsiteY21" fmla="*/ 358791 h 489806"/>
                <a:gd name="connsiteX22" fmla="*/ 529815 w 604195"/>
                <a:gd name="connsiteY22" fmla="*/ 358791 h 489806"/>
                <a:gd name="connsiteX23" fmla="*/ 526109 w 604195"/>
                <a:gd name="connsiteY23" fmla="*/ 353432 h 489806"/>
                <a:gd name="connsiteX24" fmla="*/ 510645 w 604195"/>
                <a:gd name="connsiteY24" fmla="*/ 322170 h 489806"/>
                <a:gd name="connsiteX25" fmla="*/ 484062 w 604195"/>
                <a:gd name="connsiteY25" fmla="*/ 306093 h 489806"/>
                <a:gd name="connsiteX26" fmla="*/ 276769 w 604195"/>
                <a:gd name="connsiteY26" fmla="*/ 273555 h 489806"/>
                <a:gd name="connsiteX27" fmla="*/ 263733 w 604195"/>
                <a:gd name="connsiteY27" fmla="*/ 286698 h 489806"/>
                <a:gd name="connsiteX28" fmla="*/ 263733 w 604195"/>
                <a:gd name="connsiteY28" fmla="*/ 369509 h 489806"/>
                <a:gd name="connsiteX29" fmla="*/ 276769 w 604195"/>
                <a:gd name="connsiteY29" fmla="*/ 382524 h 489806"/>
                <a:gd name="connsiteX30" fmla="*/ 404442 w 604195"/>
                <a:gd name="connsiteY30" fmla="*/ 382524 h 489806"/>
                <a:gd name="connsiteX31" fmla="*/ 417605 w 604195"/>
                <a:gd name="connsiteY31" fmla="*/ 369509 h 489806"/>
                <a:gd name="connsiteX32" fmla="*/ 417605 w 604195"/>
                <a:gd name="connsiteY32" fmla="*/ 286698 h 489806"/>
                <a:gd name="connsiteX33" fmla="*/ 404442 w 604195"/>
                <a:gd name="connsiteY33" fmla="*/ 273555 h 489806"/>
                <a:gd name="connsiteX34" fmla="*/ 242774 w 604195"/>
                <a:gd name="connsiteY34" fmla="*/ 238593 h 489806"/>
                <a:gd name="connsiteX35" fmla="*/ 443677 w 604195"/>
                <a:gd name="connsiteY35" fmla="*/ 238593 h 489806"/>
                <a:gd name="connsiteX36" fmla="*/ 464381 w 604195"/>
                <a:gd name="connsiteY36" fmla="*/ 259264 h 489806"/>
                <a:gd name="connsiteX37" fmla="*/ 464381 w 604195"/>
                <a:gd name="connsiteY37" fmla="*/ 291802 h 489806"/>
                <a:gd name="connsiteX38" fmla="*/ 491347 w 604195"/>
                <a:gd name="connsiteY38" fmla="*/ 291802 h 489806"/>
                <a:gd name="connsiteX39" fmla="*/ 521252 w 604195"/>
                <a:gd name="connsiteY39" fmla="*/ 309921 h 489806"/>
                <a:gd name="connsiteX40" fmla="*/ 538505 w 604195"/>
                <a:gd name="connsiteY40" fmla="*/ 345010 h 489806"/>
                <a:gd name="connsiteX41" fmla="*/ 564449 w 604195"/>
                <a:gd name="connsiteY41" fmla="*/ 360577 h 489806"/>
                <a:gd name="connsiteX42" fmla="*/ 604195 w 604195"/>
                <a:gd name="connsiteY42" fmla="*/ 396178 h 489806"/>
                <a:gd name="connsiteX43" fmla="*/ 604195 w 604195"/>
                <a:gd name="connsiteY43" fmla="*/ 435095 h 489806"/>
                <a:gd name="connsiteX44" fmla="*/ 583619 w 604195"/>
                <a:gd name="connsiteY44" fmla="*/ 455511 h 489806"/>
                <a:gd name="connsiteX45" fmla="*/ 540806 w 604195"/>
                <a:gd name="connsiteY45" fmla="*/ 455511 h 489806"/>
                <a:gd name="connsiteX46" fmla="*/ 540806 w 604195"/>
                <a:gd name="connsiteY46" fmla="*/ 453342 h 489806"/>
                <a:gd name="connsiteX47" fmla="*/ 493903 w 604195"/>
                <a:gd name="connsiteY47" fmla="*/ 406513 h 489806"/>
                <a:gd name="connsiteX48" fmla="*/ 447000 w 604195"/>
                <a:gd name="connsiteY48" fmla="*/ 453342 h 489806"/>
                <a:gd name="connsiteX49" fmla="*/ 447127 w 604195"/>
                <a:gd name="connsiteY49" fmla="*/ 455256 h 489806"/>
                <a:gd name="connsiteX50" fmla="*/ 443677 w 604195"/>
                <a:gd name="connsiteY50" fmla="*/ 455511 h 489806"/>
                <a:gd name="connsiteX51" fmla="*/ 351021 w 604195"/>
                <a:gd name="connsiteY51" fmla="*/ 455511 h 489806"/>
                <a:gd name="connsiteX52" fmla="*/ 351021 w 604195"/>
                <a:gd name="connsiteY52" fmla="*/ 453342 h 489806"/>
                <a:gd name="connsiteX53" fmla="*/ 304118 w 604195"/>
                <a:gd name="connsiteY53" fmla="*/ 406513 h 489806"/>
                <a:gd name="connsiteX54" fmla="*/ 257215 w 604195"/>
                <a:gd name="connsiteY54" fmla="*/ 453342 h 489806"/>
                <a:gd name="connsiteX55" fmla="*/ 257215 w 604195"/>
                <a:gd name="connsiteY55" fmla="*/ 455511 h 489806"/>
                <a:gd name="connsiteX56" fmla="*/ 242774 w 604195"/>
                <a:gd name="connsiteY56" fmla="*/ 455511 h 489806"/>
                <a:gd name="connsiteX57" fmla="*/ 221942 w 604195"/>
                <a:gd name="connsiteY57" fmla="*/ 434840 h 489806"/>
                <a:gd name="connsiteX58" fmla="*/ 221942 w 604195"/>
                <a:gd name="connsiteY58" fmla="*/ 259264 h 489806"/>
                <a:gd name="connsiteX59" fmla="*/ 242774 w 604195"/>
                <a:gd name="connsiteY59" fmla="*/ 238593 h 489806"/>
                <a:gd name="connsiteX60" fmla="*/ 251051 w 604195"/>
                <a:gd name="connsiteY60" fmla="*/ 0 h 489806"/>
                <a:gd name="connsiteX61" fmla="*/ 280121 w 604195"/>
                <a:gd name="connsiteY61" fmla="*/ 9283 h 489806"/>
                <a:gd name="connsiteX62" fmla="*/ 452627 w 604195"/>
                <a:gd name="connsiteY62" fmla="*/ 143896 h 489806"/>
                <a:gd name="connsiteX63" fmla="*/ 454416 w 604195"/>
                <a:gd name="connsiteY63" fmla="*/ 145299 h 489806"/>
                <a:gd name="connsiteX64" fmla="*/ 492112 w 604195"/>
                <a:gd name="connsiteY64" fmla="*/ 174646 h 489806"/>
                <a:gd name="connsiteX65" fmla="*/ 484190 w 604195"/>
                <a:gd name="connsiteY65" fmla="*/ 214201 h 489806"/>
                <a:gd name="connsiteX66" fmla="*/ 462083 w 604195"/>
                <a:gd name="connsiteY66" fmla="*/ 214201 h 489806"/>
                <a:gd name="connsiteX67" fmla="*/ 212652 w 604195"/>
                <a:gd name="connsiteY67" fmla="*/ 214201 h 489806"/>
                <a:gd name="connsiteX68" fmla="*/ 190545 w 604195"/>
                <a:gd name="connsiteY68" fmla="*/ 236274 h 489806"/>
                <a:gd name="connsiteX69" fmla="*/ 190545 w 604195"/>
                <a:gd name="connsiteY69" fmla="*/ 466711 h 489806"/>
                <a:gd name="connsiteX70" fmla="*/ 169845 w 604195"/>
                <a:gd name="connsiteY70" fmla="*/ 489806 h 489806"/>
                <a:gd name="connsiteX71" fmla="*/ 62124 w 604195"/>
                <a:gd name="connsiteY71" fmla="*/ 489806 h 489806"/>
                <a:gd name="connsiteX72" fmla="*/ 40018 w 604195"/>
                <a:gd name="connsiteY72" fmla="*/ 467732 h 489806"/>
                <a:gd name="connsiteX73" fmla="*/ 40018 w 604195"/>
                <a:gd name="connsiteY73" fmla="*/ 214201 h 489806"/>
                <a:gd name="connsiteX74" fmla="*/ 17911 w 604195"/>
                <a:gd name="connsiteY74" fmla="*/ 214201 h 489806"/>
                <a:gd name="connsiteX75" fmla="*/ 9989 w 604195"/>
                <a:gd name="connsiteY75" fmla="*/ 174646 h 489806"/>
                <a:gd name="connsiteX76" fmla="*/ 47685 w 604195"/>
                <a:gd name="connsiteY76" fmla="*/ 145299 h 489806"/>
                <a:gd name="connsiteX77" fmla="*/ 49474 w 604195"/>
                <a:gd name="connsiteY77" fmla="*/ 143896 h 489806"/>
                <a:gd name="connsiteX78" fmla="*/ 221980 w 604195"/>
                <a:gd name="connsiteY78" fmla="*/ 9283 h 489806"/>
                <a:gd name="connsiteX79" fmla="*/ 251051 w 604195"/>
                <a:gd name="connsiteY79" fmla="*/ 0 h 489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04195" h="489806">
                  <a:moveTo>
                    <a:pt x="493872" y="437764"/>
                  </a:moveTo>
                  <a:cubicBezTo>
                    <a:pt x="485315" y="437764"/>
                    <a:pt x="478290" y="444654"/>
                    <a:pt x="478290" y="453330"/>
                  </a:cubicBezTo>
                  <a:cubicBezTo>
                    <a:pt x="478290" y="462007"/>
                    <a:pt x="485315" y="469024"/>
                    <a:pt x="493872" y="469024"/>
                  </a:cubicBezTo>
                  <a:cubicBezTo>
                    <a:pt x="502557" y="469024"/>
                    <a:pt x="509582" y="462007"/>
                    <a:pt x="509582" y="453330"/>
                  </a:cubicBezTo>
                  <a:cubicBezTo>
                    <a:pt x="509582" y="444654"/>
                    <a:pt x="502557" y="437764"/>
                    <a:pt x="493872" y="437764"/>
                  </a:cubicBezTo>
                  <a:close/>
                  <a:moveTo>
                    <a:pt x="304116" y="437764"/>
                  </a:moveTo>
                  <a:cubicBezTo>
                    <a:pt x="295429" y="437764"/>
                    <a:pt x="288403" y="444654"/>
                    <a:pt x="288403" y="453330"/>
                  </a:cubicBezTo>
                  <a:cubicBezTo>
                    <a:pt x="288403" y="462007"/>
                    <a:pt x="295429" y="469024"/>
                    <a:pt x="304116" y="469024"/>
                  </a:cubicBezTo>
                  <a:cubicBezTo>
                    <a:pt x="312674" y="469024"/>
                    <a:pt x="319700" y="462007"/>
                    <a:pt x="319700" y="453330"/>
                  </a:cubicBezTo>
                  <a:cubicBezTo>
                    <a:pt x="319700" y="444654"/>
                    <a:pt x="312674" y="437764"/>
                    <a:pt x="304116" y="437764"/>
                  </a:cubicBezTo>
                  <a:close/>
                  <a:moveTo>
                    <a:pt x="493872" y="417476"/>
                  </a:moveTo>
                  <a:cubicBezTo>
                    <a:pt x="513796" y="417476"/>
                    <a:pt x="529889" y="433553"/>
                    <a:pt x="529889" y="453330"/>
                  </a:cubicBezTo>
                  <a:cubicBezTo>
                    <a:pt x="529889" y="473235"/>
                    <a:pt x="513796" y="489312"/>
                    <a:pt x="493872" y="489312"/>
                  </a:cubicBezTo>
                  <a:cubicBezTo>
                    <a:pt x="474076" y="489312"/>
                    <a:pt x="457983" y="473235"/>
                    <a:pt x="457983" y="453330"/>
                  </a:cubicBezTo>
                  <a:cubicBezTo>
                    <a:pt x="457983" y="433553"/>
                    <a:pt x="474076" y="417476"/>
                    <a:pt x="493872" y="417476"/>
                  </a:cubicBezTo>
                  <a:close/>
                  <a:moveTo>
                    <a:pt x="304116" y="417476"/>
                  </a:moveTo>
                  <a:cubicBezTo>
                    <a:pt x="323916" y="417476"/>
                    <a:pt x="340139" y="433553"/>
                    <a:pt x="340139" y="453330"/>
                  </a:cubicBezTo>
                  <a:cubicBezTo>
                    <a:pt x="340139" y="473235"/>
                    <a:pt x="324043" y="489312"/>
                    <a:pt x="304116" y="489312"/>
                  </a:cubicBezTo>
                  <a:cubicBezTo>
                    <a:pt x="284188" y="489312"/>
                    <a:pt x="268092" y="473235"/>
                    <a:pt x="268092" y="453330"/>
                  </a:cubicBezTo>
                  <a:cubicBezTo>
                    <a:pt x="268092" y="433553"/>
                    <a:pt x="284188" y="417476"/>
                    <a:pt x="304116" y="417476"/>
                  </a:cubicBezTo>
                  <a:close/>
                  <a:moveTo>
                    <a:pt x="464381" y="306093"/>
                  </a:moveTo>
                  <a:lnTo>
                    <a:pt x="464381" y="358791"/>
                  </a:lnTo>
                  <a:lnTo>
                    <a:pt x="529815" y="358791"/>
                  </a:lnTo>
                  <a:cubicBezTo>
                    <a:pt x="528409" y="357260"/>
                    <a:pt x="527131" y="355601"/>
                    <a:pt x="526109" y="353432"/>
                  </a:cubicBezTo>
                  <a:lnTo>
                    <a:pt x="510645" y="322170"/>
                  </a:lnTo>
                  <a:cubicBezTo>
                    <a:pt x="506044" y="313366"/>
                    <a:pt x="494030" y="306093"/>
                    <a:pt x="484062" y="306093"/>
                  </a:cubicBezTo>
                  <a:close/>
                  <a:moveTo>
                    <a:pt x="276769" y="273555"/>
                  </a:moveTo>
                  <a:cubicBezTo>
                    <a:pt x="269612" y="273555"/>
                    <a:pt x="263733" y="279552"/>
                    <a:pt x="263733" y="286698"/>
                  </a:cubicBezTo>
                  <a:lnTo>
                    <a:pt x="263733" y="369509"/>
                  </a:lnTo>
                  <a:cubicBezTo>
                    <a:pt x="263733" y="376655"/>
                    <a:pt x="269612" y="382524"/>
                    <a:pt x="276769" y="382524"/>
                  </a:cubicBezTo>
                  <a:lnTo>
                    <a:pt x="404442" y="382524"/>
                  </a:lnTo>
                  <a:cubicBezTo>
                    <a:pt x="411727" y="382524"/>
                    <a:pt x="417605" y="376655"/>
                    <a:pt x="417605" y="369509"/>
                  </a:cubicBezTo>
                  <a:lnTo>
                    <a:pt x="417605" y="286698"/>
                  </a:lnTo>
                  <a:cubicBezTo>
                    <a:pt x="417605" y="279552"/>
                    <a:pt x="411727" y="273555"/>
                    <a:pt x="404442" y="273555"/>
                  </a:cubicBezTo>
                  <a:close/>
                  <a:moveTo>
                    <a:pt x="242774" y="238593"/>
                  </a:moveTo>
                  <a:lnTo>
                    <a:pt x="443677" y="238593"/>
                  </a:lnTo>
                  <a:cubicBezTo>
                    <a:pt x="455051" y="238593"/>
                    <a:pt x="464381" y="247908"/>
                    <a:pt x="464381" y="259264"/>
                  </a:cubicBezTo>
                  <a:lnTo>
                    <a:pt x="464381" y="291802"/>
                  </a:lnTo>
                  <a:lnTo>
                    <a:pt x="491347" y="291802"/>
                  </a:lnTo>
                  <a:cubicBezTo>
                    <a:pt x="502593" y="291802"/>
                    <a:pt x="516012" y="299968"/>
                    <a:pt x="521252" y="309921"/>
                  </a:cubicBezTo>
                  <a:lnTo>
                    <a:pt x="538505" y="345010"/>
                  </a:lnTo>
                  <a:cubicBezTo>
                    <a:pt x="543745" y="354963"/>
                    <a:pt x="551285" y="357132"/>
                    <a:pt x="564449" y="360577"/>
                  </a:cubicBezTo>
                  <a:cubicBezTo>
                    <a:pt x="575440" y="363385"/>
                    <a:pt x="604195" y="363385"/>
                    <a:pt x="604195" y="396178"/>
                  </a:cubicBezTo>
                  <a:lnTo>
                    <a:pt x="604195" y="435095"/>
                  </a:lnTo>
                  <a:cubicBezTo>
                    <a:pt x="604195" y="446324"/>
                    <a:pt x="594866" y="455511"/>
                    <a:pt x="583619" y="455511"/>
                  </a:cubicBezTo>
                  <a:lnTo>
                    <a:pt x="540806" y="455511"/>
                  </a:lnTo>
                  <a:cubicBezTo>
                    <a:pt x="540806" y="454873"/>
                    <a:pt x="540806" y="454107"/>
                    <a:pt x="540806" y="453342"/>
                  </a:cubicBezTo>
                  <a:cubicBezTo>
                    <a:pt x="540806" y="427567"/>
                    <a:pt x="519846" y="406513"/>
                    <a:pt x="493903" y="406513"/>
                  </a:cubicBezTo>
                  <a:cubicBezTo>
                    <a:pt x="468087" y="406513"/>
                    <a:pt x="447000" y="427567"/>
                    <a:pt x="447000" y="453342"/>
                  </a:cubicBezTo>
                  <a:cubicBezTo>
                    <a:pt x="447000" y="453980"/>
                    <a:pt x="447000" y="454618"/>
                    <a:pt x="447127" y="455256"/>
                  </a:cubicBezTo>
                  <a:cubicBezTo>
                    <a:pt x="445977" y="455383"/>
                    <a:pt x="444827" y="455511"/>
                    <a:pt x="443677" y="455511"/>
                  </a:cubicBezTo>
                  <a:lnTo>
                    <a:pt x="351021" y="455511"/>
                  </a:lnTo>
                  <a:cubicBezTo>
                    <a:pt x="351021" y="454873"/>
                    <a:pt x="351021" y="454107"/>
                    <a:pt x="351021" y="453342"/>
                  </a:cubicBezTo>
                  <a:cubicBezTo>
                    <a:pt x="351021" y="427567"/>
                    <a:pt x="329934" y="406513"/>
                    <a:pt x="304118" y="406513"/>
                  </a:cubicBezTo>
                  <a:cubicBezTo>
                    <a:pt x="278174" y="406513"/>
                    <a:pt x="257215" y="427567"/>
                    <a:pt x="257215" y="453342"/>
                  </a:cubicBezTo>
                  <a:cubicBezTo>
                    <a:pt x="257215" y="454107"/>
                    <a:pt x="257215" y="454873"/>
                    <a:pt x="257215" y="455511"/>
                  </a:cubicBezTo>
                  <a:lnTo>
                    <a:pt x="242774" y="455511"/>
                  </a:lnTo>
                  <a:cubicBezTo>
                    <a:pt x="231399" y="455511"/>
                    <a:pt x="221942" y="446196"/>
                    <a:pt x="221942" y="434840"/>
                  </a:cubicBezTo>
                  <a:lnTo>
                    <a:pt x="221942" y="259264"/>
                  </a:lnTo>
                  <a:cubicBezTo>
                    <a:pt x="221942" y="247908"/>
                    <a:pt x="231399" y="238593"/>
                    <a:pt x="242774" y="238593"/>
                  </a:cubicBezTo>
                  <a:close/>
                  <a:moveTo>
                    <a:pt x="251051" y="0"/>
                  </a:moveTo>
                  <a:cubicBezTo>
                    <a:pt x="261593" y="0"/>
                    <a:pt x="272135" y="3095"/>
                    <a:pt x="280121" y="9283"/>
                  </a:cubicBezTo>
                  <a:lnTo>
                    <a:pt x="452627" y="143896"/>
                  </a:lnTo>
                  <a:cubicBezTo>
                    <a:pt x="453266" y="144406"/>
                    <a:pt x="453777" y="144789"/>
                    <a:pt x="454416" y="145299"/>
                  </a:cubicBezTo>
                  <a:lnTo>
                    <a:pt x="492112" y="174646"/>
                  </a:lnTo>
                  <a:cubicBezTo>
                    <a:pt x="508085" y="187150"/>
                    <a:pt x="504507" y="214201"/>
                    <a:pt x="484190" y="214201"/>
                  </a:cubicBezTo>
                  <a:lnTo>
                    <a:pt x="462083" y="214201"/>
                  </a:lnTo>
                  <a:lnTo>
                    <a:pt x="212652" y="214201"/>
                  </a:lnTo>
                  <a:cubicBezTo>
                    <a:pt x="200513" y="214201"/>
                    <a:pt x="190545" y="224153"/>
                    <a:pt x="190545" y="236274"/>
                  </a:cubicBezTo>
                  <a:cubicBezTo>
                    <a:pt x="190545" y="236274"/>
                    <a:pt x="190545" y="460587"/>
                    <a:pt x="190545" y="466711"/>
                  </a:cubicBezTo>
                  <a:cubicBezTo>
                    <a:pt x="190545" y="480492"/>
                    <a:pt x="183645" y="489806"/>
                    <a:pt x="169845" y="489806"/>
                  </a:cubicBezTo>
                  <a:lnTo>
                    <a:pt x="62124" y="489806"/>
                  </a:lnTo>
                  <a:cubicBezTo>
                    <a:pt x="49985" y="489806"/>
                    <a:pt x="40018" y="479854"/>
                    <a:pt x="40018" y="467732"/>
                  </a:cubicBezTo>
                  <a:lnTo>
                    <a:pt x="40018" y="214201"/>
                  </a:lnTo>
                  <a:lnTo>
                    <a:pt x="17911" y="214201"/>
                  </a:lnTo>
                  <a:cubicBezTo>
                    <a:pt x="-2406" y="214201"/>
                    <a:pt x="-5984" y="187150"/>
                    <a:pt x="9989" y="174646"/>
                  </a:cubicBezTo>
                  <a:lnTo>
                    <a:pt x="47685" y="145299"/>
                  </a:lnTo>
                  <a:cubicBezTo>
                    <a:pt x="48324" y="144789"/>
                    <a:pt x="48835" y="144406"/>
                    <a:pt x="49474" y="143896"/>
                  </a:cubicBezTo>
                  <a:lnTo>
                    <a:pt x="221980" y="9283"/>
                  </a:lnTo>
                  <a:cubicBezTo>
                    <a:pt x="229967" y="3095"/>
                    <a:pt x="240509" y="0"/>
                    <a:pt x="251051" y="0"/>
                  </a:cubicBezTo>
                  <a:close/>
                </a:path>
              </a:pathLst>
            </a:custGeom>
            <a:solidFill>
              <a:schemeClr val="accent1"/>
            </a:solidFill>
            <a:ln w="5715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4E9A126B-220C-4D25-BF8F-206546389E42}"/>
                </a:ext>
              </a:extLst>
            </p:cNvPr>
            <p:cNvSpPr/>
            <p:nvPr/>
          </p:nvSpPr>
          <p:spPr bwMode="auto">
            <a:xfrm>
              <a:off x="660400" y="4290386"/>
              <a:ext cx="3038849" cy="12795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Supporting text </a:t>
              </a:r>
              <a:r>
                <a:rPr lang="en-US" altLang="zh-CN" sz="1100"/>
                <a:t>here.</a:t>
              </a:r>
              <a:r>
                <a:rPr lang="en-US" altLang="zh-CN" sz="100"/>
                <a:t> </a:t>
              </a:r>
              <a:endParaRPr lang="en-US" altLang="zh-CN" sz="100" dirty="0"/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endParaRPr lang="en-US" altLang="zh-CN" sz="1100" dirty="0"/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……</a:t>
              </a:r>
            </a:p>
          </p:txBody>
        </p:sp>
        <p:cxnSp>
          <p:nvCxnSpPr>
            <p:cNvPr id="8" name="连接符: 肘形 7"/>
            <p:cNvCxnSpPr>
              <a:endCxn id="12" idx="6"/>
            </p:cNvCxnSpPr>
            <p:nvPr/>
          </p:nvCxnSpPr>
          <p:spPr>
            <a:xfrm rot="5400000">
              <a:off x="814295" y="2406837"/>
              <a:ext cx="1660428" cy="1070624"/>
            </a:xfrm>
            <a:prstGeom prst="bentConnector2">
              <a:avLst/>
            </a:prstGeom>
            <a:ln w="28575" cap="rnd">
              <a:solidFill>
                <a:schemeClr val="bg1">
                  <a:lumMod val="9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连接符: 肘形 8"/>
            <p:cNvCxnSpPr>
              <a:endCxn id="14" idx="6"/>
            </p:cNvCxnSpPr>
            <p:nvPr/>
          </p:nvCxnSpPr>
          <p:spPr>
            <a:xfrm rot="5400000">
              <a:off x="1204259" y="2796801"/>
              <a:ext cx="1660428" cy="290696"/>
            </a:xfrm>
            <a:prstGeom prst="bentConnector2">
              <a:avLst/>
            </a:prstGeom>
            <a:ln w="28575" cap="rnd">
              <a:solidFill>
                <a:schemeClr val="bg1">
                  <a:lumMod val="9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连接符: 肘形 9"/>
            <p:cNvCxnSpPr>
              <a:endCxn id="16" idx="2"/>
            </p:cNvCxnSpPr>
            <p:nvPr/>
          </p:nvCxnSpPr>
          <p:spPr>
            <a:xfrm rot="16200000" flipH="1">
              <a:off x="1494958" y="2796798"/>
              <a:ext cx="1660428" cy="290702"/>
            </a:xfrm>
            <a:prstGeom prst="bentConnector2">
              <a:avLst/>
            </a:prstGeom>
            <a:ln w="28575" cap="rnd">
              <a:solidFill>
                <a:schemeClr val="bg1">
                  <a:lumMod val="9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连接符: 肘形 10"/>
            <p:cNvCxnSpPr>
              <a:endCxn id="18" idx="2"/>
            </p:cNvCxnSpPr>
            <p:nvPr/>
          </p:nvCxnSpPr>
          <p:spPr>
            <a:xfrm rot="16200000" flipH="1">
              <a:off x="1884922" y="2406833"/>
              <a:ext cx="1660428" cy="1070631"/>
            </a:xfrm>
            <a:prstGeom prst="bentConnector2">
              <a:avLst/>
            </a:prstGeom>
            <a:ln w="28575" cap="rnd">
              <a:solidFill>
                <a:schemeClr val="bg1">
                  <a:lumMod val="9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椭圆 11"/>
            <p:cNvSpPr/>
            <p:nvPr/>
          </p:nvSpPr>
          <p:spPr>
            <a:xfrm>
              <a:off x="910665" y="3673097"/>
              <a:ext cx="198532" cy="198532"/>
            </a:xfrm>
            <a:prstGeom prst="ellipse">
              <a:avLst/>
            </a:prstGeom>
            <a:solidFill>
              <a:schemeClr val="accent1"/>
            </a:solidFill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3B38DF14-A661-4985-8EB6-C154FB94541B}"/>
                </a:ext>
              </a:extLst>
            </p:cNvPr>
            <p:cNvSpPr txBox="1"/>
            <p:nvPr/>
          </p:nvSpPr>
          <p:spPr bwMode="auto">
            <a:xfrm>
              <a:off x="714096" y="3254340"/>
              <a:ext cx="591670" cy="347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400"/>
                <a:t>Te</a:t>
              </a:r>
              <a:r>
                <a:rPr lang="en-US" altLang="zh-CN" sz="100"/>
                <a:t> </a:t>
              </a:r>
              <a:r>
                <a:rPr lang="en-US" altLang="zh-CN" sz="1400"/>
                <a:t>xt</a:t>
              </a:r>
              <a:endParaRPr lang="en-US" altLang="zh-CN" sz="1400" dirty="0"/>
            </a:p>
          </p:txBody>
        </p:sp>
        <p:sp>
          <p:nvSpPr>
            <p:cNvPr id="14" name="椭圆 13"/>
            <p:cNvSpPr/>
            <p:nvPr/>
          </p:nvSpPr>
          <p:spPr>
            <a:xfrm>
              <a:off x="1690593" y="3673097"/>
              <a:ext cx="198532" cy="198532"/>
            </a:xfrm>
            <a:prstGeom prst="ellipse">
              <a:avLst/>
            </a:prstGeom>
            <a:solidFill>
              <a:schemeClr val="accent1"/>
            </a:solidFill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3B38DF14-A661-4985-8EB6-C154FB94541B}"/>
                </a:ext>
              </a:extLst>
            </p:cNvPr>
            <p:cNvSpPr txBox="1"/>
            <p:nvPr/>
          </p:nvSpPr>
          <p:spPr bwMode="auto">
            <a:xfrm>
              <a:off x="1494024" y="3254340"/>
              <a:ext cx="591670" cy="347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400"/>
                <a:t>Te</a:t>
              </a:r>
              <a:r>
                <a:rPr lang="en-US" altLang="zh-CN" sz="100"/>
                <a:t> </a:t>
              </a:r>
              <a:r>
                <a:rPr lang="en-US" altLang="zh-CN" sz="1400"/>
                <a:t>xt</a:t>
              </a:r>
              <a:endParaRPr lang="en-US" altLang="zh-CN" sz="1400" dirty="0"/>
            </a:p>
          </p:txBody>
        </p:sp>
        <p:sp>
          <p:nvSpPr>
            <p:cNvPr id="16" name="椭圆 15"/>
            <p:cNvSpPr/>
            <p:nvPr/>
          </p:nvSpPr>
          <p:spPr>
            <a:xfrm>
              <a:off x="2470523" y="3673097"/>
              <a:ext cx="198532" cy="198532"/>
            </a:xfrm>
            <a:prstGeom prst="ellipse">
              <a:avLst/>
            </a:prstGeom>
            <a:solidFill>
              <a:schemeClr val="accent1"/>
            </a:solidFill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3B38DF14-A661-4985-8EB6-C154FB94541B}"/>
                </a:ext>
              </a:extLst>
            </p:cNvPr>
            <p:cNvSpPr txBox="1"/>
            <p:nvPr/>
          </p:nvSpPr>
          <p:spPr bwMode="auto">
            <a:xfrm>
              <a:off x="2273954" y="3254340"/>
              <a:ext cx="591670" cy="347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400"/>
                <a:t>Te</a:t>
              </a:r>
              <a:r>
                <a:rPr lang="en-US" altLang="zh-CN" sz="100"/>
                <a:t> </a:t>
              </a:r>
              <a:r>
                <a:rPr lang="en-US" altLang="zh-CN" sz="1400"/>
                <a:t>xt</a:t>
              </a:r>
              <a:endParaRPr lang="en-US" altLang="zh-CN" sz="1400" dirty="0"/>
            </a:p>
          </p:txBody>
        </p:sp>
        <p:sp>
          <p:nvSpPr>
            <p:cNvPr id="18" name="椭圆 17"/>
            <p:cNvSpPr/>
            <p:nvPr/>
          </p:nvSpPr>
          <p:spPr>
            <a:xfrm>
              <a:off x="3250452" y="3673097"/>
              <a:ext cx="198532" cy="198532"/>
            </a:xfrm>
            <a:prstGeom prst="ellipse">
              <a:avLst/>
            </a:prstGeom>
            <a:solidFill>
              <a:schemeClr val="accent1"/>
            </a:solidFill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3B38DF14-A661-4985-8EB6-C154FB94541B}"/>
                </a:ext>
              </a:extLst>
            </p:cNvPr>
            <p:cNvSpPr txBox="1"/>
            <p:nvPr/>
          </p:nvSpPr>
          <p:spPr bwMode="auto">
            <a:xfrm>
              <a:off x="3053883" y="3254340"/>
              <a:ext cx="591670" cy="347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400"/>
                <a:t>Te</a:t>
              </a:r>
              <a:r>
                <a:rPr lang="en-US" altLang="zh-CN" sz="100"/>
                <a:t> </a:t>
              </a:r>
              <a:r>
                <a:rPr lang="en-US" altLang="zh-CN" sz="1400"/>
                <a:t>xt</a:t>
              </a:r>
              <a:endParaRPr lang="en-US" altLang="zh-CN" sz="1400" dirty="0"/>
            </a:p>
          </p:txBody>
        </p:sp>
        <p:cxnSp>
          <p:nvCxnSpPr>
            <p:cNvPr id="20" name="直接连接符 19"/>
            <p:cNvCxnSpPr>
              <a:endCxn id="7" idx="0"/>
            </p:cNvCxnSpPr>
            <p:nvPr/>
          </p:nvCxnSpPr>
          <p:spPr>
            <a:xfrm>
              <a:off x="2179821" y="2111935"/>
              <a:ext cx="4" cy="2178451"/>
            </a:xfrm>
            <a:prstGeom prst="line">
              <a:avLst/>
            </a:prstGeom>
            <a:ln w="28575" cap="rnd">
              <a:solidFill>
                <a:schemeClr val="bg1">
                  <a:lumMod val="9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任意多边形: 形状 20"/>
            <p:cNvSpPr/>
            <p:nvPr/>
          </p:nvSpPr>
          <p:spPr>
            <a:xfrm>
              <a:off x="9773704" y="1758576"/>
              <a:ext cx="451548" cy="366060"/>
            </a:xfrm>
            <a:custGeom>
              <a:avLst/>
              <a:gdLst>
                <a:gd name="connsiteX0" fmla="*/ 493872 w 604195"/>
                <a:gd name="connsiteY0" fmla="*/ 437764 h 489806"/>
                <a:gd name="connsiteX1" fmla="*/ 478290 w 604195"/>
                <a:gd name="connsiteY1" fmla="*/ 453330 h 489806"/>
                <a:gd name="connsiteX2" fmla="*/ 493872 w 604195"/>
                <a:gd name="connsiteY2" fmla="*/ 469024 h 489806"/>
                <a:gd name="connsiteX3" fmla="*/ 509582 w 604195"/>
                <a:gd name="connsiteY3" fmla="*/ 453330 h 489806"/>
                <a:gd name="connsiteX4" fmla="*/ 493872 w 604195"/>
                <a:gd name="connsiteY4" fmla="*/ 437764 h 489806"/>
                <a:gd name="connsiteX5" fmla="*/ 304116 w 604195"/>
                <a:gd name="connsiteY5" fmla="*/ 437764 h 489806"/>
                <a:gd name="connsiteX6" fmla="*/ 288403 w 604195"/>
                <a:gd name="connsiteY6" fmla="*/ 453330 h 489806"/>
                <a:gd name="connsiteX7" fmla="*/ 304116 w 604195"/>
                <a:gd name="connsiteY7" fmla="*/ 469024 h 489806"/>
                <a:gd name="connsiteX8" fmla="*/ 319700 w 604195"/>
                <a:gd name="connsiteY8" fmla="*/ 453330 h 489806"/>
                <a:gd name="connsiteX9" fmla="*/ 304116 w 604195"/>
                <a:gd name="connsiteY9" fmla="*/ 437764 h 489806"/>
                <a:gd name="connsiteX10" fmla="*/ 493872 w 604195"/>
                <a:gd name="connsiteY10" fmla="*/ 417476 h 489806"/>
                <a:gd name="connsiteX11" fmla="*/ 529889 w 604195"/>
                <a:gd name="connsiteY11" fmla="*/ 453330 h 489806"/>
                <a:gd name="connsiteX12" fmla="*/ 493872 w 604195"/>
                <a:gd name="connsiteY12" fmla="*/ 489312 h 489806"/>
                <a:gd name="connsiteX13" fmla="*/ 457983 w 604195"/>
                <a:gd name="connsiteY13" fmla="*/ 453330 h 489806"/>
                <a:gd name="connsiteX14" fmla="*/ 493872 w 604195"/>
                <a:gd name="connsiteY14" fmla="*/ 417476 h 489806"/>
                <a:gd name="connsiteX15" fmla="*/ 304116 w 604195"/>
                <a:gd name="connsiteY15" fmla="*/ 417476 h 489806"/>
                <a:gd name="connsiteX16" fmla="*/ 340139 w 604195"/>
                <a:gd name="connsiteY16" fmla="*/ 453330 h 489806"/>
                <a:gd name="connsiteX17" fmla="*/ 304116 w 604195"/>
                <a:gd name="connsiteY17" fmla="*/ 489312 h 489806"/>
                <a:gd name="connsiteX18" fmla="*/ 268092 w 604195"/>
                <a:gd name="connsiteY18" fmla="*/ 453330 h 489806"/>
                <a:gd name="connsiteX19" fmla="*/ 304116 w 604195"/>
                <a:gd name="connsiteY19" fmla="*/ 417476 h 489806"/>
                <a:gd name="connsiteX20" fmla="*/ 464381 w 604195"/>
                <a:gd name="connsiteY20" fmla="*/ 306093 h 489806"/>
                <a:gd name="connsiteX21" fmla="*/ 464381 w 604195"/>
                <a:gd name="connsiteY21" fmla="*/ 358791 h 489806"/>
                <a:gd name="connsiteX22" fmla="*/ 529815 w 604195"/>
                <a:gd name="connsiteY22" fmla="*/ 358791 h 489806"/>
                <a:gd name="connsiteX23" fmla="*/ 526109 w 604195"/>
                <a:gd name="connsiteY23" fmla="*/ 353432 h 489806"/>
                <a:gd name="connsiteX24" fmla="*/ 510645 w 604195"/>
                <a:gd name="connsiteY24" fmla="*/ 322170 h 489806"/>
                <a:gd name="connsiteX25" fmla="*/ 484062 w 604195"/>
                <a:gd name="connsiteY25" fmla="*/ 306093 h 489806"/>
                <a:gd name="connsiteX26" fmla="*/ 276769 w 604195"/>
                <a:gd name="connsiteY26" fmla="*/ 273555 h 489806"/>
                <a:gd name="connsiteX27" fmla="*/ 263733 w 604195"/>
                <a:gd name="connsiteY27" fmla="*/ 286698 h 489806"/>
                <a:gd name="connsiteX28" fmla="*/ 263733 w 604195"/>
                <a:gd name="connsiteY28" fmla="*/ 369509 h 489806"/>
                <a:gd name="connsiteX29" fmla="*/ 276769 w 604195"/>
                <a:gd name="connsiteY29" fmla="*/ 382524 h 489806"/>
                <a:gd name="connsiteX30" fmla="*/ 404442 w 604195"/>
                <a:gd name="connsiteY30" fmla="*/ 382524 h 489806"/>
                <a:gd name="connsiteX31" fmla="*/ 417605 w 604195"/>
                <a:gd name="connsiteY31" fmla="*/ 369509 h 489806"/>
                <a:gd name="connsiteX32" fmla="*/ 417605 w 604195"/>
                <a:gd name="connsiteY32" fmla="*/ 286698 h 489806"/>
                <a:gd name="connsiteX33" fmla="*/ 404442 w 604195"/>
                <a:gd name="connsiteY33" fmla="*/ 273555 h 489806"/>
                <a:gd name="connsiteX34" fmla="*/ 242774 w 604195"/>
                <a:gd name="connsiteY34" fmla="*/ 238593 h 489806"/>
                <a:gd name="connsiteX35" fmla="*/ 443677 w 604195"/>
                <a:gd name="connsiteY35" fmla="*/ 238593 h 489806"/>
                <a:gd name="connsiteX36" fmla="*/ 464381 w 604195"/>
                <a:gd name="connsiteY36" fmla="*/ 259264 h 489806"/>
                <a:gd name="connsiteX37" fmla="*/ 464381 w 604195"/>
                <a:gd name="connsiteY37" fmla="*/ 291802 h 489806"/>
                <a:gd name="connsiteX38" fmla="*/ 491347 w 604195"/>
                <a:gd name="connsiteY38" fmla="*/ 291802 h 489806"/>
                <a:gd name="connsiteX39" fmla="*/ 521252 w 604195"/>
                <a:gd name="connsiteY39" fmla="*/ 309921 h 489806"/>
                <a:gd name="connsiteX40" fmla="*/ 538505 w 604195"/>
                <a:gd name="connsiteY40" fmla="*/ 345010 h 489806"/>
                <a:gd name="connsiteX41" fmla="*/ 564449 w 604195"/>
                <a:gd name="connsiteY41" fmla="*/ 360577 h 489806"/>
                <a:gd name="connsiteX42" fmla="*/ 604195 w 604195"/>
                <a:gd name="connsiteY42" fmla="*/ 396178 h 489806"/>
                <a:gd name="connsiteX43" fmla="*/ 604195 w 604195"/>
                <a:gd name="connsiteY43" fmla="*/ 435095 h 489806"/>
                <a:gd name="connsiteX44" fmla="*/ 583619 w 604195"/>
                <a:gd name="connsiteY44" fmla="*/ 455511 h 489806"/>
                <a:gd name="connsiteX45" fmla="*/ 540806 w 604195"/>
                <a:gd name="connsiteY45" fmla="*/ 455511 h 489806"/>
                <a:gd name="connsiteX46" fmla="*/ 540806 w 604195"/>
                <a:gd name="connsiteY46" fmla="*/ 453342 h 489806"/>
                <a:gd name="connsiteX47" fmla="*/ 493903 w 604195"/>
                <a:gd name="connsiteY47" fmla="*/ 406513 h 489806"/>
                <a:gd name="connsiteX48" fmla="*/ 447000 w 604195"/>
                <a:gd name="connsiteY48" fmla="*/ 453342 h 489806"/>
                <a:gd name="connsiteX49" fmla="*/ 447127 w 604195"/>
                <a:gd name="connsiteY49" fmla="*/ 455256 h 489806"/>
                <a:gd name="connsiteX50" fmla="*/ 443677 w 604195"/>
                <a:gd name="connsiteY50" fmla="*/ 455511 h 489806"/>
                <a:gd name="connsiteX51" fmla="*/ 351021 w 604195"/>
                <a:gd name="connsiteY51" fmla="*/ 455511 h 489806"/>
                <a:gd name="connsiteX52" fmla="*/ 351021 w 604195"/>
                <a:gd name="connsiteY52" fmla="*/ 453342 h 489806"/>
                <a:gd name="connsiteX53" fmla="*/ 304118 w 604195"/>
                <a:gd name="connsiteY53" fmla="*/ 406513 h 489806"/>
                <a:gd name="connsiteX54" fmla="*/ 257215 w 604195"/>
                <a:gd name="connsiteY54" fmla="*/ 453342 h 489806"/>
                <a:gd name="connsiteX55" fmla="*/ 257215 w 604195"/>
                <a:gd name="connsiteY55" fmla="*/ 455511 h 489806"/>
                <a:gd name="connsiteX56" fmla="*/ 242774 w 604195"/>
                <a:gd name="connsiteY56" fmla="*/ 455511 h 489806"/>
                <a:gd name="connsiteX57" fmla="*/ 221942 w 604195"/>
                <a:gd name="connsiteY57" fmla="*/ 434840 h 489806"/>
                <a:gd name="connsiteX58" fmla="*/ 221942 w 604195"/>
                <a:gd name="connsiteY58" fmla="*/ 259264 h 489806"/>
                <a:gd name="connsiteX59" fmla="*/ 242774 w 604195"/>
                <a:gd name="connsiteY59" fmla="*/ 238593 h 489806"/>
                <a:gd name="connsiteX60" fmla="*/ 251051 w 604195"/>
                <a:gd name="connsiteY60" fmla="*/ 0 h 489806"/>
                <a:gd name="connsiteX61" fmla="*/ 280121 w 604195"/>
                <a:gd name="connsiteY61" fmla="*/ 9283 h 489806"/>
                <a:gd name="connsiteX62" fmla="*/ 452627 w 604195"/>
                <a:gd name="connsiteY62" fmla="*/ 143896 h 489806"/>
                <a:gd name="connsiteX63" fmla="*/ 454416 w 604195"/>
                <a:gd name="connsiteY63" fmla="*/ 145299 h 489806"/>
                <a:gd name="connsiteX64" fmla="*/ 492112 w 604195"/>
                <a:gd name="connsiteY64" fmla="*/ 174646 h 489806"/>
                <a:gd name="connsiteX65" fmla="*/ 484190 w 604195"/>
                <a:gd name="connsiteY65" fmla="*/ 214201 h 489806"/>
                <a:gd name="connsiteX66" fmla="*/ 462083 w 604195"/>
                <a:gd name="connsiteY66" fmla="*/ 214201 h 489806"/>
                <a:gd name="connsiteX67" fmla="*/ 212652 w 604195"/>
                <a:gd name="connsiteY67" fmla="*/ 214201 h 489806"/>
                <a:gd name="connsiteX68" fmla="*/ 190545 w 604195"/>
                <a:gd name="connsiteY68" fmla="*/ 236274 h 489806"/>
                <a:gd name="connsiteX69" fmla="*/ 190545 w 604195"/>
                <a:gd name="connsiteY69" fmla="*/ 466711 h 489806"/>
                <a:gd name="connsiteX70" fmla="*/ 169845 w 604195"/>
                <a:gd name="connsiteY70" fmla="*/ 489806 h 489806"/>
                <a:gd name="connsiteX71" fmla="*/ 62124 w 604195"/>
                <a:gd name="connsiteY71" fmla="*/ 489806 h 489806"/>
                <a:gd name="connsiteX72" fmla="*/ 40018 w 604195"/>
                <a:gd name="connsiteY72" fmla="*/ 467732 h 489806"/>
                <a:gd name="connsiteX73" fmla="*/ 40018 w 604195"/>
                <a:gd name="connsiteY73" fmla="*/ 214201 h 489806"/>
                <a:gd name="connsiteX74" fmla="*/ 17911 w 604195"/>
                <a:gd name="connsiteY74" fmla="*/ 214201 h 489806"/>
                <a:gd name="connsiteX75" fmla="*/ 9989 w 604195"/>
                <a:gd name="connsiteY75" fmla="*/ 174646 h 489806"/>
                <a:gd name="connsiteX76" fmla="*/ 47685 w 604195"/>
                <a:gd name="connsiteY76" fmla="*/ 145299 h 489806"/>
                <a:gd name="connsiteX77" fmla="*/ 49474 w 604195"/>
                <a:gd name="connsiteY77" fmla="*/ 143896 h 489806"/>
                <a:gd name="connsiteX78" fmla="*/ 221980 w 604195"/>
                <a:gd name="connsiteY78" fmla="*/ 9283 h 489806"/>
                <a:gd name="connsiteX79" fmla="*/ 251051 w 604195"/>
                <a:gd name="connsiteY79" fmla="*/ 0 h 489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04195" h="489806">
                  <a:moveTo>
                    <a:pt x="493872" y="437764"/>
                  </a:moveTo>
                  <a:cubicBezTo>
                    <a:pt x="485315" y="437764"/>
                    <a:pt x="478290" y="444654"/>
                    <a:pt x="478290" y="453330"/>
                  </a:cubicBezTo>
                  <a:cubicBezTo>
                    <a:pt x="478290" y="462007"/>
                    <a:pt x="485315" y="469024"/>
                    <a:pt x="493872" y="469024"/>
                  </a:cubicBezTo>
                  <a:cubicBezTo>
                    <a:pt x="502557" y="469024"/>
                    <a:pt x="509582" y="462007"/>
                    <a:pt x="509582" y="453330"/>
                  </a:cubicBezTo>
                  <a:cubicBezTo>
                    <a:pt x="509582" y="444654"/>
                    <a:pt x="502557" y="437764"/>
                    <a:pt x="493872" y="437764"/>
                  </a:cubicBezTo>
                  <a:close/>
                  <a:moveTo>
                    <a:pt x="304116" y="437764"/>
                  </a:moveTo>
                  <a:cubicBezTo>
                    <a:pt x="295429" y="437764"/>
                    <a:pt x="288403" y="444654"/>
                    <a:pt x="288403" y="453330"/>
                  </a:cubicBezTo>
                  <a:cubicBezTo>
                    <a:pt x="288403" y="462007"/>
                    <a:pt x="295429" y="469024"/>
                    <a:pt x="304116" y="469024"/>
                  </a:cubicBezTo>
                  <a:cubicBezTo>
                    <a:pt x="312674" y="469024"/>
                    <a:pt x="319700" y="462007"/>
                    <a:pt x="319700" y="453330"/>
                  </a:cubicBezTo>
                  <a:cubicBezTo>
                    <a:pt x="319700" y="444654"/>
                    <a:pt x="312674" y="437764"/>
                    <a:pt x="304116" y="437764"/>
                  </a:cubicBezTo>
                  <a:close/>
                  <a:moveTo>
                    <a:pt x="493872" y="417476"/>
                  </a:moveTo>
                  <a:cubicBezTo>
                    <a:pt x="513796" y="417476"/>
                    <a:pt x="529889" y="433553"/>
                    <a:pt x="529889" y="453330"/>
                  </a:cubicBezTo>
                  <a:cubicBezTo>
                    <a:pt x="529889" y="473235"/>
                    <a:pt x="513796" y="489312"/>
                    <a:pt x="493872" y="489312"/>
                  </a:cubicBezTo>
                  <a:cubicBezTo>
                    <a:pt x="474076" y="489312"/>
                    <a:pt x="457983" y="473235"/>
                    <a:pt x="457983" y="453330"/>
                  </a:cubicBezTo>
                  <a:cubicBezTo>
                    <a:pt x="457983" y="433553"/>
                    <a:pt x="474076" y="417476"/>
                    <a:pt x="493872" y="417476"/>
                  </a:cubicBezTo>
                  <a:close/>
                  <a:moveTo>
                    <a:pt x="304116" y="417476"/>
                  </a:moveTo>
                  <a:cubicBezTo>
                    <a:pt x="323916" y="417476"/>
                    <a:pt x="340139" y="433553"/>
                    <a:pt x="340139" y="453330"/>
                  </a:cubicBezTo>
                  <a:cubicBezTo>
                    <a:pt x="340139" y="473235"/>
                    <a:pt x="324043" y="489312"/>
                    <a:pt x="304116" y="489312"/>
                  </a:cubicBezTo>
                  <a:cubicBezTo>
                    <a:pt x="284188" y="489312"/>
                    <a:pt x="268092" y="473235"/>
                    <a:pt x="268092" y="453330"/>
                  </a:cubicBezTo>
                  <a:cubicBezTo>
                    <a:pt x="268092" y="433553"/>
                    <a:pt x="284188" y="417476"/>
                    <a:pt x="304116" y="417476"/>
                  </a:cubicBezTo>
                  <a:close/>
                  <a:moveTo>
                    <a:pt x="464381" y="306093"/>
                  </a:moveTo>
                  <a:lnTo>
                    <a:pt x="464381" y="358791"/>
                  </a:lnTo>
                  <a:lnTo>
                    <a:pt x="529815" y="358791"/>
                  </a:lnTo>
                  <a:cubicBezTo>
                    <a:pt x="528409" y="357260"/>
                    <a:pt x="527131" y="355601"/>
                    <a:pt x="526109" y="353432"/>
                  </a:cubicBezTo>
                  <a:lnTo>
                    <a:pt x="510645" y="322170"/>
                  </a:lnTo>
                  <a:cubicBezTo>
                    <a:pt x="506044" y="313366"/>
                    <a:pt x="494030" y="306093"/>
                    <a:pt x="484062" y="306093"/>
                  </a:cubicBezTo>
                  <a:close/>
                  <a:moveTo>
                    <a:pt x="276769" y="273555"/>
                  </a:moveTo>
                  <a:cubicBezTo>
                    <a:pt x="269612" y="273555"/>
                    <a:pt x="263733" y="279552"/>
                    <a:pt x="263733" y="286698"/>
                  </a:cubicBezTo>
                  <a:lnTo>
                    <a:pt x="263733" y="369509"/>
                  </a:lnTo>
                  <a:cubicBezTo>
                    <a:pt x="263733" y="376655"/>
                    <a:pt x="269612" y="382524"/>
                    <a:pt x="276769" y="382524"/>
                  </a:cubicBezTo>
                  <a:lnTo>
                    <a:pt x="404442" y="382524"/>
                  </a:lnTo>
                  <a:cubicBezTo>
                    <a:pt x="411727" y="382524"/>
                    <a:pt x="417605" y="376655"/>
                    <a:pt x="417605" y="369509"/>
                  </a:cubicBezTo>
                  <a:lnTo>
                    <a:pt x="417605" y="286698"/>
                  </a:lnTo>
                  <a:cubicBezTo>
                    <a:pt x="417605" y="279552"/>
                    <a:pt x="411727" y="273555"/>
                    <a:pt x="404442" y="273555"/>
                  </a:cubicBezTo>
                  <a:close/>
                  <a:moveTo>
                    <a:pt x="242774" y="238593"/>
                  </a:moveTo>
                  <a:lnTo>
                    <a:pt x="443677" y="238593"/>
                  </a:lnTo>
                  <a:cubicBezTo>
                    <a:pt x="455051" y="238593"/>
                    <a:pt x="464381" y="247908"/>
                    <a:pt x="464381" y="259264"/>
                  </a:cubicBezTo>
                  <a:lnTo>
                    <a:pt x="464381" y="291802"/>
                  </a:lnTo>
                  <a:lnTo>
                    <a:pt x="491347" y="291802"/>
                  </a:lnTo>
                  <a:cubicBezTo>
                    <a:pt x="502593" y="291802"/>
                    <a:pt x="516012" y="299968"/>
                    <a:pt x="521252" y="309921"/>
                  </a:cubicBezTo>
                  <a:lnTo>
                    <a:pt x="538505" y="345010"/>
                  </a:lnTo>
                  <a:cubicBezTo>
                    <a:pt x="543745" y="354963"/>
                    <a:pt x="551285" y="357132"/>
                    <a:pt x="564449" y="360577"/>
                  </a:cubicBezTo>
                  <a:cubicBezTo>
                    <a:pt x="575440" y="363385"/>
                    <a:pt x="604195" y="363385"/>
                    <a:pt x="604195" y="396178"/>
                  </a:cubicBezTo>
                  <a:lnTo>
                    <a:pt x="604195" y="435095"/>
                  </a:lnTo>
                  <a:cubicBezTo>
                    <a:pt x="604195" y="446324"/>
                    <a:pt x="594866" y="455511"/>
                    <a:pt x="583619" y="455511"/>
                  </a:cubicBezTo>
                  <a:lnTo>
                    <a:pt x="540806" y="455511"/>
                  </a:lnTo>
                  <a:cubicBezTo>
                    <a:pt x="540806" y="454873"/>
                    <a:pt x="540806" y="454107"/>
                    <a:pt x="540806" y="453342"/>
                  </a:cubicBezTo>
                  <a:cubicBezTo>
                    <a:pt x="540806" y="427567"/>
                    <a:pt x="519846" y="406513"/>
                    <a:pt x="493903" y="406513"/>
                  </a:cubicBezTo>
                  <a:cubicBezTo>
                    <a:pt x="468087" y="406513"/>
                    <a:pt x="447000" y="427567"/>
                    <a:pt x="447000" y="453342"/>
                  </a:cubicBezTo>
                  <a:cubicBezTo>
                    <a:pt x="447000" y="453980"/>
                    <a:pt x="447000" y="454618"/>
                    <a:pt x="447127" y="455256"/>
                  </a:cubicBezTo>
                  <a:cubicBezTo>
                    <a:pt x="445977" y="455383"/>
                    <a:pt x="444827" y="455511"/>
                    <a:pt x="443677" y="455511"/>
                  </a:cubicBezTo>
                  <a:lnTo>
                    <a:pt x="351021" y="455511"/>
                  </a:lnTo>
                  <a:cubicBezTo>
                    <a:pt x="351021" y="454873"/>
                    <a:pt x="351021" y="454107"/>
                    <a:pt x="351021" y="453342"/>
                  </a:cubicBezTo>
                  <a:cubicBezTo>
                    <a:pt x="351021" y="427567"/>
                    <a:pt x="329934" y="406513"/>
                    <a:pt x="304118" y="406513"/>
                  </a:cubicBezTo>
                  <a:cubicBezTo>
                    <a:pt x="278174" y="406513"/>
                    <a:pt x="257215" y="427567"/>
                    <a:pt x="257215" y="453342"/>
                  </a:cubicBezTo>
                  <a:cubicBezTo>
                    <a:pt x="257215" y="454107"/>
                    <a:pt x="257215" y="454873"/>
                    <a:pt x="257215" y="455511"/>
                  </a:cubicBezTo>
                  <a:lnTo>
                    <a:pt x="242774" y="455511"/>
                  </a:lnTo>
                  <a:cubicBezTo>
                    <a:pt x="231399" y="455511"/>
                    <a:pt x="221942" y="446196"/>
                    <a:pt x="221942" y="434840"/>
                  </a:cubicBezTo>
                  <a:lnTo>
                    <a:pt x="221942" y="259264"/>
                  </a:lnTo>
                  <a:cubicBezTo>
                    <a:pt x="221942" y="247908"/>
                    <a:pt x="231399" y="238593"/>
                    <a:pt x="242774" y="238593"/>
                  </a:cubicBezTo>
                  <a:close/>
                  <a:moveTo>
                    <a:pt x="251051" y="0"/>
                  </a:moveTo>
                  <a:cubicBezTo>
                    <a:pt x="261593" y="0"/>
                    <a:pt x="272135" y="3095"/>
                    <a:pt x="280121" y="9283"/>
                  </a:cubicBezTo>
                  <a:lnTo>
                    <a:pt x="452627" y="143896"/>
                  </a:lnTo>
                  <a:cubicBezTo>
                    <a:pt x="453266" y="144406"/>
                    <a:pt x="453777" y="144789"/>
                    <a:pt x="454416" y="145299"/>
                  </a:cubicBezTo>
                  <a:lnTo>
                    <a:pt x="492112" y="174646"/>
                  </a:lnTo>
                  <a:cubicBezTo>
                    <a:pt x="508085" y="187150"/>
                    <a:pt x="504507" y="214201"/>
                    <a:pt x="484190" y="214201"/>
                  </a:cubicBezTo>
                  <a:lnTo>
                    <a:pt x="462083" y="214201"/>
                  </a:lnTo>
                  <a:lnTo>
                    <a:pt x="212652" y="214201"/>
                  </a:lnTo>
                  <a:cubicBezTo>
                    <a:pt x="200513" y="214201"/>
                    <a:pt x="190545" y="224153"/>
                    <a:pt x="190545" y="236274"/>
                  </a:cubicBezTo>
                  <a:cubicBezTo>
                    <a:pt x="190545" y="236274"/>
                    <a:pt x="190545" y="460587"/>
                    <a:pt x="190545" y="466711"/>
                  </a:cubicBezTo>
                  <a:cubicBezTo>
                    <a:pt x="190545" y="480492"/>
                    <a:pt x="183645" y="489806"/>
                    <a:pt x="169845" y="489806"/>
                  </a:cubicBezTo>
                  <a:lnTo>
                    <a:pt x="62124" y="489806"/>
                  </a:lnTo>
                  <a:cubicBezTo>
                    <a:pt x="49985" y="489806"/>
                    <a:pt x="40018" y="479854"/>
                    <a:pt x="40018" y="467732"/>
                  </a:cubicBezTo>
                  <a:lnTo>
                    <a:pt x="40018" y="214201"/>
                  </a:lnTo>
                  <a:lnTo>
                    <a:pt x="17911" y="214201"/>
                  </a:lnTo>
                  <a:cubicBezTo>
                    <a:pt x="-2406" y="214201"/>
                    <a:pt x="-5984" y="187150"/>
                    <a:pt x="9989" y="174646"/>
                  </a:cubicBezTo>
                  <a:lnTo>
                    <a:pt x="47685" y="145299"/>
                  </a:lnTo>
                  <a:cubicBezTo>
                    <a:pt x="48324" y="144789"/>
                    <a:pt x="48835" y="144406"/>
                    <a:pt x="49474" y="143896"/>
                  </a:cubicBezTo>
                  <a:lnTo>
                    <a:pt x="221980" y="9283"/>
                  </a:lnTo>
                  <a:cubicBezTo>
                    <a:pt x="229967" y="3095"/>
                    <a:pt x="240509" y="0"/>
                    <a:pt x="251051" y="0"/>
                  </a:cubicBezTo>
                  <a:close/>
                </a:path>
              </a:pathLst>
            </a:custGeom>
            <a:solidFill>
              <a:schemeClr val="accent2"/>
            </a:solidFill>
            <a:ln w="5715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4E9A126B-220C-4D25-BF8F-206546389E42}"/>
                </a:ext>
              </a:extLst>
            </p:cNvPr>
            <p:cNvSpPr/>
            <p:nvPr/>
          </p:nvSpPr>
          <p:spPr bwMode="auto">
            <a:xfrm>
              <a:off x="8480051" y="4290386"/>
              <a:ext cx="3038849" cy="12795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Supporting text </a:t>
              </a:r>
              <a:r>
                <a:rPr lang="en-US" altLang="zh-CN" sz="1100"/>
                <a:t>here.</a:t>
              </a:r>
              <a:r>
                <a:rPr lang="en-US" altLang="zh-CN" sz="100"/>
                <a:t> </a:t>
              </a:r>
              <a:endParaRPr lang="en-US" altLang="zh-CN" sz="100" dirty="0"/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endParaRPr lang="en-US" altLang="zh-CN" sz="1100" dirty="0"/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……</a:t>
              </a:r>
            </a:p>
          </p:txBody>
        </p:sp>
        <p:cxnSp>
          <p:nvCxnSpPr>
            <p:cNvPr id="23" name="连接符: 肘形 22"/>
            <p:cNvCxnSpPr>
              <a:endCxn id="27" idx="6"/>
            </p:cNvCxnSpPr>
            <p:nvPr/>
          </p:nvCxnSpPr>
          <p:spPr>
            <a:xfrm rot="5400000">
              <a:off x="8633949" y="2406834"/>
              <a:ext cx="1660428" cy="1070630"/>
            </a:xfrm>
            <a:prstGeom prst="bentConnector2">
              <a:avLst/>
            </a:prstGeom>
            <a:ln w="28575" cap="rnd">
              <a:solidFill>
                <a:schemeClr val="bg1">
                  <a:lumMod val="9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连接符: 肘形 23"/>
            <p:cNvCxnSpPr>
              <a:endCxn id="29" idx="6"/>
            </p:cNvCxnSpPr>
            <p:nvPr/>
          </p:nvCxnSpPr>
          <p:spPr>
            <a:xfrm rot="5400000">
              <a:off x="9023913" y="2796798"/>
              <a:ext cx="1660428" cy="290702"/>
            </a:xfrm>
            <a:prstGeom prst="bentConnector2">
              <a:avLst/>
            </a:prstGeom>
            <a:ln w="28575" cap="rnd">
              <a:solidFill>
                <a:schemeClr val="bg1">
                  <a:lumMod val="9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连接符: 肘形 24"/>
            <p:cNvCxnSpPr>
              <a:endCxn id="31" idx="2"/>
            </p:cNvCxnSpPr>
            <p:nvPr/>
          </p:nvCxnSpPr>
          <p:spPr>
            <a:xfrm rot="16200000" flipH="1">
              <a:off x="9314612" y="2796801"/>
              <a:ext cx="1660428" cy="290696"/>
            </a:xfrm>
            <a:prstGeom prst="bentConnector2">
              <a:avLst/>
            </a:prstGeom>
            <a:ln w="28575" cap="rnd">
              <a:solidFill>
                <a:schemeClr val="bg1">
                  <a:lumMod val="9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连接符: 肘形 25"/>
            <p:cNvCxnSpPr>
              <a:endCxn id="33" idx="2"/>
            </p:cNvCxnSpPr>
            <p:nvPr/>
          </p:nvCxnSpPr>
          <p:spPr>
            <a:xfrm rot="16200000" flipH="1">
              <a:off x="9704576" y="2406836"/>
              <a:ext cx="1660428" cy="1070625"/>
            </a:xfrm>
            <a:prstGeom prst="bentConnector2">
              <a:avLst/>
            </a:prstGeom>
            <a:ln w="28575" cap="rnd">
              <a:solidFill>
                <a:schemeClr val="bg1">
                  <a:lumMod val="9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椭圆 26"/>
            <p:cNvSpPr/>
            <p:nvPr/>
          </p:nvSpPr>
          <p:spPr>
            <a:xfrm>
              <a:off x="8730316" y="3673097"/>
              <a:ext cx="198532" cy="198532"/>
            </a:xfrm>
            <a:prstGeom prst="ellipse">
              <a:avLst/>
            </a:prstGeom>
            <a:solidFill>
              <a:schemeClr val="accent2"/>
            </a:solidFill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3B38DF14-A661-4985-8EB6-C154FB94541B}"/>
                </a:ext>
              </a:extLst>
            </p:cNvPr>
            <p:cNvSpPr txBox="1"/>
            <p:nvPr/>
          </p:nvSpPr>
          <p:spPr bwMode="auto">
            <a:xfrm>
              <a:off x="8533747" y="3254340"/>
              <a:ext cx="591670" cy="347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400"/>
                <a:t>Te</a:t>
              </a:r>
              <a:r>
                <a:rPr lang="en-US" altLang="zh-CN" sz="100"/>
                <a:t> </a:t>
              </a:r>
              <a:r>
                <a:rPr lang="en-US" altLang="zh-CN" sz="1400"/>
                <a:t>xt</a:t>
              </a:r>
              <a:endParaRPr lang="en-US" altLang="zh-CN" sz="1400" dirty="0"/>
            </a:p>
          </p:txBody>
        </p:sp>
        <p:sp>
          <p:nvSpPr>
            <p:cNvPr id="29" name="椭圆 28"/>
            <p:cNvSpPr/>
            <p:nvPr/>
          </p:nvSpPr>
          <p:spPr>
            <a:xfrm>
              <a:off x="9510244" y="3673097"/>
              <a:ext cx="198532" cy="198532"/>
            </a:xfrm>
            <a:prstGeom prst="ellipse">
              <a:avLst/>
            </a:prstGeom>
            <a:solidFill>
              <a:schemeClr val="accent2"/>
            </a:solidFill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3B38DF14-A661-4985-8EB6-C154FB94541B}"/>
                </a:ext>
              </a:extLst>
            </p:cNvPr>
            <p:cNvSpPr txBox="1"/>
            <p:nvPr/>
          </p:nvSpPr>
          <p:spPr bwMode="auto">
            <a:xfrm>
              <a:off x="9313675" y="3254340"/>
              <a:ext cx="591670" cy="347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400"/>
                <a:t>Te</a:t>
              </a:r>
              <a:r>
                <a:rPr lang="en-US" altLang="zh-CN" sz="100"/>
                <a:t> </a:t>
              </a:r>
              <a:r>
                <a:rPr lang="en-US" altLang="zh-CN" sz="1400"/>
                <a:t>xt</a:t>
              </a:r>
              <a:endParaRPr lang="en-US" altLang="zh-CN" sz="1400" dirty="0"/>
            </a:p>
          </p:txBody>
        </p:sp>
        <p:sp>
          <p:nvSpPr>
            <p:cNvPr id="31" name="椭圆 30"/>
            <p:cNvSpPr/>
            <p:nvPr/>
          </p:nvSpPr>
          <p:spPr>
            <a:xfrm>
              <a:off x="10290174" y="3673097"/>
              <a:ext cx="198532" cy="198532"/>
            </a:xfrm>
            <a:prstGeom prst="ellipse">
              <a:avLst/>
            </a:prstGeom>
            <a:solidFill>
              <a:schemeClr val="accent2"/>
            </a:solidFill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3B38DF14-A661-4985-8EB6-C154FB94541B}"/>
                </a:ext>
              </a:extLst>
            </p:cNvPr>
            <p:cNvSpPr txBox="1"/>
            <p:nvPr/>
          </p:nvSpPr>
          <p:spPr bwMode="auto">
            <a:xfrm>
              <a:off x="10093605" y="3254340"/>
              <a:ext cx="591670" cy="347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400"/>
                <a:t>Te</a:t>
              </a:r>
              <a:r>
                <a:rPr lang="en-US" altLang="zh-CN" sz="100"/>
                <a:t> </a:t>
              </a:r>
              <a:r>
                <a:rPr lang="en-US" altLang="zh-CN" sz="1400"/>
                <a:t>xt</a:t>
              </a:r>
              <a:endParaRPr lang="en-US" altLang="zh-CN" sz="1400" dirty="0"/>
            </a:p>
          </p:txBody>
        </p:sp>
        <p:sp>
          <p:nvSpPr>
            <p:cNvPr id="33" name="椭圆 32"/>
            <p:cNvSpPr/>
            <p:nvPr/>
          </p:nvSpPr>
          <p:spPr>
            <a:xfrm>
              <a:off x="11070103" y="3673097"/>
              <a:ext cx="198532" cy="198532"/>
            </a:xfrm>
            <a:prstGeom prst="ellipse">
              <a:avLst/>
            </a:prstGeom>
            <a:solidFill>
              <a:schemeClr val="accent2"/>
            </a:solidFill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3B38DF14-A661-4985-8EB6-C154FB94541B}"/>
                </a:ext>
              </a:extLst>
            </p:cNvPr>
            <p:cNvSpPr txBox="1"/>
            <p:nvPr/>
          </p:nvSpPr>
          <p:spPr bwMode="auto">
            <a:xfrm>
              <a:off x="10873534" y="3254340"/>
              <a:ext cx="591670" cy="347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400"/>
                <a:t>Te</a:t>
              </a:r>
              <a:r>
                <a:rPr lang="en-US" altLang="zh-CN" sz="100"/>
                <a:t> </a:t>
              </a:r>
              <a:r>
                <a:rPr lang="en-US" altLang="zh-CN" sz="1400"/>
                <a:t>xt</a:t>
              </a:r>
              <a:endParaRPr lang="en-US" altLang="zh-CN" sz="1400" dirty="0"/>
            </a:p>
          </p:txBody>
        </p:sp>
        <p:cxnSp>
          <p:nvCxnSpPr>
            <p:cNvPr id="35" name="直接连接符 34"/>
            <p:cNvCxnSpPr>
              <a:endCxn id="22" idx="0"/>
            </p:cNvCxnSpPr>
            <p:nvPr/>
          </p:nvCxnSpPr>
          <p:spPr>
            <a:xfrm flipH="1">
              <a:off x="9999476" y="2111935"/>
              <a:ext cx="2" cy="2178451"/>
            </a:xfrm>
            <a:prstGeom prst="line">
              <a:avLst/>
            </a:prstGeom>
            <a:ln w="28575" cap="rnd">
              <a:solidFill>
                <a:schemeClr val="bg1">
                  <a:lumMod val="9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接连接符 35"/>
            <p:cNvCxnSpPr/>
            <p:nvPr/>
          </p:nvCxnSpPr>
          <p:spPr>
            <a:xfrm>
              <a:off x="2350150" y="1941606"/>
              <a:ext cx="7478999" cy="0"/>
            </a:xfrm>
            <a:prstGeom prst="line">
              <a:avLst/>
            </a:prstGeom>
            <a:ln w="28575" cap="rnd">
              <a:solidFill>
                <a:schemeClr val="bg1">
                  <a:lumMod val="9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3B38DF14-A661-4985-8EB6-C154FB94541B}"/>
                </a:ext>
              </a:extLst>
            </p:cNvPr>
            <p:cNvSpPr txBox="1"/>
            <p:nvPr/>
          </p:nvSpPr>
          <p:spPr bwMode="auto">
            <a:xfrm>
              <a:off x="1578344" y="1339819"/>
              <a:ext cx="1202955" cy="431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algn="ctr">
                <a:lnSpc>
                  <a:spcPct val="100000"/>
                </a:lnSpc>
                <a:spcBef>
                  <a:spcPct val="0"/>
                </a:spcBef>
                <a:buFontTx/>
                <a:buNone/>
                <a:defRPr sz="1600"/>
              </a:lvl1pPr>
            </a:lstStyle>
            <a:p>
              <a:r>
                <a:rPr lang="en-US" altLang="zh-CN" b="1"/>
                <a:t>Text he</a:t>
              </a:r>
              <a:r>
                <a:rPr lang="en-US" altLang="zh-CN" sz="100" b="1"/>
                <a:t> </a:t>
              </a:r>
              <a:r>
                <a:rPr lang="en-US" altLang="zh-CN" b="1"/>
                <a:t>re</a:t>
              </a:r>
              <a:endParaRPr lang="en-US" altLang="zh-CN" b="1" dirty="0"/>
            </a:p>
          </p:txBody>
        </p:sp>
        <p:sp>
          <p:nvSpPr>
            <p:cNvPr id="38" name="文本框 37">
              <a:extLst>
                <a:ext uri="{FF2B5EF4-FFF2-40B4-BE49-F238E27FC236}">
                  <a16:creationId xmlns:a16="http://schemas.microsoft.com/office/drawing/2014/main" id="{3B38DF14-A661-4985-8EB6-C154FB94541B}"/>
                </a:ext>
              </a:extLst>
            </p:cNvPr>
            <p:cNvSpPr txBox="1"/>
            <p:nvPr/>
          </p:nvSpPr>
          <p:spPr bwMode="auto">
            <a:xfrm>
              <a:off x="9398001" y="1339819"/>
              <a:ext cx="1202955" cy="4314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algn="ctr">
                <a:lnSpc>
                  <a:spcPct val="100000"/>
                </a:lnSpc>
                <a:spcBef>
                  <a:spcPct val="0"/>
                </a:spcBef>
                <a:buFontTx/>
                <a:buNone/>
                <a:defRPr sz="1600"/>
              </a:lvl1pPr>
            </a:lstStyle>
            <a:p>
              <a:r>
                <a:rPr lang="en-US" altLang="zh-CN" b="1"/>
                <a:t>Text he</a:t>
              </a:r>
              <a:r>
                <a:rPr lang="en-US" altLang="zh-CN" sz="100" b="1"/>
                <a:t> </a:t>
              </a:r>
              <a:r>
                <a:rPr lang="en-US" altLang="zh-CN" b="1"/>
                <a:t>re</a:t>
              </a:r>
              <a:endParaRPr lang="en-US" altLang="zh-CN" b="1" dirty="0"/>
            </a:p>
          </p:txBody>
        </p:sp>
        <p:sp>
          <p:nvSpPr>
            <p:cNvPr id="39" name="矩形 38">
              <a:extLst>
                <a:ext uri="{FF2B5EF4-FFF2-40B4-BE49-F238E27FC236}">
                  <a16:creationId xmlns:a16="http://schemas.microsoft.com/office/drawing/2014/main" id="{4E9A126B-220C-4D25-BF8F-206546389E42}"/>
                </a:ext>
              </a:extLst>
            </p:cNvPr>
            <p:cNvSpPr/>
            <p:nvPr/>
          </p:nvSpPr>
          <p:spPr bwMode="auto">
            <a:xfrm>
              <a:off x="4351477" y="4616824"/>
              <a:ext cx="3476346" cy="1517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400" dirty="0"/>
                <a:t>Copy paste fonts. Choose the only option to </a:t>
              </a:r>
              <a:r>
                <a:rPr lang="en-US" altLang="zh-CN" sz="1400"/>
                <a:t>retain </a:t>
              </a:r>
              <a:r>
                <a:rPr lang="en-US" altLang="zh-CN" sz="100"/>
                <a:t> </a:t>
              </a:r>
              <a:r>
                <a:rPr lang="en-US" altLang="zh-CN" sz="1400"/>
                <a:t>text</a:t>
              </a:r>
              <a:r>
                <a:rPr lang="en-US" altLang="zh-CN" sz="1400" dirty="0"/>
                <a:t>.</a:t>
              </a:r>
            </a:p>
            <a:p>
              <a:pPr algn="ctr">
                <a:lnSpc>
                  <a:spcPct val="150000"/>
                </a:lnSpc>
              </a:pPr>
              <a:endParaRPr lang="en-US" altLang="zh-CN" sz="1400" dirty="0"/>
            </a:p>
            <a:p>
              <a:pPr algn="ctr">
                <a:lnSpc>
                  <a:spcPct val="150000"/>
                </a:lnSpc>
              </a:pPr>
              <a:r>
                <a:rPr lang="en-US" altLang="zh-CN" sz="1400" dirty="0"/>
                <a:t>……</a:t>
              </a:r>
            </a:p>
          </p:txBody>
        </p:sp>
        <p:cxnSp>
          <p:nvCxnSpPr>
            <p:cNvPr id="40" name="直接连接符 39"/>
            <p:cNvCxnSpPr>
              <a:stCxn id="41" idx="4"/>
              <a:endCxn id="39" idx="0"/>
            </p:cNvCxnSpPr>
            <p:nvPr/>
          </p:nvCxnSpPr>
          <p:spPr>
            <a:xfrm>
              <a:off x="6089650" y="2752912"/>
              <a:ext cx="0" cy="1863912"/>
            </a:xfrm>
            <a:prstGeom prst="line">
              <a:avLst/>
            </a:prstGeom>
            <a:ln w="28575" cap="rnd">
              <a:solidFill>
                <a:schemeClr val="bg1">
                  <a:lumMod val="9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椭圆 40"/>
            <p:cNvSpPr/>
            <p:nvPr/>
          </p:nvSpPr>
          <p:spPr>
            <a:xfrm>
              <a:off x="5278344" y="1130300"/>
              <a:ext cx="1622612" cy="1622612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175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42" name="任意多边形: 形状 41"/>
            <p:cNvSpPr/>
            <p:nvPr/>
          </p:nvSpPr>
          <p:spPr>
            <a:xfrm>
              <a:off x="5713133" y="1566103"/>
              <a:ext cx="753035" cy="751009"/>
            </a:xfrm>
            <a:custGeom>
              <a:avLst/>
              <a:gdLst>
                <a:gd name="connsiteX0" fmla="*/ 221655 w 603405"/>
                <a:gd name="connsiteY0" fmla="*/ 220235 h 601782"/>
                <a:gd name="connsiteX1" fmla="*/ 382456 w 603405"/>
                <a:gd name="connsiteY1" fmla="*/ 220235 h 601782"/>
                <a:gd name="connsiteX2" fmla="*/ 411961 w 603405"/>
                <a:gd name="connsiteY2" fmla="*/ 249698 h 601782"/>
                <a:gd name="connsiteX3" fmla="*/ 411961 w 603405"/>
                <a:gd name="connsiteY3" fmla="*/ 297576 h 601782"/>
                <a:gd name="connsiteX4" fmla="*/ 411961 w 603405"/>
                <a:gd name="connsiteY4" fmla="*/ 403275 h 601782"/>
                <a:gd name="connsiteX5" fmla="*/ 382456 w 603405"/>
                <a:gd name="connsiteY5" fmla="*/ 432738 h 601782"/>
                <a:gd name="connsiteX6" fmla="*/ 371392 w 603405"/>
                <a:gd name="connsiteY6" fmla="*/ 432738 h 601782"/>
                <a:gd name="connsiteX7" fmla="*/ 371392 w 603405"/>
                <a:gd name="connsiteY7" fmla="*/ 572319 h 601782"/>
                <a:gd name="connsiteX8" fmla="*/ 341887 w 603405"/>
                <a:gd name="connsiteY8" fmla="*/ 601782 h 601782"/>
                <a:gd name="connsiteX9" fmla="*/ 262593 w 603405"/>
                <a:gd name="connsiteY9" fmla="*/ 601782 h 601782"/>
                <a:gd name="connsiteX10" fmla="*/ 233088 w 603405"/>
                <a:gd name="connsiteY10" fmla="*/ 572319 h 601782"/>
                <a:gd name="connsiteX11" fmla="*/ 233088 w 603405"/>
                <a:gd name="connsiteY11" fmla="*/ 433106 h 601782"/>
                <a:gd name="connsiteX12" fmla="*/ 221655 w 603405"/>
                <a:gd name="connsiteY12" fmla="*/ 433106 h 601782"/>
                <a:gd name="connsiteX13" fmla="*/ 192150 w 603405"/>
                <a:gd name="connsiteY13" fmla="*/ 403643 h 601782"/>
                <a:gd name="connsiteX14" fmla="*/ 192150 w 603405"/>
                <a:gd name="connsiteY14" fmla="*/ 297576 h 601782"/>
                <a:gd name="connsiteX15" fmla="*/ 192150 w 603405"/>
                <a:gd name="connsiteY15" fmla="*/ 249698 h 601782"/>
                <a:gd name="connsiteX16" fmla="*/ 221655 w 603405"/>
                <a:gd name="connsiteY16" fmla="*/ 220235 h 601782"/>
                <a:gd name="connsiteX17" fmla="*/ 29507 w 603405"/>
                <a:gd name="connsiteY17" fmla="*/ 141060 h 601782"/>
                <a:gd name="connsiteX18" fmla="*/ 162290 w 603405"/>
                <a:gd name="connsiteY18" fmla="*/ 141060 h 601782"/>
                <a:gd name="connsiteX19" fmla="*/ 191797 w 603405"/>
                <a:gd name="connsiteY19" fmla="*/ 170522 h 601782"/>
                <a:gd name="connsiteX20" fmla="*/ 191797 w 603405"/>
                <a:gd name="connsiteY20" fmla="*/ 182306 h 601782"/>
                <a:gd name="connsiteX21" fmla="*/ 147536 w 603405"/>
                <a:gd name="connsiteY21" fmla="*/ 249699 h 601782"/>
                <a:gd name="connsiteX22" fmla="*/ 147536 w 603405"/>
                <a:gd name="connsiteY22" fmla="*/ 403634 h 601782"/>
                <a:gd name="connsiteX23" fmla="*/ 156388 w 603405"/>
                <a:gd name="connsiteY23" fmla="*/ 438251 h 601782"/>
                <a:gd name="connsiteX24" fmla="*/ 156388 w 603405"/>
                <a:gd name="connsiteY24" fmla="*/ 444880 h 601782"/>
                <a:gd name="connsiteX25" fmla="*/ 126881 w 603405"/>
                <a:gd name="connsiteY25" fmla="*/ 474341 h 601782"/>
                <a:gd name="connsiteX26" fmla="*/ 64916 w 603405"/>
                <a:gd name="connsiteY26" fmla="*/ 474341 h 601782"/>
                <a:gd name="connsiteX27" fmla="*/ 35409 w 603405"/>
                <a:gd name="connsiteY27" fmla="*/ 444880 h 601782"/>
                <a:gd name="connsiteX28" fmla="*/ 35409 w 603405"/>
                <a:gd name="connsiteY28" fmla="*/ 327035 h 601782"/>
                <a:gd name="connsiteX29" fmla="*/ 29507 w 603405"/>
                <a:gd name="connsiteY29" fmla="*/ 327035 h 601782"/>
                <a:gd name="connsiteX30" fmla="*/ 0 w 603405"/>
                <a:gd name="connsiteY30" fmla="*/ 297573 h 601782"/>
                <a:gd name="connsiteX31" fmla="*/ 0 w 603405"/>
                <a:gd name="connsiteY31" fmla="*/ 170522 h 601782"/>
                <a:gd name="connsiteX32" fmla="*/ 29507 w 603405"/>
                <a:gd name="connsiteY32" fmla="*/ 141060 h 601782"/>
                <a:gd name="connsiteX33" fmla="*/ 441115 w 603405"/>
                <a:gd name="connsiteY33" fmla="*/ 140707 h 601782"/>
                <a:gd name="connsiteX34" fmla="*/ 573898 w 603405"/>
                <a:gd name="connsiteY34" fmla="*/ 140707 h 601782"/>
                <a:gd name="connsiteX35" fmla="*/ 603405 w 603405"/>
                <a:gd name="connsiteY35" fmla="*/ 170170 h 601782"/>
                <a:gd name="connsiteX36" fmla="*/ 603405 w 603405"/>
                <a:gd name="connsiteY36" fmla="*/ 296859 h 601782"/>
                <a:gd name="connsiteX37" fmla="*/ 573898 w 603405"/>
                <a:gd name="connsiteY37" fmla="*/ 326322 h 601782"/>
                <a:gd name="connsiteX38" fmla="*/ 567996 w 603405"/>
                <a:gd name="connsiteY38" fmla="*/ 326322 h 601782"/>
                <a:gd name="connsiteX39" fmla="*/ 567996 w 603405"/>
                <a:gd name="connsiteY39" fmla="*/ 444173 h 601782"/>
                <a:gd name="connsiteX40" fmla="*/ 538489 w 603405"/>
                <a:gd name="connsiteY40" fmla="*/ 473635 h 601782"/>
                <a:gd name="connsiteX41" fmla="*/ 476524 w 603405"/>
                <a:gd name="connsiteY41" fmla="*/ 473635 h 601782"/>
                <a:gd name="connsiteX42" fmla="*/ 447017 w 603405"/>
                <a:gd name="connsiteY42" fmla="*/ 444173 h 601782"/>
                <a:gd name="connsiteX43" fmla="*/ 447017 w 603405"/>
                <a:gd name="connsiteY43" fmla="*/ 437175 h 601782"/>
                <a:gd name="connsiteX44" fmla="*/ 455869 w 603405"/>
                <a:gd name="connsiteY44" fmla="*/ 402925 h 601782"/>
                <a:gd name="connsiteX45" fmla="*/ 455869 w 603405"/>
                <a:gd name="connsiteY45" fmla="*/ 248983 h 601782"/>
                <a:gd name="connsiteX46" fmla="*/ 411608 w 603405"/>
                <a:gd name="connsiteY46" fmla="*/ 181955 h 601782"/>
                <a:gd name="connsiteX47" fmla="*/ 411608 w 603405"/>
                <a:gd name="connsiteY47" fmla="*/ 170170 h 601782"/>
                <a:gd name="connsiteX48" fmla="*/ 441115 w 603405"/>
                <a:gd name="connsiteY48" fmla="*/ 140707 h 601782"/>
                <a:gd name="connsiteX49" fmla="*/ 301843 w 603405"/>
                <a:gd name="connsiteY49" fmla="*/ 58922 h 601782"/>
                <a:gd name="connsiteX50" fmla="*/ 370256 w 603405"/>
                <a:gd name="connsiteY50" fmla="*/ 127230 h 601782"/>
                <a:gd name="connsiteX51" fmla="*/ 301843 w 603405"/>
                <a:gd name="connsiteY51" fmla="*/ 195538 h 601782"/>
                <a:gd name="connsiteX52" fmla="*/ 233430 w 603405"/>
                <a:gd name="connsiteY52" fmla="*/ 127230 h 601782"/>
                <a:gd name="connsiteX53" fmla="*/ 301843 w 603405"/>
                <a:gd name="connsiteY53" fmla="*/ 58922 h 601782"/>
                <a:gd name="connsiteX54" fmla="*/ 508036 w 603405"/>
                <a:gd name="connsiteY54" fmla="*/ 0 h 601782"/>
                <a:gd name="connsiteX55" fmla="*/ 567629 w 603405"/>
                <a:gd name="connsiteY55" fmla="*/ 59487 h 601782"/>
                <a:gd name="connsiteX56" fmla="*/ 508036 w 603405"/>
                <a:gd name="connsiteY56" fmla="*/ 118974 h 601782"/>
                <a:gd name="connsiteX57" fmla="*/ 448443 w 603405"/>
                <a:gd name="connsiteY57" fmla="*/ 59487 h 601782"/>
                <a:gd name="connsiteX58" fmla="*/ 508036 w 603405"/>
                <a:gd name="connsiteY58" fmla="*/ 0 h 601782"/>
                <a:gd name="connsiteX59" fmla="*/ 95863 w 603405"/>
                <a:gd name="connsiteY59" fmla="*/ 0 h 601782"/>
                <a:gd name="connsiteX60" fmla="*/ 155244 w 603405"/>
                <a:gd name="connsiteY60" fmla="*/ 59487 h 601782"/>
                <a:gd name="connsiteX61" fmla="*/ 95863 w 603405"/>
                <a:gd name="connsiteY61" fmla="*/ 118974 h 601782"/>
                <a:gd name="connsiteX62" fmla="*/ 36482 w 603405"/>
                <a:gd name="connsiteY62" fmla="*/ 59487 h 601782"/>
                <a:gd name="connsiteX63" fmla="*/ 95863 w 603405"/>
                <a:gd name="connsiteY63" fmla="*/ 0 h 601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03405" h="601782">
                  <a:moveTo>
                    <a:pt x="221655" y="220235"/>
                  </a:moveTo>
                  <a:lnTo>
                    <a:pt x="382456" y="220235"/>
                  </a:lnTo>
                  <a:cubicBezTo>
                    <a:pt x="398684" y="220235"/>
                    <a:pt x="411961" y="233494"/>
                    <a:pt x="411961" y="249698"/>
                  </a:cubicBezTo>
                  <a:lnTo>
                    <a:pt x="411961" y="297576"/>
                  </a:lnTo>
                  <a:lnTo>
                    <a:pt x="411961" y="403275"/>
                  </a:lnTo>
                  <a:cubicBezTo>
                    <a:pt x="411961" y="419479"/>
                    <a:pt x="398684" y="432738"/>
                    <a:pt x="382456" y="432738"/>
                  </a:cubicBezTo>
                  <a:lnTo>
                    <a:pt x="371392" y="432738"/>
                  </a:lnTo>
                  <a:lnTo>
                    <a:pt x="371392" y="572319"/>
                  </a:lnTo>
                  <a:cubicBezTo>
                    <a:pt x="371392" y="588524"/>
                    <a:pt x="358115" y="601782"/>
                    <a:pt x="341887" y="601782"/>
                  </a:cubicBezTo>
                  <a:lnTo>
                    <a:pt x="262593" y="601782"/>
                  </a:lnTo>
                  <a:cubicBezTo>
                    <a:pt x="246365" y="601782"/>
                    <a:pt x="233088" y="588524"/>
                    <a:pt x="233088" y="572319"/>
                  </a:cubicBezTo>
                  <a:lnTo>
                    <a:pt x="233088" y="433106"/>
                  </a:lnTo>
                  <a:lnTo>
                    <a:pt x="221655" y="433106"/>
                  </a:lnTo>
                  <a:cubicBezTo>
                    <a:pt x="205427" y="433106"/>
                    <a:pt x="192150" y="419848"/>
                    <a:pt x="192150" y="403643"/>
                  </a:cubicBezTo>
                  <a:lnTo>
                    <a:pt x="192150" y="297576"/>
                  </a:lnTo>
                  <a:lnTo>
                    <a:pt x="192150" y="249698"/>
                  </a:lnTo>
                  <a:cubicBezTo>
                    <a:pt x="192150" y="233494"/>
                    <a:pt x="205058" y="220235"/>
                    <a:pt x="221655" y="220235"/>
                  </a:cubicBezTo>
                  <a:close/>
                  <a:moveTo>
                    <a:pt x="29507" y="141060"/>
                  </a:moveTo>
                  <a:lnTo>
                    <a:pt x="162290" y="141060"/>
                  </a:lnTo>
                  <a:cubicBezTo>
                    <a:pt x="178519" y="141060"/>
                    <a:pt x="191797" y="154318"/>
                    <a:pt x="191797" y="170522"/>
                  </a:cubicBezTo>
                  <a:lnTo>
                    <a:pt x="191797" y="182306"/>
                  </a:lnTo>
                  <a:cubicBezTo>
                    <a:pt x="165609" y="193722"/>
                    <a:pt x="147536" y="219501"/>
                    <a:pt x="147536" y="249699"/>
                  </a:cubicBezTo>
                  <a:lnTo>
                    <a:pt x="147536" y="403634"/>
                  </a:lnTo>
                  <a:cubicBezTo>
                    <a:pt x="147536" y="416155"/>
                    <a:pt x="150856" y="427940"/>
                    <a:pt x="156388" y="438251"/>
                  </a:cubicBezTo>
                  <a:lnTo>
                    <a:pt x="156388" y="444880"/>
                  </a:lnTo>
                  <a:cubicBezTo>
                    <a:pt x="156388" y="461084"/>
                    <a:pt x="143110" y="474341"/>
                    <a:pt x="126881" y="474341"/>
                  </a:cubicBezTo>
                  <a:lnTo>
                    <a:pt x="64916" y="474341"/>
                  </a:lnTo>
                  <a:cubicBezTo>
                    <a:pt x="48687" y="474341"/>
                    <a:pt x="35409" y="461084"/>
                    <a:pt x="35409" y="444880"/>
                  </a:cubicBezTo>
                  <a:lnTo>
                    <a:pt x="35409" y="327035"/>
                  </a:lnTo>
                  <a:lnTo>
                    <a:pt x="29507" y="327035"/>
                  </a:lnTo>
                  <a:cubicBezTo>
                    <a:pt x="12909" y="327035"/>
                    <a:pt x="0" y="313777"/>
                    <a:pt x="0" y="297573"/>
                  </a:cubicBezTo>
                  <a:lnTo>
                    <a:pt x="0" y="170522"/>
                  </a:lnTo>
                  <a:cubicBezTo>
                    <a:pt x="0" y="154318"/>
                    <a:pt x="13278" y="141060"/>
                    <a:pt x="29507" y="141060"/>
                  </a:cubicBezTo>
                  <a:close/>
                  <a:moveTo>
                    <a:pt x="441115" y="140707"/>
                  </a:moveTo>
                  <a:lnTo>
                    <a:pt x="573898" y="140707"/>
                  </a:lnTo>
                  <a:cubicBezTo>
                    <a:pt x="590127" y="140707"/>
                    <a:pt x="603405" y="153965"/>
                    <a:pt x="603405" y="170170"/>
                  </a:cubicBezTo>
                  <a:lnTo>
                    <a:pt x="603405" y="296859"/>
                  </a:lnTo>
                  <a:cubicBezTo>
                    <a:pt x="603405" y="313064"/>
                    <a:pt x="590127" y="326322"/>
                    <a:pt x="573898" y="326322"/>
                  </a:cubicBezTo>
                  <a:lnTo>
                    <a:pt x="567996" y="326322"/>
                  </a:lnTo>
                  <a:lnTo>
                    <a:pt x="567996" y="444173"/>
                  </a:lnTo>
                  <a:cubicBezTo>
                    <a:pt x="567996" y="460377"/>
                    <a:pt x="554718" y="473635"/>
                    <a:pt x="538489" y="473635"/>
                  </a:cubicBezTo>
                  <a:lnTo>
                    <a:pt x="476524" y="473635"/>
                  </a:lnTo>
                  <a:cubicBezTo>
                    <a:pt x="460295" y="473635"/>
                    <a:pt x="447017" y="460377"/>
                    <a:pt x="447017" y="444173"/>
                  </a:cubicBezTo>
                  <a:lnTo>
                    <a:pt x="447017" y="437175"/>
                  </a:lnTo>
                  <a:cubicBezTo>
                    <a:pt x="452918" y="426863"/>
                    <a:pt x="455869" y="415078"/>
                    <a:pt x="455869" y="402925"/>
                  </a:cubicBezTo>
                  <a:lnTo>
                    <a:pt x="455869" y="248983"/>
                  </a:lnTo>
                  <a:cubicBezTo>
                    <a:pt x="455869" y="219152"/>
                    <a:pt x="437796" y="193003"/>
                    <a:pt x="411608" y="181955"/>
                  </a:cubicBezTo>
                  <a:lnTo>
                    <a:pt x="411608" y="170170"/>
                  </a:lnTo>
                  <a:cubicBezTo>
                    <a:pt x="411608" y="153965"/>
                    <a:pt x="424886" y="140707"/>
                    <a:pt x="441115" y="140707"/>
                  </a:cubicBezTo>
                  <a:close/>
                  <a:moveTo>
                    <a:pt x="301843" y="58922"/>
                  </a:moveTo>
                  <a:cubicBezTo>
                    <a:pt x="339626" y="58922"/>
                    <a:pt x="370256" y="89505"/>
                    <a:pt x="370256" y="127230"/>
                  </a:cubicBezTo>
                  <a:cubicBezTo>
                    <a:pt x="370256" y="164955"/>
                    <a:pt x="339626" y="195538"/>
                    <a:pt x="301843" y="195538"/>
                  </a:cubicBezTo>
                  <a:cubicBezTo>
                    <a:pt x="264060" y="195538"/>
                    <a:pt x="233430" y="164955"/>
                    <a:pt x="233430" y="127230"/>
                  </a:cubicBezTo>
                  <a:cubicBezTo>
                    <a:pt x="233430" y="89505"/>
                    <a:pt x="264060" y="58922"/>
                    <a:pt x="301843" y="58922"/>
                  </a:cubicBezTo>
                  <a:close/>
                  <a:moveTo>
                    <a:pt x="508036" y="0"/>
                  </a:moveTo>
                  <a:cubicBezTo>
                    <a:pt x="540948" y="0"/>
                    <a:pt x="567629" y="26633"/>
                    <a:pt x="567629" y="59487"/>
                  </a:cubicBezTo>
                  <a:cubicBezTo>
                    <a:pt x="567629" y="92341"/>
                    <a:pt x="540948" y="118974"/>
                    <a:pt x="508036" y="118974"/>
                  </a:cubicBezTo>
                  <a:cubicBezTo>
                    <a:pt x="475124" y="118974"/>
                    <a:pt x="448443" y="92341"/>
                    <a:pt x="448443" y="59487"/>
                  </a:cubicBezTo>
                  <a:cubicBezTo>
                    <a:pt x="448443" y="26633"/>
                    <a:pt x="475124" y="0"/>
                    <a:pt x="508036" y="0"/>
                  </a:cubicBezTo>
                  <a:close/>
                  <a:moveTo>
                    <a:pt x="95863" y="0"/>
                  </a:moveTo>
                  <a:cubicBezTo>
                    <a:pt x="128658" y="0"/>
                    <a:pt x="155244" y="26633"/>
                    <a:pt x="155244" y="59487"/>
                  </a:cubicBezTo>
                  <a:cubicBezTo>
                    <a:pt x="155244" y="92341"/>
                    <a:pt x="128658" y="118974"/>
                    <a:pt x="95863" y="118974"/>
                  </a:cubicBezTo>
                  <a:cubicBezTo>
                    <a:pt x="63068" y="118974"/>
                    <a:pt x="36482" y="92341"/>
                    <a:pt x="36482" y="59487"/>
                  </a:cubicBezTo>
                  <a:cubicBezTo>
                    <a:pt x="36482" y="26633"/>
                    <a:pt x="63068" y="0"/>
                    <a:pt x="95863" y="0"/>
                  </a:cubicBezTo>
                  <a:close/>
                </a:path>
              </a:pathLst>
            </a:custGeom>
            <a:solidFill>
              <a:schemeClr val="bg1"/>
            </a:solidFill>
            <a:ln w="3175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82228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社区防控工作方案（试行）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130300"/>
            <a:ext cx="10858500" cy="5003800"/>
            <a:chOff x="660400" y="1130300"/>
            <a:chExt cx="10858500" cy="5003800"/>
          </a:xfrm>
        </p:grpSpPr>
        <p:cxnSp>
          <p:nvCxnSpPr>
            <p:cNvPr id="6" name="直接连接符 5"/>
            <p:cNvCxnSpPr/>
            <p:nvPr/>
          </p:nvCxnSpPr>
          <p:spPr>
            <a:xfrm>
              <a:off x="660400" y="6134100"/>
              <a:ext cx="10858500" cy="0"/>
            </a:xfrm>
            <a:prstGeom prst="line">
              <a:avLst/>
            </a:prstGeom>
            <a:noFill/>
            <a:ln w="19050" cap="rnd">
              <a:solidFill>
                <a:schemeClr val="bg1">
                  <a:lumMod val="75000"/>
                </a:schemeClr>
              </a:solidFill>
              <a:prstDash val="solid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" name="组合 6"/>
            <p:cNvGrpSpPr/>
            <p:nvPr/>
          </p:nvGrpSpPr>
          <p:grpSpPr>
            <a:xfrm>
              <a:off x="2387601" y="3450372"/>
              <a:ext cx="7404100" cy="2683728"/>
              <a:chOff x="2387601" y="3450372"/>
              <a:chExt cx="7404100" cy="2683728"/>
            </a:xfrm>
          </p:grpSpPr>
          <p:grpSp>
            <p:nvGrpSpPr>
              <p:cNvPr id="15" name="组合 14"/>
              <p:cNvGrpSpPr/>
              <p:nvPr/>
            </p:nvGrpSpPr>
            <p:grpSpPr>
              <a:xfrm>
                <a:off x="3338255" y="3450372"/>
                <a:ext cx="5502791" cy="2683728"/>
                <a:chOff x="2990636" y="3111302"/>
                <a:chExt cx="6198028" cy="3022798"/>
              </a:xfrm>
            </p:grpSpPr>
            <p:sp>
              <p:nvSpPr>
                <p:cNvPr id="21" name="任意多边形: 形状 20"/>
                <p:cNvSpPr/>
                <p:nvPr/>
              </p:nvSpPr>
              <p:spPr>
                <a:xfrm>
                  <a:off x="3241065" y="3361731"/>
                  <a:ext cx="5697170" cy="2772369"/>
                </a:xfrm>
                <a:custGeom>
                  <a:avLst/>
                  <a:gdLst>
                    <a:gd name="connsiteX0" fmla="*/ 2848585 w 5697170"/>
                    <a:gd name="connsiteY0" fmla="*/ 0 h 2772369"/>
                    <a:gd name="connsiteX1" fmla="*/ 5682462 w 5697170"/>
                    <a:gd name="connsiteY1" fmla="*/ 2488913 h 2772369"/>
                    <a:gd name="connsiteX2" fmla="*/ 5697170 w 5697170"/>
                    <a:gd name="connsiteY2" fmla="*/ 2772369 h 2772369"/>
                    <a:gd name="connsiteX3" fmla="*/ 4619906 w 5697170"/>
                    <a:gd name="connsiteY3" fmla="*/ 2772369 h 2772369"/>
                    <a:gd name="connsiteX4" fmla="*/ 4680026 w 5697170"/>
                    <a:gd name="connsiteY4" fmla="*/ 2665070 h 2772369"/>
                    <a:gd name="connsiteX5" fmla="*/ 4836224 w 5697170"/>
                    <a:gd name="connsiteY5" fmla="*/ 1999885 h 2772369"/>
                    <a:gd name="connsiteX6" fmla="*/ 2848585 w 5697170"/>
                    <a:gd name="connsiteY6" fmla="*/ 290976 h 2772369"/>
                    <a:gd name="connsiteX7" fmla="*/ 860946 w 5697170"/>
                    <a:gd name="connsiteY7" fmla="*/ 1999885 h 2772369"/>
                    <a:gd name="connsiteX8" fmla="*/ 1017145 w 5697170"/>
                    <a:gd name="connsiteY8" fmla="*/ 2665070 h 2772369"/>
                    <a:gd name="connsiteX9" fmla="*/ 1077264 w 5697170"/>
                    <a:gd name="connsiteY9" fmla="*/ 2772369 h 2772369"/>
                    <a:gd name="connsiteX10" fmla="*/ 0 w 5697170"/>
                    <a:gd name="connsiteY10" fmla="*/ 2772369 h 2772369"/>
                    <a:gd name="connsiteX11" fmla="*/ 14708 w 5697170"/>
                    <a:gd name="connsiteY11" fmla="*/ 2488913 h 2772369"/>
                    <a:gd name="connsiteX12" fmla="*/ 2848585 w 5697170"/>
                    <a:gd name="connsiteY12" fmla="*/ 0 h 27723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5697170" h="2772369">
                      <a:moveTo>
                        <a:pt x="2848585" y="0"/>
                      </a:moveTo>
                      <a:cubicBezTo>
                        <a:pt x="4323488" y="0"/>
                        <a:pt x="5536587" y="1090928"/>
                        <a:pt x="5682462" y="2488913"/>
                      </a:cubicBezTo>
                      <a:lnTo>
                        <a:pt x="5697170" y="2772369"/>
                      </a:lnTo>
                      <a:lnTo>
                        <a:pt x="4619906" y="2772369"/>
                      </a:lnTo>
                      <a:lnTo>
                        <a:pt x="4680026" y="2665070"/>
                      </a:lnTo>
                      <a:cubicBezTo>
                        <a:pt x="4780606" y="2460619"/>
                        <a:pt x="4836224" y="2235836"/>
                        <a:pt x="4836224" y="1999885"/>
                      </a:cubicBezTo>
                      <a:cubicBezTo>
                        <a:pt x="4836224" y="1056081"/>
                        <a:pt x="3946328" y="290976"/>
                        <a:pt x="2848585" y="290976"/>
                      </a:cubicBezTo>
                      <a:cubicBezTo>
                        <a:pt x="1750842" y="290976"/>
                        <a:pt x="860946" y="1056081"/>
                        <a:pt x="860946" y="1999885"/>
                      </a:cubicBezTo>
                      <a:cubicBezTo>
                        <a:pt x="860946" y="2235836"/>
                        <a:pt x="916565" y="2460619"/>
                        <a:pt x="1017145" y="2665070"/>
                      </a:cubicBezTo>
                      <a:lnTo>
                        <a:pt x="1077264" y="2772369"/>
                      </a:lnTo>
                      <a:lnTo>
                        <a:pt x="0" y="2772369"/>
                      </a:lnTo>
                      <a:lnTo>
                        <a:pt x="14708" y="2488913"/>
                      </a:lnTo>
                      <a:cubicBezTo>
                        <a:pt x="160583" y="1090928"/>
                        <a:pt x="1373683" y="0"/>
                        <a:pt x="2848585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22" name="任意多边形: 形状 21"/>
                <p:cNvSpPr/>
                <p:nvPr/>
              </p:nvSpPr>
              <p:spPr>
                <a:xfrm>
                  <a:off x="2990636" y="3111302"/>
                  <a:ext cx="6198028" cy="3022798"/>
                </a:xfrm>
                <a:custGeom>
                  <a:avLst/>
                  <a:gdLst>
                    <a:gd name="connsiteX0" fmla="*/ 1536704 w 3073408"/>
                    <a:gd name="connsiteY0" fmla="*/ 0 h 2949228"/>
                    <a:gd name="connsiteX1" fmla="*/ 3065474 w 3073408"/>
                    <a:gd name="connsiteY1" fmla="*/ 1379585 h 2949228"/>
                    <a:gd name="connsiteX2" fmla="*/ 3073408 w 3073408"/>
                    <a:gd name="connsiteY2" fmla="*/ 1536703 h 2949228"/>
                    <a:gd name="connsiteX3" fmla="*/ 2949228 w 3073408"/>
                    <a:gd name="connsiteY3" fmla="*/ 1536703 h 2949228"/>
                    <a:gd name="connsiteX4" fmla="*/ 2949228 w 3073408"/>
                    <a:gd name="connsiteY4" fmla="*/ 1536704 h 2949228"/>
                    <a:gd name="connsiteX5" fmla="*/ 1536704 w 3073408"/>
                    <a:gd name="connsiteY5" fmla="*/ 2949228 h 2949228"/>
                    <a:gd name="connsiteX6" fmla="*/ 124180 w 3073408"/>
                    <a:gd name="connsiteY6" fmla="*/ 1536704 h 2949228"/>
                    <a:gd name="connsiteX7" fmla="*/ 124180 w 3073408"/>
                    <a:gd name="connsiteY7" fmla="*/ 1536703 h 2949228"/>
                    <a:gd name="connsiteX8" fmla="*/ 0 w 3073408"/>
                    <a:gd name="connsiteY8" fmla="*/ 1536703 h 2949228"/>
                    <a:gd name="connsiteX9" fmla="*/ 7934 w 3073408"/>
                    <a:gd name="connsiteY9" fmla="*/ 1379585 h 2949228"/>
                    <a:gd name="connsiteX10" fmla="*/ 1536704 w 3073408"/>
                    <a:gd name="connsiteY10" fmla="*/ 0 h 2949228"/>
                    <a:gd name="connsiteX0-1" fmla="*/ 1536704 w 3073408"/>
                    <a:gd name="connsiteY0-2" fmla="*/ 0 h 1536704"/>
                    <a:gd name="connsiteX1-3" fmla="*/ 3065474 w 3073408"/>
                    <a:gd name="connsiteY1-4" fmla="*/ 1379585 h 1536704"/>
                    <a:gd name="connsiteX2-5" fmla="*/ 3073408 w 3073408"/>
                    <a:gd name="connsiteY2-6" fmla="*/ 1536703 h 1536704"/>
                    <a:gd name="connsiteX3-7" fmla="*/ 2949228 w 3073408"/>
                    <a:gd name="connsiteY3-8" fmla="*/ 1536703 h 1536704"/>
                    <a:gd name="connsiteX4-9" fmla="*/ 2949228 w 3073408"/>
                    <a:gd name="connsiteY4-10" fmla="*/ 1536704 h 1536704"/>
                    <a:gd name="connsiteX5-11" fmla="*/ 124180 w 3073408"/>
                    <a:gd name="connsiteY5-12" fmla="*/ 1536704 h 1536704"/>
                    <a:gd name="connsiteX6-13" fmla="*/ 124180 w 3073408"/>
                    <a:gd name="connsiteY6-14" fmla="*/ 1536703 h 1536704"/>
                    <a:gd name="connsiteX7-15" fmla="*/ 0 w 3073408"/>
                    <a:gd name="connsiteY7-16" fmla="*/ 1536703 h 1536704"/>
                    <a:gd name="connsiteX8-17" fmla="*/ 7934 w 3073408"/>
                    <a:gd name="connsiteY8-18" fmla="*/ 1379585 h 1536704"/>
                    <a:gd name="connsiteX9-19" fmla="*/ 1536704 w 3073408"/>
                    <a:gd name="connsiteY9-20" fmla="*/ 0 h 153670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</a:cxnLst>
                  <a:rect l="l" t="t" r="r" b="b"/>
                  <a:pathLst>
                    <a:path w="3073408" h="1536704">
                      <a:moveTo>
                        <a:pt x="1536704" y="0"/>
                      </a:moveTo>
                      <a:cubicBezTo>
                        <a:pt x="2332359" y="0"/>
                        <a:pt x="2986780" y="604693"/>
                        <a:pt x="3065474" y="1379585"/>
                      </a:cubicBezTo>
                      <a:lnTo>
                        <a:pt x="3073408" y="1536703"/>
                      </a:lnTo>
                      <a:lnTo>
                        <a:pt x="2949228" y="1536703"/>
                      </a:lnTo>
                      <a:lnTo>
                        <a:pt x="2949228" y="1536704"/>
                      </a:lnTo>
                      <a:lnTo>
                        <a:pt x="124180" y="1536704"/>
                      </a:lnTo>
                      <a:lnTo>
                        <a:pt x="124180" y="1536703"/>
                      </a:lnTo>
                      <a:lnTo>
                        <a:pt x="0" y="1536703"/>
                      </a:lnTo>
                      <a:lnTo>
                        <a:pt x="7934" y="1379585"/>
                      </a:lnTo>
                      <a:cubicBezTo>
                        <a:pt x="86629" y="604693"/>
                        <a:pt x="741050" y="0"/>
                        <a:pt x="1536704" y="0"/>
                      </a:cubicBezTo>
                      <a:close/>
                    </a:path>
                  </a:pathLst>
                </a:custGeom>
                <a:noFill/>
                <a:ln w="3175" cap="rnd">
                  <a:solidFill>
                    <a:schemeClr val="bg1">
                      <a:lumMod val="75000"/>
                    </a:schemeClr>
                  </a:solidFill>
                  <a:prstDash val="dash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sp>
            <p:nvSpPr>
              <p:cNvPr id="16" name="任意多边形: 形状 15"/>
              <p:cNvSpPr/>
              <p:nvPr/>
            </p:nvSpPr>
            <p:spPr>
              <a:xfrm>
                <a:off x="7173290" y="4905804"/>
                <a:ext cx="2508161" cy="1228296"/>
              </a:xfrm>
              <a:custGeom>
                <a:avLst/>
                <a:gdLst>
                  <a:gd name="connsiteX0" fmla="*/ 1412524 w 2825048"/>
                  <a:gd name="connsiteY0" fmla="*/ 0 h 1412523"/>
                  <a:gd name="connsiteX1" fmla="*/ 2817755 w 2825048"/>
                  <a:gd name="connsiteY1" fmla="*/ 1268102 h 1412523"/>
                  <a:gd name="connsiteX2" fmla="*/ 2825048 w 2825048"/>
                  <a:gd name="connsiteY2" fmla="*/ 1412523 h 1412523"/>
                  <a:gd name="connsiteX3" fmla="*/ 0 w 2825048"/>
                  <a:gd name="connsiteY3" fmla="*/ 1412523 h 1412523"/>
                  <a:gd name="connsiteX4" fmla="*/ 7293 w 2825048"/>
                  <a:gd name="connsiteY4" fmla="*/ 1268102 h 1412523"/>
                  <a:gd name="connsiteX5" fmla="*/ 1412524 w 2825048"/>
                  <a:gd name="connsiteY5" fmla="*/ 0 h 1412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5048" h="1412523">
                    <a:moveTo>
                      <a:pt x="1412524" y="0"/>
                    </a:moveTo>
                    <a:cubicBezTo>
                      <a:pt x="2143882" y="0"/>
                      <a:pt x="2745420" y="555828"/>
                      <a:pt x="2817755" y="1268102"/>
                    </a:cubicBezTo>
                    <a:lnTo>
                      <a:pt x="2825048" y="1412523"/>
                    </a:lnTo>
                    <a:lnTo>
                      <a:pt x="0" y="1412523"/>
                    </a:lnTo>
                    <a:lnTo>
                      <a:pt x="7293" y="1268102"/>
                    </a:lnTo>
                    <a:cubicBezTo>
                      <a:pt x="79628" y="555828"/>
                      <a:pt x="681166" y="0"/>
                      <a:pt x="1412524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2400" u="sng"/>
                  <a:t>Te</a:t>
                </a:r>
                <a:r>
                  <a:rPr lang="en-US" altLang="zh-CN" sz="100" u="sng"/>
                  <a:t> </a:t>
                </a:r>
                <a:r>
                  <a:rPr lang="en-US" altLang="zh-CN" sz="2400" u="sng"/>
                  <a:t>xt</a:t>
                </a:r>
                <a:endParaRPr lang="en-US" altLang="zh-CN" sz="2400" u="sng" dirty="0"/>
              </a:p>
            </p:txBody>
          </p:sp>
          <p:sp>
            <p:nvSpPr>
              <p:cNvPr id="17" name="任意多边形: 形状 16"/>
              <p:cNvSpPr/>
              <p:nvPr/>
            </p:nvSpPr>
            <p:spPr>
              <a:xfrm>
                <a:off x="7063039" y="4797820"/>
                <a:ext cx="2728662" cy="1336280"/>
              </a:xfrm>
              <a:custGeom>
                <a:avLst/>
                <a:gdLst>
                  <a:gd name="connsiteX0" fmla="*/ 1536704 w 3073408"/>
                  <a:gd name="connsiteY0" fmla="*/ 0 h 2949228"/>
                  <a:gd name="connsiteX1" fmla="*/ 3065474 w 3073408"/>
                  <a:gd name="connsiteY1" fmla="*/ 1379585 h 2949228"/>
                  <a:gd name="connsiteX2" fmla="*/ 3073408 w 3073408"/>
                  <a:gd name="connsiteY2" fmla="*/ 1536703 h 2949228"/>
                  <a:gd name="connsiteX3" fmla="*/ 2949228 w 3073408"/>
                  <a:gd name="connsiteY3" fmla="*/ 1536703 h 2949228"/>
                  <a:gd name="connsiteX4" fmla="*/ 2949228 w 3073408"/>
                  <a:gd name="connsiteY4" fmla="*/ 1536704 h 2949228"/>
                  <a:gd name="connsiteX5" fmla="*/ 1536704 w 3073408"/>
                  <a:gd name="connsiteY5" fmla="*/ 2949228 h 2949228"/>
                  <a:gd name="connsiteX6" fmla="*/ 124180 w 3073408"/>
                  <a:gd name="connsiteY6" fmla="*/ 1536704 h 2949228"/>
                  <a:gd name="connsiteX7" fmla="*/ 124180 w 3073408"/>
                  <a:gd name="connsiteY7" fmla="*/ 1536703 h 2949228"/>
                  <a:gd name="connsiteX8" fmla="*/ 0 w 3073408"/>
                  <a:gd name="connsiteY8" fmla="*/ 1536703 h 2949228"/>
                  <a:gd name="connsiteX9" fmla="*/ 7934 w 3073408"/>
                  <a:gd name="connsiteY9" fmla="*/ 1379585 h 2949228"/>
                  <a:gd name="connsiteX10" fmla="*/ 1536704 w 3073408"/>
                  <a:gd name="connsiteY10" fmla="*/ 0 h 2949228"/>
                  <a:gd name="connsiteX0-1" fmla="*/ 1536704 w 3073408"/>
                  <a:gd name="connsiteY0-2" fmla="*/ 0 h 1536704"/>
                  <a:gd name="connsiteX1-3" fmla="*/ 3065474 w 3073408"/>
                  <a:gd name="connsiteY1-4" fmla="*/ 1379585 h 1536704"/>
                  <a:gd name="connsiteX2-5" fmla="*/ 3073408 w 3073408"/>
                  <a:gd name="connsiteY2-6" fmla="*/ 1536703 h 1536704"/>
                  <a:gd name="connsiteX3-7" fmla="*/ 2949228 w 3073408"/>
                  <a:gd name="connsiteY3-8" fmla="*/ 1536703 h 1536704"/>
                  <a:gd name="connsiteX4-9" fmla="*/ 2949228 w 3073408"/>
                  <a:gd name="connsiteY4-10" fmla="*/ 1536704 h 1536704"/>
                  <a:gd name="connsiteX5-11" fmla="*/ 124180 w 3073408"/>
                  <a:gd name="connsiteY5-12" fmla="*/ 1536704 h 1536704"/>
                  <a:gd name="connsiteX6-13" fmla="*/ 124180 w 3073408"/>
                  <a:gd name="connsiteY6-14" fmla="*/ 1536703 h 1536704"/>
                  <a:gd name="connsiteX7-15" fmla="*/ 0 w 3073408"/>
                  <a:gd name="connsiteY7-16" fmla="*/ 1536703 h 1536704"/>
                  <a:gd name="connsiteX8-17" fmla="*/ 7934 w 3073408"/>
                  <a:gd name="connsiteY8-18" fmla="*/ 1379585 h 1536704"/>
                  <a:gd name="connsiteX9-19" fmla="*/ 1536704 w 3073408"/>
                  <a:gd name="connsiteY9-20" fmla="*/ 0 h 153670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</a:cxnLst>
                <a:rect l="l" t="t" r="r" b="b"/>
                <a:pathLst>
                  <a:path w="3073408" h="1536704">
                    <a:moveTo>
                      <a:pt x="1536704" y="0"/>
                    </a:moveTo>
                    <a:cubicBezTo>
                      <a:pt x="2332359" y="0"/>
                      <a:pt x="2986780" y="604693"/>
                      <a:pt x="3065474" y="1379585"/>
                    </a:cubicBezTo>
                    <a:lnTo>
                      <a:pt x="3073408" y="1536703"/>
                    </a:lnTo>
                    <a:lnTo>
                      <a:pt x="2949228" y="1536703"/>
                    </a:lnTo>
                    <a:lnTo>
                      <a:pt x="2949228" y="1536704"/>
                    </a:lnTo>
                    <a:lnTo>
                      <a:pt x="124180" y="1536704"/>
                    </a:lnTo>
                    <a:lnTo>
                      <a:pt x="124180" y="1536703"/>
                    </a:lnTo>
                    <a:lnTo>
                      <a:pt x="0" y="1536703"/>
                    </a:lnTo>
                    <a:lnTo>
                      <a:pt x="7934" y="1379585"/>
                    </a:lnTo>
                    <a:cubicBezTo>
                      <a:pt x="86629" y="604693"/>
                      <a:pt x="741050" y="0"/>
                      <a:pt x="1536704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8" name="任意多边形: 形状 17"/>
              <p:cNvSpPr/>
              <p:nvPr/>
            </p:nvSpPr>
            <p:spPr>
              <a:xfrm>
                <a:off x="2497852" y="4905804"/>
                <a:ext cx="2508161" cy="1228296"/>
              </a:xfrm>
              <a:custGeom>
                <a:avLst/>
                <a:gdLst>
                  <a:gd name="connsiteX0" fmla="*/ 1412524 w 2825048"/>
                  <a:gd name="connsiteY0" fmla="*/ 0 h 1412523"/>
                  <a:gd name="connsiteX1" fmla="*/ 2817755 w 2825048"/>
                  <a:gd name="connsiteY1" fmla="*/ 1268102 h 1412523"/>
                  <a:gd name="connsiteX2" fmla="*/ 2825048 w 2825048"/>
                  <a:gd name="connsiteY2" fmla="*/ 1412523 h 1412523"/>
                  <a:gd name="connsiteX3" fmla="*/ 0 w 2825048"/>
                  <a:gd name="connsiteY3" fmla="*/ 1412523 h 1412523"/>
                  <a:gd name="connsiteX4" fmla="*/ 7293 w 2825048"/>
                  <a:gd name="connsiteY4" fmla="*/ 1268102 h 1412523"/>
                  <a:gd name="connsiteX5" fmla="*/ 1412524 w 2825048"/>
                  <a:gd name="connsiteY5" fmla="*/ 0 h 1412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5048" h="1412523">
                    <a:moveTo>
                      <a:pt x="1412524" y="0"/>
                    </a:moveTo>
                    <a:cubicBezTo>
                      <a:pt x="2143882" y="0"/>
                      <a:pt x="2745420" y="555828"/>
                      <a:pt x="2817755" y="1268102"/>
                    </a:cubicBezTo>
                    <a:lnTo>
                      <a:pt x="2825048" y="1412523"/>
                    </a:lnTo>
                    <a:lnTo>
                      <a:pt x="0" y="1412523"/>
                    </a:lnTo>
                    <a:lnTo>
                      <a:pt x="7293" y="1268102"/>
                    </a:lnTo>
                    <a:cubicBezTo>
                      <a:pt x="79628" y="555828"/>
                      <a:pt x="681166" y="0"/>
                      <a:pt x="1412524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2400" u="sng"/>
                  <a:t>Te</a:t>
                </a:r>
                <a:r>
                  <a:rPr lang="en-US" altLang="zh-CN" sz="100" u="sng"/>
                  <a:t> </a:t>
                </a:r>
                <a:r>
                  <a:rPr lang="en-US" altLang="zh-CN" sz="2400" u="sng"/>
                  <a:t>xt</a:t>
                </a:r>
                <a:endParaRPr lang="en-US" altLang="zh-CN" sz="2400" u="sng" dirty="0"/>
              </a:p>
            </p:txBody>
          </p:sp>
          <p:sp>
            <p:nvSpPr>
              <p:cNvPr id="19" name="任意多边形: 形状 18"/>
              <p:cNvSpPr/>
              <p:nvPr/>
            </p:nvSpPr>
            <p:spPr>
              <a:xfrm>
                <a:off x="2387601" y="4797820"/>
                <a:ext cx="2728662" cy="1336280"/>
              </a:xfrm>
              <a:custGeom>
                <a:avLst/>
                <a:gdLst>
                  <a:gd name="connsiteX0" fmla="*/ 1536704 w 3073408"/>
                  <a:gd name="connsiteY0" fmla="*/ 0 h 2949228"/>
                  <a:gd name="connsiteX1" fmla="*/ 3065474 w 3073408"/>
                  <a:gd name="connsiteY1" fmla="*/ 1379585 h 2949228"/>
                  <a:gd name="connsiteX2" fmla="*/ 3073408 w 3073408"/>
                  <a:gd name="connsiteY2" fmla="*/ 1536703 h 2949228"/>
                  <a:gd name="connsiteX3" fmla="*/ 2949228 w 3073408"/>
                  <a:gd name="connsiteY3" fmla="*/ 1536703 h 2949228"/>
                  <a:gd name="connsiteX4" fmla="*/ 2949228 w 3073408"/>
                  <a:gd name="connsiteY4" fmla="*/ 1536704 h 2949228"/>
                  <a:gd name="connsiteX5" fmla="*/ 1536704 w 3073408"/>
                  <a:gd name="connsiteY5" fmla="*/ 2949228 h 2949228"/>
                  <a:gd name="connsiteX6" fmla="*/ 124180 w 3073408"/>
                  <a:gd name="connsiteY6" fmla="*/ 1536704 h 2949228"/>
                  <a:gd name="connsiteX7" fmla="*/ 124180 w 3073408"/>
                  <a:gd name="connsiteY7" fmla="*/ 1536703 h 2949228"/>
                  <a:gd name="connsiteX8" fmla="*/ 0 w 3073408"/>
                  <a:gd name="connsiteY8" fmla="*/ 1536703 h 2949228"/>
                  <a:gd name="connsiteX9" fmla="*/ 7934 w 3073408"/>
                  <a:gd name="connsiteY9" fmla="*/ 1379585 h 2949228"/>
                  <a:gd name="connsiteX10" fmla="*/ 1536704 w 3073408"/>
                  <a:gd name="connsiteY10" fmla="*/ 0 h 2949228"/>
                  <a:gd name="connsiteX0-1" fmla="*/ 1536704 w 3073408"/>
                  <a:gd name="connsiteY0-2" fmla="*/ 0 h 1536704"/>
                  <a:gd name="connsiteX1-3" fmla="*/ 3065474 w 3073408"/>
                  <a:gd name="connsiteY1-4" fmla="*/ 1379585 h 1536704"/>
                  <a:gd name="connsiteX2-5" fmla="*/ 3073408 w 3073408"/>
                  <a:gd name="connsiteY2-6" fmla="*/ 1536703 h 1536704"/>
                  <a:gd name="connsiteX3-7" fmla="*/ 2949228 w 3073408"/>
                  <a:gd name="connsiteY3-8" fmla="*/ 1536703 h 1536704"/>
                  <a:gd name="connsiteX4-9" fmla="*/ 2949228 w 3073408"/>
                  <a:gd name="connsiteY4-10" fmla="*/ 1536704 h 1536704"/>
                  <a:gd name="connsiteX5-11" fmla="*/ 124180 w 3073408"/>
                  <a:gd name="connsiteY5-12" fmla="*/ 1536704 h 1536704"/>
                  <a:gd name="connsiteX6-13" fmla="*/ 124180 w 3073408"/>
                  <a:gd name="connsiteY6-14" fmla="*/ 1536703 h 1536704"/>
                  <a:gd name="connsiteX7-15" fmla="*/ 0 w 3073408"/>
                  <a:gd name="connsiteY7-16" fmla="*/ 1536703 h 1536704"/>
                  <a:gd name="connsiteX8-17" fmla="*/ 7934 w 3073408"/>
                  <a:gd name="connsiteY8-18" fmla="*/ 1379585 h 1536704"/>
                  <a:gd name="connsiteX9-19" fmla="*/ 1536704 w 3073408"/>
                  <a:gd name="connsiteY9-20" fmla="*/ 0 h 153670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</a:cxnLst>
                <a:rect l="l" t="t" r="r" b="b"/>
                <a:pathLst>
                  <a:path w="3073408" h="1536704">
                    <a:moveTo>
                      <a:pt x="1536704" y="0"/>
                    </a:moveTo>
                    <a:cubicBezTo>
                      <a:pt x="2332359" y="0"/>
                      <a:pt x="2986780" y="604693"/>
                      <a:pt x="3065474" y="1379585"/>
                    </a:cubicBezTo>
                    <a:lnTo>
                      <a:pt x="3073408" y="1536703"/>
                    </a:lnTo>
                    <a:lnTo>
                      <a:pt x="2949228" y="1536703"/>
                    </a:lnTo>
                    <a:lnTo>
                      <a:pt x="2949228" y="1536704"/>
                    </a:lnTo>
                    <a:lnTo>
                      <a:pt x="124180" y="1536704"/>
                    </a:lnTo>
                    <a:lnTo>
                      <a:pt x="124180" y="1536703"/>
                    </a:lnTo>
                    <a:lnTo>
                      <a:pt x="0" y="1536703"/>
                    </a:lnTo>
                    <a:lnTo>
                      <a:pt x="7934" y="1379585"/>
                    </a:lnTo>
                    <a:cubicBezTo>
                      <a:pt x="86629" y="604693"/>
                      <a:pt x="741050" y="0"/>
                      <a:pt x="1536704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prstDash val="dash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0" name="任意多边形: 形状 19"/>
              <p:cNvSpPr/>
              <p:nvPr/>
            </p:nvSpPr>
            <p:spPr>
              <a:xfrm>
                <a:off x="5687964" y="4704567"/>
                <a:ext cx="803374" cy="598167"/>
              </a:xfrm>
              <a:custGeom>
                <a:avLst/>
                <a:gdLst>
                  <a:gd name="connsiteX0" fmla="*/ 467768 w 604181"/>
                  <a:gd name="connsiteY0" fmla="*/ 117209 h 449855"/>
                  <a:gd name="connsiteX1" fmla="*/ 533019 w 604181"/>
                  <a:gd name="connsiteY1" fmla="*/ 145391 h 449855"/>
                  <a:gd name="connsiteX2" fmla="*/ 547131 w 604181"/>
                  <a:gd name="connsiteY2" fmla="*/ 212354 h 449855"/>
                  <a:gd name="connsiteX3" fmla="*/ 499248 w 604181"/>
                  <a:gd name="connsiteY3" fmla="*/ 299791 h 449855"/>
                  <a:gd name="connsiteX4" fmla="*/ 499971 w 604181"/>
                  <a:gd name="connsiteY4" fmla="*/ 306174 h 449855"/>
                  <a:gd name="connsiteX5" fmla="*/ 510706 w 604181"/>
                  <a:gd name="connsiteY5" fmla="*/ 307619 h 449855"/>
                  <a:gd name="connsiteX6" fmla="*/ 590431 w 604181"/>
                  <a:gd name="connsiteY6" fmla="*/ 345677 h 449855"/>
                  <a:gd name="connsiteX7" fmla="*/ 604060 w 604181"/>
                  <a:gd name="connsiteY7" fmla="*/ 430585 h 449855"/>
                  <a:gd name="connsiteX8" fmla="*/ 604181 w 604181"/>
                  <a:gd name="connsiteY8" fmla="*/ 436607 h 449855"/>
                  <a:gd name="connsiteX9" fmla="*/ 600442 w 604181"/>
                  <a:gd name="connsiteY9" fmla="*/ 446001 h 449855"/>
                  <a:gd name="connsiteX10" fmla="*/ 591034 w 604181"/>
                  <a:gd name="connsiteY10" fmla="*/ 449855 h 449855"/>
                  <a:gd name="connsiteX11" fmla="*/ 344381 w 604181"/>
                  <a:gd name="connsiteY11" fmla="*/ 449855 h 449855"/>
                  <a:gd name="connsiteX12" fmla="*/ 335094 w 604181"/>
                  <a:gd name="connsiteY12" fmla="*/ 446001 h 449855"/>
                  <a:gd name="connsiteX13" fmla="*/ 331355 w 604181"/>
                  <a:gd name="connsiteY13" fmla="*/ 436607 h 449855"/>
                  <a:gd name="connsiteX14" fmla="*/ 331475 w 604181"/>
                  <a:gd name="connsiteY14" fmla="*/ 430585 h 449855"/>
                  <a:gd name="connsiteX15" fmla="*/ 345104 w 604181"/>
                  <a:gd name="connsiteY15" fmla="*/ 345677 h 449855"/>
                  <a:gd name="connsiteX16" fmla="*/ 424830 w 604181"/>
                  <a:gd name="connsiteY16" fmla="*/ 307619 h 449855"/>
                  <a:gd name="connsiteX17" fmla="*/ 435564 w 604181"/>
                  <a:gd name="connsiteY17" fmla="*/ 306174 h 449855"/>
                  <a:gd name="connsiteX18" fmla="*/ 436167 w 604181"/>
                  <a:gd name="connsiteY18" fmla="*/ 299791 h 449855"/>
                  <a:gd name="connsiteX19" fmla="*/ 388405 w 604181"/>
                  <a:gd name="connsiteY19" fmla="*/ 212354 h 449855"/>
                  <a:gd name="connsiteX20" fmla="*/ 402516 w 604181"/>
                  <a:gd name="connsiteY20" fmla="*/ 145391 h 449855"/>
                  <a:gd name="connsiteX21" fmla="*/ 467768 w 604181"/>
                  <a:gd name="connsiteY21" fmla="*/ 117209 h 449855"/>
                  <a:gd name="connsiteX22" fmla="*/ 39926 w 604181"/>
                  <a:gd name="connsiteY22" fmla="*/ 0 h 449855"/>
                  <a:gd name="connsiteX23" fmla="*/ 427852 w 604181"/>
                  <a:gd name="connsiteY23" fmla="*/ 0 h 449855"/>
                  <a:gd name="connsiteX24" fmla="*/ 467778 w 604181"/>
                  <a:gd name="connsiteY24" fmla="*/ 39865 h 449855"/>
                  <a:gd name="connsiteX25" fmla="*/ 467778 w 604181"/>
                  <a:gd name="connsiteY25" fmla="*/ 94905 h 449855"/>
                  <a:gd name="connsiteX26" fmla="*/ 421459 w 604181"/>
                  <a:gd name="connsiteY26" fmla="*/ 103336 h 449855"/>
                  <a:gd name="connsiteX27" fmla="*/ 421459 w 604181"/>
                  <a:gd name="connsiteY27" fmla="*/ 46128 h 449855"/>
                  <a:gd name="connsiteX28" fmla="*/ 46319 w 604181"/>
                  <a:gd name="connsiteY28" fmla="*/ 46128 h 449855"/>
                  <a:gd name="connsiteX29" fmla="*/ 46319 w 604181"/>
                  <a:gd name="connsiteY29" fmla="*/ 272550 h 449855"/>
                  <a:gd name="connsiteX30" fmla="*/ 372727 w 604181"/>
                  <a:gd name="connsiteY30" fmla="*/ 272550 h 449855"/>
                  <a:gd name="connsiteX31" fmla="*/ 384668 w 604181"/>
                  <a:gd name="connsiteY31" fmla="*/ 293747 h 449855"/>
                  <a:gd name="connsiteX32" fmla="*/ 336781 w 604181"/>
                  <a:gd name="connsiteY32" fmla="*/ 318799 h 449855"/>
                  <a:gd name="connsiteX33" fmla="*/ 272247 w 604181"/>
                  <a:gd name="connsiteY33" fmla="*/ 318799 h 449855"/>
                  <a:gd name="connsiteX34" fmla="*/ 272247 w 604181"/>
                  <a:gd name="connsiteY34" fmla="*/ 354809 h 449855"/>
                  <a:gd name="connsiteX35" fmla="*/ 303730 w 604181"/>
                  <a:gd name="connsiteY35" fmla="*/ 354809 h 449855"/>
                  <a:gd name="connsiteX36" fmla="*/ 312536 w 604181"/>
                  <a:gd name="connsiteY36" fmla="*/ 356375 h 449855"/>
                  <a:gd name="connsiteX37" fmla="*/ 305057 w 604181"/>
                  <a:gd name="connsiteY37" fmla="*/ 408525 h 449855"/>
                  <a:gd name="connsiteX38" fmla="*/ 303730 w 604181"/>
                  <a:gd name="connsiteY38" fmla="*/ 408645 h 449855"/>
                  <a:gd name="connsiteX39" fmla="*/ 164048 w 604181"/>
                  <a:gd name="connsiteY39" fmla="*/ 408645 h 449855"/>
                  <a:gd name="connsiteX40" fmla="*/ 137149 w 604181"/>
                  <a:gd name="connsiteY40" fmla="*/ 381667 h 449855"/>
                  <a:gd name="connsiteX41" fmla="*/ 164048 w 604181"/>
                  <a:gd name="connsiteY41" fmla="*/ 354809 h 449855"/>
                  <a:gd name="connsiteX42" fmla="*/ 195531 w 604181"/>
                  <a:gd name="connsiteY42" fmla="*/ 354809 h 449855"/>
                  <a:gd name="connsiteX43" fmla="*/ 195531 w 604181"/>
                  <a:gd name="connsiteY43" fmla="*/ 318799 h 449855"/>
                  <a:gd name="connsiteX44" fmla="*/ 39926 w 604181"/>
                  <a:gd name="connsiteY44" fmla="*/ 318799 h 449855"/>
                  <a:gd name="connsiteX45" fmla="*/ 0 w 604181"/>
                  <a:gd name="connsiteY45" fmla="*/ 278934 h 449855"/>
                  <a:gd name="connsiteX46" fmla="*/ 0 w 604181"/>
                  <a:gd name="connsiteY46" fmla="*/ 39865 h 449855"/>
                  <a:gd name="connsiteX47" fmla="*/ 39926 w 604181"/>
                  <a:gd name="connsiteY47" fmla="*/ 0 h 449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604181" h="449855">
                    <a:moveTo>
                      <a:pt x="467768" y="117209"/>
                    </a:moveTo>
                    <a:cubicBezTo>
                      <a:pt x="494061" y="117209"/>
                      <a:pt x="520837" y="126844"/>
                      <a:pt x="533019" y="145391"/>
                    </a:cubicBezTo>
                    <a:cubicBezTo>
                      <a:pt x="542789" y="160446"/>
                      <a:pt x="547131" y="181040"/>
                      <a:pt x="547131" y="212354"/>
                    </a:cubicBezTo>
                    <a:cubicBezTo>
                      <a:pt x="547131" y="250171"/>
                      <a:pt x="527954" y="284977"/>
                      <a:pt x="499248" y="299791"/>
                    </a:cubicBezTo>
                    <a:cubicBezTo>
                      <a:pt x="496353" y="301236"/>
                      <a:pt x="497559" y="306054"/>
                      <a:pt x="499971" y="306174"/>
                    </a:cubicBezTo>
                    <a:cubicBezTo>
                      <a:pt x="506605" y="306897"/>
                      <a:pt x="510224" y="307499"/>
                      <a:pt x="510706" y="307619"/>
                    </a:cubicBezTo>
                    <a:cubicBezTo>
                      <a:pt x="549423" y="314605"/>
                      <a:pt x="576319" y="323397"/>
                      <a:pt x="590431" y="345677"/>
                    </a:cubicBezTo>
                    <a:cubicBezTo>
                      <a:pt x="602734" y="365068"/>
                      <a:pt x="603216" y="391082"/>
                      <a:pt x="604060" y="430585"/>
                    </a:cubicBezTo>
                    <a:lnTo>
                      <a:pt x="604181" y="436607"/>
                    </a:lnTo>
                    <a:cubicBezTo>
                      <a:pt x="604181" y="440100"/>
                      <a:pt x="602854" y="443472"/>
                      <a:pt x="600442" y="446001"/>
                    </a:cubicBezTo>
                    <a:cubicBezTo>
                      <a:pt x="597909" y="448410"/>
                      <a:pt x="594653" y="449855"/>
                      <a:pt x="591034" y="449855"/>
                    </a:cubicBezTo>
                    <a:lnTo>
                      <a:pt x="344381" y="449855"/>
                    </a:lnTo>
                    <a:cubicBezTo>
                      <a:pt x="340883" y="449855"/>
                      <a:pt x="337506" y="448410"/>
                      <a:pt x="335094" y="446001"/>
                    </a:cubicBezTo>
                    <a:cubicBezTo>
                      <a:pt x="332681" y="443472"/>
                      <a:pt x="331234" y="440100"/>
                      <a:pt x="331355" y="436607"/>
                    </a:cubicBezTo>
                    <a:lnTo>
                      <a:pt x="331475" y="430585"/>
                    </a:lnTo>
                    <a:cubicBezTo>
                      <a:pt x="332199" y="391082"/>
                      <a:pt x="332681" y="365068"/>
                      <a:pt x="345104" y="345677"/>
                    </a:cubicBezTo>
                    <a:cubicBezTo>
                      <a:pt x="359216" y="323397"/>
                      <a:pt x="385992" y="314605"/>
                      <a:pt x="424830" y="307619"/>
                    </a:cubicBezTo>
                    <a:cubicBezTo>
                      <a:pt x="425312" y="307499"/>
                      <a:pt x="428930" y="306897"/>
                      <a:pt x="435564" y="306174"/>
                    </a:cubicBezTo>
                    <a:cubicBezTo>
                      <a:pt x="437976" y="306054"/>
                      <a:pt x="439183" y="301236"/>
                      <a:pt x="436167" y="299791"/>
                    </a:cubicBezTo>
                    <a:cubicBezTo>
                      <a:pt x="407461" y="284977"/>
                      <a:pt x="388405" y="250171"/>
                      <a:pt x="388405" y="212354"/>
                    </a:cubicBezTo>
                    <a:cubicBezTo>
                      <a:pt x="388405" y="181040"/>
                      <a:pt x="392747" y="160446"/>
                      <a:pt x="402516" y="145391"/>
                    </a:cubicBezTo>
                    <a:cubicBezTo>
                      <a:pt x="414698" y="126844"/>
                      <a:pt x="441474" y="117209"/>
                      <a:pt x="467768" y="117209"/>
                    </a:cubicBezTo>
                    <a:close/>
                    <a:moveTo>
                      <a:pt x="39926" y="0"/>
                    </a:moveTo>
                    <a:lnTo>
                      <a:pt x="427852" y="0"/>
                    </a:lnTo>
                    <a:cubicBezTo>
                      <a:pt x="449926" y="0"/>
                      <a:pt x="467778" y="17825"/>
                      <a:pt x="467778" y="39865"/>
                    </a:cubicBezTo>
                    <a:lnTo>
                      <a:pt x="467778" y="94905"/>
                    </a:lnTo>
                    <a:cubicBezTo>
                      <a:pt x="451132" y="94905"/>
                      <a:pt x="435330" y="97916"/>
                      <a:pt x="421459" y="103336"/>
                    </a:cubicBezTo>
                    <a:lnTo>
                      <a:pt x="421459" y="46128"/>
                    </a:lnTo>
                    <a:lnTo>
                      <a:pt x="46319" y="46128"/>
                    </a:lnTo>
                    <a:lnTo>
                      <a:pt x="46319" y="272550"/>
                    </a:lnTo>
                    <a:lnTo>
                      <a:pt x="372727" y="272550"/>
                    </a:lnTo>
                    <a:cubicBezTo>
                      <a:pt x="376104" y="280018"/>
                      <a:pt x="380085" y="287244"/>
                      <a:pt x="384668" y="293747"/>
                    </a:cubicBezTo>
                    <a:cubicBezTo>
                      <a:pt x="367057" y="298926"/>
                      <a:pt x="350291" y="306514"/>
                      <a:pt x="336781" y="318799"/>
                    </a:cubicBezTo>
                    <a:lnTo>
                      <a:pt x="272247" y="318799"/>
                    </a:lnTo>
                    <a:lnTo>
                      <a:pt x="272247" y="354809"/>
                    </a:lnTo>
                    <a:lnTo>
                      <a:pt x="303730" y="354809"/>
                    </a:lnTo>
                    <a:cubicBezTo>
                      <a:pt x="306746" y="354809"/>
                      <a:pt x="309761" y="355412"/>
                      <a:pt x="312536" y="356375"/>
                    </a:cubicBezTo>
                    <a:cubicBezTo>
                      <a:pt x="307590" y="371550"/>
                      <a:pt x="305781" y="388652"/>
                      <a:pt x="305057" y="408525"/>
                    </a:cubicBezTo>
                    <a:cubicBezTo>
                      <a:pt x="304574" y="408525"/>
                      <a:pt x="304092" y="408645"/>
                      <a:pt x="303730" y="408645"/>
                    </a:cubicBezTo>
                    <a:lnTo>
                      <a:pt x="164048" y="408645"/>
                    </a:lnTo>
                    <a:cubicBezTo>
                      <a:pt x="149211" y="408645"/>
                      <a:pt x="137149" y="396601"/>
                      <a:pt x="137149" y="381667"/>
                    </a:cubicBezTo>
                    <a:cubicBezTo>
                      <a:pt x="137149" y="366853"/>
                      <a:pt x="149211" y="354809"/>
                      <a:pt x="164048" y="354809"/>
                    </a:cubicBezTo>
                    <a:lnTo>
                      <a:pt x="195531" y="354809"/>
                    </a:lnTo>
                    <a:lnTo>
                      <a:pt x="195531" y="318799"/>
                    </a:lnTo>
                    <a:lnTo>
                      <a:pt x="39926" y="318799"/>
                    </a:lnTo>
                    <a:cubicBezTo>
                      <a:pt x="17852" y="318799"/>
                      <a:pt x="0" y="300974"/>
                      <a:pt x="0" y="278934"/>
                    </a:cubicBezTo>
                    <a:lnTo>
                      <a:pt x="0" y="39865"/>
                    </a:lnTo>
                    <a:cubicBezTo>
                      <a:pt x="0" y="17825"/>
                      <a:pt x="17852" y="0"/>
                      <a:pt x="39926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F71784BE-1591-4F48-BDD6-1D22D409CF79}"/>
                </a:ext>
              </a:extLst>
            </p:cNvPr>
            <p:cNvSpPr txBox="1"/>
            <p:nvPr/>
          </p:nvSpPr>
          <p:spPr>
            <a:xfrm>
              <a:off x="660400" y="1130300"/>
              <a:ext cx="10858500" cy="9175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buSzPct val="25000"/>
              </a:pPr>
              <a:r>
                <a:rPr lang="en-US" sz="2800" b="1" dirty="0"/>
                <a:t>Unified fonts make reading </a:t>
              </a:r>
              <a:r>
                <a:rPr lang="en-US" sz="2800" b="1"/>
                <a:t>more flue</a:t>
              </a:r>
              <a:r>
                <a:rPr lang="en-US" sz="100" b="1"/>
                <a:t> </a:t>
              </a:r>
              <a:r>
                <a:rPr lang="en-US" sz="2800" b="1"/>
                <a:t>nt</a:t>
              </a:r>
              <a:r>
                <a:rPr lang="en-US" sz="2800" b="1" dirty="0"/>
                <a:t>.</a:t>
              </a: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5B442BFD-625D-4358-9EB1-9FC021E283D5}"/>
                </a:ext>
              </a:extLst>
            </p:cNvPr>
            <p:cNvSpPr txBox="1"/>
            <p:nvPr/>
          </p:nvSpPr>
          <p:spPr>
            <a:xfrm>
              <a:off x="660400" y="2576856"/>
              <a:ext cx="3451167" cy="7778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200" dirty="0"/>
                <a:t>Copy paste fonts. Choose the only option to </a:t>
              </a:r>
              <a:r>
                <a:rPr lang="en-US" altLang="zh-CN" sz="1200"/>
                <a:t>retain tex</a:t>
              </a:r>
              <a:r>
                <a:rPr lang="en-US" altLang="zh-CN" sz="100"/>
                <a:t> </a:t>
              </a:r>
              <a:r>
                <a:rPr lang="en-US" altLang="zh-CN" sz="1200"/>
                <a:t>t</a:t>
              </a:r>
              <a:r>
                <a:rPr lang="en-US" altLang="zh-CN" sz="1200" dirty="0"/>
                <a:t>……</a:t>
              </a:r>
              <a:endParaRPr lang="zh-CN" altLang="en-US" sz="1200" dirty="0"/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5B442BFD-625D-4358-9EB1-9FC021E283D5}"/>
                </a:ext>
              </a:extLst>
            </p:cNvPr>
            <p:cNvSpPr txBox="1"/>
            <p:nvPr/>
          </p:nvSpPr>
          <p:spPr>
            <a:xfrm>
              <a:off x="660400" y="3546056"/>
              <a:ext cx="3451167" cy="7778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200" dirty="0"/>
                <a:t>Copy paste fonts. Choose the only option to </a:t>
              </a:r>
              <a:r>
                <a:rPr lang="en-US" altLang="zh-CN" sz="1200"/>
                <a:t>retain tex</a:t>
              </a:r>
              <a:r>
                <a:rPr lang="en-US" altLang="zh-CN" sz="100"/>
                <a:t> </a:t>
              </a:r>
              <a:r>
                <a:rPr lang="en-US" altLang="zh-CN" sz="1200"/>
                <a:t>t</a:t>
              </a:r>
              <a:r>
                <a:rPr lang="en-US" altLang="zh-CN" sz="1200" dirty="0"/>
                <a:t>……</a:t>
              </a:r>
              <a:endParaRPr lang="zh-CN" altLang="en-US" sz="1200" dirty="0"/>
            </a:p>
          </p:txBody>
        </p:sp>
        <p:cxnSp>
          <p:nvCxnSpPr>
            <p:cNvPr id="11" name="直接连接符 10"/>
            <p:cNvCxnSpPr/>
            <p:nvPr/>
          </p:nvCxnSpPr>
          <p:spPr>
            <a:xfrm>
              <a:off x="660400" y="3450371"/>
              <a:ext cx="34544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5B442BFD-625D-4358-9EB1-9FC021E283D5}"/>
                </a:ext>
              </a:extLst>
            </p:cNvPr>
            <p:cNvSpPr txBox="1"/>
            <p:nvPr/>
          </p:nvSpPr>
          <p:spPr>
            <a:xfrm>
              <a:off x="8064500" y="2576856"/>
              <a:ext cx="3451167" cy="7778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200" dirty="0"/>
                <a:t>Copy paste fonts. Choose the only option to </a:t>
              </a:r>
              <a:r>
                <a:rPr lang="en-US" altLang="zh-CN" sz="1200"/>
                <a:t>retain tex</a:t>
              </a:r>
              <a:r>
                <a:rPr lang="en-US" altLang="zh-CN" sz="100"/>
                <a:t> </a:t>
              </a:r>
              <a:r>
                <a:rPr lang="en-US" altLang="zh-CN" sz="1200"/>
                <a:t>t</a:t>
              </a:r>
              <a:r>
                <a:rPr lang="en-US" altLang="zh-CN" sz="1200" dirty="0"/>
                <a:t>……</a:t>
              </a:r>
              <a:endParaRPr lang="zh-CN" altLang="en-US" sz="1200" dirty="0"/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5B442BFD-625D-4358-9EB1-9FC021E283D5}"/>
                </a:ext>
              </a:extLst>
            </p:cNvPr>
            <p:cNvSpPr txBox="1"/>
            <p:nvPr/>
          </p:nvSpPr>
          <p:spPr>
            <a:xfrm>
              <a:off x="8064500" y="3546056"/>
              <a:ext cx="3451167" cy="7778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200" dirty="0"/>
                <a:t>Copy paste fonts. Choose the only option to </a:t>
              </a:r>
              <a:r>
                <a:rPr lang="en-US" altLang="zh-CN" sz="1200"/>
                <a:t>retain tex</a:t>
              </a:r>
              <a:r>
                <a:rPr lang="en-US" altLang="zh-CN" sz="100"/>
                <a:t> </a:t>
              </a:r>
              <a:r>
                <a:rPr lang="en-US" altLang="zh-CN" sz="1200"/>
                <a:t>t</a:t>
              </a:r>
              <a:r>
                <a:rPr lang="en-US" altLang="zh-CN" sz="1200" dirty="0"/>
                <a:t>……</a:t>
              </a:r>
              <a:endParaRPr lang="zh-CN" altLang="en-US" sz="1200" dirty="0"/>
            </a:p>
          </p:txBody>
        </p:sp>
        <p:cxnSp>
          <p:nvCxnSpPr>
            <p:cNvPr id="14" name="直接连接符 13"/>
            <p:cNvCxnSpPr/>
            <p:nvPr/>
          </p:nvCxnSpPr>
          <p:spPr>
            <a:xfrm>
              <a:off x="8064500" y="3450371"/>
              <a:ext cx="34544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032867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如何有效防治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047991" y="311664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36333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如何有效防治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869159"/>
            <a:ext cx="10858500" cy="3526083"/>
            <a:chOff x="660400" y="1869159"/>
            <a:chExt cx="10858500" cy="3526083"/>
          </a:xfrm>
        </p:grpSpPr>
        <p:grpSp>
          <p:nvGrpSpPr>
            <p:cNvPr id="6" name="组合 5"/>
            <p:cNvGrpSpPr/>
            <p:nvPr/>
          </p:nvGrpSpPr>
          <p:grpSpPr>
            <a:xfrm>
              <a:off x="3985559" y="2227658"/>
              <a:ext cx="4208182" cy="2809084"/>
              <a:chOff x="3985559" y="2227658"/>
              <a:chExt cx="4208182" cy="2809084"/>
            </a:xfrm>
          </p:grpSpPr>
          <p:sp>
            <p:nvSpPr>
              <p:cNvPr id="47" name="任意多边形: 形状 46"/>
              <p:cNvSpPr/>
              <p:nvPr/>
            </p:nvSpPr>
            <p:spPr bwMode="auto">
              <a:xfrm>
                <a:off x="4333658" y="2227658"/>
                <a:ext cx="3494755" cy="1737151"/>
              </a:xfrm>
              <a:custGeom>
                <a:avLst/>
                <a:gdLst>
                  <a:gd name="T0" fmla="*/ 4005 w 4470"/>
                  <a:gd name="T1" fmla="*/ 0 h 2221"/>
                  <a:gd name="T2" fmla="*/ 0 w 4470"/>
                  <a:gd name="T3" fmla="*/ 1375 h 2221"/>
                  <a:gd name="T4" fmla="*/ 464 w 4470"/>
                  <a:gd name="T5" fmla="*/ 2220 h 2221"/>
                  <a:gd name="T6" fmla="*/ 4469 w 4470"/>
                  <a:gd name="T7" fmla="*/ 838 h 2221"/>
                  <a:gd name="T8" fmla="*/ 4005 w 4470"/>
                  <a:gd name="T9" fmla="*/ 0 h 2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70" h="2221">
                    <a:moveTo>
                      <a:pt x="4005" y="0"/>
                    </a:moveTo>
                    <a:lnTo>
                      <a:pt x="0" y="1375"/>
                    </a:lnTo>
                    <a:lnTo>
                      <a:pt x="464" y="2220"/>
                    </a:lnTo>
                    <a:lnTo>
                      <a:pt x="4469" y="838"/>
                    </a:lnTo>
                    <a:lnTo>
                      <a:pt x="400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48" name="任意多边形: 形状 47"/>
              <p:cNvSpPr/>
              <p:nvPr/>
            </p:nvSpPr>
            <p:spPr bwMode="auto">
              <a:xfrm>
                <a:off x="4333658" y="3299590"/>
                <a:ext cx="3494755" cy="1737151"/>
              </a:xfrm>
              <a:custGeom>
                <a:avLst/>
                <a:gdLst>
                  <a:gd name="T0" fmla="*/ 4005 w 4470"/>
                  <a:gd name="T1" fmla="*/ 0 h 2222"/>
                  <a:gd name="T2" fmla="*/ 0 w 4470"/>
                  <a:gd name="T3" fmla="*/ 1376 h 2222"/>
                  <a:gd name="T4" fmla="*/ 464 w 4470"/>
                  <a:gd name="T5" fmla="*/ 2221 h 2222"/>
                  <a:gd name="T6" fmla="*/ 4469 w 4470"/>
                  <a:gd name="T7" fmla="*/ 845 h 2222"/>
                  <a:gd name="T8" fmla="*/ 4005 w 4470"/>
                  <a:gd name="T9" fmla="*/ 0 h 2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70" h="2222">
                    <a:moveTo>
                      <a:pt x="4005" y="0"/>
                    </a:moveTo>
                    <a:lnTo>
                      <a:pt x="0" y="1376"/>
                    </a:lnTo>
                    <a:lnTo>
                      <a:pt x="464" y="2221"/>
                    </a:lnTo>
                    <a:lnTo>
                      <a:pt x="4469" y="845"/>
                    </a:lnTo>
                    <a:lnTo>
                      <a:pt x="4005" y="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49" name="任意多边形: 形状 48"/>
              <p:cNvSpPr/>
              <p:nvPr/>
            </p:nvSpPr>
            <p:spPr bwMode="auto">
              <a:xfrm>
                <a:off x="4333658" y="3299590"/>
                <a:ext cx="3494755" cy="661772"/>
              </a:xfrm>
              <a:custGeom>
                <a:avLst/>
                <a:gdLst>
                  <a:gd name="T0" fmla="*/ 4469 w 4470"/>
                  <a:gd name="T1" fmla="*/ 845 h 846"/>
                  <a:gd name="T2" fmla="*/ 464 w 4470"/>
                  <a:gd name="T3" fmla="*/ 845 h 846"/>
                  <a:gd name="T4" fmla="*/ 0 w 4470"/>
                  <a:gd name="T5" fmla="*/ 0 h 846"/>
                  <a:gd name="T6" fmla="*/ 4005 w 4470"/>
                  <a:gd name="T7" fmla="*/ 0 h 846"/>
                  <a:gd name="T8" fmla="*/ 4469 w 4470"/>
                  <a:gd name="T9" fmla="*/ 845 h 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70" h="846">
                    <a:moveTo>
                      <a:pt x="4469" y="845"/>
                    </a:moveTo>
                    <a:lnTo>
                      <a:pt x="464" y="845"/>
                    </a:lnTo>
                    <a:lnTo>
                      <a:pt x="0" y="0"/>
                    </a:lnTo>
                    <a:lnTo>
                      <a:pt x="4005" y="0"/>
                    </a:lnTo>
                    <a:lnTo>
                      <a:pt x="4469" y="845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50" name="任意多边形: 形状 49"/>
              <p:cNvSpPr/>
              <p:nvPr/>
            </p:nvSpPr>
            <p:spPr bwMode="auto">
              <a:xfrm>
                <a:off x="4333656" y="4374970"/>
                <a:ext cx="3860085" cy="661772"/>
              </a:xfrm>
              <a:custGeom>
                <a:avLst/>
                <a:gdLst>
                  <a:gd name="T0" fmla="*/ 464 w 4941"/>
                  <a:gd name="T1" fmla="*/ 845 h 846"/>
                  <a:gd name="T2" fmla="*/ 4469 w 4941"/>
                  <a:gd name="T3" fmla="*/ 845 h 846"/>
                  <a:gd name="T4" fmla="*/ 4940 w 4941"/>
                  <a:gd name="T5" fmla="*/ 422 h 846"/>
                  <a:gd name="T6" fmla="*/ 4469 w 4941"/>
                  <a:gd name="T7" fmla="*/ 0 h 846"/>
                  <a:gd name="T8" fmla="*/ 0 w 4941"/>
                  <a:gd name="T9" fmla="*/ 0 h 846"/>
                  <a:gd name="T10" fmla="*/ 464 w 4941"/>
                  <a:gd name="T11" fmla="*/ 845 h 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41" h="846">
                    <a:moveTo>
                      <a:pt x="464" y="845"/>
                    </a:moveTo>
                    <a:lnTo>
                      <a:pt x="4469" y="845"/>
                    </a:lnTo>
                    <a:lnTo>
                      <a:pt x="4940" y="422"/>
                    </a:lnTo>
                    <a:lnTo>
                      <a:pt x="4469" y="0"/>
                    </a:lnTo>
                    <a:lnTo>
                      <a:pt x="0" y="0"/>
                    </a:lnTo>
                    <a:lnTo>
                      <a:pt x="464" y="845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51" name="任意多边形: 形状 50"/>
              <p:cNvSpPr/>
              <p:nvPr/>
            </p:nvSpPr>
            <p:spPr bwMode="auto">
              <a:xfrm>
                <a:off x="3985559" y="2227661"/>
                <a:ext cx="3842854" cy="654879"/>
              </a:xfrm>
              <a:custGeom>
                <a:avLst/>
                <a:gdLst>
                  <a:gd name="T0" fmla="*/ 4916 w 4917"/>
                  <a:gd name="T1" fmla="*/ 838 h 839"/>
                  <a:gd name="T2" fmla="*/ 447 w 4917"/>
                  <a:gd name="T3" fmla="*/ 838 h 839"/>
                  <a:gd name="T4" fmla="*/ 0 w 4917"/>
                  <a:gd name="T5" fmla="*/ 422 h 839"/>
                  <a:gd name="T6" fmla="*/ 447 w 4917"/>
                  <a:gd name="T7" fmla="*/ 0 h 839"/>
                  <a:gd name="T8" fmla="*/ 4452 w 4917"/>
                  <a:gd name="T9" fmla="*/ 0 h 839"/>
                  <a:gd name="T10" fmla="*/ 4916 w 4917"/>
                  <a:gd name="T11" fmla="*/ 838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17" h="839">
                    <a:moveTo>
                      <a:pt x="4916" y="838"/>
                    </a:moveTo>
                    <a:lnTo>
                      <a:pt x="447" y="838"/>
                    </a:lnTo>
                    <a:lnTo>
                      <a:pt x="0" y="422"/>
                    </a:lnTo>
                    <a:lnTo>
                      <a:pt x="447" y="0"/>
                    </a:lnTo>
                    <a:lnTo>
                      <a:pt x="4452" y="0"/>
                    </a:lnTo>
                    <a:lnTo>
                      <a:pt x="4916" y="838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</p:grpSp>
        <p:grpSp>
          <p:nvGrpSpPr>
            <p:cNvPr id="7" name="组合 6"/>
            <p:cNvGrpSpPr/>
            <p:nvPr/>
          </p:nvGrpSpPr>
          <p:grpSpPr>
            <a:xfrm>
              <a:off x="660400" y="1869159"/>
              <a:ext cx="2842523" cy="1044816"/>
              <a:chOff x="660400" y="1869159"/>
              <a:chExt cx="2842523" cy="1044816"/>
            </a:xfrm>
          </p:grpSpPr>
          <p:sp>
            <p:nvSpPr>
              <p:cNvPr id="45" name="文本框 44">
                <a:extLst>
                  <a:ext uri="{FF2B5EF4-FFF2-40B4-BE49-F238E27FC236}">
                    <a16:creationId xmlns:a16="http://schemas.microsoft.com/office/drawing/2014/main" id="{303768AC-3D0C-4A22-BB20-2CA82CA4DDD7}"/>
                  </a:ext>
                </a:extLst>
              </p:cNvPr>
              <p:cNvSpPr txBox="1"/>
              <p:nvPr/>
            </p:nvSpPr>
            <p:spPr>
              <a:xfrm>
                <a:off x="660400" y="2262080"/>
                <a:ext cx="2842523" cy="65189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Copy </a:t>
                </a:r>
                <a:r>
                  <a:rPr lang="en-US" altLang="zh-CN" sz="1100">
                    <a:solidFill>
                      <a:schemeClr val="dk1">
                        <a:lumMod val="100000"/>
                      </a:schemeClr>
                    </a:solidFill>
                  </a:rPr>
                  <a:t>paste fo</a:t>
                </a:r>
                <a:r>
                  <a:rPr lang="en-US" altLang="zh-CN" sz="100">
                    <a:solidFill>
                      <a:schemeClr val="dk1">
                        <a:lumMod val="100000"/>
                      </a:schemeClr>
                    </a:solidFill>
                  </a:rPr>
                  <a:t> </a:t>
                </a:r>
                <a:r>
                  <a:rPr lang="en-US" altLang="zh-CN" sz="1100">
                    <a:solidFill>
                      <a:schemeClr val="dk1">
                        <a:lumMod val="100000"/>
                      </a:schemeClr>
                    </a:solidFill>
                  </a:rPr>
                  <a:t>nts</a:t>
                </a: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. Choose the only option to retain text.</a:t>
                </a:r>
              </a:p>
            </p:txBody>
          </p:sp>
          <p:sp>
            <p:nvSpPr>
              <p:cNvPr id="46" name="文本框 45">
                <a:extLst>
                  <a:ext uri="{FF2B5EF4-FFF2-40B4-BE49-F238E27FC236}">
                    <a16:creationId xmlns:a16="http://schemas.microsoft.com/office/drawing/2014/main" id="{A78F0334-C8D0-4B66-89BA-616CA316790B}"/>
                  </a:ext>
                </a:extLst>
              </p:cNvPr>
              <p:cNvSpPr txBox="1"/>
              <p:nvPr/>
            </p:nvSpPr>
            <p:spPr>
              <a:xfrm>
                <a:off x="660400" y="1869159"/>
                <a:ext cx="2842523" cy="39292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>
                  <a:defRPr>
                    <a:solidFill>
                      <a:schemeClr val="dk1">
                        <a:lumMod val="100000"/>
                      </a:schemeClr>
                    </a:solidFill>
                  </a:defRPr>
                </a:lvl1pPr>
              </a:lstStyle>
              <a:p>
                <a:pPr algn="r"/>
                <a:r>
                  <a:rPr lang="en-US" altLang="zh-CN" sz="1600"/>
                  <a:t>Te</a:t>
                </a:r>
                <a:r>
                  <a:rPr lang="en-US" altLang="zh-CN" sz="100"/>
                  <a:t> </a:t>
                </a:r>
                <a:r>
                  <a:rPr lang="en-US" altLang="zh-CN" sz="1600"/>
                  <a:t>xt </a:t>
                </a:r>
                <a:r>
                  <a:rPr lang="en-US" altLang="zh-CN" sz="1600" dirty="0"/>
                  <a:t>here</a:t>
                </a:r>
                <a:endParaRPr lang="zh-CN" altLang="en-US" sz="1600" dirty="0"/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949171" y="3109793"/>
              <a:ext cx="2842523" cy="1044816"/>
              <a:chOff x="949171" y="3109793"/>
              <a:chExt cx="2842523" cy="1044816"/>
            </a:xfrm>
          </p:grpSpPr>
          <p:sp>
            <p:nvSpPr>
              <p:cNvPr id="43" name="文本框 42">
                <a:extLst>
                  <a:ext uri="{FF2B5EF4-FFF2-40B4-BE49-F238E27FC236}">
                    <a16:creationId xmlns:a16="http://schemas.microsoft.com/office/drawing/2014/main" id="{303768AC-3D0C-4A22-BB20-2CA82CA4DDD7}"/>
                  </a:ext>
                </a:extLst>
              </p:cNvPr>
              <p:cNvSpPr txBox="1"/>
              <p:nvPr/>
            </p:nvSpPr>
            <p:spPr>
              <a:xfrm>
                <a:off x="949171" y="3502714"/>
                <a:ext cx="2842523" cy="65189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Copy </a:t>
                </a:r>
                <a:r>
                  <a:rPr lang="en-US" altLang="zh-CN" sz="1100">
                    <a:solidFill>
                      <a:schemeClr val="dk1">
                        <a:lumMod val="100000"/>
                      </a:schemeClr>
                    </a:solidFill>
                  </a:rPr>
                  <a:t>paste fo</a:t>
                </a:r>
                <a:r>
                  <a:rPr lang="en-US" altLang="zh-CN" sz="100">
                    <a:solidFill>
                      <a:schemeClr val="dk1">
                        <a:lumMod val="100000"/>
                      </a:schemeClr>
                    </a:solidFill>
                  </a:rPr>
                  <a:t> </a:t>
                </a:r>
                <a:r>
                  <a:rPr lang="en-US" altLang="zh-CN" sz="1100">
                    <a:solidFill>
                      <a:schemeClr val="dk1">
                        <a:lumMod val="100000"/>
                      </a:schemeClr>
                    </a:solidFill>
                  </a:rPr>
                  <a:t>nts</a:t>
                </a: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. Choose the only option to retain text.</a:t>
                </a:r>
              </a:p>
            </p:txBody>
          </p:sp>
          <p:sp>
            <p:nvSpPr>
              <p:cNvPr id="44" name="文本框 43">
                <a:extLst>
                  <a:ext uri="{FF2B5EF4-FFF2-40B4-BE49-F238E27FC236}">
                    <a16:creationId xmlns:a16="http://schemas.microsoft.com/office/drawing/2014/main" id="{A78F0334-C8D0-4B66-89BA-616CA316790B}"/>
                  </a:ext>
                </a:extLst>
              </p:cNvPr>
              <p:cNvSpPr txBox="1"/>
              <p:nvPr/>
            </p:nvSpPr>
            <p:spPr>
              <a:xfrm>
                <a:off x="949171" y="3109793"/>
                <a:ext cx="2842523" cy="39292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>
                  <a:defRPr>
                    <a:solidFill>
                      <a:schemeClr val="dk1">
                        <a:lumMod val="100000"/>
                      </a:schemeClr>
                    </a:solidFill>
                  </a:defRPr>
                </a:lvl1pPr>
              </a:lstStyle>
              <a:p>
                <a:pPr algn="r"/>
                <a:r>
                  <a:rPr lang="en-US" altLang="zh-CN" sz="1600"/>
                  <a:t>Te</a:t>
                </a:r>
                <a:r>
                  <a:rPr lang="en-US" altLang="zh-CN" sz="100"/>
                  <a:t> </a:t>
                </a:r>
                <a:r>
                  <a:rPr lang="en-US" altLang="zh-CN" sz="1600"/>
                  <a:t>xt </a:t>
                </a:r>
                <a:r>
                  <a:rPr lang="en-US" altLang="zh-CN" sz="1600" dirty="0"/>
                  <a:t>here</a:t>
                </a:r>
                <a:endParaRPr lang="zh-CN" altLang="en-US" sz="1600" dirty="0"/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1237943" y="4350426"/>
              <a:ext cx="2842523" cy="1044816"/>
              <a:chOff x="1237943" y="4350426"/>
              <a:chExt cx="2842523" cy="1044816"/>
            </a:xfrm>
          </p:grpSpPr>
          <p:sp>
            <p:nvSpPr>
              <p:cNvPr id="41" name="文本框 40">
                <a:extLst>
                  <a:ext uri="{FF2B5EF4-FFF2-40B4-BE49-F238E27FC236}">
                    <a16:creationId xmlns:a16="http://schemas.microsoft.com/office/drawing/2014/main" id="{303768AC-3D0C-4A22-BB20-2CA82CA4DDD7}"/>
                  </a:ext>
                </a:extLst>
              </p:cNvPr>
              <p:cNvSpPr txBox="1"/>
              <p:nvPr/>
            </p:nvSpPr>
            <p:spPr>
              <a:xfrm>
                <a:off x="1237943" y="4743347"/>
                <a:ext cx="2842523" cy="65189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Copy </a:t>
                </a:r>
                <a:r>
                  <a:rPr lang="en-US" altLang="zh-CN" sz="1100">
                    <a:solidFill>
                      <a:schemeClr val="dk1">
                        <a:lumMod val="100000"/>
                      </a:schemeClr>
                    </a:solidFill>
                  </a:rPr>
                  <a:t>paste fo</a:t>
                </a:r>
                <a:r>
                  <a:rPr lang="en-US" altLang="zh-CN" sz="100">
                    <a:solidFill>
                      <a:schemeClr val="dk1">
                        <a:lumMod val="100000"/>
                      </a:schemeClr>
                    </a:solidFill>
                  </a:rPr>
                  <a:t> </a:t>
                </a:r>
                <a:r>
                  <a:rPr lang="en-US" altLang="zh-CN" sz="1100">
                    <a:solidFill>
                      <a:schemeClr val="dk1">
                        <a:lumMod val="100000"/>
                      </a:schemeClr>
                    </a:solidFill>
                  </a:rPr>
                  <a:t>nts</a:t>
                </a: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. Choose the only option to retain text.</a:t>
                </a:r>
              </a:p>
            </p:txBody>
          </p:sp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A78F0334-C8D0-4B66-89BA-616CA316790B}"/>
                  </a:ext>
                </a:extLst>
              </p:cNvPr>
              <p:cNvSpPr txBox="1"/>
              <p:nvPr/>
            </p:nvSpPr>
            <p:spPr>
              <a:xfrm>
                <a:off x="1237943" y="4350426"/>
                <a:ext cx="2842523" cy="39292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>
                  <a:defRPr>
                    <a:solidFill>
                      <a:schemeClr val="dk1">
                        <a:lumMod val="100000"/>
                      </a:schemeClr>
                    </a:solidFill>
                  </a:defRPr>
                </a:lvl1pPr>
              </a:lstStyle>
              <a:p>
                <a:pPr algn="r"/>
                <a:r>
                  <a:rPr lang="en-US" altLang="zh-CN" sz="1600"/>
                  <a:t>Te</a:t>
                </a:r>
                <a:r>
                  <a:rPr lang="en-US" altLang="zh-CN" sz="100"/>
                  <a:t> </a:t>
                </a:r>
                <a:r>
                  <a:rPr lang="en-US" altLang="zh-CN" sz="1600"/>
                  <a:t>xt </a:t>
                </a:r>
                <a:r>
                  <a:rPr lang="en-US" altLang="zh-CN" sz="1600" dirty="0"/>
                  <a:t>here</a:t>
                </a:r>
                <a:endParaRPr lang="zh-CN" altLang="en-US" sz="1600" dirty="0"/>
              </a:p>
            </p:txBody>
          </p:sp>
        </p:grpSp>
        <p:cxnSp>
          <p:nvCxnSpPr>
            <p:cNvPr id="10" name="直接连接符 9"/>
            <p:cNvCxnSpPr/>
            <p:nvPr/>
          </p:nvCxnSpPr>
          <p:spPr>
            <a:xfrm>
              <a:off x="660400" y="3011884"/>
              <a:ext cx="275515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接连接符 10"/>
            <p:cNvCxnSpPr/>
            <p:nvPr/>
          </p:nvCxnSpPr>
          <p:spPr>
            <a:xfrm>
              <a:off x="660400" y="4252518"/>
              <a:ext cx="3131294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组合 11"/>
            <p:cNvGrpSpPr/>
            <p:nvPr/>
          </p:nvGrpSpPr>
          <p:grpSpPr>
            <a:xfrm>
              <a:off x="8098834" y="1869159"/>
              <a:ext cx="2842523" cy="1044816"/>
              <a:chOff x="8098834" y="1869159"/>
              <a:chExt cx="2842523" cy="1044816"/>
            </a:xfrm>
          </p:grpSpPr>
          <p:sp>
            <p:nvSpPr>
              <p:cNvPr id="39" name="文本框 38">
                <a:extLst>
                  <a:ext uri="{FF2B5EF4-FFF2-40B4-BE49-F238E27FC236}">
                    <a16:creationId xmlns:a16="http://schemas.microsoft.com/office/drawing/2014/main" id="{303768AC-3D0C-4A22-BB20-2CA82CA4DDD7}"/>
                  </a:ext>
                </a:extLst>
              </p:cNvPr>
              <p:cNvSpPr txBox="1"/>
              <p:nvPr/>
            </p:nvSpPr>
            <p:spPr>
              <a:xfrm>
                <a:off x="8098834" y="2262080"/>
                <a:ext cx="2842523" cy="65189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Copy </a:t>
                </a:r>
                <a:r>
                  <a:rPr lang="en-US" altLang="zh-CN" sz="1100">
                    <a:solidFill>
                      <a:schemeClr val="dk1">
                        <a:lumMod val="100000"/>
                      </a:schemeClr>
                    </a:solidFill>
                  </a:rPr>
                  <a:t>paste fo</a:t>
                </a:r>
                <a:r>
                  <a:rPr lang="en-US" altLang="zh-CN" sz="100">
                    <a:solidFill>
                      <a:schemeClr val="dk1">
                        <a:lumMod val="100000"/>
                      </a:schemeClr>
                    </a:solidFill>
                  </a:rPr>
                  <a:t> </a:t>
                </a:r>
                <a:r>
                  <a:rPr lang="en-US" altLang="zh-CN" sz="1100">
                    <a:solidFill>
                      <a:schemeClr val="dk1">
                        <a:lumMod val="100000"/>
                      </a:schemeClr>
                    </a:solidFill>
                  </a:rPr>
                  <a:t>nts</a:t>
                </a: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. Choose the only option to retain text.</a:t>
                </a:r>
              </a:p>
            </p:txBody>
          </p:sp>
          <p:sp>
            <p:nvSpPr>
              <p:cNvPr id="40" name="文本框 39">
                <a:extLst>
                  <a:ext uri="{FF2B5EF4-FFF2-40B4-BE49-F238E27FC236}">
                    <a16:creationId xmlns:a16="http://schemas.microsoft.com/office/drawing/2014/main" id="{A78F0334-C8D0-4B66-89BA-616CA316790B}"/>
                  </a:ext>
                </a:extLst>
              </p:cNvPr>
              <p:cNvSpPr txBox="1"/>
              <p:nvPr/>
            </p:nvSpPr>
            <p:spPr>
              <a:xfrm>
                <a:off x="8098834" y="1869159"/>
                <a:ext cx="2842523" cy="39292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>
                  <a:defRPr>
                    <a:solidFill>
                      <a:schemeClr val="dk1">
                        <a:lumMod val="100000"/>
                      </a:schemeClr>
                    </a:solidFill>
                  </a:defRPr>
                </a:lvl1pPr>
              </a:lstStyle>
              <a:p>
                <a:r>
                  <a:rPr lang="en-US" altLang="zh-CN" sz="1600"/>
                  <a:t>Te</a:t>
                </a:r>
                <a:r>
                  <a:rPr lang="en-US" altLang="zh-CN" sz="100"/>
                  <a:t> </a:t>
                </a:r>
                <a:r>
                  <a:rPr lang="en-US" altLang="zh-CN" sz="1600"/>
                  <a:t>xt </a:t>
                </a:r>
                <a:r>
                  <a:rPr lang="en-US" altLang="zh-CN" sz="1600" dirty="0"/>
                  <a:t>here</a:t>
                </a:r>
                <a:endParaRPr lang="zh-CN" altLang="en-US" sz="1600" dirty="0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8387605" y="3109793"/>
              <a:ext cx="2842523" cy="1044816"/>
              <a:chOff x="8387605" y="3109793"/>
              <a:chExt cx="2842523" cy="1044816"/>
            </a:xfrm>
          </p:grpSpPr>
          <p:sp>
            <p:nvSpPr>
              <p:cNvPr id="37" name="文本框 36">
                <a:extLst>
                  <a:ext uri="{FF2B5EF4-FFF2-40B4-BE49-F238E27FC236}">
                    <a16:creationId xmlns:a16="http://schemas.microsoft.com/office/drawing/2014/main" id="{303768AC-3D0C-4A22-BB20-2CA82CA4DDD7}"/>
                  </a:ext>
                </a:extLst>
              </p:cNvPr>
              <p:cNvSpPr txBox="1"/>
              <p:nvPr/>
            </p:nvSpPr>
            <p:spPr>
              <a:xfrm>
                <a:off x="8387605" y="3502714"/>
                <a:ext cx="2842523" cy="65189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Copy </a:t>
                </a:r>
                <a:r>
                  <a:rPr lang="en-US" altLang="zh-CN" sz="1100">
                    <a:solidFill>
                      <a:schemeClr val="dk1">
                        <a:lumMod val="100000"/>
                      </a:schemeClr>
                    </a:solidFill>
                  </a:rPr>
                  <a:t>paste fo</a:t>
                </a:r>
                <a:r>
                  <a:rPr lang="en-US" altLang="zh-CN" sz="100">
                    <a:solidFill>
                      <a:schemeClr val="dk1">
                        <a:lumMod val="100000"/>
                      </a:schemeClr>
                    </a:solidFill>
                  </a:rPr>
                  <a:t> </a:t>
                </a:r>
                <a:r>
                  <a:rPr lang="en-US" altLang="zh-CN" sz="1100">
                    <a:solidFill>
                      <a:schemeClr val="dk1">
                        <a:lumMod val="100000"/>
                      </a:schemeClr>
                    </a:solidFill>
                  </a:rPr>
                  <a:t>nts</a:t>
                </a: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. Choose the only option to retain text.</a:t>
                </a:r>
              </a:p>
            </p:txBody>
          </p:sp>
          <p:sp>
            <p:nvSpPr>
              <p:cNvPr id="38" name="文本框 37">
                <a:extLst>
                  <a:ext uri="{FF2B5EF4-FFF2-40B4-BE49-F238E27FC236}">
                    <a16:creationId xmlns:a16="http://schemas.microsoft.com/office/drawing/2014/main" id="{A78F0334-C8D0-4B66-89BA-616CA316790B}"/>
                  </a:ext>
                </a:extLst>
              </p:cNvPr>
              <p:cNvSpPr txBox="1"/>
              <p:nvPr/>
            </p:nvSpPr>
            <p:spPr>
              <a:xfrm>
                <a:off x="8387605" y="3109793"/>
                <a:ext cx="2842523" cy="39292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>
                  <a:defRPr>
                    <a:solidFill>
                      <a:schemeClr val="dk1">
                        <a:lumMod val="100000"/>
                      </a:schemeClr>
                    </a:solidFill>
                  </a:defRPr>
                </a:lvl1pPr>
              </a:lstStyle>
              <a:p>
                <a:r>
                  <a:rPr lang="en-US" altLang="zh-CN" sz="1600"/>
                  <a:t>Te</a:t>
                </a:r>
                <a:r>
                  <a:rPr lang="en-US" altLang="zh-CN" sz="100"/>
                  <a:t> </a:t>
                </a:r>
                <a:r>
                  <a:rPr lang="en-US" altLang="zh-CN" sz="1600"/>
                  <a:t>xt </a:t>
                </a:r>
                <a:r>
                  <a:rPr lang="en-US" altLang="zh-CN" sz="1600" dirty="0"/>
                  <a:t>here</a:t>
                </a:r>
                <a:endParaRPr lang="zh-CN" altLang="en-US" sz="1600" dirty="0"/>
              </a:p>
            </p:txBody>
          </p:sp>
        </p:grpSp>
        <p:grpSp>
          <p:nvGrpSpPr>
            <p:cNvPr id="14" name="组合 13"/>
            <p:cNvGrpSpPr/>
            <p:nvPr/>
          </p:nvGrpSpPr>
          <p:grpSpPr>
            <a:xfrm>
              <a:off x="8676377" y="4350426"/>
              <a:ext cx="2842523" cy="1044816"/>
              <a:chOff x="8676377" y="4350426"/>
              <a:chExt cx="2842523" cy="1044816"/>
            </a:xfrm>
          </p:grpSpPr>
          <p:sp>
            <p:nvSpPr>
              <p:cNvPr id="35" name="文本框 34">
                <a:extLst>
                  <a:ext uri="{FF2B5EF4-FFF2-40B4-BE49-F238E27FC236}">
                    <a16:creationId xmlns:a16="http://schemas.microsoft.com/office/drawing/2014/main" id="{303768AC-3D0C-4A22-BB20-2CA82CA4DDD7}"/>
                  </a:ext>
                </a:extLst>
              </p:cNvPr>
              <p:cNvSpPr txBox="1"/>
              <p:nvPr/>
            </p:nvSpPr>
            <p:spPr>
              <a:xfrm>
                <a:off x="8676377" y="4743347"/>
                <a:ext cx="2842523" cy="65189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Copy </a:t>
                </a:r>
                <a:r>
                  <a:rPr lang="en-US" altLang="zh-CN" sz="1100">
                    <a:solidFill>
                      <a:schemeClr val="dk1">
                        <a:lumMod val="100000"/>
                      </a:schemeClr>
                    </a:solidFill>
                  </a:rPr>
                  <a:t>paste fo</a:t>
                </a:r>
                <a:r>
                  <a:rPr lang="en-US" altLang="zh-CN" sz="100">
                    <a:solidFill>
                      <a:schemeClr val="dk1">
                        <a:lumMod val="100000"/>
                      </a:schemeClr>
                    </a:solidFill>
                  </a:rPr>
                  <a:t> </a:t>
                </a:r>
                <a:r>
                  <a:rPr lang="en-US" altLang="zh-CN" sz="1100">
                    <a:solidFill>
                      <a:schemeClr val="dk1">
                        <a:lumMod val="100000"/>
                      </a:schemeClr>
                    </a:solidFill>
                  </a:rPr>
                  <a:t>nts</a:t>
                </a: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. Choose the only option to retain text.</a:t>
                </a:r>
              </a:p>
            </p:txBody>
          </p:sp>
          <p:sp>
            <p:nvSpPr>
              <p:cNvPr id="36" name="文本框 35">
                <a:extLst>
                  <a:ext uri="{FF2B5EF4-FFF2-40B4-BE49-F238E27FC236}">
                    <a16:creationId xmlns:a16="http://schemas.microsoft.com/office/drawing/2014/main" id="{A78F0334-C8D0-4B66-89BA-616CA316790B}"/>
                  </a:ext>
                </a:extLst>
              </p:cNvPr>
              <p:cNvSpPr txBox="1"/>
              <p:nvPr/>
            </p:nvSpPr>
            <p:spPr>
              <a:xfrm>
                <a:off x="8676377" y="4350426"/>
                <a:ext cx="2842523" cy="39292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>
                  <a:defRPr>
                    <a:solidFill>
                      <a:schemeClr val="dk1">
                        <a:lumMod val="100000"/>
                      </a:schemeClr>
                    </a:solidFill>
                  </a:defRPr>
                </a:lvl1pPr>
              </a:lstStyle>
              <a:p>
                <a:r>
                  <a:rPr lang="en-US" altLang="zh-CN" sz="1600"/>
                  <a:t>Te</a:t>
                </a:r>
                <a:r>
                  <a:rPr lang="en-US" altLang="zh-CN" sz="100"/>
                  <a:t> </a:t>
                </a:r>
                <a:r>
                  <a:rPr lang="en-US" altLang="zh-CN" sz="1600"/>
                  <a:t>xt </a:t>
                </a:r>
                <a:r>
                  <a:rPr lang="en-US" altLang="zh-CN" sz="1600" dirty="0"/>
                  <a:t>here</a:t>
                </a:r>
                <a:endParaRPr lang="zh-CN" altLang="en-US" sz="1600" dirty="0"/>
              </a:p>
            </p:txBody>
          </p:sp>
        </p:grpSp>
        <p:cxnSp>
          <p:nvCxnSpPr>
            <p:cNvPr id="15" name="直接连接符 14"/>
            <p:cNvCxnSpPr/>
            <p:nvPr/>
          </p:nvCxnSpPr>
          <p:spPr>
            <a:xfrm>
              <a:off x="8763747" y="4252518"/>
              <a:ext cx="275515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/>
            <p:cNvCxnSpPr/>
            <p:nvPr/>
          </p:nvCxnSpPr>
          <p:spPr>
            <a:xfrm>
              <a:off x="8387606" y="3011884"/>
              <a:ext cx="3131294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组合 16"/>
            <p:cNvGrpSpPr/>
            <p:nvPr/>
          </p:nvGrpSpPr>
          <p:grpSpPr>
            <a:xfrm>
              <a:off x="4412009" y="2325985"/>
              <a:ext cx="458230" cy="458230"/>
              <a:chOff x="4444053" y="2325985"/>
              <a:chExt cx="458230" cy="458230"/>
            </a:xfrm>
          </p:grpSpPr>
          <p:sp>
            <p:nvSpPr>
              <p:cNvPr id="33" name="椭圆 32"/>
              <p:cNvSpPr/>
              <p:nvPr/>
            </p:nvSpPr>
            <p:spPr>
              <a:xfrm>
                <a:off x="4444053" y="2325985"/>
                <a:ext cx="458230" cy="458230"/>
              </a:xfrm>
              <a:prstGeom prst="ellipse">
                <a:avLst/>
              </a:pr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20000"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任意多边形: 形状 33"/>
              <p:cNvSpPr/>
              <p:nvPr/>
            </p:nvSpPr>
            <p:spPr bwMode="auto">
              <a:xfrm>
                <a:off x="4551744" y="2411049"/>
                <a:ext cx="242848" cy="288102"/>
              </a:xfrm>
              <a:custGeom>
                <a:avLst/>
                <a:gdLst>
                  <a:gd name="connsiteX0" fmla="*/ 436982 w 510470"/>
                  <a:gd name="connsiteY0" fmla="*/ 513452 h 605593"/>
                  <a:gd name="connsiteX1" fmla="*/ 422903 w 510470"/>
                  <a:gd name="connsiteY1" fmla="*/ 527513 h 605593"/>
                  <a:gd name="connsiteX2" fmla="*/ 436982 w 510470"/>
                  <a:gd name="connsiteY2" fmla="*/ 541574 h 605593"/>
                  <a:gd name="connsiteX3" fmla="*/ 451168 w 510470"/>
                  <a:gd name="connsiteY3" fmla="*/ 527513 h 605593"/>
                  <a:gd name="connsiteX4" fmla="*/ 436982 w 510470"/>
                  <a:gd name="connsiteY4" fmla="*/ 513452 h 605593"/>
                  <a:gd name="connsiteX5" fmla="*/ 114232 w 510470"/>
                  <a:gd name="connsiteY5" fmla="*/ 513452 h 605593"/>
                  <a:gd name="connsiteX6" fmla="*/ 100046 w 510470"/>
                  <a:gd name="connsiteY6" fmla="*/ 527513 h 605593"/>
                  <a:gd name="connsiteX7" fmla="*/ 114232 w 510470"/>
                  <a:gd name="connsiteY7" fmla="*/ 541574 h 605593"/>
                  <a:gd name="connsiteX8" fmla="*/ 128311 w 510470"/>
                  <a:gd name="connsiteY8" fmla="*/ 527513 h 605593"/>
                  <a:gd name="connsiteX9" fmla="*/ 114232 w 510470"/>
                  <a:gd name="connsiteY9" fmla="*/ 513452 h 605593"/>
                  <a:gd name="connsiteX10" fmla="*/ 68902 w 510470"/>
                  <a:gd name="connsiteY10" fmla="*/ 513452 h 605593"/>
                  <a:gd name="connsiteX11" fmla="*/ 54823 w 510470"/>
                  <a:gd name="connsiteY11" fmla="*/ 527513 h 605593"/>
                  <a:gd name="connsiteX12" fmla="*/ 68902 w 510470"/>
                  <a:gd name="connsiteY12" fmla="*/ 541574 h 605593"/>
                  <a:gd name="connsiteX13" fmla="*/ 83087 w 510470"/>
                  <a:gd name="connsiteY13" fmla="*/ 527513 h 605593"/>
                  <a:gd name="connsiteX14" fmla="*/ 68902 w 510470"/>
                  <a:gd name="connsiteY14" fmla="*/ 513452 h 605593"/>
                  <a:gd name="connsiteX15" fmla="*/ 0 w 510470"/>
                  <a:gd name="connsiteY15" fmla="*/ 449432 h 605593"/>
                  <a:gd name="connsiteX16" fmla="*/ 510470 w 510470"/>
                  <a:gd name="connsiteY16" fmla="*/ 449432 h 605593"/>
                  <a:gd name="connsiteX17" fmla="*/ 510470 w 510470"/>
                  <a:gd name="connsiteY17" fmla="*/ 605593 h 605593"/>
                  <a:gd name="connsiteX18" fmla="*/ 0 w 510470"/>
                  <a:gd name="connsiteY18" fmla="*/ 605593 h 605593"/>
                  <a:gd name="connsiteX19" fmla="*/ 95598 w 510470"/>
                  <a:gd name="connsiteY19" fmla="*/ 342807 h 605593"/>
                  <a:gd name="connsiteX20" fmla="*/ 414907 w 510470"/>
                  <a:gd name="connsiteY20" fmla="*/ 342807 h 605593"/>
                  <a:gd name="connsiteX21" fmla="*/ 506519 w 510470"/>
                  <a:gd name="connsiteY21" fmla="*/ 421840 h 605593"/>
                  <a:gd name="connsiteX22" fmla="*/ 4093 w 510470"/>
                  <a:gd name="connsiteY22" fmla="*/ 421840 h 605593"/>
                  <a:gd name="connsiteX23" fmla="*/ 255235 w 510470"/>
                  <a:gd name="connsiteY23" fmla="*/ 71977 h 605593"/>
                  <a:gd name="connsiteX24" fmla="*/ 313663 w 510470"/>
                  <a:gd name="connsiteY24" fmla="*/ 130352 h 605593"/>
                  <a:gd name="connsiteX25" fmla="*/ 280078 w 510470"/>
                  <a:gd name="connsiteY25" fmla="*/ 183082 h 605593"/>
                  <a:gd name="connsiteX26" fmla="*/ 280078 w 510470"/>
                  <a:gd name="connsiteY26" fmla="*/ 316345 h 605593"/>
                  <a:gd name="connsiteX27" fmla="*/ 230392 w 510470"/>
                  <a:gd name="connsiteY27" fmla="*/ 316345 h 605593"/>
                  <a:gd name="connsiteX28" fmla="*/ 230392 w 510470"/>
                  <a:gd name="connsiteY28" fmla="*/ 183082 h 605593"/>
                  <a:gd name="connsiteX29" fmla="*/ 196807 w 510470"/>
                  <a:gd name="connsiteY29" fmla="*/ 130352 h 605593"/>
                  <a:gd name="connsiteX30" fmla="*/ 255235 w 510470"/>
                  <a:gd name="connsiteY30" fmla="*/ 71977 h 605593"/>
                  <a:gd name="connsiteX31" fmla="*/ 380055 w 510470"/>
                  <a:gd name="connsiteY31" fmla="*/ 62733 h 605593"/>
                  <a:gd name="connsiteX32" fmla="*/ 418030 w 510470"/>
                  <a:gd name="connsiteY32" fmla="*/ 130352 h 605593"/>
                  <a:gd name="connsiteX33" fmla="*/ 380055 w 510470"/>
                  <a:gd name="connsiteY33" fmla="*/ 197866 h 605593"/>
                  <a:gd name="connsiteX34" fmla="*/ 354027 w 510470"/>
                  <a:gd name="connsiteY34" fmla="*/ 155484 h 605593"/>
                  <a:gd name="connsiteX35" fmla="*/ 368214 w 510470"/>
                  <a:gd name="connsiteY35" fmla="*/ 130352 h 605593"/>
                  <a:gd name="connsiteX36" fmla="*/ 354027 w 510470"/>
                  <a:gd name="connsiteY36" fmla="*/ 105115 h 605593"/>
                  <a:gd name="connsiteX37" fmla="*/ 130486 w 510470"/>
                  <a:gd name="connsiteY37" fmla="*/ 62733 h 605593"/>
                  <a:gd name="connsiteX38" fmla="*/ 156514 w 510470"/>
                  <a:gd name="connsiteY38" fmla="*/ 105115 h 605593"/>
                  <a:gd name="connsiteX39" fmla="*/ 142327 w 510470"/>
                  <a:gd name="connsiteY39" fmla="*/ 130352 h 605593"/>
                  <a:gd name="connsiteX40" fmla="*/ 156514 w 510470"/>
                  <a:gd name="connsiteY40" fmla="*/ 155484 h 605593"/>
                  <a:gd name="connsiteX41" fmla="*/ 130486 w 510470"/>
                  <a:gd name="connsiteY41" fmla="*/ 197866 h 605593"/>
                  <a:gd name="connsiteX42" fmla="*/ 92511 w 510470"/>
                  <a:gd name="connsiteY42" fmla="*/ 130352 h 605593"/>
                  <a:gd name="connsiteX43" fmla="*/ 130486 w 510470"/>
                  <a:gd name="connsiteY43" fmla="*/ 62733 h 605593"/>
                  <a:gd name="connsiteX44" fmla="*/ 437083 w 510470"/>
                  <a:gd name="connsiteY44" fmla="*/ 0 h 605593"/>
                  <a:gd name="connsiteX45" fmla="*/ 510187 w 510470"/>
                  <a:gd name="connsiteY45" fmla="*/ 130352 h 605593"/>
                  <a:gd name="connsiteX46" fmla="*/ 437083 w 510470"/>
                  <a:gd name="connsiteY46" fmla="*/ 260598 h 605593"/>
                  <a:gd name="connsiteX47" fmla="*/ 411043 w 510470"/>
                  <a:gd name="connsiteY47" fmla="*/ 218212 h 605593"/>
                  <a:gd name="connsiteX48" fmla="*/ 460455 w 510470"/>
                  <a:gd name="connsiteY48" fmla="*/ 130352 h 605593"/>
                  <a:gd name="connsiteX49" fmla="*/ 411043 w 510470"/>
                  <a:gd name="connsiteY49" fmla="*/ 42386 h 605593"/>
                  <a:gd name="connsiteX50" fmla="*/ 73405 w 510470"/>
                  <a:gd name="connsiteY50" fmla="*/ 0 h 605593"/>
                  <a:gd name="connsiteX51" fmla="*/ 99427 w 510470"/>
                  <a:gd name="connsiteY51" fmla="*/ 42386 h 605593"/>
                  <a:gd name="connsiteX52" fmla="*/ 50050 w 510470"/>
                  <a:gd name="connsiteY52" fmla="*/ 130352 h 605593"/>
                  <a:gd name="connsiteX53" fmla="*/ 99427 w 510470"/>
                  <a:gd name="connsiteY53" fmla="*/ 218212 h 605593"/>
                  <a:gd name="connsiteX54" fmla="*/ 73405 w 510470"/>
                  <a:gd name="connsiteY54" fmla="*/ 260598 h 605593"/>
                  <a:gd name="connsiteX55" fmla="*/ 353 w 510470"/>
                  <a:gd name="connsiteY55" fmla="*/ 130352 h 605593"/>
                  <a:gd name="connsiteX56" fmla="*/ 73405 w 510470"/>
                  <a:gd name="connsiteY56" fmla="*/ 0 h 605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510470" h="605593">
                    <a:moveTo>
                      <a:pt x="436982" y="513452"/>
                    </a:moveTo>
                    <a:cubicBezTo>
                      <a:pt x="429196" y="513452"/>
                      <a:pt x="422903" y="519737"/>
                      <a:pt x="422903" y="527513"/>
                    </a:cubicBezTo>
                    <a:cubicBezTo>
                      <a:pt x="422903" y="535289"/>
                      <a:pt x="429196" y="541574"/>
                      <a:pt x="436982" y="541574"/>
                    </a:cubicBezTo>
                    <a:cubicBezTo>
                      <a:pt x="444875" y="541574"/>
                      <a:pt x="451168" y="535289"/>
                      <a:pt x="451168" y="527513"/>
                    </a:cubicBezTo>
                    <a:cubicBezTo>
                      <a:pt x="451168" y="519737"/>
                      <a:pt x="444768" y="513452"/>
                      <a:pt x="436982" y="513452"/>
                    </a:cubicBezTo>
                    <a:close/>
                    <a:moveTo>
                      <a:pt x="114232" y="513452"/>
                    </a:moveTo>
                    <a:cubicBezTo>
                      <a:pt x="106446" y="513452"/>
                      <a:pt x="100046" y="519737"/>
                      <a:pt x="100046" y="527513"/>
                    </a:cubicBezTo>
                    <a:cubicBezTo>
                      <a:pt x="100046" y="535289"/>
                      <a:pt x="106446" y="541574"/>
                      <a:pt x="114232" y="541574"/>
                    </a:cubicBezTo>
                    <a:cubicBezTo>
                      <a:pt x="122018" y="541574"/>
                      <a:pt x="128311" y="535289"/>
                      <a:pt x="128311" y="527513"/>
                    </a:cubicBezTo>
                    <a:cubicBezTo>
                      <a:pt x="128311" y="519737"/>
                      <a:pt x="122018" y="513452"/>
                      <a:pt x="114232" y="513452"/>
                    </a:cubicBezTo>
                    <a:close/>
                    <a:moveTo>
                      <a:pt x="68902" y="513452"/>
                    </a:moveTo>
                    <a:cubicBezTo>
                      <a:pt x="61116" y="513452"/>
                      <a:pt x="54823" y="519737"/>
                      <a:pt x="54823" y="527513"/>
                    </a:cubicBezTo>
                    <a:cubicBezTo>
                      <a:pt x="54823" y="535289"/>
                      <a:pt x="61116" y="541574"/>
                      <a:pt x="68902" y="541574"/>
                    </a:cubicBezTo>
                    <a:cubicBezTo>
                      <a:pt x="76688" y="541574"/>
                      <a:pt x="83087" y="535289"/>
                      <a:pt x="83087" y="527513"/>
                    </a:cubicBezTo>
                    <a:cubicBezTo>
                      <a:pt x="83087" y="519737"/>
                      <a:pt x="76688" y="513452"/>
                      <a:pt x="68902" y="513452"/>
                    </a:cubicBezTo>
                    <a:close/>
                    <a:moveTo>
                      <a:pt x="0" y="449432"/>
                    </a:moveTo>
                    <a:lnTo>
                      <a:pt x="510470" y="449432"/>
                    </a:lnTo>
                    <a:lnTo>
                      <a:pt x="510470" y="605593"/>
                    </a:lnTo>
                    <a:lnTo>
                      <a:pt x="0" y="605593"/>
                    </a:lnTo>
                    <a:close/>
                    <a:moveTo>
                      <a:pt x="95598" y="342807"/>
                    </a:moveTo>
                    <a:lnTo>
                      <a:pt x="414907" y="342807"/>
                    </a:lnTo>
                    <a:lnTo>
                      <a:pt x="506519" y="421840"/>
                    </a:lnTo>
                    <a:lnTo>
                      <a:pt x="4093" y="421840"/>
                    </a:lnTo>
                    <a:close/>
                    <a:moveTo>
                      <a:pt x="255235" y="71977"/>
                    </a:moveTo>
                    <a:cubicBezTo>
                      <a:pt x="287434" y="71977"/>
                      <a:pt x="313663" y="98075"/>
                      <a:pt x="313663" y="130352"/>
                    </a:cubicBezTo>
                    <a:cubicBezTo>
                      <a:pt x="313663" y="153575"/>
                      <a:pt x="299909" y="173708"/>
                      <a:pt x="280078" y="183082"/>
                    </a:cubicBezTo>
                    <a:lnTo>
                      <a:pt x="280078" y="316345"/>
                    </a:lnTo>
                    <a:lnTo>
                      <a:pt x="230392" y="316345"/>
                    </a:lnTo>
                    <a:lnTo>
                      <a:pt x="230392" y="183082"/>
                    </a:lnTo>
                    <a:cubicBezTo>
                      <a:pt x="210561" y="173708"/>
                      <a:pt x="196807" y="153575"/>
                      <a:pt x="196807" y="130352"/>
                    </a:cubicBezTo>
                    <a:cubicBezTo>
                      <a:pt x="196807" y="98075"/>
                      <a:pt x="223036" y="71977"/>
                      <a:pt x="255235" y="71977"/>
                    </a:cubicBezTo>
                    <a:close/>
                    <a:moveTo>
                      <a:pt x="380055" y="62733"/>
                    </a:moveTo>
                    <a:cubicBezTo>
                      <a:pt x="403843" y="77215"/>
                      <a:pt x="418030" y="102559"/>
                      <a:pt x="418030" y="130352"/>
                    </a:cubicBezTo>
                    <a:cubicBezTo>
                      <a:pt x="418030" y="158146"/>
                      <a:pt x="403843" y="183383"/>
                      <a:pt x="380055" y="197866"/>
                    </a:cubicBezTo>
                    <a:lnTo>
                      <a:pt x="354027" y="155484"/>
                    </a:lnTo>
                    <a:cubicBezTo>
                      <a:pt x="362881" y="150053"/>
                      <a:pt x="368214" y="140682"/>
                      <a:pt x="368214" y="130352"/>
                    </a:cubicBezTo>
                    <a:cubicBezTo>
                      <a:pt x="368214" y="119917"/>
                      <a:pt x="362881" y="110546"/>
                      <a:pt x="354027" y="105115"/>
                    </a:cubicBezTo>
                    <a:close/>
                    <a:moveTo>
                      <a:pt x="130486" y="62733"/>
                    </a:moveTo>
                    <a:lnTo>
                      <a:pt x="156514" y="105115"/>
                    </a:lnTo>
                    <a:cubicBezTo>
                      <a:pt x="147660" y="110546"/>
                      <a:pt x="142327" y="119917"/>
                      <a:pt x="142327" y="130352"/>
                    </a:cubicBezTo>
                    <a:cubicBezTo>
                      <a:pt x="142327" y="140682"/>
                      <a:pt x="147660" y="150053"/>
                      <a:pt x="156514" y="155484"/>
                    </a:cubicBezTo>
                    <a:lnTo>
                      <a:pt x="130486" y="197866"/>
                    </a:lnTo>
                    <a:cubicBezTo>
                      <a:pt x="106698" y="183383"/>
                      <a:pt x="92511" y="158146"/>
                      <a:pt x="92511" y="130352"/>
                    </a:cubicBezTo>
                    <a:cubicBezTo>
                      <a:pt x="92511" y="102559"/>
                      <a:pt x="106698" y="77215"/>
                      <a:pt x="130486" y="62733"/>
                    </a:cubicBezTo>
                    <a:close/>
                    <a:moveTo>
                      <a:pt x="437083" y="0"/>
                    </a:moveTo>
                    <a:cubicBezTo>
                      <a:pt x="482866" y="28008"/>
                      <a:pt x="510187" y="76678"/>
                      <a:pt x="510187" y="130352"/>
                    </a:cubicBezTo>
                    <a:cubicBezTo>
                      <a:pt x="510187" y="183920"/>
                      <a:pt x="482866" y="232589"/>
                      <a:pt x="437083" y="260598"/>
                    </a:cubicBezTo>
                    <a:lnTo>
                      <a:pt x="411043" y="218212"/>
                    </a:lnTo>
                    <a:cubicBezTo>
                      <a:pt x="441992" y="199362"/>
                      <a:pt x="460455" y="166454"/>
                      <a:pt x="460455" y="130352"/>
                    </a:cubicBezTo>
                    <a:cubicBezTo>
                      <a:pt x="460455" y="94143"/>
                      <a:pt x="441992" y="61235"/>
                      <a:pt x="411043" y="42386"/>
                    </a:cubicBezTo>
                    <a:close/>
                    <a:moveTo>
                      <a:pt x="73405" y="0"/>
                    </a:moveTo>
                    <a:lnTo>
                      <a:pt x="99427" y="42386"/>
                    </a:lnTo>
                    <a:cubicBezTo>
                      <a:pt x="68500" y="61235"/>
                      <a:pt x="50050" y="94143"/>
                      <a:pt x="50050" y="130352"/>
                    </a:cubicBezTo>
                    <a:cubicBezTo>
                      <a:pt x="50050" y="166454"/>
                      <a:pt x="68500" y="199362"/>
                      <a:pt x="99427" y="218212"/>
                    </a:cubicBezTo>
                    <a:lnTo>
                      <a:pt x="73405" y="260598"/>
                    </a:lnTo>
                    <a:cubicBezTo>
                      <a:pt x="27654" y="232589"/>
                      <a:pt x="353" y="183920"/>
                      <a:pt x="353" y="130352"/>
                    </a:cubicBezTo>
                    <a:cubicBezTo>
                      <a:pt x="353" y="76678"/>
                      <a:pt x="27654" y="28008"/>
                      <a:pt x="7340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</p:grpSp>
        <p:grpSp>
          <p:nvGrpSpPr>
            <p:cNvPr id="18" name="组合 17"/>
            <p:cNvGrpSpPr/>
            <p:nvPr/>
          </p:nvGrpSpPr>
          <p:grpSpPr>
            <a:xfrm>
              <a:off x="4760108" y="3401361"/>
              <a:ext cx="458230" cy="458230"/>
              <a:chOff x="4739642" y="3401361"/>
              <a:chExt cx="458230" cy="458230"/>
            </a:xfrm>
          </p:grpSpPr>
          <p:sp>
            <p:nvSpPr>
              <p:cNvPr id="31" name="椭圆 30"/>
              <p:cNvSpPr/>
              <p:nvPr/>
            </p:nvSpPr>
            <p:spPr>
              <a:xfrm>
                <a:off x="4739642" y="3401361"/>
                <a:ext cx="458230" cy="458230"/>
              </a:xfrm>
              <a:prstGeom prst="ellipse">
                <a:avLst/>
              </a:prstGeom>
              <a:solidFill>
                <a:schemeClr val="accent2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20000"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任意多边形: 形状 31"/>
              <p:cNvSpPr/>
              <p:nvPr/>
            </p:nvSpPr>
            <p:spPr bwMode="auto">
              <a:xfrm>
                <a:off x="4844824" y="3486427"/>
                <a:ext cx="247866" cy="288100"/>
              </a:xfrm>
              <a:custGeom>
                <a:avLst/>
                <a:gdLst>
                  <a:gd name="connsiteX0" fmla="*/ 260400 w 520800"/>
                  <a:gd name="connsiteY0" fmla="*/ 205300 h 605336"/>
                  <a:gd name="connsiteX1" fmla="*/ 315198 w 520800"/>
                  <a:gd name="connsiteY1" fmla="*/ 260020 h 605336"/>
                  <a:gd name="connsiteX2" fmla="*/ 291633 w 520800"/>
                  <a:gd name="connsiteY2" fmla="*/ 304935 h 605336"/>
                  <a:gd name="connsiteX3" fmla="*/ 353818 w 520800"/>
                  <a:gd name="connsiteY3" fmla="*/ 568825 h 605336"/>
                  <a:gd name="connsiteX4" fmla="*/ 348207 w 520800"/>
                  <a:gd name="connsiteY4" fmla="*/ 594130 h 605336"/>
                  <a:gd name="connsiteX5" fmla="*/ 324830 w 520800"/>
                  <a:gd name="connsiteY5" fmla="*/ 605336 h 605336"/>
                  <a:gd name="connsiteX6" fmla="*/ 195971 w 520800"/>
                  <a:gd name="connsiteY6" fmla="*/ 605336 h 605336"/>
                  <a:gd name="connsiteX7" fmla="*/ 172593 w 520800"/>
                  <a:gd name="connsiteY7" fmla="*/ 594130 h 605336"/>
                  <a:gd name="connsiteX8" fmla="*/ 166982 w 520800"/>
                  <a:gd name="connsiteY8" fmla="*/ 568825 h 605336"/>
                  <a:gd name="connsiteX9" fmla="*/ 229167 w 520800"/>
                  <a:gd name="connsiteY9" fmla="*/ 304935 h 605336"/>
                  <a:gd name="connsiteX10" fmla="*/ 205603 w 520800"/>
                  <a:gd name="connsiteY10" fmla="*/ 260020 h 605336"/>
                  <a:gd name="connsiteX11" fmla="*/ 260400 w 520800"/>
                  <a:gd name="connsiteY11" fmla="*/ 205300 h 605336"/>
                  <a:gd name="connsiteX12" fmla="*/ 260414 w 520800"/>
                  <a:gd name="connsiteY12" fmla="*/ 92466 h 605336"/>
                  <a:gd name="connsiteX13" fmla="*/ 379104 w 520800"/>
                  <a:gd name="connsiteY13" fmla="*/ 141489 h 605336"/>
                  <a:gd name="connsiteX14" fmla="*/ 379104 w 520800"/>
                  <a:gd name="connsiteY14" fmla="*/ 378575 h 605336"/>
                  <a:gd name="connsiteX15" fmla="*/ 364794 w 520800"/>
                  <a:gd name="connsiteY15" fmla="*/ 384458 h 605336"/>
                  <a:gd name="connsiteX16" fmla="*/ 350390 w 520800"/>
                  <a:gd name="connsiteY16" fmla="*/ 378575 h 605336"/>
                  <a:gd name="connsiteX17" fmla="*/ 350390 w 520800"/>
                  <a:gd name="connsiteY17" fmla="*/ 349815 h 605336"/>
                  <a:gd name="connsiteX18" fmla="*/ 350390 w 520800"/>
                  <a:gd name="connsiteY18" fmla="*/ 170250 h 605336"/>
                  <a:gd name="connsiteX19" fmla="*/ 260414 w 520800"/>
                  <a:gd name="connsiteY19" fmla="*/ 133085 h 605336"/>
                  <a:gd name="connsiteX20" fmla="*/ 170530 w 520800"/>
                  <a:gd name="connsiteY20" fmla="*/ 170250 h 605336"/>
                  <a:gd name="connsiteX21" fmla="*/ 133211 w 520800"/>
                  <a:gd name="connsiteY21" fmla="*/ 259985 h 605336"/>
                  <a:gd name="connsiteX22" fmla="*/ 170530 w 520800"/>
                  <a:gd name="connsiteY22" fmla="*/ 349815 h 605336"/>
                  <a:gd name="connsiteX23" fmla="*/ 170530 w 520800"/>
                  <a:gd name="connsiteY23" fmla="*/ 378575 h 605336"/>
                  <a:gd name="connsiteX24" fmla="*/ 141722 w 520800"/>
                  <a:gd name="connsiteY24" fmla="*/ 378575 h 605336"/>
                  <a:gd name="connsiteX25" fmla="*/ 92525 w 520800"/>
                  <a:gd name="connsiteY25" fmla="*/ 260079 h 605336"/>
                  <a:gd name="connsiteX26" fmla="*/ 141722 w 520800"/>
                  <a:gd name="connsiteY26" fmla="*/ 141489 h 605336"/>
                  <a:gd name="connsiteX27" fmla="*/ 260414 w 520800"/>
                  <a:gd name="connsiteY27" fmla="*/ 92466 h 605336"/>
                  <a:gd name="connsiteX28" fmla="*/ 260400 w 520800"/>
                  <a:gd name="connsiteY28" fmla="*/ 0 h 605336"/>
                  <a:gd name="connsiteX29" fmla="*/ 444630 w 520800"/>
                  <a:gd name="connsiteY29" fmla="*/ 76135 h 605336"/>
                  <a:gd name="connsiteX30" fmla="*/ 444630 w 520800"/>
                  <a:gd name="connsiteY30" fmla="*/ 443989 h 605336"/>
                  <a:gd name="connsiteX31" fmla="*/ 430228 w 520800"/>
                  <a:gd name="connsiteY31" fmla="*/ 449966 h 605336"/>
                  <a:gd name="connsiteX32" fmla="*/ 415827 w 520800"/>
                  <a:gd name="connsiteY32" fmla="*/ 443989 h 605336"/>
                  <a:gd name="connsiteX33" fmla="*/ 415827 w 520800"/>
                  <a:gd name="connsiteY33" fmla="*/ 415319 h 605336"/>
                  <a:gd name="connsiteX34" fmla="*/ 415827 w 520800"/>
                  <a:gd name="connsiteY34" fmla="*/ 104805 h 605336"/>
                  <a:gd name="connsiteX35" fmla="*/ 104973 w 520800"/>
                  <a:gd name="connsiteY35" fmla="*/ 104805 h 605336"/>
                  <a:gd name="connsiteX36" fmla="*/ 104973 w 520800"/>
                  <a:gd name="connsiteY36" fmla="*/ 415319 h 605336"/>
                  <a:gd name="connsiteX37" fmla="*/ 104973 w 520800"/>
                  <a:gd name="connsiteY37" fmla="*/ 443989 h 605336"/>
                  <a:gd name="connsiteX38" fmla="*/ 76170 w 520800"/>
                  <a:gd name="connsiteY38" fmla="*/ 443989 h 605336"/>
                  <a:gd name="connsiteX39" fmla="*/ 76170 w 520800"/>
                  <a:gd name="connsiteY39" fmla="*/ 76135 h 605336"/>
                  <a:gd name="connsiteX40" fmla="*/ 260400 w 520800"/>
                  <a:gd name="connsiteY40" fmla="*/ 0 h 605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520800" h="605336">
                    <a:moveTo>
                      <a:pt x="260400" y="205300"/>
                    </a:moveTo>
                    <a:cubicBezTo>
                      <a:pt x="290698" y="205300"/>
                      <a:pt x="315198" y="229859"/>
                      <a:pt x="315198" y="260020"/>
                    </a:cubicBezTo>
                    <a:cubicBezTo>
                      <a:pt x="315198" y="278696"/>
                      <a:pt x="305847" y="295037"/>
                      <a:pt x="291633" y="304935"/>
                    </a:cubicBezTo>
                    <a:lnTo>
                      <a:pt x="353818" y="568825"/>
                    </a:lnTo>
                    <a:cubicBezTo>
                      <a:pt x="355875" y="577696"/>
                      <a:pt x="353818" y="586940"/>
                      <a:pt x="348207" y="594130"/>
                    </a:cubicBezTo>
                    <a:cubicBezTo>
                      <a:pt x="342503" y="601227"/>
                      <a:pt x="333994" y="605336"/>
                      <a:pt x="324830" y="605336"/>
                    </a:cubicBezTo>
                    <a:lnTo>
                      <a:pt x="195971" y="605336"/>
                    </a:lnTo>
                    <a:cubicBezTo>
                      <a:pt x="186900" y="605336"/>
                      <a:pt x="178297" y="601227"/>
                      <a:pt x="172593" y="594130"/>
                    </a:cubicBezTo>
                    <a:cubicBezTo>
                      <a:pt x="166982" y="586940"/>
                      <a:pt x="164925" y="577696"/>
                      <a:pt x="166982" y="568825"/>
                    </a:cubicBezTo>
                    <a:lnTo>
                      <a:pt x="229167" y="304935"/>
                    </a:lnTo>
                    <a:cubicBezTo>
                      <a:pt x="214954" y="295037"/>
                      <a:pt x="205603" y="278696"/>
                      <a:pt x="205603" y="260020"/>
                    </a:cubicBezTo>
                    <a:cubicBezTo>
                      <a:pt x="205603" y="229859"/>
                      <a:pt x="230103" y="205300"/>
                      <a:pt x="260400" y="205300"/>
                    </a:cubicBezTo>
                    <a:close/>
                    <a:moveTo>
                      <a:pt x="260414" y="92466"/>
                    </a:moveTo>
                    <a:cubicBezTo>
                      <a:pt x="305308" y="92466"/>
                      <a:pt x="347397" y="109834"/>
                      <a:pt x="379104" y="141489"/>
                    </a:cubicBezTo>
                    <a:cubicBezTo>
                      <a:pt x="444576" y="206854"/>
                      <a:pt x="444576" y="313211"/>
                      <a:pt x="379104" y="378575"/>
                    </a:cubicBezTo>
                    <a:cubicBezTo>
                      <a:pt x="375176" y="382497"/>
                      <a:pt x="369938" y="384458"/>
                      <a:pt x="364794" y="384458"/>
                    </a:cubicBezTo>
                    <a:cubicBezTo>
                      <a:pt x="359556" y="384458"/>
                      <a:pt x="354319" y="382497"/>
                      <a:pt x="350390" y="378575"/>
                    </a:cubicBezTo>
                    <a:cubicBezTo>
                      <a:pt x="342440" y="370638"/>
                      <a:pt x="342440" y="357752"/>
                      <a:pt x="350390" y="349815"/>
                    </a:cubicBezTo>
                    <a:cubicBezTo>
                      <a:pt x="399962" y="300324"/>
                      <a:pt x="399962" y="219740"/>
                      <a:pt x="350390" y="170250"/>
                    </a:cubicBezTo>
                    <a:cubicBezTo>
                      <a:pt x="326353" y="146251"/>
                      <a:pt x="294365" y="133085"/>
                      <a:pt x="260414" y="133085"/>
                    </a:cubicBezTo>
                    <a:cubicBezTo>
                      <a:pt x="226462" y="133085"/>
                      <a:pt x="194568" y="146251"/>
                      <a:pt x="170530" y="170250"/>
                    </a:cubicBezTo>
                    <a:cubicBezTo>
                      <a:pt x="146492" y="194248"/>
                      <a:pt x="133211" y="226089"/>
                      <a:pt x="133211" y="259985"/>
                    </a:cubicBezTo>
                    <a:cubicBezTo>
                      <a:pt x="133211" y="293975"/>
                      <a:pt x="146492" y="325817"/>
                      <a:pt x="170530" y="349815"/>
                    </a:cubicBezTo>
                    <a:cubicBezTo>
                      <a:pt x="178480" y="357752"/>
                      <a:pt x="178480" y="370638"/>
                      <a:pt x="170530" y="378575"/>
                    </a:cubicBezTo>
                    <a:cubicBezTo>
                      <a:pt x="162580" y="386512"/>
                      <a:pt x="149672" y="386512"/>
                      <a:pt x="141722" y="378575"/>
                    </a:cubicBezTo>
                    <a:cubicBezTo>
                      <a:pt x="110015" y="346920"/>
                      <a:pt x="92525" y="304807"/>
                      <a:pt x="92525" y="260079"/>
                    </a:cubicBezTo>
                    <a:cubicBezTo>
                      <a:pt x="92525" y="215258"/>
                      <a:pt x="110015" y="173144"/>
                      <a:pt x="141722" y="141489"/>
                    </a:cubicBezTo>
                    <a:cubicBezTo>
                      <a:pt x="173430" y="109834"/>
                      <a:pt x="215612" y="92466"/>
                      <a:pt x="260414" y="92466"/>
                    </a:cubicBezTo>
                    <a:close/>
                    <a:moveTo>
                      <a:pt x="260400" y="0"/>
                    </a:moveTo>
                    <a:cubicBezTo>
                      <a:pt x="327125" y="0"/>
                      <a:pt x="393850" y="25379"/>
                      <a:pt x="444630" y="76135"/>
                    </a:cubicBezTo>
                    <a:cubicBezTo>
                      <a:pt x="546190" y="177554"/>
                      <a:pt x="546190" y="342570"/>
                      <a:pt x="444630" y="443989"/>
                    </a:cubicBezTo>
                    <a:cubicBezTo>
                      <a:pt x="440702" y="448005"/>
                      <a:pt x="435465" y="449966"/>
                      <a:pt x="430228" y="449966"/>
                    </a:cubicBezTo>
                    <a:cubicBezTo>
                      <a:pt x="425085" y="449966"/>
                      <a:pt x="419848" y="448005"/>
                      <a:pt x="415827" y="443989"/>
                    </a:cubicBezTo>
                    <a:cubicBezTo>
                      <a:pt x="407878" y="436051"/>
                      <a:pt x="407878" y="423257"/>
                      <a:pt x="415827" y="415319"/>
                    </a:cubicBezTo>
                    <a:cubicBezTo>
                      <a:pt x="501582" y="329682"/>
                      <a:pt x="501582" y="190441"/>
                      <a:pt x="415827" y="104805"/>
                    </a:cubicBezTo>
                    <a:cubicBezTo>
                      <a:pt x="330164" y="19261"/>
                      <a:pt x="190636" y="19261"/>
                      <a:pt x="104973" y="104805"/>
                    </a:cubicBezTo>
                    <a:cubicBezTo>
                      <a:pt x="19218" y="190441"/>
                      <a:pt x="19218" y="329682"/>
                      <a:pt x="104973" y="415319"/>
                    </a:cubicBezTo>
                    <a:cubicBezTo>
                      <a:pt x="112922" y="423257"/>
                      <a:pt x="112922" y="436051"/>
                      <a:pt x="104973" y="443989"/>
                    </a:cubicBezTo>
                    <a:cubicBezTo>
                      <a:pt x="97024" y="451927"/>
                      <a:pt x="84119" y="451927"/>
                      <a:pt x="76170" y="443989"/>
                    </a:cubicBezTo>
                    <a:cubicBezTo>
                      <a:pt x="-25390" y="342570"/>
                      <a:pt x="-25390" y="177554"/>
                      <a:pt x="76170" y="76135"/>
                    </a:cubicBezTo>
                    <a:cubicBezTo>
                      <a:pt x="126950" y="25379"/>
                      <a:pt x="193675" y="0"/>
                      <a:pt x="2604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4760106" y="4476741"/>
              <a:ext cx="458230" cy="458230"/>
              <a:chOff x="5052470" y="4476741"/>
              <a:chExt cx="458230" cy="458230"/>
            </a:xfrm>
          </p:grpSpPr>
          <p:sp>
            <p:nvSpPr>
              <p:cNvPr id="29" name="椭圆 28"/>
              <p:cNvSpPr/>
              <p:nvPr/>
            </p:nvSpPr>
            <p:spPr>
              <a:xfrm>
                <a:off x="5052470" y="4476741"/>
                <a:ext cx="458230" cy="458230"/>
              </a:xfrm>
              <a:prstGeom prst="ellipse">
                <a:avLst/>
              </a:pr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20000"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任意多边形: 形状 29"/>
              <p:cNvSpPr/>
              <p:nvPr/>
            </p:nvSpPr>
            <p:spPr bwMode="auto">
              <a:xfrm>
                <a:off x="5148797" y="4573420"/>
                <a:ext cx="265576" cy="264872"/>
              </a:xfrm>
              <a:custGeom>
                <a:avLst/>
                <a:gdLst>
                  <a:gd name="T0" fmla="*/ 200 w 6587"/>
                  <a:gd name="T1" fmla="*/ 2785 h 6580"/>
                  <a:gd name="T2" fmla="*/ 26 w 6587"/>
                  <a:gd name="T3" fmla="*/ 1812 h 6580"/>
                  <a:gd name="T4" fmla="*/ 274 w 6587"/>
                  <a:gd name="T5" fmla="*/ 1277 h 6580"/>
                  <a:gd name="T6" fmla="*/ 762 w 6587"/>
                  <a:gd name="T7" fmla="*/ 795 h 6580"/>
                  <a:gd name="T8" fmla="*/ 1456 w 6587"/>
                  <a:gd name="T9" fmla="*/ 795 h 6580"/>
                  <a:gd name="T10" fmla="*/ 1850 w 6587"/>
                  <a:gd name="T11" fmla="*/ 1188 h 6580"/>
                  <a:gd name="T12" fmla="*/ 2231 w 6587"/>
                  <a:gd name="T13" fmla="*/ 1569 h 6580"/>
                  <a:gd name="T14" fmla="*/ 2232 w 6587"/>
                  <a:gd name="T15" fmla="*/ 2281 h 6580"/>
                  <a:gd name="T16" fmla="*/ 1751 w 6587"/>
                  <a:gd name="T17" fmla="*/ 2760 h 6580"/>
                  <a:gd name="T18" fmla="*/ 1727 w 6587"/>
                  <a:gd name="T19" fmla="*/ 2888 h 6580"/>
                  <a:gd name="T20" fmla="*/ 2162 w 6587"/>
                  <a:gd name="T21" fmla="*/ 3585 h 6580"/>
                  <a:gd name="T22" fmla="*/ 3376 w 6587"/>
                  <a:gd name="T23" fmla="*/ 4691 h 6580"/>
                  <a:gd name="T24" fmla="*/ 3694 w 6587"/>
                  <a:gd name="T25" fmla="*/ 4857 h 6580"/>
                  <a:gd name="T26" fmla="*/ 3828 w 6587"/>
                  <a:gd name="T27" fmla="*/ 4832 h 6580"/>
                  <a:gd name="T28" fmla="*/ 4312 w 6587"/>
                  <a:gd name="T29" fmla="*/ 4345 h 6580"/>
                  <a:gd name="T30" fmla="*/ 5006 w 6587"/>
                  <a:gd name="T31" fmla="*/ 4345 h 6580"/>
                  <a:gd name="T32" fmla="*/ 5786 w 6587"/>
                  <a:gd name="T33" fmla="*/ 5125 h 6580"/>
                  <a:gd name="T34" fmla="*/ 5783 w 6587"/>
                  <a:gd name="T35" fmla="*/ 5832 h 6580"/>
                  <a:gd name="T36" fmla="*/ 5340 w 6587"/>
                  <a:gd name="T37" fmla="*/ 6279 h 6580"/>
                  <a:gd name="T38" fmla="*/ 4591 w 6587"/>
                  <a:gd name="T39" fmla="*/ 6564 h 6580"/>
                  <a:gd name="T40" fmla="*/ 3399 w 6587"/>
                  <a:gd name="T41" fmla="*/ 6217 h 6580"/>
                  <a:gd name="T42" fmla="*/ 1248 w 6587"/>
                  <a:gd name="T43" fmla="*/ 4535 h 6580"/>
                  <a:gd name="T44" fmla="*/ 200 w 6587"/>
                  <a:gd name="T45" fmla="*/ 2785 h 6580"/>
                  <a:gd name="T46" fmla="*/ 6587 w 6587"/>
                  <a:gd name="T47" fmla="*/ 3263 h 6580"/>
                  <a:gd name="T48" fmla="*/ 3324 w 6587"/>
                  <a:gd name="T49" fmla="*/ 0 h 6580"/>
                  <a:gd name="T50" fmla="*/ 3324 w 6587"/>
                  <a:gd name="T51" fmla="*/ 621 h 6580"/>
                  <a:gd name="T52" fmla="*/ 5966 w 6587"/>
                  <a:gd name="T53" fmla="*/ 3263 h 6580"/>
                  <a:gd name="T54" fmla="*/ 6587 w 6587"/>
                  <a:gd name="T55" fmla="*/ 3263 h 6580"/>
                  <a:gd name="T56" fmla="*/ 4800 w 6587"/>
                  <a:gd name="T57" fmla="*/ 3263 h 6580"/>
                  <a:gd name="T58" fmla="*/ 5422 w 6587"/>
                  <a:gd name="T59" fmla="*/ 3263 h 6580"/>
                  <a:gd name="T60" fmla="*/ 3324 w 6587"/>
                  <a:gd name="T61" fmla="*/ 1165 h 6580"/>
                  <a:gd name="T62" fmla="*/ 3324 w 6587"/>
                  <a:gd name="T63" fmla="*/ 1787 h 6580"/>
                  <a:gd name="T64" fmla="*/ 4368 w 6587"/>
                  <a:gd name="T65" fmla="*/ 2219 h 6580"/>
                  <a:gd name="T66" fmla="*/ 4800 w 6587"/>
                  <a:gd name="T67" fmla="*/ 3263 h 6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587" h="6580">
                    <a:moveTo>
                      <a:pt x="200" y="2785"/>
                    </a:moveTo>
                    <a:cubicBezTo>
                      <a:pt x="84" y="2472"/>
                      <a:pt x="0" y="2152"/>
                      <a:pt x="26" y="1812"/>
                    </a:cubicBezTo>
                    <a:cubicBezTo>
                      <a:pt x="42" y="1603"/>
                      <a:pt x="120" y="1424"/>
                      <a:pt x="274" y="1277"/>
                    </a:cubicBezTo>
                    <a:cubicBezTo>
                      <a:pt x="440" y="1120"/>
                      <a:pt x="598" y="955"/>
                      <a:pt x="762" y="795"/>
                    </a:cubicBezTo>
                    <a:cubicBezTo>
                      <a:pt x="975" y="584"/>
                      <a:pt x="1243" y="585"/>
                      <a:pt x="1456" y="795"/>
                    </a:cubicBezTo>
                    <a:cubicBezTo>
                      <a:pt x="1588" y="924"/>
                      <a:pt x="1719" y="1056"/>
                      <a:pt x="1850" y="1188"/>
                    </a:cubicBezTo>
                    <a:cubicBezTo>
                      <a:pt x="1976" y="1315"/>
                      <a:pt x="2104" y="1441"/>
                      <a:pt x="2231" y="1569"/>
                    </a:cubicBezTo>
                    <a:cubicBezTo>
                      <a:pt x="2454" y="1795"/>
                      <a:pt x="2455" y="2057"/>
                      <a:pt x="2232" y="2281"/>
                    </a:cubicBezTo>
                    <a:cubicBezTo>
                      <a:pt x="2072" y="2441"/>
                      <a:pt x="1914" y="2603"/>
                      <a:pt x="1751" y="2760"/>
                    </a:cubicBezTo>
                    <a:cubicBezTo>
                      <a:pt x="1708" y="2801"/>
                      <a:pt x="1704" y="2836"/>
                      <a:pt x="1727" y="2888"/>
                    </a:cubicBezTo>
                    <a:cubicBezTo>
                      <a:pt x="1834" y="3144"/>
                      <a:pt x="1988" y="3372"/>
                      <a:pt x="2162" y="3585"/>
                    </a:cubicBezTo>
                    <a:cubicBezTo>
                      <a:pt x="2511" y="4015"/>
                      <a:pt x="2906" y="4396"/>
                      <a:pt x="3376" y="4691"/>
                    </a:cubicBezTo>
                    <a:cubicBezTo>
                      <a:pt x="3478" y="4753"/>
                      <a:pt x="3588" y="4800"/>
                      <a:pt x="3694" y="4857"/>
                    </a:cubicBezTo>
                    <a:cubicBezTo>
                      <a:pt x="3748" y="4887"/>
                      <a:pt x="3784" y="4877"/>
                      <a:pt x="3828" y="4832"/>
                    </a:cubicBezTo>
                    <a:cubicBezTo>
                      <a:pt x="3987" y="4668"/>
                      <a:pt x="4150" y="4507"/>
                      <a:pt x="4312" y="4345"/>
                    </a:cubicBezTo>
                    <a:cubicBezTo>
                      <a:pt x="4526" y="4135"/>
                      <a:pt x="4792" y="4133"/>
                      <a:pt x="5006" y="4345"/>
                    </a:cubicBezTo>
                    <a:cubicBezTo>
                      <a:pt x="5267" y="4604"/>
                      <a:pt x="5527" y="4864"/>
                      <a:pt x="5786" y="5125"/>
                    </a:cubicBezTo>
                    <a:cubicBezTo>
                      <a:pt x="6003" y="5344"/>
                      <a:pt x="6002" y="5612"/>
                      <a:pt x="5783" y="5832"/>
                    </a:cubicBezTo>
                    <a:cubicBezTo>
                      <a:pt x="5635" y="5981"/>
                      <a:pt x="5479" y="6123"/>
                      <a:pt x="5340" y="6279"/>
                    </a:cubicBezTo>
                    <a:cubicBezTo>
                      <a:pt x="5138" y="6505"/>
                      <a:pt x="4882" y="6580"/>
                      <a:pt x="4591" y="6564"/>
                    </a:cubicBezTo>
                    <a:cubicBezTo>
                      <a:pt x="4167" y="6541"/>
                      <a:pt x="3776" y="6400"/>
                      <a:pt x="3399" y="6217"/>
                    </a:cubicBezTo>
                    <a:cubicBezTo>
                      <a:pt x="2562" y="5811"/>
                      <a:pt x="1847" y="5247"/>
                      <a:pt x="1248" y="4535"/>
                    </a:cubicBezTo>
                    <a:cubicBezTo>
                      <a:pt x="806" y="4007"/>
                      <a:pt x="440" y="3433"/>
                      <a:pt x="200" y="2785"/>
                    </a:cubicBezTo>
                    <a:close/>
                    <a:moveTo>
                      <a:pt x="6587" y="3263"/>
                    </a:moveTo>
                    <a:cubicBezTo>
                      <a:pt x="6587" y="1464"/>
                      <a:pt x="5123" y="0"/>
                      <a:pt x="3324" y="0"/>
                    </a:cubicBezTo>
                    <a:lnTo>
                      <a:pt x="3324" y="621"/>
                    </a:lnTo>
                    <a:cubicBezTo>
                      <a:pt x="4780" y="621"/>
                      <a:pt x="5966" y="1807"/>
                      <a:pt x="5966" y="3263"/>
                    </a:cubicBezTo>
                    <a:lnTo>
                      <a:pt x="6587" y="3263"/>
                    </a:lnTo>
                    <a:close/>
                    <a:moveTo>
                      <a:pt x="4800" y="3263"/>
                    </a:moveTo>
                    <a:lnTo>
                      <a:pt x="5422" y="3263"/>
                    </a:lnTo>
                    <a:cubicBezTo>
                      <a:pt x="5422" y="2107"/>
                      <a:pt x="4480" y="1165"/>
                      <a:pt x="3324" y="1165"/>
                    </a:cubicBezTo>
                    <a:lnTo>
                      <a:pt x="3324" y="1787"/>
                    </a:lnTo>
                    <a:cubicBezTo>
                      <a:pt x="3719" y="1787"/>
                      <a:pt x="4090" y="1940"/>
                      <a:pt x="4368" y="2219"/>
                    </a:cubicBezTo>
                    <a:cubicBezTo>
                      <a:pt x="4647" y="2497"/>
                      <a:pt x="4800" y="2868"/>
                      <a:pt x="4800" y="326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</p:grpSp>
        <p:grpSp>
          <p:nvGrpSpPr>
            <p:cNvPr id="20" name="组合 19"/>
            <p:cNvGrpSpPr/>
            <p:nvPr/>
          </p:nvGrpSpPr>
          <p:grpSpPr>
            <a:xfrm>
              <a:off x="6960963" y="2325985"/>
              <a:ext cx="458230" cy="458230"/>
              <a:chOff x="6623774" y="2325985"/>
              <a:chExt cx="458230" cy="458230"/>
            </a:xfrm>
          </p:grpSpPr>
          <p:sp>
            <p:nvSpPr>
              <p:cNvPr id="27" name="椭圆 26"/>
              <p:cNvSpPr/>
              <p:nvPr/>
            </p:nvSpPr>
            <p:spPr>
              <a:xfrm>
                <a:off x="6623774" y="2325985"/>
                <a:ext cx="458230" cy="458230"/>
              </a:xfrm>
              <a:prstGeom prst="ellipse">
                <a:avLst/>
              </a:prstGeom>
              <a:solidFill>
                <a:schemeClr val="accent2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20000"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任意多边形: 形状 27"/>
              <p:cNvSpPr/>
              <p:nvPr/>
            </p:nvSpPr>
            <p:spPr bwMode="auto">
              <a:xfrm>
                <a:off x="6708839" y="2430155"/>
                <a:ext cx="288100" cy="249890"/>
              </a:xfrm>
              <a:custGeom>
                <a:avLst/>
                <a:gdLst>
                  <a:gd name="connsiteX0" fmla="*/ 303820 w 607639"/>
                  <a:gd name="connsiteY0" fmla="*/ 112552 h 527053"/>
                  <a:gd name="connsiteX1" fmla="*/ 347324 w 607639"/>
                  <a:gd name="connsiteY1" fmla="*/ 155985 h 527053"/>
                  <a:gd name="connsiteX2" fmla="*/ 303820 w 607639"/>
                  <a:gd name="connsiteY2" fmla="*/ 199418 h 527053"/>
                  <a:gd name="connsiteX3" fmla="*/ 260316 w 607639"/>
                  <a:gd name="connsiteY3" fmla="*/ 155985 h 527053"/>
                  <a:gd name="connsiteX4" fmla="*/ 303820 w 607639"/>
                  <a:gd name="connsiteY4" fmla="*/ 112552 h 527053"/>
                  <a:gd name="connsiteX5" fmla="*/ 303775 w 607639"/>
                  <a:gd name="connsiteY5" fmla="*/ 72970 h 527053"/>
                  <a:gd name="connsiteX6" fmla="*/ 220644 w 607639"/>
                  <a:gd name="connsiteY6" fmla="*/ 155983 h 527053"/>
                  <a:gd name="connsiteX7" fmla="*/ 303775 w 607639"/>
                  <a:gd name="connsiteY7" fmla="*/ 238996 h 527053"/>
                  <a:gd name="connsiteX8" fmla="*/ 386906 w 607639"/>
                  <a:gd name="connsiteY8" fmla="*/ 155983 h 527053"/>
                  <a:gd name="connsiteX9" fmla="*/ 303775 w 607639"/>
                  <a:gd name="connsiteY9" fmla="*/ 72970 h 527053"/>
                  <a:gd name="connsiteX10" fmla="*/ 303775 w 607639"/>
                  <a:gd name="connsiteY10" fmla="*/ 0 h 527053"/>
                  <a:gd name="connsiteX11" fmla="*/ 459979 w 607639"/>
                  <a:gd name="connsiteY11" fmla="*/ 155983 h 527053"/>
                  <a:gd name="connsiteX12" fmla="*/ 426246 w 607639"/>
                  <a:gd name="connsiteY12" fmla="*/ 252594 h 527053"/>
                  <a:gd name="connsiteX13" fmla="*/ 500922 w 607639"/>
                  <a:gd name="connsiteY13" fmla="*/ 294812 h 527053"/>
                  <a:gd name="connsiteX14" fmla="*/ 517388 w 607639"/>
                  <a:gd name="connsiteY14" fmla="*/ 292057 h 527053"/>
                  <a:gd name="connsiteX15" fmla="*/ 567943 w 607639"/>
                  <a:gd name="connsiteY15" fmla="*/ 342451 h 527053"/>
                  <a:gd name="connsiteX16" fmla="*/ 537236 w 607639"/>
                  <a:gd name="connsiteY16" fmla="*/ 388935 h 527053"/>
                  <a:gd name="connsiteX17" fmla="*/ 537236 w 607639"/>
                  <a:gd name="connsiteY17" fmla="*/ 419420 h 527053"/>
                  <a:gd name="connsiteX18" fmla="*/ 607639 w 607639"/>
                  <a:gd name="connsiteY18" fmla="*/ 507322 h 527053"/>
                  <a:gd name="connsiteX19" fmla="*/ 607639 w 607639"/>
                  <a:gd name="connsiteY19" fmla="*/ 527053 h 527053"/>
                  <a:gd name="connsiteX20" fmla="*/ 427136 w 607639"/>
                  <a:gd name="connsiteY20" fmla="*/ 527053 h 527053"/>
                  <a:gd name="connsiteX21" fmla="*/ 427136 w 607639"/>
                  <a:gd name="connsiteY21" fmla="*/ 507322 h 527053"/>
                  <a:gd name="connsiteX22" fmla="*/ 497540 w 607639"/>
                  <a:gd name="connsiteY22" fmla="*/ 419420 h 527053"/>
                  <a:gd name="connsiteX23" fmla="*/ 497540 w 607639"/>
                  <a:gd name="connsiteY23" fmla="*/ 388935 h 527053"/>
                  <a:gd name="connsiteX24" fmla="*/ 466833 w 607639"/>
                  <a:gd name="connsiteY24" fmla="*/ 342451 h 527053"/>
                  <a:gd name="connsiteX25" fmla="*/ 470660 w 607639"/>
                  <a:gd name="connsiteY25" fmla="*/ 323253 h 527053"/>
                  <a:gd name="connsiteX26" fmla="*/ 396608 w 607639"/>
                  <a:gd name="connsiteY26" fmla="*/ 281302 h 527053"/>
                  <a:gd name="connsiteX27" fmla="*/ 323623 w 607639"/>
                  <a:gd name="connsiteY27" fmla="*/ 310632 h 527053"/>
                  <a:gd name="connsiteX28" fmla="*/ 323623 w 607639"/>
                  <a:gd name="connsiteY28" fmla="*/ 419420 h 527053"/>
                  <a:gd name="connsiteX29" fmla="*/ 394026 w 607639"/>
                  <a:gd name="connsiteY29" fmla="*/ 507322 h 527053"/>
                  <a:gd name="connsiteX30" fmla="*/ 394026 w 607639"/>
                  <a:gd name="connsiteY30" fmla="*/ 527053 h 527053"/>
                  <a:gd name="connsiteX31" fmla="*/ 213613 w 607639"/>
                  <a:gd name="connsiteY31" fmla="*/ 527053 h 527053"/>
                  <a:gd name="connsiteX32" fmla="*/ 213613 w 607639"/>
                  <a:gd name="connsiteY32" fmla="*/ 507322 h 527053"/>
                  <a:gd name="connsiteX33" fmla="*/ 284016 w 607639"/>
                  <a:gd name="connsiteY33" fmla="*/ 419420 h 527053"/>
                  <a:gd name="connsiteX34" fmla="*/ 284016 w 607639"/>
                  <a:gd name="connsiteY34" fmla="*/ 310632 h 527053"/>
                  <a:gd name="connsiteX35" fmla="*/ 211032 w 607639"/>
                  <a:gd name="connsiteY35" fmla="*/ 281302 h 527053"/>
                  <a:gd name="connsiteX36" fmla="*/ 136890 w 607639"/>
                  <a:gd name="connsiteY36" fmla="*/ 323253 h 527053"/>
                  <a:gd name="connsiteX37" fmla="*/ 140717 w 607639"/>
                  <a:gd name="connsiteY37" fmla="*/ 342451 h 527053"/>
                  <a:gd name="connsiteX38" fmla="*/ 110011 w 607639"/>
                  <a:gd name="connsiteY38" fmla="*/ 388935 h 527053"/>
                  <a:gd name="connsiteX39" fmla="*/ 110011 w 607639"/>
                  <a:gd name="connsiteY39" fmla="*/ 419420 h 527053"/>
                  <a:gd name="connsiteX40" fmla="*/ 180414 w 607639"/>
                  <a:gd name="connsiteY40" fmla="*/ 507322 h 527053"/>
                  <a:gd name="connsiteX41" fmla="*/ 180414 w 607639"/>
                  <a:gd name="connsiteY41" fmla="*/ 527053 h 527053"/>
                  <a:gd name="connsiteX42" fmla="*/ 0 w 607639"/>
                  <a:gd name="connsiteY42" fmla="*/ 527053 h 527053"/>
                  <a:gd name="connsiteX43" fmla="*/ 0 w 607639"/>
                  <a:gd name="connsiteY43" fmla="*/ 507322 h 527053"/>
                  <a:gd name="connsiteX44" fmla="*/ 70403 w 607639"/>
                  <a:gd name="connsiteY44" fmla="*/ 419420 h 527053"/>
                  <a:gd name="connsiteX45" fmla="*/ 70403 w 607639"/>
                  <a:gd name="connsiteY45" fmla="*/ 388935 h 527053"/>
                  <a:gd name="connsiteX46" fmla="*/ 39696 w 607639"/>
                  <a:gd name="connsiteY46" fmla="*/ 342451 h 527053"/>
                  <a:gd name="connsiteX47" fmla="*/ 90251 w 607639"/>
                  <a:gd name="connsiteY47" fmla="*/ 292057 h 527053"/>
                  <a:gd name="connsiteX48" fmla="*/ 106717 w 607639"/>
                  <a:gd name="connsiteY48" fmla="*/ 294812 h 527053"/>
                  <a:gd name="connsiteX49" fmla="*/ 181304 w 607639"/>
                  <a:gd name="connsiteY49" fmla="*/ 252594 h 527053"/>
                  <a:gd name="connsiteX50" fmla="*/ 147660 w 607639"/>
                  <a:gd name="connsiteY50" fmla="*/ 155983 h 527053"/>
                  <a:gd name="connsiteX51" fmla="*/ 303775 w 607639"/>
                  <a:gd name="connsiteY51" fmla="*/ 0 h 527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607639" h="527053">
                    <a:moveTo>
                      <a:pt x="303820" y="112552"/>
                    </a:moveTo>
                    <a:cubicBezTo>
                      <a:pt x="327847" y="112552"/>
                      <a:pt x="347324" y="131998"/>
                      <a:pt x="347324" y="155985"/>
                    </a:cubicBezTo>
                    <a:cubicBezTo>
                      <a:pt x="347324" y="179972"/>
                      <a:pt x="327847" y="199418"/>
                      <a:pt x="303820" y="199418"/>
                    </a:cubicBezTo>
                    <a:cubicBezTo>
                      <a:pt x="279793" y="199418"/>
                      <a:pt x="260316" y="179972"/>
                      <a:pt x="260316" y="155985"/>
                    </a:cubicBezTo>
                    <a:cubicBezTo>
                      <a:pt x="260316" y="131998"/>
                      <a:pt x="279793" y="112552"/>
                      <a:pt x="303820" y="112552"/>
                    </a:cubicBezTo>
                    <a:close/>
                    <a:moveTo>
                      <a:pt x="303775" y="72970"/>
                    </a:moveTo>
                    <a:cubicBezTo>
                      <a:pt x="257937" y="72970"/>
                      <a:pt x="220644" y="110210"/>
                      <a:pt x="220644" y="155983"/>
                    </a:cubicBezTo>
                    <a:cubicBezTo>
                      <a:pt x="220644" y="201756"/>
                      <a:pt x="257937" y="238996"/>
                      <a:pt x="303775" y="238996"/>
                    </a:cubicBezTo>
                    <a:cubicBezTo>
                      <a:pt x="349613" y="238996"/>
                      <a:pt x="386906" y="201756"/>
                      <a:pt x="386906" y="155983"/>
                    </a:cubicBezTo>
                    <a:cubicBezTo>
                      <a:pt x="386906" y="110210"/>
                      <a:pt x="349613" y="72970"/>
                      <a:pt x="303775" y="72970"/>
                    </a:cubicBezTo>
                    <a:close/>
                    <a:moveTo>
                      <a:pt x="303775" y="0"/>
                    </a:moveTo>
                    <a:cubicBezTo>
                      <a:pt x="389932" y="0"/>
                      <a:pt x="459979" y="69948"/>
                      <a:pt x="459979" y="155983"/>
                    </a:cubicBezTo>
                    <a:cubicBezTo>
                      <a:pt x="459979" y="192423"/>
                      <a:pt x="447341" y="226020"/>
                      <a:pt x="426246" y="252594"/>
                    </a:cubicBezTo>
                    <a:lnTo>
                      <a:pt x="500922" y="294812"/>
                    </a:lnTo>
                    <a:cubicBezTo>
                      <a:pt x="506084" y="293034"/>
                      <a:pt x="511602" y="292057"/>
                      <a:pt x="517388" y="292057"/>
                    </a:cubicBezTo>
                    <a:cubicBezTo>
                      <a:pt x="545246" y="292057"/>
                      <a:pt x="567943" y="314632"/>
                      <a:pt x="567943" y="342451"/>
                    </a:cubicBezTo>
                    <a:cubicBezTo>
                      <a:pt x="567943" y="363249"/>
                      <a:pt x="555215" y="381202"/>
                      <a:pt x="537236" y="388935"/>
                    </a:cubicBezTo>
                    <a:lnTo>
                      <a:pt x="537236" y="419420"/>
                    </a:lnTo>
                    <a:cubicBezTo>
                      <a:pt x="577466" y="428486"/>
                      <a:pt x="607639" y="464393"/>
                      <a:pt x="607639" y="507322"/>
                    </a:cubicBezTo>
                    <a:lnTo>
                      <a:pt x="607639" y="527053"/>
                    </a:lnTo>
                    <a:lnTo>
                      <a:pt x="427136" y="527053"/>
                    </a:lnTo>
                    <a:lnTo>
                      <a:pt x="427136" y="507322"/>
                    </a:lnTo>
                    <a:cubicBezTo>
                      <a:pt x="427136" y="464393"/>
                      <a:pt x="457309" y="428486"/>
                      <a:pt x="497540" y="419420"/>
                    </a:cubicBezTo>
                    <a:lnTo>
                      <a:pt x="497540" y="388935"/>
                    </a:lnTo>
                    <a:cubicBezTo>
                      <a:pt x="479560" y="381202"/>
                      <a:pt x="466833" y="363249"/>
                      <a:pt x="466833" y="342451"/>
                    </a:cubicBezTo>
                    <a:cubicBezTo>
                      <a:pt x="466833" y="335696"/>
                      <a:pt x="468257" y="329208"/>
                      <a:pt x="470660" y="323253"/>
                    </a:cubicBezTo>
                    <a:lnTo>
                      <a:pt x="396608" y="281302"/>
                    </a:lnTo>
                    <a:cubicBezTo>
                      <a:pt x="375691" y="296767"/>
                      <a:pt x="350681" y="307166"/>
                      <a:pt x="323623" y="310632"/>
                    </a:cubicBezTo>
                    <a:lnTo>
                      <a:pt x="323623" y="419420"/>
                    </a:lnTo>
                    <a:cubicBezTo>
                      <a:pt x="363854" y="428486"/>
                      <a:pt x="394026" y="464393"/>
                      <a:pt x="394026" y="507322"/>
                    </a:cubicBezTo>
                    <a:lnTo>
                      <a:pt x="394026" y="527053"/>
                    </a:lnTo>
                    <a:lnTo>
                      <a:pt x="213613" y="527053"/>
                    </a:lnTo>
                    <a:lnTo>
                      <a:pt x="213613" y="507322"/>
                    </a:lnTo>
                    <a:cubicBezTo>
                      <a:pt x="213613" y="464393"/>
                      <a:pt x="243786" y="428486"/>
                      <a:pt x="284016" y="419420"/>
                    </a:cubicBezTo>
                    <a:lnTo>
                      <a:pt x="284016" y="310632"/>
                    </a:lnTo>
                    <a:cubicBezTo>
                      <a:pt x="256869" y="307166"/>
                      <a:pt x="231948" y="296767"/>
                      <a:pt x="211032" y="281302"/>
                    </a:cubicBezTo>
                    <a:lnTo>
                      <a:pt x="136890" y="323253"/>
                    </a:lnTo>
                    <a:cubicBezTo>
                      <a:pt x="139382" y="329208"/>
                      <a:pt x="140717" y="335696"/>
                      <a:pt x="140717" y="342451"/>
                    </a:cubicBezTo>
                    <a:cubicBezTo>
                      <a:pt x="140717" y="363249"/>
                      <a:pt x="128079" y="381202"/>
                      <a:pt x="110011" y="388935"/>
                    </a:cubicBezTo>
                    <a:lnTo>
                      <a:pt x="110011" y="419420"/>
                    </a:lnTo>
                    <a:cubicBezTo>
                      <a:pt x="150241" y="428486"/>
                      <a:pt x="180414" y="464393"/>
                      <a:pt x="180414" y="507322"/>
                    </a:cubicBezTo>
                    <a:lnTo>
                      <a:pt x="180414" y="527053"/>
                    </a:lnTo>
                    <a:lnTo>
                      <a:pt x="0" y="527053"/>
                    </a:lnTo>
                    <a:lnTo>
                      <a:pt x="0" y="507322"/>
                    </a:lnTo>
                    <a:cubicBezTo>
                      <a:pt x="0" y="464393"/>
                      <a:pt x="30173" y="428486"/>
                      <a:pt x="70403" y="419420"/>
                    </a:cubicBezTo>
                    <a:lnTo>
                      <a:pt x="70403" y="388935"/>
                    </a:lnTo>
                    <a:cubicBezTo>
                      <a:pt x="52335" y="381202"/>
                      <a:pt x="39696" y="363249"/>
                      <a:pt x="39696" y="342451"/>
                    </a:cubicBezTo>
                    <a:cubicBezTo>
                      <a:pt x="39696" y="314632"/>
                      <a:pt x="62393" y="292057"/>
                      <a:pt x="90251" y="292057"/>
                    </a:cubicBezTo>
                    <a:cubicBezTo>
                      <a:pt x="96037" y="292057"/>
                      <a:pt x="101555" y="293034"/>
                      <a:pt x="106717" y="294812"/>
                    </a:cubicBezTo>
                    <a:lnTo>
                      <a:pt x="181304" y="252594"/>
                    </a:lnTo>
                    <a:cubicBezTo>
                      <a:pt x="160299" y="226020"/>
                      <a:pt x="147660" y="192423"/>
                      <a:pt x="147660" y="155983"/>
                    </a:cubicBezTo>
                    <a:cubicBezTo>
                      <a:pt x="147660" y="69948"/>
                      <a:pt x="217707" y="0"/>
                      <a:pt x="30377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</p:grpSp>
        <p:grpSp>
          <p:nvGrpSpPr>
            <p:cNvPr id="21" name="组合 20"/>
            <p:cNvGrpSpPr/>
            <p:nvPr/>
          </p:nvGrpSpPr>
          <p:grpSpPr>
            <a:xfrm>
              <a:off x="6960963" y="3401361"/>
              <a:ext cx="458230" cy="458230"/>
              <a:chOff x="6942526" y="3401361"/>
              <a:chExt cx="458230" cy="458230"/>
            </a:xfrm>
          </p:grpSpPr>
          <p:sp>
            <p:nvSpPr>
              <p:cNvPr id="25" name="椭圆 24"/>
              <p:cNvSpPr/>
              <p:nvPr/>
            </p:nvSpPr>
            <p:spPr>
              <a:xfrm>
                <a:off x="6942526" y="3401361"/>
                <a:ext cx="458230" cy="458230"/>
              </a:xfrm>
              <a:prstGeom prst="ellipse">
                <a:avLst/>
              </a:pr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20000"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任意多边形: 形状 25"/>
              <p:cNvSpPr/>
              <p:nvPr/>
            </p:nvSpPr>
            <p:spPr bwMode="auto">
              <a:xfrm>
                <a:off x="7038625" y="3486425"/>
                <a:ext cx="266032" cy="288102"/>
              </a:xfrm>
              <a:custGeom>
                <a:avLst/>
                <a:gdLst>
                  <a:gd name="connsiteX0" fmla="*/ 256262 w 558289"/>
                  <a:gd name="connsiteY0" fmla="*/ 553912 h 604605"/>
                  <a:gd name="connsiteX1" fmla="*/ 247595 w 558289"/>
                  <a:gd name="connsiteY1" fmla="*/ 557674 h 604605"/>
                  <a:gd name="connsiteX2" fmla="*/ 245899 w 558289"/>
                  <a:gd name="connsiteY2" fmla="*/ 559931 h 604605"/>
                  <a:gd name="connsiteX3" fmla="*/ 244015 w 558289"/>
                  <a:gd name="connsiteY3" fmla="*/ 566609 h 604605"/>
                  <a:gd name="connsiteX4" fmla="*/ 256262 w 558289"/>
                  <a:gd name="connsiteY4" fmla="*/ 579306 h 604605"/>
                  <a:gd name="connsiteX5" fmla="*/ 279156 w 558289"/>
                  <a:gd name="connsiteY5" fmla="*/ 579306 h 604605"/>
                  <a:gd name="connsiteX6" fmla="*/ 302048 w 558289"/>
                  <a:gd name="connsiteY6" fmla="*/ 579306 h 604605"/>
                  <a:gd name="connsiteX7" fmla="*/ 314296 w 558289"/>
                  <a:gd name="connsiteY7" fmla="*/ 566609 h 604605"/>
                  <a:gd name="connsiteX8" fmla="*/ 312412 w 558289"/>
                  <a:gd name="connsiteY8" fmla="*/ 559931 h 604605"/>
                  <a:gd name="connsiteX9" fmla="*/ 310716 w 558289"/>
                  <a:gd name="connsiteY9" fmla="*/ 557674 h 604605"/>
                  <a:gd name="connsiteX10" fmla="*/ 302048 w 558289"/>
                  <a:gd name="connsiteY10" fmla="*/ 553912 h 604605"/>
                  <a:gd name="connsiteX11" fmla="*/ 279156 w 558289"/>
                  <a:gd name="connsiteY11" fmla="*/ 553912 h 604605"/>
                  <a:gd name="connsiteX12" fmla="*/ 71517 w 558289"/>
                  <a:gd name="connsiteY12" fmla="*/ 362989 h 604605"/>
                  <a:gd name="connsiteX13" fmla="*/ 115230 w 558289"/>
                  <a:gd name="connsiteY13" fmla="*/ 362989 h 604605"/>
                  <a:gd name="connsiteX14" fmla="*/ 115230 w 558289"/>
                  <a:gd name="connsiteY14" fmla="*/ 528706 h 604605"/>
                  <a:gd name="connsiteX15" fmla="*/ 116832 w 558289"/>
                  <a:gd name="connsiteY15" fmla="*/ 528895 h 604605"/>
                  <a:gd name="connsiteX16" fmla="*/ 279156 w 558289"/>
                  <a:gd name="connsiteY16" fmla="*/ 528895 h 604605"/>
                  <a:gd name="connsiteX17" fmla="*/ 441573 w 558289"/>
                  <a:gd name="connsiteY17" fmla="*/ 528895 h 604605"/>
                  <a:gd name="connsiteX18" fmla="*/ 443175 w 558289"/>
                  <a:gd name="connsiteY18" fmla="*/ 528706 h 604605"/>
                  <a:gd name="connsiteX19" fmla="*/ 443175 w 558289"/>
                  <a:gd name="connsiteY19" fmla="*/ 362989 h 604605"/>
                  <a:gd name="connsiteX20" fmla="*/ 486511 w 558289"/>
                  <a:gd name="connsiteY20" fmla="*/ 362989 h 604605"/>
                  <a:gd name="connsiteX21" fmla="*/ 486511 w 558289"/>
                  <a:gd name="connsiteY21" fmla="*/ 496541 h 604605"/>
                  <a:gd name="connsiteX22" fmla="*/ 486511 w 558289"/>
                  <a:gd name="connsiteY22" fmla="*/ 555981 h 604605"/>
                  <a:gd name="connsiteX23" fmla="*/ 439406 w 558289"/>
                  <a:gd name="connsiteY23" fmla="*/ 604605 h 604605"/>
                  <a:gd name="connsiteX24" fmla="*/ 356502 w 558289"/>
                  <a:gd name="connsiteY24" fmla="*/ 604605 h 604605"/>
                  <a:gd name="connsiteX25" fmla="*/ 279061 w 558289"/>
                  <a:gd name="connsiteY25" fmla="*/ 604605 h 604605"/>
                  <a:gd name="connsiteX26" fmla="*/ 201527 w 558289"/>
                  <a:gd name="connsiteY26" fmla="*/ 604605 h 604605"/>
                  <a:gd name="connsiteX27" fmla="*/ 118622 w 558289"/>
                  <a:gd name="connsiteY27" fmla="*/ 604605 h 604605"/>
                  <a:gd name="connsiteX28" fmla="*/ 71517 w 558289"/>
                  <a:gd name="connsiteY28" fmla="*/ 555981 h 604605"/>
                  <a:gd name="connsiteX29" fmla="*/ 71517 w 558289"/>
                  <a:gd name="connsiteY29" fmla="*/ 496541 h 604605"/>
                  <a:gd name="connsiteX30" fmla="*/ 5878 w 558289"/>
                  <a:gd name="connsiteY30" fmla="*/ 267867 h 604605"/>
                  <a:gd name="connsiteX31" fmla="*/ 124312 w 558289"/>
                  <a:gd name="connsiteY31" fmla="*/ 267867 h 604605"/>
                  <a:gd name="connsiteX32" fmla="*/ 131379 w 558289"/>
                  <a:gd name="connsiteY32" fmla="*/ 300504 h 604605"/>
                  <a:gd name="connsiteX33" fmla="*/ 131850 w 558289"/>
                  <a:gd name="connsiteY33" fmla="*/ 301257 h 604605"/>
                  <a:gd name="connsiteX34" fmla="*/ 131190 w 558289"/>
                  <a:gd name="connsiteY34" fmla="*/ 302009 h 604605"/>
                  <a:gd name="connsiteX35" fmla="*/ 123936 w 558289"/>
                  <a:gd name="connsiteY35" fmla="*/ 336433 h 604605"/>
                  <a:gd name="connsiteX36" fmla="*/ 123936 w 558289"/>
                  <a:gd name="connsiteY36" fmla="*/ 336809 h 604605"/>
                  <a:gd name="connsiteX37" fmla="*/ 6349 w 558289"/>
                  <a:gd name="connsiteY37" fmla="*/ 336809 h 604605"/>
                  <a:gd name="connsiteX38" fmla="*/ 2298 w 558289"/>
                  <a:gd name="connsiteY38" fmla="*/ 326651 h 604605"/>
                  <a:gd name="connsiteX39" fmla="*/ 26701 w 558289"/>
                  <a:gd name="connsiteY39" fmla="*/ 303232 h 604605"/>
                  <a:gd name="connsiteX40" fmla="*/ 1733 w 558289"/>
                  <a:gd name="connsiteY40" fmla="*/ 277931 h 604605"/>
                  <a:gd name="connsiteX41" fmla="*/ 5878 w 558289"/>
                  <a:gd name="connsiteY41" fmla="*/ 267867 h 604605"/>
                  <a:gd name="connsiteX42" fmla="*/ 434280 w 558289"/>
                  <a:gd name="connsiteY42" fmla="*/ 267796 h 604605"/>
                  <a:gd name="connsiteX43" fmla="*/ 552432 w 558289"/>
                  <a:gd name="connsiteY43" fmla="*/ 267796 h 604605"/>
                  <a:gd name="connsiteX44" fmla="*/ 556577 w 558289"/>
                  <a:gd name="connsiteY44" fmla="*/ 277766 h 604605"/>
                  <a:gd name="connsiteX45" fmla="*/ 531609 w 558289"/>
                  <a:gd name="connsiteY45" fmla="*/ 303255 h 604605"/>
                  <a:gd name="connsiteX46" fmla="*/ 556106 w 558289"/>
                  <a:gd name="connsiteY46" fmla="*/ 326580 h 604605"/>
                  <a:gd name="connsiteX47" fmla="*/ 552055 w 558289"/>
                  <a:gd name="connsiteY47" fmla="*/ 336738 h 604605"/>
                  <a:gd name="connsiteX48" fmla="*/ 434468 w 558289"/>
                  <a:gd name="connsiteY48" fmla="*/ 336738 h 604605"/>
                  <a:gd name="connsiteX49" fmla="*/ 434656 w 558289"/>
                  <a:gd name="connsiteY49" fmla="*/ 336362 h 604605"/>
                  <a:gd name="connsiteX50" fmla="*/ 427307 w 558289"/>
                  <a:gd name="connsiteY50" fmla="*/ 301844 h 604605"/>
                  <a:gd name="connsiteX51" fmla="*/ 426742 w 558289"/>
                  <a:gd name="connsiteY51" fmla="*/ 301092 h 604605"/>
                  <a:gd name="connsiteX52" fmla="*/ 427213 w 558289"/>
                  <a:gd name="connsiteY52" fmla="*/ 300339 h 604605"/>
                  <a:gd name="connsiteX53" fmla="*/ 434280 w 558289"/>
                  <a:gd name="connsiteY53" fmla="*/ 267796 h 604605"/>
                  <a:gd name="connsiteX54" fmla="*/ 274633 w 558289"/>
                  <a:gd name="connsiteY54" fmla="*/ 225653 h 604605"/>
                  <a:gd name="connsiteX55" fmla="*/ 269262 w 558289"/>
                  <a:gd name="connsiteY55" fmla="*/ 231015 h 604605"/>
                  <a:gd name="connsiteX56" fmla="*/ 269262 w 558289"/>
                  <a:gd name="connsiteY56" fmla="*/ 237129 h 604605"/>
                  <a:gd name="connsiteX57" fmla="*/ 263421 w 558289"/>
                  <a:gd name="connsiteY57" fmla="*/ 245218 h 604605"/>
                  <a:gd name="connsiteX58" fmla="*/ 239963 w 558289"/>
                  <a:gd name="connsiteY58" fmla="*/ 274942 h 604605"/>
                  <a:gd name="connsiteX59" fmla="*/ 257298 w 558289"/>
                  <a:gd name="connsiteY59" fmla="*/ 304102 h 604605"/>
                  <a:gd name="connsiteX60" fmla="*/ 278872 w 558289"/>
                  <a:gd name="connsiteY60" fmla="*/ 313790 h 604605"/>
                  <a:gd name="connsiteX61" fmla="*/ 286786 w 558289"/>
                  <a:gd name="connsiteY61" fmla="*/ 318400 h 604605"/>
                  <a:gd name="connsiteX62" fmla="*/ 284336 w 558289"/>
                  <a:gd name="connsiteY62" fmla="*/ 337212 h 604605"/>
                  <a:gd name="connsiteX63" fmla="*/ 270487 w 558289"/>
                  <a:gd name="connsiteY63" fmla="*/ 338999 h 604605"/>
                  <a:gd name="connsiteX64" fmla="*/ 249384 w 558289"/>
                  <a:gd name="connsiteY64" fmla="*/ 332697 h 604605"/>
                  <a:gd name="connsiteX65" fmla="*/ 242977 w 558289"/>
                  <a:gd name="connsiteY65" fmla="*/ 335519 h 604605"/>
                  <a:gd name="connsiteX66" fmla="*/ 239868 w 558289"/>
                  <a:gd name="connsiteY66" fmla="*/ 346524 h 604605"/>
                  <a:gd name="connsiteX67" fmla="*/ 243731 w 558289"/>
                  <a:gd name="connsiteY67" fmla="*/ 354896 h 604605"/>
                  <a:gd name="connsiteX68" fmla="*/ 262856 w 558289"/>
                  <a:gd name="connsiteY68" fmla="*/ 360352 h 604605"/>
                  <a:gd name="connsiteX69" fmla="*/ 268226 w 558289"/>
                  <a:gd name="connsiteY69" fmla="*/ 366748 h 604605"/>
                  <a:gd name="connsiteX70" fmla="*/ 268320 w 558289"/>
                  <a:gd name="connsiteY70" fmla="*/ 373991 h 604605"/>
                  <a:gd name="connsiteX71" fmla="*/ 273031 w 558289"/>
                  <a:gd name="connsiteY71" fmla="*/ 378882 h 604605"/>
                  <a:gd name="connsiteX72" fmla="*/ 283677 w 558289"/>
                  <a:gd name="connsiteY72" fmla="*/ 378882 h 604605"/>
                  <a:gd name="connsiteX73" fmla="*/ 288105 w 558289"/>
                  <a:gd name="connsiteY73" fmla="*/ 374273 h 604605"/>
                  <a:gd name="connsiteX74" fmla="*/ 288105 w 558289"/>
                  <a:gd name="connsiteY74" fmla="*/ 364302 h 604605"/>
                  <a:gd name="connsiteX75" fmla="*/ 292627 w 558289"/>
                  <a:gd name="connsiteY75" fmla="*/ 358470 h 604605"/>
                  <a:gd name="connsiteX76" fmla="*/ 311281 w 558289"/>
                  <a:gd name="connsiteY76" fmla="*/ 346524 h 604605"/>
                  <a:gd name="connsiteX77" fmla="*/ 299975 w 558289"/>
                  <a:gd name="connsiteY77" fmla="*/ 295354 h 604605"/>
                  <a:gd name="connsiteX78" fmla="*/ 281133 w 558289"/>
                  <a:gd name="connsiteY78" fmla="*/ 286794 h 604605"/>
                  <a:gd name="connsiteX79" fmla="*/ 270864 w 558289"/>
                  <a:gd name="connsiteY79" fmla="*/ 281057 h 604605"/>
                  <a:gd name="connsiteX80" fmla="*/ 273125 w 558289"/>
                  <a:gd name="connsiteY80" fmla="*/ 265159 h 604605"/>
                  <a:gd name="connsiteX81" fmla="*/ 279437 w 558289"/>
                  <a:gd name="connsiteY81" fmla="*/ 263843 h 604605"/>
                  <a:gd name="connsiteX82" fmla="*/ 303179 w 558289"/>
                  <a:gd name="connsiteY82" fmla="*/ 268546 h 604605"/>
                  <a:gd name="connsiteX83" fmla="*/ 309397 w 558289"/>
                  <a:gd name="connsiteY83" fmla="*/ 265912 h 604605"/>
                  <a:gd name="connsiteX84" fmla="*/ 313071 w 558289"/>
                  <a:gd name="connsiteY84" fmla="*/ 253496 h 604605"/>
                  <a:gd name="connsiteX85" fmla="*/ 310150 w 558289"/>
                  <a:gd name="connsiteY85" fmla="*/ 247664 h 604605"/>
                  <a:gd name="connsiteX86" fmla="*/ 295265 w 558289"/>
                  <a:gd name="connsiteY86" fmla="*/ 243149 h 604605"/>
                  <a:gd name="connsiteX87" fmla="*/ 288482 w 558289"/>
                  <a:gd name="connsiteY87" fmla="*/ 235247 h 604605"/>
                  <a:gd name="connsiteX88" fmla="*/ 278778 w 558289"/>
                  <a:gd name="connsiteY88" fmla="*/ 225653 h 604605"/>
                  <a:gd name="connsiteX89" fmla="*/ 278107 w 558289"/>
                  <a:gd name="connsiteY89" fmla="*/ 168957 h 604605"/>
                  <a:gd name="connsiteX90" fmla="*/ 291214 w 558289"/>
                  <a:gd name="connsiteY90" fmla="*/ 174671 h 604605"/>
                  <a:gd name="connsiteX91" fmla="*/ 295736 w 558289"/>
                  <a:gd name="connsiteY91" fmla="*/ 179844 h 604605"/>
                  <a:gd name="connsiteX92" fmla="*/ 315615 w 558289"/>
                  <a:gd name="connsiteY92" fmla="*/ 184265 h 604605"/>
                  <a:gd name="connsiteX93" fmla="*/ 321833 w 558289"/>
                  <a:gd name="connsiteY93" fmla="*/ 181632 h 604605"/>
                  <a:gd name="connsiteX94" fmla="*/ 345480 w 558289"/>
                  <a:gd name="connsiteY94" fmla="*/ 192731 h 604605"/>
                  <a:gd name="connsiteX95" fmla="*/ 347364 w 558289"/>
                  <a:gd name="connsiteY95" fmla="*/ 199315 h 604605"/>
                  <a:gd name="connsiteX96" fmla="*/ 363286 w 558289"/>
                  <a:gd name="connsiteY96" fmla="*/ 211826 h 604605"/>
                  <a:gd name="connsiteX97" fmla="*/ 370069 w 558289"/>
                  <a:gd name="connsiteY97" fmla="*/ 212108 h 604605"/>
                  <a:gd name="connsiteX98" fmla="*/ 386556 w 558289"/>
                  <a:gd name="connsiteY98" fmla="*/ 232237 h 604605"/>
                  <a:gd name="connsiteX99" fmla="*/ 385425 w 558289"/>
                  <a:gd name="connsiteY99" fmla="*/ 239010 h 604605"/>
                  <a:gd name="connsiteX100" fmla="*/ 394376 w 558289"/>
                  <a:gd name="connsiteY100" fmla="*/ 257258 h 604605"/>
                  <a:gd name="connsiteX101" fmla="*/ 400405 w 558289"/>
                  <a:gd name="connsiteY101" fmla="*/ 260456 h 604605"/>
                  <a:gd name="connsiteX102" fmla="*/ 406435 w 558289"/>
                  <a:gd name="connsiteY102" fmla="*/ 285854 h 604605"/>
                  <a:gd name="connsiteX103" fmla="*/ 402478 w 558289"/>
                  <a:gd name="connsiteY103" fmla="*/ 291309 h 604605"/>
                  <a:gd name="connsiteX104" fmla="*/ 402666 w 558289"/>
                  <a:gd name="connsiteY104" fmla="*/ 311533 h 604605"/>
                  <a:gd name="connsiteX105" fmla="*/ 406623 w 558289"/>
                  <a:gd name="connsiteY105" fmla="*/ 317083 h 604605"/>
                  <a:gd name="connsiteX106" fmla="*/ 400970 w 558289"/>
                  <a:gd name="connsiteY106" fmla="*/ 342480 h 604605"/>
                  <a:gd name="connsiteX107" fmla="*/ 394941 w 558289"/>
                  <a:gd name="connsiteY107" fmla="*/ 345772 h 604605"/>
                  <a:gd name="connsiteX108" fmla="*/ 386273 w 558289"/>
                  <a:gd name="connsiteY108" fmla="*/ 364114 h 604605"/>
                  <a:gd name="connsiteX109" fmla="*/ 387592 w 558289"/>
                  <a:gd name="connsiteY109" fmla="*/ 370887 h 604605"/>
                  <a:gd name="connsiteX110" fmla="*/ 371482 w 558289"/>
                  <a:gd name="connsiteY110" fmla="*/ 391298 h 604605"/>
                  <a:gd name="connsiteX111" fmla="*/ 364699 w 558289"/>
                  <a:gd name="connsiteY111" fmla="*/ 391675 h 604605"/>
                  <a:gd name="connsiteX112" fmla="*/ 348966 w 558289"/>
                  <a:gd name="connsiteY112" fmla="*/ 404467 h 604605"/>
                  <a:gd name="connsiteX113" fmla="*/ 347270 w 558289"/>
                  <a:gd name="connsiteY113" fmla="*/ 410957 h 604605"/>
                  <a:gd name="connsiteX114" fmla="*/ 323905 w 558289"/>
                  <a:gd name="connsiteY114" fmla="*/ 422433 h 604605"/>
                  <a:gd name="connsiteX115" fmla="*/ 317593 w 558289"/>
                  <a:gd name="connsiteY115" fmla="*/ 419799 h 604605"/>
                  <a:gd name="connsiteX116" fmla="*/ 297903 w 558289"/>
                  <a:gd name="connsiteY116" fmla="*/ 424408 h 604605"/>
                  <a:gd name="connsiteX117" fmla="*/ 293381 w 558289"/>
                  <a:gd name="connsiteY117" fmla="*/ 429582 h 604605"/>
                  <a:gd name="connsiteX118" fmla="*/ 267378 w 558289"/>
                  <a:gd name="connsiteY118" fmla="*/ 429770 h 604605"/>
                  <a:gd name="connsiteX119" fmla="*/ 262856 w 558289"/>
                  <a:gd name="connsiteY119" fmla="*/ 424691 h 604605"/>
                  <a:gd name="connsiteX120" fmla="*/ 242977 w 558289"/>
                  <a:gd name="connsiteY120" fmla="*/ 420270 h 604605"/>
                  <a:gd name="connsiteX121" fmla="*/ 236665 w 558289"/>
                  <a:gd name="connsiteY121" fmla="*/ 422903 h 604605"/>
                  <a:gd name="connsiteX122" fmla="*/ 213112 w 558289"/>
                  <a:gd name="connsiteY122" fmla="*/ 411710 h 604605"/>
                  <a:gd name="connsiteX123" fmla="*/ 211228 w 558289"/>
                  <a:gd name="connsiteY123" fmla="*/ 405220 h 604605"/>
                  <a:gd name="connsiteX124" fmla="*/ 195212 w 558289"/>
                  <a:gd name="connsiteY124" fmla="*/ 392709 h 604605"/>
                  <a:gd name="connsiteX125" fmla="*/ 188429 w 558289"/>
                  <a:gd name="connsiteY125" fmla="*/ 392427 h 604605"/>
                  <a:gd name="connsiteX126" fmla="*/ 172036 w 558289"/>
                  <a:gd name="connsiteY126" fmla="*/ 372204 h 604605"/>
                  <a:gd name="connsiteX127" fmla="*/ 173167 w 558289"/>
                  <a:gd name="connsiteY127" fmla="*/ 365431 h 604605"/>
                  <a:gd name="connsiteX128" fmla="*/ 164216 w 558289"/>
                  <a:gd name="connsiteY128" fmla="*/ 347277 h 604605"/>
                  <a:gd name="connsiteX129" fmla="*/ 158187 w 558289"/>
                  <a:gd name="connsiteY129" fmla="*/ 343985 h 604605"/>
                  <a:gd name="connsiteX130" fmla="*/ 152157 w 558289"/>
                  <a:gd name="connsiteY130" fmla="*/ 318682 h 604605"/>
                  <a:gd name="connsiteX131" fmla="*/ 156020 w 558289"/>
                  <a:gd name="connsiteY131" fmla="*/ 313132 h 604605"/>
                  <a:gd name="connsiteX132" fmla="*/ 155926 w 558289"/>
                  <a:gd name="connsiteY132" fmla="*/ 293003 h 604605"/>
                  <a:gd name="connsiteX133" fmla="*/ 151875 w 558289"/>
                  <a:gd name="connsiteY133" fmla="*/ 287453 h 604605"/>
                  <a:gd name="connsiteX134" fmla="*/ 157527 w 558289"/>
                  <a:gd name="connsiteY134" fmla="*/ 261961 h 604605"/>
                  <a:gd name="connsiteX135" fmla="*/ 163557 w 558289"/>
                  <a:gd name="connsiteY135" fmla="*/ 258763 h 604605"/>
                  <a:gd name="connsiteX136" fmla="*/ 172224 w 558289"/>
                  <a:gd name="connsiteY136" fmla="*/ 240421 h 604605"/>
                  <a:gd name="connsiteX137" fmla="*/ 171000 w 558289"/>
                  <a:gd name="connsiteY137" fmla="*/ 233648 h 604605"/>
                  <a:gd name="connsiteX138" fmla="*/ 187110 w 558289"/>
                  <a:gd name="connsiteY138" fmla="*/ 213237 h 604605"/>
                  <a:gd name="connsiteX139" fmla="*/ 193893 w 558289"/>
                  <a:gd name="connsiteY139" fmla="*/ 212860 h 604605"/>
                  <a:gd name="connsiteX140" fmla="*/ 209532 w 558289"/>
                  <a:gd name="connsiteY140" fmla="*/ 200068 h 604605"/>
                  <a:gd name="connsiteX141" fmla="*/ 211322 w 558289"/>
                  <a:gd name="connsiteY141" fmla="*/ 193483 h 604605"/>
                  <a:gd name="connsiteX142" fmla="*/ 234687 w 558289"/>
                  <a:gd name="connsiteY142" fmla="*/ 182102 h 604605"/>
                  <a:gd name="connsiteX143" fmla="*/ 240999 w 558289"/>
                  <a:gd name="connsiteY143" fmla="*/ 184736 h 604605"/>
                  <a:gd name="connsiteX144" fmla="*/ 260689 w 558289"/>
                  <a:gd name="connsiteY144" fmla="*/ 180127 h 604605"/>
                  <a:gd name="connsiteX145" fmla="*/ 265211 w 558289"/>
                  <a:gd name="connsiteY145" fmla="*/ 174953 h 604605"/>
                  <a:gd name="connsiteX146" fmla="*/ 278107 w 558289"/>
                  <a:gd name="connsiteY146" fmla="*/ 168957 h 604605"/>
                  <a:gd name="connsiteX147" fmla="*/ 439365 w 558289"/>
                  <a:gd name="connsiteY147" fmla="*/ 0 h 604605"/>
                  <a:gd name="connsiteX148" fmla="*/ 457734 w 558289"/>
                  <a:gd name="connsiteY148" fmla="*/ 3856 h 604605"/>
                  <a:gd name="connsiteX149" fmla="*/ 486653 w 558289"/>
                  <a:gd name="connsiteY149" fmla="*/ 48817 h 604605"/>
                  <a:gd name="connsiteX150" fmla="*/ 486653 w 558289"/>
                  <a:gd name="connsiteY150" fmla="*/ 57564 h 604605"/>
                  <a:gd name="connsiteX151" fmla="*/ 486653 w 558289"/>
                  <a:gd name="connsiteY151" fmla="*/ 241640 h 604605"/>
                  <a:gd name="connsiteX152" fmla="*/ 443039 w 558289"/>
                  <a:gd name="connsiteY152" fmla="*/ 241640 h 604605"/>
                  <a:gd name="connsiteX153" fmla="*/ 443039 w 558289"/>
                  <a:gd name="connsiteY153" fmla="*/ 65842 h 604605"/>
                  <a:gd name="connsiteX154" fmla="*/ 442945 w 558289"/>
                  <a:gd name="connsiteY154" fmla="*/ 65842 h 604605"/>
                  <a:gd name="connsiteX155" fmla="*/ 441437 w 558289"/>
                  <a:gd name="connsiteY155" fmla="*/ 65748 h 604605"/>
                  <a:gd name="connsiteX156" fmla="*/ 279132 w 558289"/>
                  <a:gd name="connsiteY156" fmla="*/ 65748 h 604605"/>
                  <a:gd name="connsiteX157" fmla="*/ 116733 w 558289"/>
                  <a:gd name="connsiteY157" fmla="*/ 65748 h 604605"/>
                  <a:gd name="connsiteX158" fmla="*/ 115225 w 558289"/>
                  <a:gd name="connsiteY158" fmla="*/ 65842 h 604605"/>
                  <a:gd name="connsiteX159" fmla="*/ 115131 w 558289"/>
                  <a:gd name="connsiteY159" fmla="*/ 65842 h 604605"/>
                  <a:gd name="connsiteX160" fmla="*/ 115131 w 558289"/>
                  <a:gd name="connsiteY160" fmla="*/ 241828 h 604605"/>
                  <a:gd name="connsiteX161" fmla="*/ 71517 w 558289"/>
                  <a:gd name="connsiteY161" fmla="*/ 241828 h 604605"/>
                  <a:gd name="connsiteX162" fmla="*/ 71517 w 558289"/>
                  <a:gd name="connsiteY162" fmla="*/ 57658 h 604605"/>
                  <a:gd name="connsiteX163" fmla="*/ 71517 w 558289"/>
                  <a:gd name="connsiteY163" fmla="*/ 48911 h 604605"/>
                  <a:gd name="connsiteX164" fmla="*/ 100436 w 558289"/>
                  <a:gd name="connsiteY164" fmla="*/ 4044 h 604605"/>
                  <a:gd name="connsiteX165" fmla="*/ 118711 w 558289"/>
                  <a:gd name="connsiteY165" fmla="*/ 94 h 604605"/>
                  <a:gd name="connsiteX166" fmla="*/ 279132 w 558289"/>
                  <a:gd name="connsiteY166" fmla="*/ 94 h 604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</a:cxnLst>
                <a:rect l="l" t="t" r="r" b="b"/>
                <a:pathLst>
                  <a:path w="558289" h="604605">
                    <a:moveTo>
                      <a:pt x="256262" y="553912"/>
                    </a:moveTo>
                    <a:cubicBezTo>
                      <a:pt x="252871" y="553912"/>
                      <a:pt x="249856" y="555417"/>
                      <a:pt x="247595" y="557674"/>
                    </a:cubicBezTo>
                    <a:cubicBezTo>
                      <a:pt x="247030" y="558332"/>
                      <a:pt x="246370" y="559085"/>
                      <a:pt x="245899" y="559931"/>
                    </a:cubicBezTo>
                    <a:cubicBezTo>
                      <a:pt x="244580" y="561812"/>
                      <a:pt x="244015" y="564069"/>
                      <a:pt x="244015" y="566609"/>
                    </a:cubicBezTo>
                    <a:cubicBezTo>
                      <a:pt x="244015" y="573663"/>
                      <a:pt x="249479" y="579306"/>
                      <a:pt x="256262" y="579306"/>
                    </a:cubicBezTo>
                    <a:lnTo>
                      <a:pt x="279156" y="579306"/>
                    </a:lnTo>
                    <a:lnTo>
                      <a:pt x="302048" y="579306"/>
                    </a:lnTo>
                    <a:cubicBezTo>
                      <a:pt x="308832" y="579306"/>
                      <a:pt x="314296" y="573663"/>
                      <a:pt x="314296" y="566609"/>
                    </a:cubicBezTo>
                    <a:cubicBezTo>
                      <a:pt x="314296" y="564258"/>
                      <a:pt x="313542" y="561812"/>
                      <a:pt x="312412" y="559931"/>
                    </a:cubicBezTo>
                    <a:cubicBezTo>
                      <a:pt x="311941" y="559179"/>
                      <a:pt x="311281" y="558332"/>
                      <a:pt x="310716" y="557674"/>
                    </a:cubicBezTo>
                    <a:cubicBezTo>
                      <a:pt x="308455" y="555323"/>
                      <a:pt x="305440" y="553912"/>
                      <a:pt x="302048" y="553912"/>
                    </a:cubicBezTo>
                    <a:lnTo>
                      <a:pt x="279156" y="553912"/>
                    </a:lnTo>
                    <a:close/>
                    <a:moveTo>
                      <a:pt x="71517" y="362989"/>
                    </a:moveTo>
                    <a:lnTo>
                      <a:pt x="115230" y="362989"/>
                    </a:lnTo>
                    <a:lnTo>
                      <a:pt x="115230" y="528706"/>
                    </a:lnTo>
                    <a:cubicBezTo>
                      <a:pt x="115701" y="528706"/>
                      <a:pt x="116267" y="528895"/>
                      <a:pt x="116832" y="528895"/>
                    </a:cubicBezTo>
                    <a:lnTo>
                      <a:pt x="279156" y="528895"/>
                    </a:lnTo>
                    <a:lnTo>
                      <a:pt x="441573" y="528895"/>
                    </a:lnTo>
                    <a:cubicBezTo>
                      <a:pt x="442044" y="528895"/>
                      <a:pt x="442704" y="528895"/>
                      <a:pt x="443175" y="528706"/>
                    </a:cubicBezTo>
                    <a:lnTo>
                      <a:pt x="443175" y="362989"/>
                    </a:lnTo>
                    <a:lnTo>
                      <a:pt x="486511" y="362989"/>
                    </a:lnTo>
                    <a:lnTo>
                      <a:pt x="486511" y="496541"/>
                    </a:lnTo>
                    <a:lnTo>
                      <a:pt x="486511" y="555981"/>
                    </a:lnTo>
                    <a:cubicBezTo>
                      <a:pt x="486511" y="582786"/>
                      <a:pt x="465408" y="604605"/>
                      <a:pt x="439406" y="604605"/>
                    </a:cubicBezTo>
                    <a:lnTo>
                      <a:pt x="356502" y="604605"/>
                    </a:lnTo>
                    <a:lnTo>
                      <a:pt x="279061" y="604605"/>
                    </a:lnTo>
                    <a:lnTo>
                      <a:pt x="201527" y="604605"/>
                    </a:lnTo>
                    <a:lnTo>
                      <a:pt x="118622" y="604605"/>
                    </a:lnTo>
                    <a:cubicBezTo>
                      <a:pt x="92620" y="604605"/>
                      <a:pt x="71517" y="582786"/>
                      <a:pt x="71517" y="555981"/>
                    </a:cubicBezTo>
                    <a:lnTo>
                      <a:pt x="71517" y="496541"/>
                    </a:lnTo>
                    <a:close/>
                    <a:moveTo>
                      <a:pt x="5878" y="267867"/>
                    </a:moveTo>
                    <a:lnTo>
                      <a:pt x="124312" y="267867"/>
                    </a:lnTo>
                    <a:cubicBezTo>
                      <a:pt x="122145" y="279248"/>
                      <a:pt x="124689" y="290911"/>
                      <a:pt x="131379" y="300504"/>
                    </a:cubicBezTo>
                    <a:lnTo>
                      <a:pt x="131850" y="301257"/>
                    </a:lnTo>
                    <a:lnTo>
                      <a:pt x="131190" y="302009"/>
                    </a:lnTo>
                    <a:cubicBezTo>
                      <a:pt x="123936" y="311885"/>
                      <a:pt x="121297" y="324394"/>
                      <a:pt x="123936" y="336433"/>
                    </a:cubicBezTo>
                    <a:lnTo>
                      <a:pt x="123936" y="336809"/>
                    </a:lnTo>
                    <a:lnTo>
                      <a:pt x="6349" y="336809"/>
                    </a:lnTo>
                    <a:cubicBezTo>
                      <a:pt x="1073" y="336809"/>
                      <a:pt x="-1471" y="330319"/>
                      <a:pt x="2298" y="326651"/>
                    </a:cubicBezTo>
                    <a:lnTo>
                      <a:pt x="26701" y="303232"/>
                    </a:lnTo>
                    <a:lnTo>
                      <a:pt x="1733" y="277931"/>
                    </a:lnTo>
                    <a:cubicBezTo>
                      <a:pt x="-1942" y="274169"/>
                      <a:pt x="602" y="267867"/>
                      <a:pt x="5878" y="267867"/>
                    </a:cubicBezTo>
                    <a:close/>
                    <a:moveTo>
                      <a:pt x="434280" y="267796"/>
                    </a:moveTo>
                    <a:lnTo>
                      <a:pt x="552432" y="267796"/>
                    </a:lnTo>
                    <a:cubicBezTo>
                      <a:pt x="557614" y="267796"/>
                      <a:pt x="560252" y="274004"/>
                      <a:pt x="556577" y="277766"/>
                    </a:cubicBezTo>
                    <a:lnTo>
                      <a:pt x="531609" y="303255"/>
                    </a:lnTo>
                    <a:lnTo>
                      <a:pt x="556106" y="326580"/>
                    </a:lnTo>
                    <a:cubicBezTo>
                      <a:pt x="559969" y="330343"/>
                      <a:pt x="557331" y="336738"/>
                      <a:pt x="552055" y="336738"/>
                    </a:cubicBezTo>
                    <a:lnTo>
                      <a:pt x="434468" y="336738"/>
                    </a:lnTo>
                    <a:cubicBezTo>
                      <a:pt x="434468" y="336644"/>
                      <a:pt x="434656" y="336456"/>
                      <a:pt x="434656" y="336362"/>
                    </a:cubicBezTo>
                    <a:cubicBezTo>
                      <a:pt x="437295" y="324323"/>
                      <a:pt x="434656" y="311814"/>
                      <a:pt x="427307" y="301844"/>
                    </a:cubicBezTo>
                    <a:lnTo>
                      <a:pt x="426742" y="301092"/>
                    </a:lnTo>
                    <a:lnTo>
                      <a:pt x="427213" y="300339"/>
                    </a:lnTo>
                    <a:cubicBezTo>
                      <a:pt x="433903" y="290840"/>
                      <a:pt x="436352" y="279083"/>
                      <a:pt x="434280" y="267796"/>
                    </a:cubicBezTo>
                    <a:close/>
                    <a:moveTo>
                      <a:pt x="274633" y="225653"/>
                    </a:moveTo>
                    <a:cubicBezTo>
                      <a:pt x="270110" y="225747"/>
                      <a:pt x="269357" y="226500"/>
                      <a:pt x="269262" y="231015"/>
                    </a:cubicBezTo>
                    <a:lnTo>
                      <a:pt x="269262" y="237129"/>
                    </a:lnTo>
                    <a:cubicBezTo>
                      <a:pt x="269262" y="243149"/>
                      <a:pt x="269262" y="243055"/>
                      <a:pt x="263421" y="245218"/>
                    </a:cubicBezTo>
                    <a:cubicBezTo>
                      <a:pt x="249478" y="250203"/>
                      <a:pt x="240811" y="259704"/>
                      <a:pt x="239963" y="274942"/>
                    </a:cubicBezTo>
                    <a:cubicBezTo>
                      <a:pt x="239209" y="288488"/>
                      <a:pt x="246275" y="297518"/>
                      <a:pt x="257298" y="304102"/>
                    </a:cubicBezTo>
                    <a:cubicBezTo>
                      <a:pt x="264081" y="308147"/>
                      <a:pt x="271712" y="310686"/>
                      <a:pt x="278872" y="313790"/>
                    </a:cubicBezTo>
                    <a:cubicBezTo>
                      <a:pt x="281793" y="315013"/>
                      <a:pt x="284431" y="316424"/>
                      <a:pt x="286786" y="318400"/>
                    </a:cubicBezTo>
                    <a:cubicBezTo>
                      <a:pt x="293852" y="324043"/>
                      <a:pt x="292627" y="333638"/>
                      <a:pt x="284336" y="337212"/>
                    </a:cubicBezTo>
                    <a:cubicBezTo>
                      <a:pt x="279908" y="339093"/>
                      <a:pt x="275292" y="339658"/>
                      <a:pt x="270487" y="338999"/>
                    </a:cubicBezTo>
                    <a:cubicBezTo>
                      <a:pt x="263044" y="338153"/>
                      <a:pt x="256073" y="336271"/>
                      <a:pt x="249384" y="332697"/>
                    </a:cubicBezTo>
                    <a:cubicBezTo>
                      <a:pt x="245521" y="330722"/>
                      <a:pt x="244391" y="331192"/>
                      <a:pt x="242977" y="335519"/>
                    </a:cubicBezTo>
                    <a:cubicBezTo>
                      <a:pt x="241847" y="339093"/>
                      <a:pt x="240811" y="342856"/>
                      <a:pt x="239868" y="346524"/>
                    </a:cubicBezTo>
                    <a:cubicBezTo>
                      <a:pt x="238549" y="351416"/>
                      <a:pt x="238926" y="352638"/>
                      <a:pt x="243731" y="354896"/>
                    </a:cubicBezTo>
                    <a:cubicBezTo>
                      <a:pt x="249761" y="357812"/>
                      <a:pt x="256261" y="359317"/>
                      <a:pt x="262856" y="360352"/>
                    </a:cubicBezTo>
                    <a:cubicBezTo>
                      <a:pt x="267944" y="361198"/>
                      <a:pt x="268226" y="361480"/>
                      <a:pt x="268226" y="366748"/>
                    </a:cubicBezTo>
                    <a:cubicBezTo>
                      <a:pt x="268320" y="369099"/>
                      <a:pt x="268320" y="371639"/>
                      <a:pt x="268320" y="373991"/>
                    </a:cubicBezTo>
                    <a:cubicBezTo>
                      <a:pt x="268320" y="377001"/>
                      <a:pt x="269828" y="378882"/>
                      <a:pt x="273031" y="378882"/>
                    </a:cubicBezTo>
                    <a:cubicBezTo>
                      <a:pt x="276517" y="378976"/>
                      <a:pt x="280191" y="378976"/>
                      <a:pt x="283677" y="378882"/>
                    </a:cubicBezTo>
                    <a:cubicBezTo>
                      <a:pt x="286597" y="378788"/>
                      <a:pt x="288105" y="377283"/>
                      <a:pt x="288105" y="374273"/>
                    </a:cubicBezTo>
                    <a:cubicBezTo>
                      <a:pt x="288105" y="370981"/>
                      <a:pt x="288199" y="367594"/>
                      <a:pt x="288105" y="364302"/>
                    </a:cubicBezTo>
                    <a:cubicBezTo>
                      <a:pt x="287916" y="361104"/>
                      <a:pt x="289330" y="359317"/>
                      <a:pt x="292627" y="358470"/>
                    </a:cubicBezTo>
                    <a:cubicBezTo>
                      <a:pt x="299975" y="356401"/>
                      <a:pt x="306382" y="352450"/>
                      <a:pt x="311281" y="346524"/>
                    </a:cubicBezTo>
                    <a:cubicBezTo>
                      <a:pt x="324847" y="330063"/>
                      <a:pt x="319760" y="305983"/>
                      <a:pt x="299975" y="295354"/>
                    </a:cubicBezTo>
                    <a:cubicBezTo>
                      <a:pt x="293946" y="291968"/>
                      <a:pt x="287540" y="289428"/>
                      <a:pt x="281133" y="286794"/>
                    </a:cubicBezTo>
                    <a:cubicBezTo>
                      <a:pt x="277553" y="285289"/>
                      <a:pt x="273973" y="283596"/>
                      <a:pt x="270864" y="281057"/>
                    </a:cubicBezTo>
                    <a:cubicBezTo>
                      <a:pt x="264835" y="276165"/>
                      <a:pt x="265965" y="268264"/>
                      <a:pt x="273125" y="265159"/>
                    </a:cubicBezTo>
                    <a:cubicBezTo>
                      <a:pt x="275104" y="264219"/>
                      <a:pt x="277270" y="264031"/>
                      <a:pt x="279437" y="263843"/>
                    </a:cubicBezTo>
                    <a:cubicBezTo>
                      <a:pt x="287728" y="263372"/>
                      <a:pt x="295642" y="264877"/>
                      <a:pt x="303179" y="268546"/>
                    </a:cubicBezTo>
                    <a:cubicBezTo>
                      <a:pt x="306947" y="270427"/>
                      <a:pt x="308172" y="269769"/>
                      <a:pt x="309397" y="265912"/>
                    </a:cubicBezTo>
                    <a:cubicBezTo>
                      <a:pt x="310716" y="261773"/>
                      <a:pt x="311846" y="257634"/>
                      <a:pt x="313071" y="253496"/>
                    </a:cubicBezTo>
                    <a:cubicBezTo>
                      <a:pt x="313825" y="250674"/>
                      <a:pt x="312788" y="248792"/>
                      <a:pt x="310150" y="247664"/>
                    </a:cubicBezTo>
                    <a:cubicBezTo>
                      <a:pt x="305440" y="245594"/>
                      <a:pt x="300352" y="243901"/>
                      <a:pt x="295265" y="243149"/>
                    </a:cubicBezTo>
                    <a:cubicBezTo>
                      <a:pt x="288482" y="242020"/>
                      <a:pt x="288482" y="242020"/>
                      <a:pt x="288482" y="235247"/>
                    </a:cubicBezTo>
                    <a:cubicBezTo>
                      <a:pt x="288482" y="225653"/>
                      <a:pt x="288482" y="225653"/>
                      <a:pt x="278778" y="225653"/>
                    </a:cubicBezTo>
                    <a:close/>
                    <a:moveTo>
                      <a:pt x="278107" y="168957"/>
                    </a:moveTo>
                    <a:cubicBezTo>
                      <a:pt x="282876" y="168910"/>
                      <a:pt x="287681" y="170814"/>
                      <a:pt x="291214" y="174671"/>
                    </a:cubicBezTo>
                    <a:lnTo>
                      <a:pt x="295736" y="179844"/>
                    </a:lnTo>
                    <a:cubicBezTo>
                      <a:pt x="300729" y="185394"/>
                      <a:pt x="308643" y="187087"/>
                      <a:pt x="315615" y="184265"/>
                    </a:cubicBezTo>
                    <a:lnTo>
                      <a:pt x="321833" y="181632"/>
                    </a:lnTo>
                    <a:cubicBezTo>
                      <a:pt x="331536" y="177587"/>
                      <a:pt x="342559" y="182760"/>
                      <a:pt x="345480" y="192731"/>
                    </a:cubicBezTo>
                    <a:lnTo>
                      <a:pt x="347364" y="199315"/>
                    </a:lnTo>
                    <a:cubicBezTo>
                      <a:pt x="349531" y="206464"/>
                      <a:pt x="355937" y="211450"/>
                      <a:pt x="363286" y="211826"/>
                    </a:cubicBezTo>
                    <a:lnTo>
                      <a:pt x="370069" y="212108"/>
                    </a:lnTo>
                    <a:cubicBezTo>
                      <a:pt x="380621" y="212484"/>
                      <a:pt x="388346" y="221985"/>
                      <a:pt x="386556" y="232237"/>
                    </a:cubicBezTo>
                    <a:lnTo>
                      <a:pt x="385425" y="239010"/>
                    </a:lnTo>
                    <a:cubicBezTo>
                      <a:pt x="384201" y="246441"/>
                      <a:pt x="387781" y="253684"/>
                      <a:pt x="394376" y="257258"/>
                    </a:cubicBezTo>
                    <a:lnTo>
                      <a:pt x="400405" y="260456"/>
                    </a:lnTo>
                    <a:cubicBezTo>
                      <a:pt x="409638" y="265348"/>
                      <a:pt x="412464" y="277294"/>
                      <a:pt x="406435" y="285854"/>
                    </a:cubicBezTo>
                    <a:lnTo>
                      <a:pt x="402478" y="291309"/>
                    </a:lnTo>
                    <a:cubicBezTo>
                      <a:pt x="398144" y="297329"/>
                      <a:pt x="398238" y="305513"/>
                      <a:pt x="402666" y="311533"/>
                    </a:cubicBezTo>
                    <a:lnTo>
                      <a:pt x="406623" y="317083"/>
                    </a:lnTo>
                    <a:cubicBezTo>
                      <a:pt x="412841" y="325548"/>
                      <a:pt x="410203" y="337494"/>
                      <a:pt x="400970" y="342480"/>
                    </a:cubicBezTo>
                    <a:lnTo>
                      <a:pt x="394941" y="345772"/>
                    </a:lnTo>
                    <a:cubicBezTo>
                      <a:pt x="388440" y="349440"/>
                      <a:pt x="384954" y="356777"/>
                      <a:pt x="386273" y="364114"/>
                    </a:cubicBezTo>
                    <a:lnTo>
                      <a:pt x="387592" y="370887"/>
                    </a:lnTo>
                    <a:cubicBezTo>
                      <a:pt x="389477" y="381139"/>
                      <a:pt x="381940" y="390640"/>
                      <a:pt x="371482" y="391298"/>
                    </a:cubicBezTo>
                    <a:lnTo>
                      <a:pt x="364699" y="391675"/>
                    </a:lnTo>
                    <a:cubicBezTo>
                      <a:pt x="357256" y="392145"/>
                      <a:pt x="351038" y="397318"/>
                      <a:pt x="348966" y="404467"/>
                    </a:cubicBezTo>
                    <a:lnTo>
                      <a:pt x="347270" y="410957"/>
                    </a:lnTo>
                    <a:cubicBezTo>
                      <a:pt x="344443" y="421022"/>
                      <a:pt x="333515" y="426384"/>
                      <a:pt x="323905" y="422433"/>
                    </a:cubicBezTo>
                    <a:lnTo>
                      <a:pt x="317593" y="419799"/>
                    </a:lnTo>
                    <a:cubicBezTo>
                      <a:pt x="310716" y="416883"/>
                      <a:pt x="302802" y="418765"/>
                      <a:pt x="297903" y="424408"/>
                    </a:cubicBezTo>
                    <a:lnTo>
                      <a:pt x="293381" y="429582"/>
                    </a:lnTo>
                    <a:cubicBezTo>
                      <a:pt x="286597" y="437483"/>
                      <a:pt x="274350" y="437577"/>
                      <a:pt x="267378" y="429770"/>
                    </a:cubicBezTo>
                    <a:lnTo>
                      <a:pt x="262856" y="424691"/>
                    </a:lnTo>
                    <a:cubicBezTo>
                      <a:pt x="257769" y="419141"/>
                      <a:pt x="249855" y="417354"/>
                      <a:pt x="242977" y="420270"/>
                    </a:cubicBezTo>
                    <a:lnTo>
                      <a:pt x="236665" y="422903"/>
                    </a:lnTo>
                    <a:cubicBezTo>
                      <a:pt x="227056" y="426948"/>
                      <a:pt x="215939" y="421775"/>
                      <a:pt x="213112" y="411710"/>
                    </a:cubicBezTo>
                    <a:lnTo>
                      <a:pt x="211228" y="405220"/>
                    </a:lnTo>
                    <a:cubicBezTo>
                      <a:pt x="209061" y="398071"/>
                      <a:pt x="202655" y="393085"/>
                      <a:pt x="195212" y="392709"/>
                    </a:cubicBezTo>
                    <a:lnTo>
                      <a:pt x="188429" y="392427"/>
                    </a:lnTo>
                    <a:cubicBezTo>
                      <a:pt x="177877" y="392051"/>
                      <a:pt x="170246" y="382550"/>
                      <a:pt x="172036" y="372204"/>
                    </a:cubicBezTo>
                    <a:lnTo>
                      <a:pt x="173167" y="365431"/>
                    </a:lnTo>
                    <a:cubicBezTo>
                      <a:pt x="174391" y="358094"/>
                      <a:pt x="170717" y="350757"/>
                      <a:pt x="164216" y="347277"/>
                    </a:cubicBezTo>
                    <a:lnTo>
                      <a:pt x="158187" y="343985"/>
                    </a:lnTo>
                    <a:cubicBezTo>
                      <a:pt x="148860" y="339093"/>
                      <a:pt x="146128" y="327241"/>
                      <a:pt x="152157" y="318682"/>
                    </a:cubicBezTo>
                    <a:lnTo>
                      <a:pt x="156020" y="313132"/>
                    </a:lnTo>
                    <a:cubicBezTo>
                      <a:pt x="160448" y="307112"/>
                      <a:pt x="160354" y="299023"/>
                      <a:pt x="155926" y="293003"/>
                    </a:cubicBezTo>
                    <a:lnTo>
                      <a:pt x="151875" y="287453"/>
                    </a:lnTo>
                    <a:cubicBezTo>
                      <a:pt x="145751" y="278893"/>
                      <a:pt x="148389" y="267041"/>
                      <a:pt x="157527" y="261961"/>
                    </a:cubicBezTo>
                    <a:lnTo>
                      <a:pt x="163557" y="258763"/>
                    </a:lnTo>
                    <a:cubicBezTo>
                      <a:pt x="170152" y="255095"/>
                      <a:pt x="173638" y="247664"/>
                      <a:pt x="172224" y="240421"/>
                    </a:cubicBezTo>
                    <a:lnTo>
                      <a:pt x="171000" y="233648"/>
                    </a:lnTo>
                    <a:cubicBezTo>
                      <a:pt x="169115" y="223395"/>
                      <a:pt x="176652" y="213801"/>
                      <a:pt x="187110" y="213237"/>
                    </a:cubicBezTo>
                    <a:lnTo>
                      <a:pt x="193893" y="212860"/>
                    </a:lnTo>
                    <a:cubicBezTo>
                      <a:pt x="201242" y="212296"/>
                      <a:pt x="207554" y="207217"/>
                      <a:pt x="209532" y="200068"/>
                    </a:cubicBezTo>
                    <a:lnTo>
                      <a:pt x="211322" y="193483"/>
                    </a:lnTo>
                    <a:cubicBezTo>
                      <a:pt x="214054" y="183513"/>
                      <a:pt x="224983" y="178057"/>
                      <a:pt x="234687" y="182102"/>
                    </a:cubicBezTo>
                    <a:lnTo>
                      <a:pt x="240999" y="184736"/>
                    </a:lnTo>
                    <a:cubicBezTo>
                      <a:pt x="247876" y="187652"/>
                      <a:pt x="255790" y="185770"/>
                      <a:pt x="260689" y="180127"/>
                    </a:cubicBezTo>
                    <a:lnTo>
                      <a:pt x="265211" y="174953"/>
                    </a:lnTo>
                    <a:cubicBezTo>
                      <a:pt x="268603" y="171003"/>
                      <a:pt x="273337" y="169004"/>
                      <a:pt x="278107" y="168957"/>
                    </a:cubicBezTo>
                    <a:close/>
                    <a:moveTo>
                      <a:pt x="439365" y="0"/>
                    </a:moveTo>
                    <a:cubicBezTo>
                      <a:pt x="445959" y="0"/>
                      <a:pt x="452082" y="1411"/>
                      <a:pt x="457734" y="3856"/>
                    </a:cubicBezTo>
                    <a:cubicBezTo>
                      <a:pt x="474690" y="11287"/>
                      <a:pt x="486653" y="28594"/>
                      <a:pt x="486653" y="48817"/>
                    </a:cubicBezTo>
                    <a:lnTo>
                      <a:pt x="486653" y="57564"/>
                    </a:lnTo>
                    <a:lnTo>
                      <a:pt x="486653" y="241640"/>
                    </a:lnTo>
                    <a:lnTo>
                      <a:pt x="443039" y="241640"/>
                    </a:lnTo>
                    <a:lnTo>
                      <a:pt x="443039" y="65842"/>
                    </a:lnTo>
                    <a:lnTo>
                      <a:pt x="442945" y="65842"/>
                    </a:lnTo>
                    <a:cubicBezTo>
                      <a:pt x="442379" y="65748"/>
                      <a:pt x="441908" y="65748"/>
                      <a:pt x="441437" y="65748"/>
                    </a:cubicBezTo>
                    <a:lnTo>
                      <a:pt x="279132" y="65748"/>
                    </a:lnTo>
                    <a:lnTo>
                      <a:pt x="116733" y="65748"/>
                    </a:lnTo>
                    <a:cubicBezTo>
                      <a:pt x="116262" y="65748"/>
                      <a:pt x="115696" y="65842"/>
                      <a:pt x="115225" y="65842"/>
                    </a:cubicBezTo>
                    <a:lnTo>
                      <a:pt x="115131" y="65842"/>
                    </a:lnTo>
                    <a:lnTo>
                      <a:pt x="115131" y="241828"/>
                    </a:lnTo>
                    <a:lnTo>
                      <a:pt x="71517" y="241828"/>
                    </a:lnTo>
                    <a:lnTo>
                      <a:pt x="71517" y="57658"/>
                    </a:lnTo>
                    <a:lnTo>
                      <a:pt x="71517" y="48911"/>
                    </a:lnTo>
                    <a:cubicBezTo>
                      <a:pt x="71517" y="28688"/>
                      <a:pt x="83480" y="11381"/>
                      <a:pt x="100436" y="4044"/>
                    </a:cubicBezTo>
                    <a:cubicBezTo>
                      <a:pt x="106088" y="1505"/>
                      <a:pt x="112211" y="94"/>
                      <a:pt x="118711" y="94"/>
                    </a:cubicBezTo>
                    <a:lnTo>
                      <a:pt x="279132" y="9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26291" y="4476741"/>
              <a:ext cx="458230" cy="458230"/>
              <a:chOff x="7298728" y="4476741"/>
              <a:chExt cx="458230" cy="458230"/>
            </a:xfrm>
          </p:grpSpPr>
          <p:sp>
            <p:nvSpPr>
              <p:cNvPr id="23" name="椭圆 22"/>
              <p:cNvSpPr/>
              <p:nvPr/>
            </p:nvSpPr>
            <p:spPr>
              <a:xfrm>
                <a:off x="7298728" y="4476741"/>
                <a:ext cx="458230" cy="458230"/>
              </a:xfrm>
              <a:prstGeom prst="ellipse">
                <a:avLst/>
              </a:prstGeom>
              <a:solidFill>
                <a:schemeClr val="accent2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20000"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任意多边形: 形状 23"/>
              <p:cNvSpPr/>
              <p:nvPr/>
            </p:nvSpPr>
            <p:spPr bwMode="auto">
              <a:xfrm>
                <a:off x="7419646" y="4561806"/>
                <a:ext cx="216394" cy="288100"/>
              </a:xfrm>
              <a:custGeom>
                <a:avLst/>
                <a:gdLst>
                  <a:gd name="connsiteX0" fmla="*/ 38006 w 455711"/>
                  <a:gd name="connsiteY0" fmla="*/ 227503 h 606722"/>
                  <a:gd name="connsiteX1" fmla="*/ 76011 w 455711"/>
                  <a:gd name="connsiteY1" fmla="*/ 265452 h 606722"/>
                  <a:gd name="connsiteX2" fmla="*/ 227856 w 455711"/>
                  <a:gd name="connsiteY2" fmla="*/ 417068 h 606722"/>
                  <a:gd name="connsiteX3" fmla="*/ 379789 w 455711"/>
                  <a:gd name="connsiteY3" fmla="*/ 265452 h 606722"/>
                  <a:gd name="connsiteX4" fmla="*/ 417794 w 455711"/>
                  <a:gd name="connsiteY4" fmla="*/ 227503 h 606722"/>
                  <a:gd name="connsiteX5" fmla="*/ 455711 w 455711"/>
                  <a:gd name="connsiteY5" fmla="*/ 265452 h 606722"/>
                  <a:gd name="connsiteX6" fmla="*/ 265861 w 455711"/>
                  <a:gd name="connsiteY6" fmla="*/ 489499 h 606722"/>
                  <a:gd name="connsiteX7" fmla="*/ 265861 w 455711"/>
                  <a:gd name="connsiteY7" fmla="*/ 530825 h 606722"/>
                  <a:gd name="connsiteX8" fmla="*/ 284819 w 455711"/>
                  <a:gd name="connsiteY8" fmla="*/ 530825 h 606722"/>
                  <a:gd name="connsiteX9" fmla="*/ 322825 w 455711"/>
                  <a:gd name="connsiteY9" fmla="*/ 568773 h 606722"/>
                  <a:gd name="connsiteX10" fmla="*/ 322825 w 455711"/>
                  <a:gd name="connsiteY10" fmla="*/ 606722 h 606722"/>
                  <a:gd name="connsiteX11" fmla="*/ 132975 w 455711"/>
                  <a:gd name="connsiteY11" fmla="*/ 606722 h 606722"/>
                  <a:gd name="connsiteX12" fmla="*/ 132975 w 455711"/>
                  <a:gd name="connsiteY12" fmla="*/ 568773 h 606722"/>
                  <a:gd name="connsiteX13" fmla="*/ 170892 w 455711"/>
                  <a:gd name="connsiteY13" fmla="*/ 530825 h 606722"/>
                  <a:gd name="connsiteX14" fmla="*/ 189939 w 455711"/>
                  <a:gd name="connsiteY14" fmla="*/ 530825 h 606722"/>
                  <a:gd name="connsiteX15" fmla="*/ 189939 w 455711"/>
                  <a:gd name="connsiteY15" fmla="*/ 489499 h 606722"/>
                  <a:gd name="connsiteX16" fmla="*/ 0 w 455711"/>
                  <a:gd name="connsiteY16" fmla="*/ 265452 h 606722"/>
                  <a:gd name="connsiteX17" fmla="*/ 38006 w 455711"/>
                  <a:gd name="connsiteY17" fmla="*/ 227503 h 606722"/>
                  <a:gd name="connsiteX18" fmla="*/ 113892 w 455711"/>
                  <a:gd name="connsiteY18" fmla="*/ 208592 h 606722"/>
                  <a:gd name="connsiteX19" fmla="*/ 341748 w 455711"/>
                  <a:gd name="connsiteY19" fmla="*/ 208592 h 606722"/>
                  <a:gd name="connsiteX20" fmla="*/ 341748 w 455711"/>
                  <a:gd name="connsiteY20" fmla="*/ 265468 h 606722"/>
                  <a:gd name="connsiteX21" fmla="*/ 227820 w 455711"/>
                  <a:gd name="connsiteY21" fmla="*/ 379219 h 606722"/>
                  <a:gd name="connsiteX22" fmla="*/ 113892 w 455711"/>
                  <a:gd name="connsiteY22" fmla="*/ 265468 h 606722"/>
                  <a:gd name="connsiteX23" fmla="*/ 227820 w 455711"/>
                  <a:gd name="connsiteY23" fmla="*/ 0 h 606722"/>
                  <a:gd name="connsiteX24" fmla="*/ 341748 w 455711"/>
                  <a:gd name="connsiteY24" fmla="*/ 113751 h 606722"/>
                  <a:gd name="connsiteX25" fmla="*/ 341748 w 455711"/>
                  <a:gd name="connsiteY25" fmla="*/ 170627 h 606722"/>
                  <a:gd name="connsiteX26" fmla="*/ 113892 w 455711"/>
                  <a:gd name="connsiteY26" fmla="*/ 170627 h 606722"/>
                  <a:gd name="connsiteX27" fmla="*/ 113892 w 455711"/>
                  <a:gd name="connsiteY27" fmla="*/ 113751 h 606722"/>
                  <a:gd name="connsiteX28" fmla="*/ 227820 w 455711"/>
                  <a:gd name="connsiteY28" fmla="*/ 0 h 606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455711" h="606722">
                    <a:moveTo>
                      <a:pt x="38006" y="227503"/>
                    </a:moveTo>
                    <a:cubicBezTo>
                      <a:pt x="59011" y="227503"/>
                      <a:pt x="76011" y="244478"/>
                      <a:pt x="76011" y="265452"/>
                    </a:cubicBezTo>
                    <a:cubicBezTo>
                      <a:pt x="76011" y="349081"/>
                      <a:pt x="144101" y="417068"/>
                      <a:pt x="227856" y="417068"/>
                    </a:cubicBezTo>
                    <a:cubicBezTo>
                      <a:pt x="311610" y="417068"/>
                      <a:pt x="379789" y="349081"/>
                      <a:pt x="379789" y="265452"/>
                    </a:cubicBezTo>
                    <a:cubicBezTo>
                      <a:pt x="379789" y="244478"/>
                      <a:pt x="396789" y="227503"/>
                      <a:pt x="417794" y="227503"/>
                    </a:cubicBezTo>
                    <a:cubicBezTo>
                      <a:pt x="438711" y="227503"/>
                      <a:pt x="455711" y="244478"/>
                      <a:pt x="455711" y="265452"/>
                    </a:cubicBezTo>
                    <a:cubicBezTo>
                      <a:pt x="455711" y="377964"/>
                      <a:pt x="373469" y="471369"/>
                      <a:pt x="265861" y="489499"/>
                    </a:cubicBezTo>
                    <a:lnTo>
                      <a:pt x="265861" y="530825"/>
                    </a:lnTo>
                    <a:lnTo>
                      <a:pt x="284819" y="530825"/>
                    </a:lnTo>
                    <a:cubicBezTo>
                      <a:pt x="305825" y="530825"/>
                      <a:pt x="322825" y="547800"/>
                      <a:pt x="322825" y="568773"/>
                    </a:cubicBezTo>
                    <a:lnTo>
                      <a:pt x="322825" y="606722"/>
                    </a:lnTo>
                    <a:lnTo>
                      <a:pt x="132975" y="606722"/>
                    </a:lnTo>
                    <a:lnTo>
                      <a:pt x="132975" y="568773"/>
                    </a:lnTo>
                    <a:cubicBezTo>
                      <a:pt x="132975" y="547800"/>
                      <a:pt x="149975" y="530825"/>
                      <a:pt x="170892" y="530825"/>
                    </a:cubicBezTo>
                    <a:lnTo>
                      <a:pt x="189939" y="530825"/>
                    </a:lnTo>
                    <a:lnTo>
                      <a:pt x="189939" y="489499"/>
                    </a:lnTo>
                    <a:cubicBezTo>
                      <a:pt x="82331" y="471369"/>
                      <a:pt x="0" y="377964"/>
                      <a:pt x="0" y="265452"/>
                    </a:cubicBezTo>
                    <a:cubicBezTo>
                      <a:pt x="0" y="244478"/>
                      <a:pt x="17000" y="227503"/>
                      <a:pt x="38006" y="227503"/>
                    </a:cubicBezTo>
                    <a:close/>
                    <a:moveTo>
                      <a:pt x="113892" y="208592"/>
                    </a:moveTo>
                    <a:lnTo>
                      <a:pt x="341748" y="208592"/>
                    </a:lnTo>
                    <a:lnTo>
                      <a:pt x="341748" y="265468"/>
                    </a:lnTo>
                    <a:cubicBezTo>
                      <a:pt x="341748" y="328298"/>
                      <a:pt x="290747" y="379219"/>
                      <a:pt x="227820" y="379219"/>
                    </a:cubicBezTo>
                    <a:cubicBezTo>
                      <a:pt x="164893" y="379219"/>
                      <a:pt x="113892" y="328298"/>
                      <a:pt x="113892" y="265468"/>
                    </a:cubicBezTo>
                    <a:close/>
                    <a:moveTo>
                      <a:pt x="227820" y="0"/>
                    </a:moveTo>
                    <a:cubicBezTo>
                      <a:pt x="290747" y="0"/>
                      <a:pt x="341748" y="50921"/>
                      <a:pt x="341748" y="113751"/>
                    </a:cubicBezTo>
                    <a:lnTo>
                      <a:pt x="341748" y="170627"/>
                    </a:lnTo>
                    <a:lnTo>
                      <a:pt x="113892" y="170627"/>
                    </a:lnTo>
                    <a:lnTo>
                      <a:pt x="113892" y="113751"/>
                    </a:lnTo>
                    <a:cubicBezTo>
                      <a:pt x="113892" y="50921"/>
                      <a:pt x="164893" y="0"/>
                      <a:pt x="22782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282776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如何有效防治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73100" y="1489466"/>
            <a:ext cx="10845800" cy="4657334"/>
            <a:chOff x="673100" y="1489466"/>
            <a:chExt cx="10845800" cy="4657334"/>
          </a:xfrm>
        </p:grpSpPr>
        <p:sp>
          <p:nvSpPr>
            <p:cNvPr id="6" name="矩形: 圆角 5"/>
            <p:cNvSpPr/>
            <p:nvPr/>
          </p:nvSpPr>
          <p:spPr bwMode="auto">
            <a:xfrm>
              <a:off x="673100" y="5650894"/>
              <a:ext cx="10845800" cy="49590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 lnSpcReduction="1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7" name="矩形 6"/>
            <p:cNvSpPr/>
            <p:nvPr/>
          </p:nvSpPr>
          <p:spPr bwMode="auto">
            <a:xfrm>
              <a:off x="4011963" y="5650894"/>
              <a:ext cx="4518283" cy="4959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4104467" y="5650894"/>
              <a:ext cx="4333274" cy="495906"/>
              <a:chOff x="2146914" y="5208352"/>
              <a:chExt cx="4333274" cy="495906"/>
            </a:xfrm>
            <a:solidFill>
              <a:schemeClr val="bg1">
                <a:lumMod val="95000"/>
              </a:schemeClr>
            </a:solidFill>
          </p:grpSpPr>
          <p:sp>
            <p:nvSpPr>
              <p:cNvPr id="33" name="任意多边形: 形状 32"/>
              <p:cNvSpPr/>
              <p:nvPr/>
            </p:nvSpPr>
            <p:spPr bwMode="auto">
              <a:xfrm>
                <a:off x="2722847" y="5208352"/>
                <a:ext cx="747795" cy="495906"/>
              </a:xfrm>
              <a:custGeom>
                <a:avLst/>
                <a:gdLst>
                  <a:gd name="T0" fmla="*/ 570 w 570"/>
                  <a:gd name="T1" fmla="*/ 0 h 378"/>
                  <a:gd name="T2" fmla="*/ 376 w 570"/>
                  <a:gd name="T3" fmla="*/ 0 h 378"/>
                  <a:gd name="T4" fmla="*/ 0 w 570"/>
                  <a:gd name="T5" fmla="*/ 378 h 378"/>
                  <a:gd name="T6" fmla="*/ 194 w 570"/>
                  <a:gd name="T7" fmla="*/ 378 h 378"/>
                  <a:gd name="T8" fmla="*/ 570 w 570"/>
                  <a:gd name="T9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0" h="378">
                    <a:moveTo>
                      <a:pt x="570" y="0"/>
                    </a:moveTo>
                    <a:lnTo>
                      <a:pt x="376" y="0"/>
                    </a:lnTo>
                    <a:lnTo>
                      <a:pt x="0" y="378"/>
                    </a:lnTo>
                    <a:lnTo>
                      <a:pt x="194" y="378"/>
                    </a:lnTo>
                    <a:lnTo>
                      <a:pt x="57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4" name="任意多边形: 形状 33"/>
              <p:cNvSpPr/>
              <p:nvPr/>
            </p:nvSpPr>
            <p:spPr bwMode="auto">
              <a:xfrm>
                <a:off x="2329271" y="5208352"/>
                <a:ext cx="746483" cy="495906"/>
              </a:xfrm>
              <a:custGeom>
                <a:avLst/>
                <a:gdLst>
                  <a:gd name="T0" fmla="*/ 569 w 569"/>
                  <a:gd name="T1" fmla="*/ 0 h 378"/>
                  <a:gd name="T2" fmla="*/ 376 w 569"/>
                  <a:gd name="T3" fmla="*/ 0 h 378"/>
                  <a:gd name="T4" fmla="*/ 0 w 569"/>
                  <a:gd name="T5" fmla="*/ 378 h 378"/>
                  <a:gd name="T6" fmla="*/ 193 w 569"/>
                  <a:gd name="T7" fmla="*/ 378 h 378"/>
                  <a:gd name="T8" fmla="*/ 569 w 569"/>
                  <a:gd name="T9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9" h="378">
                    <a:moveTo>
                      <a:pt x="569" y="0"/>
                    </a:moveTo>
                    <a:lnTo>
                      <a:pt x="376" y="0"/>
                    </a:lnTo>
                    <a:lnTo>
                      <a:pt x="0" y="378"/>
                    </a:lnTo>
                    <a:lnTo>
                      <a:pt x="193" y="378"/>
                    </a:lnTo>
                    <a:lnTo>
                      <a:pt x="569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5" name="任意多边形: 形状 34"/>
              <p:cNvSpPr/>
              <p:nvPr/>
            </p:nvSpPr>
            <p:spPr bwMode="auto">
              <a:xfrm>
                <a:off x="3117735" y="5208352"/>
                <a:ext cx="746483" cy="495906"/>
              </a:xfrm>
              <a:custGeom>
                <a:avLst/>
                <a:gdLst>
                  <a:gd name="T0" fmla="*/ 569 w 569"/>
                  <a:gd name="T1" fmla="*/ 0 h 378"/>
                  <a:gd name="T2" fmla="*/ 376 w 569"/>
                  <a:gd name="T3" fmla="*/ 0 h 378"/>
                  <a:gd name="T4" fmla="*/ 0 w 569"/>
                  <a:gd name="T5" fmla="*/ 378 h 378"/>
                  <a:gd name="T6" fmla="*/ 194 w 569"/>
                  <a:gd name="T7" fmla="*/ 378 h 378"/>
                  <a:gd name="T8" fmla="*/ 569 w 569"/>
                  <a:gd name="T9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9" h="378">
                    <a:moveTo>
                      <a:pt x="569" y="0"/>
                    </a:moveTo>
                    <a:lnTo>
                      <a:pt x="376" y="0"/>
                    </a:lnTo>
                    <a:lnTo>
                      <a:pt x="0" y="378"/>
                    </a:lnTo>
                    <a:lnTo>
                      <a:pt x="194" y="378"/>
                    </a:lnTo>
                    <a:lnTo>
                      <a:pt x="569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6" name="任意多边形: 形状 35"/>
              <p:cNvSpPr/>
              <p:nvPr/>
            </p:nvSpPr>
            <p:spPr bwMode="auto">
              <a:xfrm>
                <a:off x="3512623" y="5208352"/>
                <a:ext cx="746483" cy="495906"/>
              </a:xfrm>
              <a:custGeom>
                <a:avLst/>
                <a:gdLst>
                  <a:gd name="T0" fmla="*/ 569 w 569"/>
                  <a:gd name="T1" fmla="*/ 0 h 378"/>
                  <a:gd name="T2" fmla="*/ 375 w 569"/>
                  <a:gd name="T3" fmla="*/ 0 h 378"/>
                  <a:gd name="T4" fmla="*/ 0 w 569"/>
                  <a:gd name="T5" fmla="*/ 378 h 378"/>
                  <a:gd name="T6" fmla="*/ 193 w 569"/>
                  <a:gd name="T7" fmla="*/ 378 h 378"/>
                  <a:gd name="T8" fmla="*/ 569 w 569"/>
                  <a:gd name="T9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9" h="378">
                    <a:moveTo>
                      <a:pt x="569" y="0"/>
                    </a:moveTo>
                    <a:lnTo>
                      <a:pt x="375" y="0"/>
                    </a:lnTo>
                    <a:lnTo>
                      <a:pt x="0" y="378"/>
                    </a:lnTo>
                    <a:lnTo>
                      <a:pt x="193" y="378"/>
                    </a:lnTo>
                    <a:lnTo>
                      <a:pt x="569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7" name="任意多边形: 形状 36"/>
              <p:cNvSpPr/>
              <p:nvPr/>
            </p:nvSpPr>
            <p:spPr bwMode="auto">
              <a:xfrm>
                <a:off x="2146914" y="5208352"/>
                <a:ext cx="535263" cy="495906"/>
              </a:xfrm>
              <a:custGeom>
                <a:avLst/>
                <a:gdLst>
                  <a:gd name="T0" fmla="*/ 214 w 408"/>
                  <a:gd name="T1" fmla="*/ 0 h 378"/>
                  <a:gd name="T2" fmla="*/ 0 w 408"/>
                  <a:gd name="T3" fmla="*/ 213 h 378"/>
                  <a:gd name="T4" fmla="*/ 0 w 408"/>
                  <a:gd name="T5" fmla="*/ 378 h 378"/>
                  <a:gd name="T6" fmla="*/ 32 w 408"/>
                  <a:gd name="T7" fmla="*/ 378 h 378"/>
                  <a:gd name="T8" fmla="*/ 408 w 408"/>
                  <a:gd name="T9" fmla="*/ 0 h 378"/>
                  <a:gd name="T10" fmla="*/ 214 w 408"/>
                  <a:gd name="T11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8" h="378">
                    <a:moveTo>
                      <a:pt x="214" y="0"/>
                    </a:moveTo>
                    <a:lnTo>
                      <a:pt x="0" y="213"/>
                    </a:lnTo>
                    <a:lnTo>
                      <a:pt x="0" y="378"/>
                    </a:lnTo>
                    <a:lnTo>
                      <a:pt x="32" y="378"/>
                    </a:lnTo>
                    <a:lnTo>
                      <a:pt x="408" y="0"/>
                    </a:lnTo>
                    <a:lnTo>
                      <a:pt x="214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8" name="任意多边形: 形状 37"/>
              <p:cNvSpPr/>
              <p:nvPr/>
            </p:nvSpPr>
            <p:spPr bwMode="auto">
              <a:xfrm>
                <a:off x="2146914" y="5208352"/>
                <a:ext cx="140376" cy="141687"/>
              </a:xfrm>
              <a:custGeom>
                <a:avLst/>
                <a:gdLst>
                  <a:gd name="T0" fmla="*/ 0 w 107"/>
                  <a:gd name="T1" fmla="*/ 108 h 108"/>
                  <a:gd name="T2" fmla="*/ 107 w 107"/>
                  <a:gd name="T3" fmla="*/ 0 h 108"/>
                  <a:gd name="T4" fmla="*/ 0 w 107"/>
                  <a:gd name="T5" fmla="*/ 0 h 108"/>
                  <a:gd name="T6" fmla="*/ 0 w 107"/>
                  <a:gd name="T7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7" h="108">
                    <a:moveTo>
                      <a:pt x="0" y="108"/>
                    </a:moveTo>
                    <a:lnTo>
                      <a:pt x="107" y="0"/>
                    </a:lnTo>
                    <a:lnTo>
                      <a:pt x="0" y="0"/>
                    </a:lnTo>
                    <a:lnTo>
                      <a:pt x="0" y="108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9" name="任意多边形: 形状 38"/>
              <p:cNvSpPr/>
              <p:nvPr/>
            </p:nvSpPr>
            <p:spPr bwMode="auto">
              <a:xfrm>
                <a:off x="5484440" y="5208352"/>
                <a:ext cx="746483" cy="495906"/>
              </a:xfrm>
              <a:custGeom>
                <a:avLst/>
                <a:gdLst>
                  <a:gd name="T0" fmla="*/ 569 w 569"/>
                  <a:gd name="T1" fmla="*/ 0 h 378"/>
                  <a:gd name="T2" fmla="*/ 375 w 569"/>
                  <a:gd name="T3" fmla="*/ 0 h 378"/>
                  <a:gd name="T4" fmla="*/ 0 w 569"/>
                  <a:gd name="T5" fmla="*/ 378 h 378"/>
                  <a:gd name="T6" fmla="*/ 193 w 569"/>
                  <a:gd name="T7" fmla="*/ 378 h 378"/>
                  <a:gd name="T8" fmla="*/ 569 w 569"/>
                  <a:gd name="T9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9" h="378">
                    <a:moveTo>
                      <a:pt x="569" y="0"/>
                    </a:moveTo>
                    <a:lnTo>
                      <a:pt x="375" y="0"/>
                    </a:lnTo>
                    <a:lnTo>
                      <a:pt x="0" y="378"/>
                    </a:lnTo>
                    <a:lnTo>
                      <a:pt x="193" y="378"/>
                    </a:lnTo>
                    <a:lnTo>
                      <a:pt x="569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40" name="任意多边形: 形状 39"/>
              <p:cNvSpPr/>
              <p:nvPr/>
            </p:nvSpPr>
            <p:spPr bwMode="auto">
              <a:xfrm>
                <a:off x="5878016" y="5208352"/>
                <a:ext cx="602172" cy="495906"/>
              </a:xfrm>
              <a:custGeom>
                <a:avLst/>
                <a:gdLst>
                  <a:gd name="T0" fmla="*/ 459 w 459"/>
                  <a:gd name="T1" fmla="*/ 111 h 378"/>
                  <a:gd name="T2" fmla="*/ 459 w 459"/>
                  <a:gd name="T3" fmla="*/ 0 h 378"/>
                  <a:gd name="T4" fmla="*/ 376 w 459"/>
                  <a:gd name="T5" fmla="*/ 0 h 378"/>
                  <a:gd name="T6" fmla="*/ 0 w 459"/>
                  <a:gd name="T7" fmla="*/ 378 h 378"/>
                  <a:gd name="T8" fmla="*/ 194 w 459"/>
                  <a:gd name="T9" fmla="*/ 378 h 378"/>
                  <a:gd name="T10" fmla="*/ 459 w 459"/>
                  <a:gd name="T11" fmla="*/ 111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9" h="378">
                    <a:moveTo>
                      <a:pt x="459" y="111"/>
                    </a:moveTo>
                    <a:lnTo>
                      <a:pt x="459" y="0"/>
                    </a:lnTo>
                    <a:lnTo>
                      <a:pt x="376" y="0"/>
                    </a:lnTo>
                    <a:lnTo>
                      <a:pt x="0" y="378"/>
                    </a:lnTo>
                    <a:lnTo>
                      <a:pt x="194" y="378"/>
                    </a:lnTo>
                    <a:lnTo>
                      <a:pt x="459" y="111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41" name="任意多边形: 形状 40"/>
              <p:cNvSpPr/>
              <p:nvPr/>
            </p:nvSpPr>
            <p:spPr bwMode="auto">
              <a:xfrm>
                <a:off x="5089552" y="5208352"/>
                <a:ext cx="746483" cy="495906"/>
              </a:xfrm>
              <a:custGeom>
                <a:avLst/>
                <a:gdLst>
                  <a:gd name="T0" fmla="*/ 569 w 569"/>
                  <a:gd name="T1" fmla="*/ 0 h 378"/>
                  <a:gd name="T2" fmla="*/ 376 w 569"/>
                  <a:gd name="T3" fmla="*/ 0 h 378"/>
                  <a:gd name="T4" fmla="*/ 0 w 569"/>
                  <a:gd name="T5" fmla="*/ 378 h 378"/>
                  <a:gd name="T6" fmla="*/ 193 w 569"/>
                  <a:gd name="T7" fmla="*/ 378 h 378"/>
                  <a:gd name="T8" fmla="*/ 569 w 569"/>
                  <a:gd name="T9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9" h="378">
                    <a:moveTo>
                      <a:pt x="569" y="0"/>
                    </a:moveTo>
                    <a:lnTo>
                      <a:pt x="376" y="0"/>
                    </a:lnTo>
                    <a:lnTo>
                      <a:pt x="0" y="378"/>
                    </a:lnTo>
                    <a:lnTo>
                      <a:pt x="193" y="378"/>
                    </a:lnTo>
                    <a:lnTo>
                      <a:pt x="569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42" name="任意多边形: 形状 41"/>
              <p:cNvSpPr/>
              <p:nvPr/>
            </p:nvSpPr>
            <p:spPr bwMode="auto">
              <a:xfrm>
                <a:off x="6272904" y="5495662"/>
                <a:ext cx="207283" cy="208596"/>
              </a:xfrm>
              <a:custGeom>
                <a:avLst/>
                <a:gdLst>
                  <a:gd name="T0" fmla="*/ 158 w 158"/>
                  <a:gd name="T1" fmla="*/ 0 h 159"/>
                  <a:gd name="T2" fmla="*/ 0 w 158"/>
                  <a:gd name="T3" fmla="*/ 159 h 159"/>
                  <a:gd name="T4" fmla="*/ 158 w 158"/>
                  <a:gd name="T5" fmla="*/ 159 h 159"/>
                  <a:gd name="T6" fmla="*/ 158 w 158"/>
                  <a:gd name="T7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8" h="159">
                    <a:moveTo>
                      <a:pt x="158" y="0"/>
                    </a:moveTo>
                    <a:lnTo>
                      <a:pt x="0" y="159"/>
                    </a:lnTo>
                    <a:lnTo>
                      <a:pt x="158" y="159"/>
                    </a:lnTo>
                    <a:lnTo>
                      <a:pt x="158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 fontScale="47500" lnSpcReduction="2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43" name="任意多边形: 形状 42"/>
              <p:cNvSpPr/>
              <p:nvPr/>
            </p:nvSpPr>
            <p:spPr bwMode="auto">
              <a:xfrm>
                <a:off x="4694664" y="5208352"/>
                <a:ext cx="747795" cy="495906"/>
              </a:xfrm>
              <a:custGeom>
                <a:avLst/>
                <a:gdLst>
                  <a:gd name="T0" fmla="*/ 570 w 570"/>
                  <a:gd name="T1" fmla="*/ 0 h 378"/>
                  <a:gd name="T2" fmla="*/ 376 w 570"/>
                  <a:gd name="T3" fmla="*/ 0 h 378"/>
                  <a:gd name="T4" fmla="*/ 0 w 570"/>
                  <a:gd name="T5" fmla="*/ 378 h 378"/>
                  <a:gd name="T6" fmla="*/ 194 w 570"/>
                  <a:gd name="T7" fmla="*/ 378 h 378"/>
                  <a:gd name="T8" fmla="*/ 570 w 570"/>
                  <a:gd name="T9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0" h="378">
                    <a:moveTo>
                      <a:pt x="570" y="0"/>
                    </a:moveTo>
                    <a:lnTo>
                      <a:pt x="376" y="0"/>
                    </a:lnTo>
                    <a:lnTo>
                      <a:pt x="0" y="378"/>
                    </a:lnTo>
                    <a:lnTo>
                      <a:pt x="194" y="378"/>
                    </a:lnTo>
                    <a:lnTo>
                      <a:pt x="57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44" name="任意多边形: 形状 43"/>
              <p:cNvSpPr/>
              <p:nvPr/>
            </p:nvSpPr>
            <p:spPr bwMode="auto">
              <a:xfrm>
                <a:off x="3906200" y="5208352"/>
                <a:ext cx="746483" cy="495906"/>
              </a:xfrm>
              <a:custGeom>
                <a:avLst/>
                <a:gdLst>
                  <a:gd name="T0" fmla="*/ 569 w 569"/>
                  <a:gd name="T1" fmla="*/ 0 h 378"/>
                  <a:gd name="T2" fmla="*/ 376 w 569"/>
                  <a:gd name="T3" fmla="*/ 0 h 378"/>
                  <a:gd name="T4" fmla="*/ 0 w 569"/>
                  <a:gd name="T5" fmla="*/ 378 h 378"/>
                  <a:gd name="T6" fmla="*/ 194 w 569"/>
                  <a:gd name="T7" fmla="*/ 378 h 378"/>
                  <a:gd name="T8" fmla="*/ 569 w 569"/>
                  <a:gd name="T9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9" h="378">
                    <a:moveTo>
                      <a:pt x="569" y="0"/>
                    </a:moveTo>
                    <a:lnTo>
                      <a:pt x="376" y="0"/>
                    </a:lnTo>
                    <a:lnTo>
                      <a:pt x="0" y="378"/>
                    </a:lnTo>
                    <a:lnTo>
                      <a:pt x="194" y="378"/>
                    </a:lnTo>
                    <a:lnTo>
                      <a:pt x="569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45" name="任意多边形: 形状 44"/>
              <p:cNvSpPr/>
              <p:nvPr/>
            </p:nvSpPr>
            <p:spPr bwMode="auto">
              <a:xfrm>
                <a:off x="4301087" y="5208352"/>
                <a:ext cx="746483" cy="495906"/>
              </a:xfrm>
              <a:custGeom>
                <a:avLst/>
                <a:gdLst>
                  <a:gd name="T0" fmla="*/ 569 w 569"/>
                  <a:gd name="T1" fmla="*/ 0 h 378"/>
                  <a:gd name="T2" fmla="*/ 376 w 569"/>
                  <a:gd name="T3" fmla="*/ 0 h 378"/>
                  <a:gd name="T4" fmla="*/ 0 w 569"/>
                  <a:gd name="T5" fmla="*/ 378 h 378"/>
                  <a:gd name="T6" fmla="*/ 193 w 569"/>
                  <a:gd name="T7" fmla="*/ 378 h 378"/>
                  <a:gd name="T8" fmla="*/ 569 w 569"/>
                  <a:gd name="T9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9" h="378">
                    <a:moveTo>
                      <a:pt x="569" y="0"/>
                    </a:moveTo>
                    <a:lnTo>
                      <a:pt x="376" y="0"/>
                    </a:lnTo>
                    <a:lnTo>
                      <a:pt x="0" y="378"/>
                    </a:lnTo>
                    <a:lnTo>
                      <a:pt x="193" y="378"/>
                    </a:lnTo>
                    <a:lnTo>
                      <a:pt x="569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  <p:cxnSp>
          <p:nvCxnSpPr>
            <p:cNvPr id="9" name="直接连接符 8"/>
            <p:cNvCxnSpPr/>
            <p:nvPr/>
          </p:nvCxnSpPr>
          <p:spPr>
            <a:xfrm flipV="1">
              <a:off x="4645524" y="3977140"/>
              <a:ext cx="0" cy="1523474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sysDash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任意多边形: 形状 9"/>
            <p:cNvSpPr/>
            <p:nvPr/>
          </p:nvSpPr>
          <p:spPr bwMode="auto">
            <a:xfrm>
              <a:off x="3646885" y="1729160"/>
              <a:ext cx="1997279" cy="2174863"/>
            </a:xfrm>
            <a:custGeom>
              <a:avLst/>
              <a:gdLst>
                <a:gd name="T0" fmla="*/ 344 w 344"/>
                <a:gd name="T1" fmla="*/ 172 h 375"/>
                <a:gd name="T2" fmla="*/ 172 w 344"/>
                <a:gd name="T3" fmla="*/ 0 h 375"/>
                <a:gd name="T4" fmla="*/ 0 w 344"/>
                <a:gd name="T5" fmla="*/ 172 h 375"/>
                <a:gd name="T6" fmla="*/ 148 w 344"/>
                <a:gd name="T7" fmla="*/ 343 h 375"/>
                <a:gd name="T8" fmla="*/ 171 w 344"/>
                <a:gd name="T9" fmla="*/ 375 h 375"/>
                <a:gd name="T10" fmla="*/ 194 w 344"/>
                <a:gd name="T11" fmla="*/ 343 h 375"/>
                <a:gd name="T12" fmla="*/ 344 w 344"/>
                <a:gd name="T13" fmla="*/ 172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4" h="375">
                  <a:moveTo>
                    <a:pt x="344" y="172"/>
                  </a:moveTo>
                  <a:cubicBezTo>
                    <a:pt x="344" y="77"/>
                    <a:pt x="267" y="0"/>
                    <a:pt x="172" y="0"/>
                  </a:cubicBezTo>
                  <a:cubicBezTo>
                    <a:pt x="77" y="0"/>
                    <a:pt x="0" y="77"/>
                    <a:pt x="0" y="172"/>
                  </a:cubicBezTo>
                  <a:cubicBezTo>
                    <a:pt x="0" y="259"/>
                    <a:pt x="64" y="331"/>
                    <a:pt x="148" y="343"/>
                  </a:cubicBezTo>
                  <a:cubicBezTo>
                    <a:pt x="160" y="349"/>
                    <a:pt x="169" y="361"/>
                    <a:pt x="171" y="375"/>
                  </a:cubicBezTo>
                  <a:cubicBezTo>
                    <a:pt x="173" y="361"/>
                    <a:pt x="182" y="349"/>
                    <a:pt x="194" y="343"/>
                  </a:cubicBezTo>
                  <a:cubicBezTo>
                    <a:pt x="278" y="332"/>
                    <a:pt x="344" y="260"/>
                    <a:pt x="344" y="17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1"/>
              </a:solidFill>
              <a:prstDash val="solid"/>
              <a:miter lim="800000"/>
            </a:ln>
            <a:effectLst/>
          </p:spPr>
          <p:txBody>
            <a:bodyPr vert="horz" wrap="square" lIns="91440" tIns="45720" rIns="91440" bIns="45720" anchor="b" anchorCtr="1" compatLnSpc="1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lang="zh-CN" altLang="en-US" sz="1400" b="1" dirty="0"/>
            </a:p>
          </p:txBody>
        </p:sp>
        <p:cxnSp>
          <p:nvCxnSpPr>
            <p:cNvPr id="11" name="直接连接符 10"/>
            <p:cNvCxnSpPr/>
            <p:nvPr/>
          </p:nvCxnSpPr>
          <p:spPr>
            <a:xfrm flipV="1">
              <a:off x="6558880" y="4258242"/>
              <a:ext cx="0" cy="1242372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sysDash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任意多边形: 形状 11"/>
            <p:cNvSpPr/>
            <p:nvPr/>
          </p:nvSpPr>
          <p:spPr bwMode="auto">
            <a:xfrm>
              <a:off x="5744503" y="2411555"/>
              <a:ext cx="1628755" cy="1773570"/>
            </a:xfrm>
            <a:custGeom>
              <a:avLst/>
              <a:gdLst>
                <a:gd name="T0" fmla="*/ 344 w 344"/>
                <a:gd name="T1" fmla="*/ 172 h 375"/>
                <a:gd name="T2" fmla="*/ 172 w 344"/>
                <a:gd name="T3" fmla="*/ 0 h 375"/>
                <a:gd name="T4" fmla="*/ 0 w 344"/>
                <a:gd name="T5" fmla="*/ 172 h 375"/>
                <a:gd name="T6" fmla="*/ 148 w 344"/>
                <a:gd name="T7" fmla="*/ 343 h 375"/>
                <a:gd name="T8" fmla="*/ 171 w 344"/>
                <a:gd name="T9" fmla="*/ 375 h 375"/>
                <a:gd name="T10" fmla="*/ 194 w 344"/>
                <a:gd name="T11" fmla="*/ 343 h 375"/>
                <a:gd name="T12" fmla="*/ 344 w 344"/>
                <a:gd name="T13" fmla="*/ 172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4" h="375">
                  <a:moveTo>
                    <a:pt x="344" y="172"/>
                  </a:moveTo>
                  <a:cubicBezTo>
                    <a:pt x="344" y="77"/>
                    <a:pt x="267" y="0"/>
                    <a:pt x="172" y="0"/>
                  </a:cubicBezTo>
                  <a:cubicBezTo>
                    <a:pt x="77" y="0"/>
                    <a:pt x="0" y="77"/>
                    <a:pt x="0" y="172"/>
                  </a:cubicBezTo>
                  <a:cubicBezTo>
                    <a:pt x="0" y="259"/>
                    <a:pt x="64" y="331"/>
                    <a:pt x="148" y="343"/>
                  </a:cubicBezTo>
                  <a:cubicBezTo>
                    <a:pt x="160" y="349"/>
                    <a:pt x="169" y="361"/>
                    <a:pt x="171" y="375"/>
                  </a:cubicBezTo>
                  <a:cubicBezTo>
                    <a:pt x="173" y="361"/>
                    <a:pt x="182" y="349"/>
                    <a:pt x="194" y="343"/>
                  </a:cubicBezTo>
                  <a:cubicBezTo>
                    <a:pt x="278" y="332"/>
                    <a:pt x="344" y="260"/>
                    <a:pt x="344" y="17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vert="horz" wrap="square" lIns="91440" tIns="45720" rIns="91440" bIns="45720" anchor="b" anchorCtr="1" compatLnSpc="1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lang="zh-CN" altLang="en-US" sz="1400" b="1" dirty="0"/>
            </a:p>
          </p:txBody>
        </p:sp>
        <p:cxnSp>
          <p:nvCxnSpPr>
            <p:cNvPr id="13" name="直接连接符 12"/>
            <p:cNvCxnSpPr/>
            <p:nvPr/>
          </p:nvCxnSpPr>
          <p:spPr>
            <a:xfrm flipV="1">
              <a:off x="5483178" y="4739090"/>
              <a:ext cx="0" cy="761524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sysDash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任意多边形: 形状 13"/>
            <p:cNvSpPr/>
            <p:nvPr/>
          </p:nvSpPr>
          <p:spPr bwMode="auto">
            <a:xfrm>
              <a:off x="4983998" y="3578845"/>
              <a:ext cx="998360" cy="1087128"/>
            </a:xfrm>
            <a:custGeom>
              <a:avLst/>
              <a:gdLst>
                <a:gd name="T0" fmla="*/ 344 w 344"/>
                <a:gd name="T1" fmla="*/ 172 h 375"/>
                <a:gd name="T2" fmla="*/ 172 w 344"/>
                <a:gd name="T3" fmla="*/ 0 h 375"/>
                <a:gd name="T4" fmla="*/ 0 w 344"/>
                <a:gd name="T5" fmla="*/ 172 h 375"/>
                <a:gd name="T6" fmla="*/ 148 w 344"/>
                <a:gd name="T7" fmla="*/ 343 h 375"/>
                <a:gd name="T8" fmla="*/ 171 w 344"/>
                <a:gd name="T9" fmla="*/ 375 h 375"/>
                <a:gd name="T10" fmla="*/ 194 w 344"/>
                <a:gd name="T11" fmla="*/ 343 h 375"/>
                <a:gd name="T12" fmla="*/ 344 w 344"/>
                <a:gd name="T13" fmla="*/ 172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4" h="375">
                  <a:moveTo>
                    <a:pt x="344" y="172"/>
                  </a:moveTo>
                  <a:cubicBezTo>
                    <a:pt x="344" y="77"/>
                    <a:pt x="267" y="0"/>
                    <a:pt x="172" y="0"/>
                  </a:cubicBezTo>
                  <a:cubicBezTo>
                    <a:pt x="77" y="0"/>
                    <a:pt x="0" y="77"/>
                    <a:pt x="0" y="172"/>
                  </a:cubicBezTo>
                  <a:cubicBezTo>
                    <a:pt x="0" y="259"/>
                    <a:pt x="64" y="331"/>
                    <a:pt x="148" y="343"/>
                  </a:cubicBezTo>
                  <a:cubicBezTo>
                    <a:pt x="160" y="349"/>
                    <a:pt x="169" y="361"/>
                    <a:pt x="171" y="375"/>
                  </a:cubicBezTo>
                  <a:cubicBezTo>
                    <a:pt x="173" y="361"/>
                    <a:pt x="182" y="349"/>
                    <a:pt x="194" y="343"/>
                  </a:cubicBezTo>
                  <a:cubicBezTo>
                    <a:pt x="278" y="332"/>
                    <a:pt x="344" y="260"/>
                    <a:pt x="344" y="17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vert="horz" wrap="square" lIns="91440" tIns="45720" rIns="91440" bIns="45720" anchor="b" anchorCtr="1" compatLnSpc="1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lang="zh-CN" altLang="en-US" sz="1100" b="1" dirty="0"/>
            </a:p>
          </p:txBody>
        </p:sp>
        <p:cxnSp>
          <p:nvCxnSpPr>
            <p:cNvPr id="15" name="直接连接符 14"/>
            <p:cNvCxnSpPr/>
            <p:nvPr/>
          </p:nvCxnSpPr>
          <p:spPr>
            <a:xfrm flipV="1">
              <a:off x="7932293" y="4565725"/>
              <a:ext cx="0" cy="934889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sysDash"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任意多边形: 形状 15"/>
            <p:cNvSpPr/>
            <p:nvPr/>
          </p:nvSpPr>
          <p:spPr bwMode="auto">
            <a:xfrm>
              <a:off x="7319471" y="3157988"/>
              <a:ext cx="1225644" cy="1334620"/>
            </a:xfrm>
            <a:custGeom>
              <a:avLst/>
              <a:gdLst>
                <a:gd name="T0" fmla="*/ 344 w 344"/>
                <a:gd name="T1" fmla="*/ 172 h 375"/>
                <a:gd name="T2" fmla="*/ 172 w 344"/>
                <a:gd name="T3" fmla="*/ 0 h 375"/>
                <a:gd name="T4" fmla="*/ 0 w 344"/>
                <a:gd name="T5" fmla="*/ 172 h 375"/>
                <a:gd name="T6" fmla="*/ 148 w 344"/>
                <a:gd name="T7" fmla="*/ 343 h 375"/>
                <a:gd name="T8" fmla="*/ 171 w 344"/>
                <a:gd name="T9" fmla="*/ 375 h 375"/>
                <a:gd name="T10" fmla="*/ 194 w 344"/>
                <a:gd name="T11" fmla="*/ 343 h 375"/>
                <a:gd name="T12" fmla="*/ 344 w 344"/>
                <a:gd name="T13" fmla="*/ 172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4" h="375">
                  <a:moveTo>
                    <a:pt x="344" y="172"/>
                  </a:moveTo>
                  <a:cubicBezTo>
                    <a:pt x="344" y="77"/>
                    <a:pt x="267" y="0"/>
                    <a:pt x="172" y="0"/>
                  </a:cubicBezTo>
                  <a:cubicBezTo>
                    <a:pt x="77" y="0"/>
                    <a:pt x="0" y="77"/>
                    <a:pt x="0" y="172"/>
                  </a:cubicBezTo>
                  <a:cubicBezTo>
                    <a:pt x="0" y="259"/>
                    <a:pt x="64" y="331"/>
                    <a:pt x="148" y="343"/>
                  </a:cubicBezTo>
                  <a:cubicBezTo>
                    <a:pt x="160" y="349"/>
                    <a:pt x="169" y="361"/>
                    <a:pt x="171" y="375"/>
                  </a:cubicBezTo>
                  <a:cubicBezTo>
                    <a:pt x="173" y="361"/>
                    <a:pt x="182" y="349"/>
                    <a:pt x="194" y="343"/>
                  </a:cubicBezTo>
                  <a:cubicBezTo>
                    <a:pt x="278" y="332"/>
                    <a:pt x="344" y="260"/>
                    <a:pt x="344" y="17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vert="horz" wrap="square" lIns="91440" tIns="45720" rIns="91440" bIns="45720" anchor="b" anchorCtr="1" compatLnSpc="1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lang="zh-CN" altLang="en-US" sz="1100" b="1" dirty="0"/>
            </a:p>
          </p:txBody>
        </p:sp>
        <p:grpSp>
          <p:nvGrpSpPr>
            <p:cNvPr id="17" name="组合 16"/>
            <p:cNvGrpSpPr/>
            <p:nvPr/>
          </p:nvGrpSpPr>
          <p:grpSpPr>
            <a:xfrm>
              <a:off x="673100" y="1489466"/>
              <a:ext cx="3134771" cy="1342964"/>
              <a:chOff x="673100" y="1400237"/>
              <a:chExt cx="3134771" cy="1342964"/>
            </a:xfrm>
          </p:grpSpPr>
          <p:sp>
            <p:nvSpPr>
              <p:cNvPr id="31" name="文本框 30">
                <a:extLst>
                  <a:ext uri="{FF2B5EF4-FFF2-40B4-BE49-F238E27FC236}">
                    <a16:creationId xmlns:a16="http://schemas.microsoft.com/office/drawing/2014/main" id="{EFF6F2BB-2D7C-4225-B0FE-AA9522120998}"/>
                  </a:ext>
                </a:extLst>
              </p:cNvPr>
              <p:cNvSpPr txBox="1"/>
              <p:nvPr/>
            </p:nvSpPr>
            <p:spPr>
              <a:xfrm>
                <a:off x="673100" y="1847649"/>
                <a:ext cx="3134771" cy="89555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</a:t>
                </a:r>
                <a:r>
                  <a:rPr lang="en-US" altLang="zh-CN" sz="1100"/>
                  <a:t>only opti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on </a:t>
                </a:r>
                <a:r>
                  <a:rPr lang="en-US" altLang="zh-CN" sz="1100" dirty="0"/>
                  <a:t>to retain text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32" name="文本框 31">
                <a:extLst>
                  <a:ext uri="{FF2B5EF4-FFF2-40B4-BE49-F238E27FC236}">
                    <a16:creationId xmlns:a16="http://schemas.microsoft.com/office/drawing/2014/main" id="{E1BB6FC7-50B6-4DBE-9C32-BA17B6BD27D1}"/>
                  </a:ext>
                </a:extLst>
              </p:cNvPr>
              <p:cNvSpPr txBox="1"/>
              <p:nvPr/>
            </p:nvSpPr>
            <p:spPr>
              <a:xfrm>
                <a:off x="673100" y="1400237"/>
                <a:ext cx="3134771" cy="4474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/>
                  <a:t>Text 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here</a:t>
                </a:r>
                <a:endParaRPr lang="en-US" altLang="zh-CN" b="1" dirty="0"/>
              </a:p>
            </p:txBody>
          </p:sp>
        </p:grpSp>
        <p:grpSp>
          <p:nvGrpSpPr>
            <p:cNvPr id="18" name="组合 17"/>
            <p:cNvGrpSpPr/>
            <p:nvPr/>
          </p:nvGrpSpPr>
          <p:grpSpPr>
            <a:xfrm>
              <a:off x="8384129" y="1489466"/>
              <a:ext cx="3134771" cy="1342964"/>
              <a:chOff x="673100" y="1400237"/>
              <a:chExt cx="3134771" cy="1342964"/>
            </a:xfrm>
          </p:grpSpPr>
          <p:sp>
            <p:nvSpPr>
              <p:cNvPr id="29" name="文本框 28">
                <a:extLst>
                  <a:ext uri="{FF2B5EF4-FFF2-40B4-BE49-F238E27FC236}">
                    <a16:creationId xmlns:a16="http://schemas.microsoft.com/office/drawing/2014/main" id="{EFF6F2BB-2D7C-4225-B0FE-AA9522120998}"/>
                  </a:ext>
                </a:extLst>
              </p:cNvPr>
              <p:cNvSpPr txBox="1"/>
              <p:nvPr/>
            </p:nvSpPr>
            <p:spPr>
              <a:xfrm>
                <a:off x="673100" y="1847649"/>
                <a:ext cx="3134771" cy="89555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</a:t>
                </a:r>
                <a:r>
                  <a:rPr lang="en-US" altLang="zh-CN" sz="1100"/>
                  <a:t>only opti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on </a:t>
                </a:r>
                <a:r>
                  <a:rPr lang="en-US" altLang="zh-CN" sz="1100" dirty="0"/>
                  <a:t>to retain text.</a:t>
                </a:r>
              </a:p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30" name="文本框 29">
                <a:extLst>
                  <a:ext uri="{FF2B5EF4-FFF2-40B4-BE49-F238E27FC236}">
                    <a16:creationId xmlns:a16="http://schemas.microsoft.com/office/drawing/2014/main" id="{E1BB6FC7-50B6-4DBE-9C32-BA17B6BD27D1}"/>
                  </a:ext>
                </a:extLst>
              </p:cNvPr>
              <p:cNvSpPr txBox="1"/>
              <p:nvPr/>
            </p:nvSpPr>
            <p:spPr>
              <a:xfrm>
                <a:off x="673100" y="1400237"/>
                <a:ext cx="3134771" cy="4474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b="1"/>
                  <a:t>Text 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here</a:t>
                </a:r>
                <a:endParaRPr lang="en-US" altLang="zh-CN" b="1" dirty="0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673100" y="3149833"/>
              <a:ext cx="3134771" cy="1342964"/>
              <a:chOff x="673100" y="1400237"/>
              <a:chExt cx="3134771" cy="1342964"/>
            </a:xfrm>
          </p:grpSpPr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EFF6F2BB-2D7C-4225-B0FE-AA9522120998}"/>
                  </a:ext>
                </a:extLst>
              </p:cNvPr>
              <p:cNvSpPr txBox="1"/>
              <p:nvPr/>
            </p:nvSpPr>
            <p:spPr>
              <a:xfrm>
                <a:off x="673100" y="1847649"/>
                <a:ext cx="3134771" cy="89555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</a:t>
                </a:r>
                <a:r>
                  <a:rPr lang="en-US" altLang="zh-CN" sz="1100"/>
                  <a:t>only opti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on </a:t>
                </a:r>
                <a:r>
                  <a:rPr lang="en-US" altLang="zh-CN" sz="1100" dirty="0"/>
                  <a:t>to retain text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E1BB6FC7-50B6-4DBE-9C32-BA17B6BD27D1}"/>
                  </a:ext>
                </a:extLst>
              </p:cNvPr>
              <p:cNvSpPr txBox="1"/>
              <p:nvPr/>
            </p:nvSpPr>
            <p:spPr>
              <a:xfrm>
                <a:off x="673100" y="1400237"/>
                <a:ext cx="3134771" cy="4474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/>
                  <a:t>Text 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here</a:t>
                </a:r>
                <a:endParaRPr lang="en-US" altLang="zh-CN" b="1" dirty="0"/>
              </a:p>
            </p:txBody>
          </p:sp>
        </p:grpSp>
        <p:grpSp>
          <p:nvGrpSpPr>
            <p:cNvPr id="20" name="组合 19"/>
            <p:cNvGrpSpPr/>
            <p:nvPr/>
          </p:nvGrpSpPr>
          <p:grpSpPr>
            <a:xfrm>
              <a:off x="8384129" y="3149833"/>
              <a:ext cx="3134771" cy="1342964"/>
              <a:chOff x="673100" y="1400237"/>
              <a:chExt cx="3134771" cy="1342964"/>
            </a:xfrm>
          </p:grpSpPr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EFF6F2BB-2D7C-4225-B0FE-AA9522120998}"/>
                  </a:ext>
                </a:extLst>
              </p:cNvPr>
              <p:cNvSpPr txBox="1"/>
              <p:nvPr/>
            </p:nvSpPr>
            <p:spPr>
              <a:xfrm>
                <a:off x="673100" y="1847649"/>
                <a:ext cx="3134771" cy="89555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</a:t>
                </a:r>
                <a:r>
                  <a:rPr lang="en-US" altLang="zh-CN" sz="1100"/>
                  <a:t>only opti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on </a:t>
                </a:r>
                <a:r>
                  <a:rPr lang="en-US" altLang="zh-CN" sz="1100" dirty="0"/>
                  <a:t>to retain text.</a:t>
                </a:r>
              </a:p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E1BB6FC7-50B6-4DBE-9C32-BA17B6BD27D1}"/>
                  </a:ext>
                </a:extLst>
              </p:cNvPr>
              <p:cNvSpPr txBox="1"/>
              <p:nvPr/>
            </p:nvSpPr>
            <p:spPr>
              <a:xfrm>
                <a:off x="673100" y="1400237"/>
                <a:ext cx="3134771" cy="44741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b="1"/>
                  <a:t>Text 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here</a:t>
                </a:r>
                <a:endParaRPr lang="en-US" altLang="zh-CN" b="1" dirty="0"/>
              </a:p>
            </p:txBody>
          </p:sp>
        </p:grpSp>
        <p:sp>
          <p:nvSpPr>
            <p:cNvPr id="21" name="任意多边形: 形状 20"/>
            <p:cNvSpPr/>
            <p:nvPr/>
          </p:nvSpPr>
          <p:spPr>
            <a:xfrm>
              <a:off x="4206896" y="2288114"/>
              <a:ext cx="822304" cy="834592"/>
            </a:xfrm>
            <a:custGeom>
              <a:avLst/>
              <a:gdLst>
                <a:gd name="connsiteX0" fmla="*/ 322492 w 599806"/>
                <a:gd name="connsiteY0" fmla="*/ 361615 h 608768"/>
                <a:gd name="connsiteX1" fmla="*/ 258086 w 599806"/>
                <a:gd name="connsiteY1" fmla="*/ 442798 h 608768"/>
                <a:gd name="connsiteX2" fmla="*/ 339393 w 599806"/>
                <a:gd name="connsiteY2" fmla="*/ 378490 h 608768"/>
                <a:gd name="connsiteX3" fmla="*/ 329572 w 599806"/>
                <a:gd name="connsiteY3" fmla="*/ 371421 h 608768"/>
                <a:gd name="connsiteX4" fmla="*/ 322492 w 599806"/>
                <a:gd name="connsiteY4" fmla="*/ 361615 h 608768"/>
                <a:gd name="connsiteX5" fmla="*/ 349099 w 599806"/>
                <a:gd name="connsiteY5" fmla="*/ 337784 h 608768"/>
                <a:gd name="connsiteX6" fmla="*/ 349099 w 599806"/>
                <a:gd name="connsiteY6" fmla="*/ 351923 h 608768"/>
                <a:gd name="connsiteX7" fmla="*/ 363259 w 599806"/>
                <a:gd name="connsiteY7" fmla="*/ 351923 h 608768"/>
                <a:gd name="connsiteX8" fmla="*/ 457227 w 599806"/>
                <a:gd name="connsiteY8" fmla="*/ 229763 h 608768"/>
                <a:gd name="connsiteX9" fmla="*/ 467062 w 599806"/>
                <a:gd name="connsiteY9" fmla="*/ 234138 h 608768"/>
                <a:gd name="connsiteX10" fmla="*/ 468204 w 599806"/>
                <a:gd name="connsiteY10" fmla="*/ 254206 h 608768"/>
                <a:gd name="connsiteX11" fmla="*/ 393635 w 599806"/>
                <a:gd name="connsiteY11" fmla="*/ 348274 h 608768"/>
                <a:gd name="connsiteX12" fmla="*/ 382787 w 599806"/>
                <a:gd name="connsiteY12" fmla="*/ 371421 h 608768"/>
                <a:gd name="connsiteX13" fmla="*/ 359491 w 599806"/>
                <a:gd name="connsiteY13" fmla="*/ 382253 h 608768"/>
                <a:gd name="connsiteX14" fmla="*/ 265395 w 599806"/>
                <a:gd name="connsiteY14" fmla="*/ 456709 h 608768"/>
                <a:gd name="connsiteX15" fmla="*/ 245296 w 599806"/>
                <a:gd name="connsiteY15" fmla="*/ 455569 h 608768"/>
                <a:gd name="connsiteX16" fmla="*/ 244154 w 599806"/>
                <a:gd name="connsiteY16" fmla="*/ 435501 h 608768"/>
                <a:gd name="connsiteX17" fmla="*/ 318723 w 599806"/>
                <a:gd name="connsiteY17" fmla="*/ 341547 h 608768"/>
                <a:gd name="connsiteX18" fmla="*/ 329572 w 599806"/>
                <a:gd name="connsiteY18" fmla="*/ 318286 h 608768"/>
                <a:gd name="connsiteX19" fmla="*/ 352753 w 599806"/>
                <a:gd name="connsiteY19" fmla="*/ 307454 h 608768"/>
                <a:gd name="connsiteX20" fmla="*/ 446964 w 599806"/>
                <a:gd name="connsiteY20" fmla="*/ 232998 h 608768"/>
                <a:gd name="connsiteX21" fmla="*/ 457227 w 599806"/>
                <a:gd name="connsiteY21" fmla="*/ 229763 h 608768"/>
                <a:gd name="connsiteX22" fmla="*/ 136593 w 599806"/>
                <a:gd name="connsiteY22" fmla="*/ 176654 h 608768"/>
                <a:gd name="connsiteX23" fmla="*/ 127228 w 599806"/>
                <a:gd name="connsiteY23" fmla="*/ 179962 h 608768"/>
                <a:gd name="connsiteX24" fmla="*/ 124030 w 599806"/>
                <a:gd name="connsiteY24" fmla="*/ 183725 h 608768"/>
                <a:gd name="connsiteX25" fmla="*/ 124030 w 599806"/>
                <a:gd name="connsiteY25" fmla="*/ 193419 h 608768"/>
                <a:gd name="connsiteX26" fmla="*/ 122545 w 599806"/>
                <a:gd name="connsiteY26" fmla="*/ 194331 h 608768"/>
                <a:gd name="connsiteX27" fmla="*/ 121632 w 599806"/>
                <a:gd name="connsiteY27" fmla="*/ 197296 h 608768"/>
                <a:gd name="connsiteX28" fmla="*/ 123688 w 599806"/>
                <a:gd name="connsiteY28" fmla="*/ 217824 h 608768"/>
                <a:gd name="connsiteX29" fmla="*/ 126543 w 599806"/>
                <a:gd name="connsiteY29" fmla="*/ 221132 h 608768"/>
                <a:gd name="connsiteX30" fmla="*/ 127571 w 599806"/>
                <a:gd name="connsiteY30" fmla="*/ 221246 h 608768"/>
                <a:gd name="connsiteX31" fmla="*/ 130654 w 599806"/>
                <a:gd name="connsiteY31" fmla="*/ 219763 h 608768"/>
                <a:gd name="connsiteX32" fmla="*/ 141504 w 599806"/>
                <a:gd name="connsiteY32" fmla="*/ 205394 h 608768"/>
                <a:gd name="connsiteX33" fmla="*/ 142189 w 599806"/>
                <a:gd name="connsiteY33" fmla="*/ 203113 h 608768"/>
                <a:gd name="connsiteX34" fmla="*/ 142189 w 599806"/>
                <a:gd name="connsiteY34" fmla="*/ 180076 h 608768"/>
                <a:gd name="connsiteX35" fmla="*/ 140362 w 599806"/>
                <a:gd name="connsiteY35" fmla="*/ 176769 h 608768"/>
                <a:gd name="connsiteX36" fmla="*/ 136593 w 599806"/>
                <a:gd name="connsiteY36" fmla="*/ 176654 h 608768"/>
                <a:gd name="connsiteX37" fmla="*/ 87826 w 599806"/>
                <a:gd name="connsiteY37" fmla="*/ 176654 h 608768"/>
                <a:gd name="connsiteX38" fmla="*/ 83943 w 599806"/>
                <a:gd name="connsiteY38" fmla="*/ 176769 h 608768"/>
                <a:gd name="connsiteX39" fmla="*/ 82116 w 599806"/>
                <a:gd name="connsiteY39" fmla="*/ 180076 h 608768"/>
                <a:gd name="connsiteX40" fmla="*/ 82116 w 599806"/>
                <a:gd name="connsiteY40" fmla="*/ 203113 h 608768"/>
                <a:gd name="connsiteX41" fmla="*/ 82915 w 599806"/>
                <a:gd name="connsiteY41" fmla="*/ 205394 h 608768"/>
                <a:gd name="connsiteX42" fmla="*/ 93765 w 599806"/>
                <a:gd name="connsiteY42" fmla="*/ 219763 h 608768"/>
                <a:gd name="connsiteX43" fmla="*/ 96849 w 599806"/>
                <a:gd name="connsiteY43" fmla="*/ 221246 h 608768"/>
                <a:gd name="connsiteX44" fmla="*/ 97877 w 599806"/>
                <a:gd name="connsiteY44" fmla="*/ 221132 h 608768"/>
                <a:gd name="connsiteX45" fmla="*/ 100618 w 599806"/>
                <a:gd name="connsiteY45" fmla="*/ 217824 h 608768"/>
                <a:gd name="connsiteX46" fmla="*/ 102787 w 599806"/>
                <a:gd name="connsiteY46" fmla="*/ 197296 h 608768"/>
                <a:gd name="connsiteX47" fmla="*/ 101760 w 599806"/>
                <a:gd name="connsiteY47" fmla="*/ 194331 h 608768"/>
                <a:gd name="connsiteX48" fmla="*/ 100275 w 599806"/>
                <a:gd name="connsiteY48" fmla="*/ 193419 h 608768"/>
                <a:gd name="connsiteX49" fmla="*/ 100275 w 599806"/>
                <a:gd name="connsiteY49" fmla="*/ 183725 h 608768"/>
                <a:gd name="connsiteX50" fmla="*/ 97191 w 599806"/>
                <a:gd name="connsiteY50" fmla="*/ 179962 h 608768"/>
                <a:gd name="connsiteX51" fmla="*/ 87826 w 599806"/>
                <a:gd name="connsiteY51" fmla="*/ 176654 h 608768"/>
                <a:gd name="connsiteX52" fmla="*/ 356190 w 599806"/>
                <a:gd name="connsiteY52" fmla="*/ 149170 h 608768"/>
                <a:gd name="connsiteX53" fmla="*/ 342598 w 599806"/>
                <a:gd name="connsiteY53" fmla="*/ 149626 h 608768"/>
                <a:gd name="connsiteX54" fmla="*/ 356190 w 599806"/>
                <a:gd name="connsiteY54" fmla="*/ 168671 h 608768"/>
                <a:gd name="connsiteX55" fmla="*/ 369781 w 599806"/>
                <a:gd name="connsiteY55" fmla="*/ 149626 h 608768"/>
                <a:gd name="connsiteX56" fmla="*/ 356190 w 599806"/>
                <a:gd name="connsiteY56" fmla="*/ 149170 h 608768"/>
                <a:gd name="connsiteX57" fmla="*/ 356190 w 599806"/>
                <a:gd name="connsiteY57" fmla="*/ 101614 h 608768"/>
                <a:gd name="connsiteX58" fmla="*/ 599806 w 599806"/>
                <a:gd name="connsiteY58" fmla="*/ 344866 h 608768"/>
                <a:gd name="connsiteX59" fmla="*/ 356190 w 599806"/>
                <a:gd name="connsiteY59" fmla="*/ 588233 h 608768"/>
                <a:gd name="connsiteX60" fmla="*/ 220047 w 599806"/>
                <a:gd name="connsiteY60" fmla="*/ 546608 h 608768"/>
                <a:gd name="connsiteX61" fmla="*/ 220047 w 599806"/>
                <a:gd name="connsiteY61" fmla="*/ 485595 h 608768"/>
                <a:gd name="connsiteX62" fmla="*/ 321012 w 599806"/>
                <a:gd name="connsiteY62" fmla="*/ 537484 h 608768"/>
                <a:gd name="connsiteX63" fmla="*/ 348423 w 599806"/>
                <a:gd name="connsiteY63" fmla="*/ 499280 h 608768"/>
                <a:gd name="connsiteX64" fmla="*/ 356190 w 599806"/>
                <a:gd name="connsiteY64" fmla="*/ 495288 h 608768"/>
                <a:gd name="connsiteX65" fmla="*/ 363956 w 599806"/>
                <a:gd name="connsiteY65" fmla="*/ 499280 h 608768"/>
                <a:gd name="connsiteX66" fmla="*/ 391367 w 599806"/>
                <a:gd name="connsiteY66" fmla="*/ 537484 h 608768"/>
                <a:gd name="connsiteX67" fmla="*/ 548981 w 599806"/>
                <a:gd name="connsiteY67" fmla="*/ 379992 h 608768"/>
                <a:gd name="connsiteX68" fmla="*/ 510834 w 599806"/>
                <a:gd name="connsiteY68" fmla="*/ 352621 h 608768"/>
                <a:gd name="connsiteX69" fmla="*/ 506837 w 599806"/>
                <a:gd name="connsiteY69" fmla="*/ 344866 h 608768"/>
                <a:gd name="connsiteX70" fmla="*/ 510834 w 599806"/>
                <a:gd name="connsiteY70" fmla="*/ 337112 h 608768"/>
                <a:gd name="connsiteX71" fmla="*/ 548981 w 599806"/>
                <a:gd name="connsiteY71" fmla="*/ 309855 h 608768"/>
                <a:gd name="connsiteX72" fmla="*/ 391367 w 599806"/>
                <a:gd name="connsiteY72" fmla="*/ 152363 h 608768"/>
                <a:gd name="connsiteX73" fmla="*/ 363956 w 599806"/>
                <a:gd name="connsiteY73" fmla="*/ 190453 h 608768"/>
                <a:gd name="connsiteX74" fmla="*/ 356190 w 599806"/>
                <a:gd name="connsiteY74" fmla="*/ 194445 h 608768"/>
                <a:gd name="connsiteX75" fmla="*/ 348423 w 599806"/>
                <a:gd name="connsiteY75" fmla="*/ 190453 h 608768"/>
                <a:gd name="connsiteX76" fmla="*/ 321012 w 599806"/>
                <a:gd name="connsiteY76" fmla="*/ 152363 h 608768"/>
                <a:gd name="connsiteX77" fmla="*/ 250999 w 599806"/>
                <a:gd name="connsiteY77" fmla="*/ 179847 h 608768"/>
                <a:gd name="connsiteX78" fmla="*/ 212966 w 599806"/>
                <a:gd name="connsiteY78" fmla="*/ 148143 h 608768"/>
                <a:gd name="connsiteX79" fmla="*/ 356190 w 599806"/>
                <a:gd name="connsiteY79" fmla="*/ 101614 h 608768"/>
                <a:gd name="connsiteX80" fmla="*/ 93765 w 599806"/>
                <a:gd name="connsiteY80" fmla="*/ 73102 h 608768"/>
                <a:gd name="connsiteX81" fmla="*/ 67040 w 599806"/>
                <a:gd name="connsiteY81" fmla="*/ 80173 h 608768"/>
                <a:gd name="connsiteX82" fmla="*/ 64870 w 599806"/>
                <a:gd name="connsiteY82" fmla="*/ 83594 h 608768"/>
                <a:gd name="connsiteX83" fmla="*/ 64870 w 599806"/>
                <a:gd name="connsiteY83" fmla="*/ 90551 h 608768"/>
                <a:gd name="connsiteX84" fmla="*/ 63271 w 599806"/>
                <a:gd name="connsiteY84" fmla="*/ 90551 h 608768"/>
                <a:gd name="connsiteX85" fmla="*/ 59388 w 599806"/>
                <a:gd name="connsiteY85" fmla="*/ 94315 h 608768"/>
                <a:gd name="connsiteX86" fmla="*/ 59388 w 599806"/>
                <a:gd name="connsiteY86" fmla="*/ 100701 h 608768"/>
                <a:gd name="connsiteX87" fmla="*/ 61216 w 599806"/>
                <a:gd name="connsiteY87" fmla="*/ 103894 h 608768"/>
                <a:gd name="connsiteX88" fmla="*/ 64870 w 599806"/>
                <a:gd name="connsiteY88" fmla="*/ 106289 h 608768"/>
                <a:gd name="connsiteX89" fmla="*/ 65099 w 599806"/>
                <a:gd name="connsiteY89" fmla="*/ 107886 h 608768"/>
                <a:gd name="connsiteX90" fmla="*/ 78918 w 599806"/>
                <a:gd name="connsiteY90" fmla="*/ 139818 h 608768"/>
                <a:gd name="connsiteX91" fmla="*/ 101760 w 599806"/>
                <a:gd name="connsiteY91" fmla="*/ 159662 h 608768"/>
                <a:gd name="connsiteX92" fmla="*/ 122545 w 599806"/>
                <a:gd name="connsiteY92" fmla="*/ 159662 h 608768"/>
                <a:gd name="connsiteX93" fmla="*/ 145387 w 599806"/>
                <a:gd name="connsiteY93" fmla="*/ 139818 h 608768"/>
                <a:gd name="connsiteX94" fmla="*/ 159206 w 599806"/>
                <a:gd name="connsiteY94" fmla="*/ 107886 h 608768"/>
                <a:gd name="connsiteX95" fmla="*/ 159435 w 599806"/>
                <a:gd name="connsiteY95" fmla="*/ 106289 h 608768"/>
                <a:gd name="connsiteX96" fmla="*/ 163203 w 599806"/>
                <a:gd name="connsiteY96" fmla="*/ 103894 h 608768"/>
                <a:gd name="connsiteX97" fmla="*/ 164917 w 599806"/>
                <a:gd name="connsiteY97" fmla="*/ 100701 h 608768"/>
                <a:gd name="connsiteX98" fmla="*/ 164917 w 599806"/>
                <a:gd name="connsiteY98" fmla="*/ 94315 h 608768"/>
                <a:gd name="connsiteX99" fmla="*/ 161034 w 599806"/>
                <a:gd name="connsiteY99" fmla="*/ 90551 h 608768"/>
                <a:gd name="connsiteX100" fmla="*/ 158978 w 599806"/>
                <a:gd name="connsiteY100" fmla="*/ 90551 h 608768"/>
                <a:gd name="connsiteX101" fmla="*/ 157722 w 599806"/>
                <a:gd name="connsiteY101" fmla="*/ 89183 h 608768"/>
                <a:gd name="connsiteX102" fmla="*/ 154067 w 599806"/>
                <a:gd name="connsiteY102" fmla="*/ 88954 h 608768"/>
                <a:gd name="connsiteX103" fmla="*/ 138763 w 599806"/>
                <a:gd name="connsiteY103" fmla="*/ 92376 h 608768"/>
                <a:gd name="connsiteX104" fmla="*/ 115236 w 599806"/>
                <a:gd name="connsiteY104" fmla="*/ 81656 h 608768"/>
                <a:gd name="connsiteX105" fmla="*/ 93765 w 599806"/>
                <a:gd name="connsiteY105" fmla="*/ 73102 h 608768"/>
                <a:gd name="connsiteX106" fmla="*/ 102445 w 599806"/>
                <a:gd name="connsiteY106" fmla="*/ 0 h 608768"/>
                <a:gd name="connsiteX107" fmla="*/ 121974 w 599806"/>
                <a:gd name="connsiteY107" fmla="*/ 0 h 608768"/>
                <a:gd name="connsiteX108" fmla="*/ 182048 w 599806"/>
                <a:gd name="connsiteY108" fmla="*/ 60101 h 608768"/>
                <a:gd name="connsiteX109" fmla="*/ 182048 w 599806"/>
                <a:gd name="connsiteY109" fmla="*/ 78919 h 608768"/>
                <a:gd name="connsiteX110" fmla="*/ 185474 w 599806"/>
                <a:gd name="connsiteY110" fmla="*/ 89639 h 608768"/>
                <a:gd name="connsiteX111" fmla="*/ 185474 w 599806"/>
                <a:gd name="connsiteY111" fmla="*/ 103096 h 608768"/>
                <a:gd name="connsiteX112" fmla="*/ 178850 w 599806"/>
                <a:gd name="connsiteY112" fmla="*/ 117237 h 608768"/>
                <a:gd name="connsiteX113" fmla="*/ 174967 w 599806"/>
                <a:gd name="connsiteY113" fmla="*/ 127501 h 608768"/>
                <a:gd name="connsiteX114" fmla="*/ 162061 w 599806"/>
                <a:gd name="connsiteY114" fmla="*/ 151793 h 608768"/>
                <a:gd name="connsiteX115" fmla="*/ 153382 w 599806"/>
                <a:gd name="connsiteY115" fmla="*/ 162741 h 608768"/>
                <a:gd name="connsiteX116" fmla="*/ 161376 w 599806"/>
                <a:gd name="connsiteY116" fmla="*/ 168785 h 608768"/>
                <a:gd name="connsiteX117" fmla="*/ 205460 w 599806"/>
                <a:gd name="connsiteY117" fmla="*/ 177567 h 608768"/>
                <a:gd name="connsiteX118" fmla="*/ 225104 w 599806"/>
                <a:gd name="connsiteY118" fmla="*/ 201630 h 608768"/>
                <a:gd name="connsiteX119" fmla="*/ 225104 w 599806"/>
                <a:gd name="connsiteY119" fmla="*/ 360380 h 608768"/>
                <a:gd name="connsiteX120" fmla="*/ 222820 w 599806"/>
                <a:gd name="connsiteY120" fmla="*/ 370644 h 608768"/>
                <a:gd name="connsiteX121" fmla="*/ 222820 w 599806"/>
                <a:gd name="connsiteY121" fmla="*/ 387978 h 608768"/>
                <a:gd name="connsiteX122" fmla="*/ 201349 w 599806"/>
                <a:gd name="connsiteY122" fmla="*/ 409419 h 608768"/>
                <a:gd name="connsiteX123" fmla="*/ 189700 w 599806"/>
                <a:gd name="connsiteY123" fmla="*/ 405997 h 608768"/>
                <a:gd name="connsiteX124" fmla="*/ 189700 w 599806"/>
                <a:gd name="connsiteY124" fmla="*/ 570221 h 608768"/>
                <a:gd name="connsiteX125" fmla="*/ 151097 w 599806"/>
                <a:gd name="connsiteY125" fmla="*/ 608768 h 608768"/>
                <a:gd name="connsiteX126" fmla="*/ 112609 w 599806"/>
                <a:gd name="connsiteY126" fmla="*/ 570221 h 608768"/>
                <a:gd name="connsiteX127" fmla="*/ 74007 w 599806"/>
                <a:gd name="connsiteY127" fmla="*/ 608768 h 608768"/>
                <a:gd name="connsiteX128" fmla="*/ 35405 w 599806"/>
                <a:gd name="connsiteY128" fmla="*/ 570221 h 608768"/>
                <a:gd name="connsiteX129" fmla="*/ 35405 w 599806"/>
                <a:gd name="connsiteY129" fmla="*/ 405997 h 608768"/>
                <a:gd name="connsiteX130" fmla="*/ 23756 w 599806"/>
                <a:gd name="connsiteY130" fmla="*/ 409419 h 608768"/>
                <a:gd name="connsiteX131" fmla="*/ 2284 w 599806"/>
                <a:gd name="connsiteY131" fmla="*/ 387978 h 608768"/>
                <a:gd name="connsiteX132" fmla="*/ 2284 w 599806"/>
                <a:gd name="connsiteY132" fmla="*/ 370644 h 608768"/>
                <a:gd name="connsiteX133" fmla="*/ 0 w 599806"/>
                <a:gd name="connsiteY133" fmla="*/ 360380 h 608768"/>
                <a:gd name="connsiteX134" fmla="*/ 0 w 599806"/>
                <a:gd name="connsiteY134" fmla="*/ 201630 h 608768"/>
                <a:gd name="connsiteX135" fmla="*/ 19644 w 599806"/>
                <a:gd name="connsiteY135" fmla="*/ 177567 h 608768"/>
                <a:gd name="connsiteX136" fmla="*/ 62929 w 599806"/>
                <a:gd name="connsiteY136" fmla="*/ 168785 h 608768"/>
                <a:gd name="connsiteX137" fmla="*/ 70923 w 599806"/>
                <a:gd name="connsiteY137" fmla="*/ 162855 h 608768"/>
                <a:gd name="connsiteX138" fmla="*/ 62358 w 599806"/>
                <a:gd name="connsiteY138" fmla="*/ 151793 h 608768"/>
                <a:gd name="connsiteX139" fmla="*/ 49338 w 599806"/>
                <a:gd name="connsiteY139" fmla="*/ 127501 h 608768"/>
                <a:gd name="connsiteX140" fmla="*/ 45455 w 599806"/>
                <a:gd name="connsiteY140" fmla="*/ 117237 h 608768"/>
                <a:gd name="connsiteX141" fmla="*/ 38831 w 599806"/>
                <a:gd name="connsiteY141" fmla="*/ 103096 h 608768"/>
                <a:gd name="connsiteX142" fmla="*/ 38831 w 599806"/>
                <a:gd name="connsiteY142" fmla="*/ 89639 h 608768"/>
                <a:gd name="connsiteX143" fmla="*/ 42257 w 599806"/>
                <a:gd name="connsiteY143" fmla="*/ 78919 h 608768"/>
                <a:gd name="connsiteX144" fmla="*/ 42257 w 599806"/>
                <a:gd name="connsiteY144" fmla="*/ 60101 h 608768"/>
                <a:gd name="connsiteX145" fmla="*/ 102445 w 599806"/>
                <a:gd name="connsiteY145" fmla="*/ 0 h 608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599806" h="608768">
                  <a:moveTo>
                    <a:pt x="322492" y="361615"/>
                  </a:moveTo>
                  <a:lnTo>
                    <a:pt x="258086" y="442798"/>
                  </a:lnTo>
                  <a:lnTo>
                    <a:pt x="339393" y="378490"/>
                  </a:lnTo>
                  <a:cubicBezTo>
                    <a:pt x="335853" y="376780"/>
                    <a:pt x="332541" y="374385"/>
                    <a:pt x="329572" y="371421"/>
                  </a:cubicBezTo>
                  <a:cubicBezTo>
                    <a:pt x="326603" y="368456"/>
                    <a:pt x="324205" y="365149"/>
                    <a:pt x="322492" y="361615"/>
                  </a:cubicBezTo>
                  <a:close/>
                  <a:moveTo>
                    <a:pt x="349099" y="337784"/>
                  </a:moveTo>
                  <a:cubicBezTo>
                    <a:pt x="345217" y="341775"/>
                    <a:pt x="345217" y="348046"/>
                    <a:pt x="349099" y="351923"/>
                  </a:cubicBezTo>
                  <a:cubicBezTo>
                    <a:pt x="352982" y="355800"/>
                    <a:pt x="359377" y="355800"/>
                    <a:pt x="363259" y="351923"/>
                  </a:cubicBezTo>
                  <a:close/>
                  <a:moveTo>
                    <a:pt x="457227" y="229763"/>
                  </a:moveTo>
                  <a:cubicBezTo>
                    <a:pt x="460810" y="229976"/>
                    <a:pt x="464321" y="231459"/>
                    <a:pt x="467062" y="234138"/>
                  </a:cubicBezTo>
                  <a:cubicBezTo>
                    <a:pt x="472429" y="239611"/>
                    <a:pt x="473000" y="248277"/>
                    <a:pt x="468204" y="254206"/>
                  </a:cubicBezTo>
                  <a:lnTo>
                    <a:pt x="393635" y="348274"/>
                  </a:lnTo>
                  <a:cubicBezTo>
                    <a:pt x="392836" y="356712"/>
                    <a:pt x="389296" y="365035"/>
                    <a:pt x="382787" y="371421"/>
                  </a:cubicBezTo>
                  <a:cubicBezTo>
                    <a:pt x="376277" y="377920"/>
                    <a:pt x="368055" y="381569"/>
                    <a:pt x="359491" y="382253"/>
                  </a:cubicBezTo>
                  <a:lnTo>
                    <a:pt x="265395" y="456709"/>
                  </a:lnTo>
                  <a:cubicBezTo>
                    <a:pt x="259342" y="461498"/>
                    <a:pt x="250664" y="461042"/>
                    <a:pt x="245296" y="455569"/>
                  </a:cubicBezTo>
                  <a:cubicBezTo>
                    <a:pt x="239815" y="450210"/>
                    <a:pt x="239358" y="441544"/>
                    <a:pt x="244154" y="435501"/>
                  </a:cubicBezTo>
                  <a:lnTo>
                    <a:pt x="318723" y="341547"/>
                  </a:lnTo>
                  <a:cubicBezTo>
                    <a:pt x="319523" y="332995"/>
                    <a:pt x="323063" y="324786"/>
                    <a:pt x="329572" y="318286"/>
                  </a:cubicBezTo>
                  <a:cubicBezTo>
                    <a:pt x="336081" y="311901"/>
                    <a:pt x="344303" y="308252"/>
                    <a:pt x="352753" y="307454"/>
                  </a:cubicBezTo>
                  <a:lnTo>
                    <a:pt x="446964" y="232998"/>
                  </a:lnTo>
                  <a:cubicBezTo>
                    <a:pt x="449990" y="230604"/>
                    <a:pt x="453644" y="229549"/>
                    <a:pt x="457227" y="229763"/>
                  </a:cubicBezTo>
                  <a:close/>
                  <a:moveTo>
                    <a:pt x="136593" y="176654"/>
                  </a:moveTo>
                  <a:cubicBezTo>
                    <a:pt x="133395" y="178365"/>
                    <a:pt x="130312" y="179392"/>
                    <a:pt x="127228" y="179962"/>
                  </a:cubicBezTo>
                  <a:cubicBezTo>
                    <a:pt x="125401" y="180304"/>
                    <a:pt x="124030" y="181901"/>
                    <a:pt x="124030" y="183725"/>
                  </a:cubicBezTo>
                  <a:lnTo>
                    <a:pt x="124030" y="193419"/>
                  </a:lnTo>
                  <a:cubicBezTo>
                    <a:pt x="123459" y="193533"/>
                    <a:pt x="123002" y="193875"/>
                    <a:pt x="122545" y="194331"/>
                  </a:cubicBezTo>
                  <a:cubicBezTo>
                    <a:pt x="121860" y="195130"/>
                    <a:pt x="121518" y="196270"/>
                    <a:pt x="121632" y="197296"/>
                  </a:cubicBezTo>
                  <a:lnTo>
                    <a:pt x="123688" y="217824"/>
                  </a:lnTo>
                  <a:cubicBezTo>
                    <a:pt x="123916" y="219421"/>
                    <a:pt x="124944" y="220676"/>
                    <a:pt x="126543" y="221132"/>
                  </a:cubicBezTo>
                  <a:cubicBezTo>
                    <a:pt x="126885" y="221246"/>
                    <a:pt x="127228" y="221246"/>
                    <a:pt x="127571" y="221246"/>
                  </a:cubicBezTo>
                  <a:cubicBezTo>
                    <a:pt x="128713" y="221246"/>
                    <a:pt x="129855" y="220676"/>
                    <a:pt x="130654" y="219763"/>
                  </a:cubicBezTo>
                  <a:lnTo>
                    <a:pt x="141504" y="205394"/>
                  </a:lnTo>
                  <a:cubicBezTo>
                    <a:pt x="141961" y="204709"/>
                    <a:pt x="142189" y="203911"/>
                    <a:pt x="142189" y="203113"/>
                  </a:cubicBezTo>
                  <a:lnTo>
                    <a:pt x="142189" y="180076"/>
                  </a:lnTo>
                  <a:cubicBezTo>
                    <a:pt x="142189" y="178707"/>
                    <a:pt x="141504" y="177453"/>
                    <a:pt x="140362" y="176769"/>
                  </a:cubicBezTo>
                  <a:cubicBezTo>
                    <a:pt x="139220" y="176084"/>
                    <a:pt x="137735" y="175970"/>
                    <a:pt x="136593" y="176654"/>
                  </a:cubicBezTo>
                  <a:close/>
                  <a:moveTo>
                    <a:pt x="87826" y="176654"/>
                  </a:moveTo>
                  <a:cubicBezTo>
                    <a:pt x="86570" y="175970"/>
                    <a:pt x="85085" y="176084"/>
                    <a:pt x="83943" y="176769"/>
                  </a:cubicBezTo>
                  <a:cubicBezTo>
                    <a:pt x="82801" y="177453"/>
                    <a:pt x="82116" y="178707"/>
                    <a:pt x="82116" y="180076"/>
                  </a:cubicBezTo>
                  <a:lnTo>
                    <a:pt x="82116" y="203113"/>
                  </a:lnTo>
                  <a:cubicBezTo>
                    <a:pt x="82116" y="203911"/>
                    <a:pt x="82344" y="204709"/>
                    <a:pt x="82915" y="205394"/>
                  </a:cubicBezTo>
                  <a:lnTo>
                    <a:pt x="93765" y="219763"/>
                  </a:lnTo>
                  <a:cubicBezTo>
                    <a:pt x="94450" y="220676"/>
                    <a:pt x="95592" y="221246"/>
                    <a:pt x="96849" y="221246"/>
                  </a:cubicBezTo>
                  <a:cubicBezTo>
                    <a:pt x="97191" y="221246"/>
                    <a:pt x="97534" y="221246"/>
                    <a:pt x="97877" y="221132"/>
                  </a:cubicBezTo>
                  <a:cubicBezTo>
                    <a:pt x="99361" y="220676"/>
                    <a:pt x="100503" y="219421"/>
                    <a:pt x="100618" y="217824"/>
                  </a:cubicBezTo>
                  <a:lnTo>
                    <a:pt x="102787" y="197296"/>
                  </a:lnTo>
                  <a:cubicBezTo>
                    <a:pt x="102902" y="196270"/>
                    <a:pt x="102445" y="195130"/>
                    <a:pt x="101760" y="194331"/>
                  </a:cubicBezTo>
                  <a:cubicBezTo>
                    <a:pt x="101417" y="193875"/>
                    <a:pt x="100846" y="193533"/>
                    <a:pt x="100275" y="193419"/>
                  </a:cubicBezTo>
                  <a:lnTo>
                    <a:pt x="100275" y="183725"/>
                  </a:lnTo>
                  <a:cubicBezTo>
                    <a:pt x="100275" y="181901"/>
                    <a:pt x="99019" y="180304"/>
                    <a:pt x="97191" y="179962"/>
                  </a:cubicBezTo>
                  <a:cubicBezTo>
                    <a:pt x="94108" y="179392"/>
                    <a:pt x="90910" y="178365"/>
                    <a:pt x="87826" y="176654"/>
                  </a:cubicBezTo>
                  <a:close/>
                  <a:moveTo>
                    <a:pt x="356190" y="149170"/>
                  </a:moveTo>
                  <a:cubicBezTo>
                    <a:pt x="351621" y="149170"/>
                    <a:pt x="347053" y="149398"/>
                    <a:pt x="342598" y="149626"/>
                  </a:cubicBezTo>
                  <a:lnTo>
                    <a:pt x="356190" y="168671"/>
                  </a:lnTo>
                  <a:lnTo>
                    <a:pt x="369781" y="149626"/>
                  </a:lnTo>
                  <a:cubicBezTo>
                    <a:pt x="365327" y="149398"/>
                    <a:pt x="360758" y="149170"/>
                    <a:pt x="356190" y="149170"/>
                  </a:cubicBezTo>
                  <a:close/>
                  <a:moveTo>
                    <a:pt x="356190" y="101614"/>
                  </a:moveTo>
                  <a:cubicBezTo>
                    <a:pt x="490504" y="101614"/>
                    <a:pt x="599806" y="210753"/>
                    <a:pt x="599806" y="344866"/>
                  </a:cubicBezTo>
                  <a:cubicBezTo>
                    <a:pt x="599806" y="479094"/>
                    <a:pt x="490504" y="588233"/>
                    <a:pt x="356190" y="588233"/>
                  </a:cubicBezTo>
                  <a:cubicBezTo>
                    <a:pt x="305822" y="588233"/>
                    <a:pt x="258994" y="572837"/>
                    <a:pt x="220047" y="546608"/>
                  </a:cubicBezTo>
                  <a:lnTo>
                    <a:pt x="220047" y="485595"/>
                  </a:lnTo>
                  <a:cubicBezTo>
                    <a:pt x="247344" y="511825"/>
                    <a:pt x="282179" y="530413"/>
                    <a:pt x="321012" y="537484"/>
                  </a:cubicBezTo>
                  <a:lnTo>
                    <a:pt x="348423" y="499280"/>
                  </a:lnTo>
                  <a:cubicBezTo>
                    <a:pt x="350250" y="496771"/>
                    <a:pt x="353106" y="495288"/>
                    <a:pt x="356190" y="495288"/>
                  </a:cubicBezTo>
                  <a:cubicBezTo>
                    <a:pt x="359273" y="495288"/>
                    <a:pt x="362129" y="496771"/>
                    <a:pt x="363956" y="499280"/>
                  </a:cubicBezTo>
                  <a:lnTo>
                    <a:pt x="391367" y="537484"/>
                  </a:lnTo>
                  <a:cubicBezTo>
                    <a:pt x="471316" y="522887"/>
                    <a:pt x="534476" y="459821"/>
                    <a:pt x="548981" y="379992"/>
                  </a:cubicBezTo>
                  <a:lnTo>
                    <a:pt x="510834" y="352621"/>
                  </a:lnTo>
                  <a:cubicBezTo>
                    <a:pt x="508321" y="350797"/>
                    <a:pt x="506837" y="347946"/>
                    <a:pt x="506837" y="344866"/>
                  </a:cubicBezTo>
                  <a:cubicBezTo>
                    <a:pt x="506837" y="341787"/>
                    <a:pt x="508321" y="338936"/>
                    <a:pt x="510834" y="337112"/>
                  </a:cubicBezTo>
                  <a:lnTo>
                    <a:pt x="548981" y="309855"/>
                  </a:lnTo>
                  <a:cubicBezTo>
                    <a:pt x="534476" y="229912"/>
                    <a:pt x="471316" y="166846"/>
                    <a:pt x="391367" y="152363"/>
                  </a:cubicBezTo>
                  <a:lnTo>
                    <a:pt x="363956" y="190453"/>
                  </a:lnTo>
                  <a:cubicBezTo>
                    <a:pt x="362129" y="192962"/>
                    <a:pt x="359273" y="194445"/>
                    <a:pt x="356190" y="194445"/>
                  </a:cubicBezTo>
                  <a:cubicBezTo>
                    <a:pt x="353106" y="194445"/>
                    <a:pt x="350250" y="192962"/>
                    <a:pt x="348423" y="190453"/>
                  </a:cubicBezTo>
                  <a:lnTo>
                    <a:pt x="321012" y="152363"/>
                  </a:lnTo>
                  <a:cubicBezTo>
                    <a:pt x="295657" y="156925"/>
                    <a:pt x="272014" y="166504"/>
                    <a:pt x="250999" y="179847"/>
                  </a:cubicBezTo>
                  <a:cubicBezTo>
                    <a:pt x="244146" y="164223"/>
                    <a:pt x="230327" y="152135"/>
                    <a:pt x="212966" y="148143"/>
                  </a:cubicBezTo>
                  <a:cubicBezTo>
                    <a:pt x="253283" y="118948"/>
                    <a:pt x="302738" y="101614"/>
                    <a:pt x="356190" y="101614"/>
                  </a:cubicBezTo>
                  <a:close/>
                  <a:moveTo>
                    <a:pt x="93765" y="73102"/>
                  </a:moveTo>
                  <a:cubicBezTo>
                    <a:pt x="82801" y="73102"/>
                    <a:pt x="72294" y="77550"/>
                    <a:pt x="67040" y="80173"/>
                  </a:cubicBezTo>
                  <a:cubicBezTo>
                    <a:pt x="65670" y="80857"/>
                    <a:pt x="64870" y="82112"/>
                    <a:pt x="64870" y="83594"/>
                  </a:cubicBezTo>
                  <a:lnTo>
                    <a:pt x="64870" y="90551"/>
                  </a:lnTo>
                  <a:lnTo>
                    <a:pt x="63271" y="90551"/>
                  </a:lnTo>
                  <a:cubicBezTo>
                    <a:pt x="61102" y="90551"/>
                    <a:pt x="59388" y="92262"/>
                    <a:pt x="59388" y="94315"/>
                  </a:cubicBezTo>
                  <a:lnTo>
                    <a:pt x="59388" y="100701"/>
                  </a:lnTo>
                  <a:cubicBezTo>
                    <a:pt x="59388" y="101956"/>
                    <a:pt x="60074" y="103210"/>
                    <a:pt x="61216" y="103894"/>
                  </a:cubicBezTo>
                  <a:lnTo>
                    <a:pt x="64870" y="106289"/>
                  </a:lnTo>
                  <a:lnTo>
                    <a:pt x="65099" y="107886"/>
                  </a:lnTo>
                  <a:cubicBezTo>
                    <a:pt x="66355" y="117123"/>
                    <a:pt x="71494" y="129098"/>
                    <a:pt x="78918" y="139818"/>
                  </a:cubicBezTo>
                  <a:cubicBezTo>
                    <a:pt x="88397" y="153504"/>
                    <a:pt x="97191" y="159662"/>
                    <a:pt x="101760" y="159662"/>
                  </a:cubicBezTo>
                  <a:lnTo>
                    <a:pt x="122545" y="159662"/>
                  </a:lnTo>
                  <a:cubicBezTo>
                    <a:pt x="127114" y="159662"/>
                    <a:pt x="135908" y="153504"/>
                    <a:pt x="145387" y="139818"/>
                  </a:cubicBezTo>
                  <a:cubicBezTo>
                    <a:pt x="152811" y="129098"/>
                    <a:pt x="157950" y="117123"/>
                    <a:pt x="159206" y="107886"/>
                  </a:cubicBezTo>
                  <a:lnTo>
                    <a:pt x="159435" y="106289"/>
                  </a:lnTo>
                  <a:lnTo>
                    <a:pt x="163203" y="103894"/>
                  </a:lnTo>
                  <a:cubicBezTo>
                    <a:pt x="164231" y="103210"/>
                    <a:pt x="164917" y="101956"/>
                    <a:pt x="164917" y="100701"/>
                  </a:cubicBezTo>
                  <a:lnTo>
                    <a:pt x="164917" y="94315"/>
                  </a:lnTo>
                  <a:cubicBezTo>
                    <a:pt x="164917" y="92262"/>
                    <a:pt x="163203" y="90551"/>
                    <a:pt x="161034" y="90551"/>
                  </a:cubicBezTo>
                  <a:lnTo>
                    <a:pt x="158978" y="90551"/>
                  </a:lnTo>
                  <a:cubicBezTo>
                    <a:pt x="158635" y="89981"/>
                    <a:pt x="158178" y="89525"/>
                    <a:pt x="157722" y="89183"/>
                  </a:cubicBezTo>
                  <a:cubicBezTo>
                    <a:pt x="156579" y="88498"/>
                    <a:pt x="155209" y="88384"/>
                    <a:pt x="154067" y="88954"/>
                  </a:cubicBezTo>
                  <a:cubicBezTo>
                    <a:pt x="148927" y="91235"/>
                    <a:pt x="143788" y="92376"/>
                    <a:pt x="138763" y="92376"/>
                  </a:cubicBezTo>
                  <a:cubicBezTo>
                    <a:pt x="129969" y="92376"/>
                    <a:pt x="122089" y="88840"/>
                    <a:pt x="115236" y="81656"/>
                  </a:cubicBezTo>
                  <a:cubicBezTo>
                    <a:pt x="109640" y="75953"/>
                    <a:pt x="102445" y="73102"/>
                    <a:pt x="93765" y="73102"/>
                  </a:cubicBezTo>
                  <a:close/>
                  <a:moveTo>
                    <a:pt x="102445" y="0"/>
                  </a:moveTo>
                  <a:lnTo>
                    <a:pt x="121974" y="0"/>
                  </a:lnTo>
                  <a:cubicBezTo>
                    <a:pt x="155095" y="0"/>
                    <a:pt x="182048" y="26914"/>
                    <a:pt x="182048" y="60101"/>
                  </a:cubicBezTo>
                  <a:lnTo>
                    <a:pt x="182048" y="78919"/>
                  </a:lnTo>
                  <a:cubicBezTo>
                    <a:pt x="184332" y="82112"/>
                    <a:pt x="185474" y="85875"/>
                    <a:pt x="185474" y="89639"/>
                  </a:cubicBezTo>
                  <a:lnTo>
                    <a:pt x="185474" y="103096"/>
                  </a:lnTo>
                  <a:cubicBezTo>
                    <a:pt x="185474" y="108570"/>
                    <a:pt x="183076" y="113816"/>
                    <a:pt x="178850" y="117237"/>
                  </a:cubicBezTo>
                  <a:cubicBezTo>
                    <a:pt x="177822" y="120659"/>
                    <a:pt x="176566" y="124080"/>
                    <a:pt x="174967" y="127501"/>
                  </a:cubicBezTo>
                  <a:cubicBezTo>
                    <a:pt x="171883" y="135599"/>
                    <a:pt x="167429" y="144038"/>
                    <a:pt x="162061" y="151793"/>
                  </a:cubicBezTo>
                  <a:cubicBezTo>
                    <a:pt x="159777" y="154986"/>
                    <a:pt x="156922" y="158978"/>
                    <a:pt x="153382" y="162741"/>
                  </a:cubicBezTo>
                  <a:cubicBezTo>
                    <a:pt x="156465" y="164224"/>
                    <a:pt x="159206" y="166276"/>
                    <a:pt x="161376" y="168785"/>
                  </a:cubicBezTo>
                  <a:lnTo>
                    <a:pt x="205460" y="177567"/>
                  </a:lnTo>
                  <a:cubicBezTo>
                    <a:pt x="216881" y="179848"/>
                    <a:pt x="225104" y="189998"/>
                    <a:pt x="225104" y="201630"/>
                  </a:cubicBezTo>
                  <a:lnTo>
                    <a:pt x="225104" y="360380"/>
                  </a:lnTo>
                  <a:cubicBezTo>
                    <a:pt x="225104" y="364029"/>
                    <a:pt x="224305" y="367450"/>
                    <a:pt x="222820" y="370644"/>
                  </a:cubicBezTo>
                  <a:lnTo>
                    <a:pt x="222820" y="387978"/>
                  </a:lnTo>
                  <a:cubicBezTo>
                    <a:pt x="222820" y="399839"/>
                    <a:pt x="213227" y="409419"/>
                    <a:pt x="201349" y="409419"/>
                  </a:cubicBezTo>
                  <a:cubicBezTo>
                    <a:pt x="197123" y="409419"/>
                    <a:pt x="193012" y="408164"/>
                    <a:pt x="189700" y="405997"/>
                  </a:cubicBezTo>
                  <a:lnTo>
                    <a:pt x="189700" y="570221"/>
                  </a:lnTo>
                  <a:cubicBezTo>
                    <a:pt x="189700" y="591547"/>
                    <a:pt x="172454" y="608768"/>
                    <a:pt x="151097" y="608768"/>
                  </a:cubicBezTo>
                  <a:cubicBezTo>
                    <a:pt x="129855" y="608768"/>
                    <a:pt x="112609" y="591547"/>
                    <a:pt x="112609" y="570221"/>
                  </a:cubicBezTo>
                  <a:cubicBezTo>
                    <a:pt x="112609" y="591547"/>
                    <a:pt x="95250" y="608768"/>
                    <a:pt x="74007" y="608768"/>
                  </a:cubicBezTo>
                  <a:cubicBezTo>
                    <a:pt x="52650" y="608768"/>
                    <a:pt x="35405" y="591547"/>
                    <a:pt x="35405" y="570221"/>
                  </a:cubicBezTo>
                  <a:lnTo>
                    <a:pt x="35405" y="405997"/>
                  </a:lnTo>
                  <a:cubicBezTo>
                    <a:pt x="32093" y="408164"/>
                    <a:pt x="27981" y="409419"/>
                    <a:pt x="23756" y="409419"/>
                  </a:cubicBezTo>
                  <a:cubicBezTo>
                    <a:pt x="11878" y="409419"/>
                    <a:pt x="2284" y="399839"/>
                    <a:pt x="2284" y="387978"/>
                  </a:cubicBezTo>
                  <a:lnTo>
                    <a:pt x="2284" y="370644"/>
                  </a:lnTo>
                  <a:cubicBezTo>
                    <a:pt x="800" y="367450"/>
                    <a:pt x="0" y="364029"/>
                    <a:pt x="0" y="360380"/>
                  </a:cubicBezTo>
                  <a:lnTo>
                    <a:pt x="0" y="201630"/>
                  </a:lnTo>
                  <a:cubicBezTo>
                    <a:pt x="0" y="189998"/>
                    <a:pt x="8223" y="179962"/>
                    <a:pt x="19644" y="177567"/>
                  </a:cubicBezTo>
                  <a:lnTo>
                    <a:pt x="62929" y="168785"/>
                  </a:lnTo>
                  <a:cubicBezTo>
                    <a:pt x="65213" y="166276"/>
                    <a:pt x="67954" y="164224"/>
                    <a:pt x="70923" y="162855"/>
                  </a:cubicBezTo>
                  <a:cubicBezTo>
                    <a:pt x="67497" y="158978"/>
                    <a:pt x="64528" y="154986"/>
                    <a:pt x="62358" y="151793"/>
                  </a:cubicBezTo>
                  <a:cubicBezTo>
                    <a:pt x="56876" y="144038"/>
                    <a:pt x="52422" y="135599"/>
                    <a:pt x="49338" y="127501"/>
                  </a:cubicBezTo>
                  <a:cubicBezTo>
                    <a:pt x="47853" y="124080"/>
                    <a:pt x="46483" y="120659"/>
                    <a:pt x="45455" y="117237"/>
                  </a:cubicBezTo>
                  <a:cubicBezTo>
                    <a:pt x="41229" y="113816"/>
                    <a:pt x="38831" y="108570"/>
                    <a:pt x="38831" y="103096"/>
                  </a:cubicBezTo>
                  <a:lnTo>
                    <a:pt x="38831" y="89639"/>
                  </a:lnTo>
                  <a:cubicBezTo>
                    <a:pt x="38831" y="85875"/>
                    <a:pt x="40087" y="82112"/>
                    <a:pt x="42257" y="78919"/>
                  </a:cubicBezTo>
                  <a:lnTo>
                    <a:pt x="42257" y="60101"/>
                  </a:lnTo>
                  <a:cubicBezTo>
                    <a:pt x="42257" y="26914"/>
                    <a:pt x="69210" y="0"/>
                    <a:pt x="102445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22" name="任意多边形: 形状 21"/>
            <p:cNvSpPr/>
            <p:nvPr/>
          </p:nvSpPr>
          <p:spPr>
            <a:xfrm>
              <a:off x="5309629" y="3914395"/>
              <a:ext cx="347100" cy="346570"/>
            </a:xfrm>
            <a:custGeom>
              <a:avLst/>
              <a:gdLst>
                <a:gd name="connsiteX0" fmla="*/ 146058 w 607639"/>
                <a:gd name="connsiteY0" fmla="*/ 370925 h 606713"/>
                <a:gd name="connsiteX1" fmla="*/ 176497 w 607639"/>
                <a:gd name="connsiteY1" fmla="*/ 389678 h 606713"/>
                <a:gd name="connsiteX2" fmla="*/ 157717 w 607639"/>
                <a:gd name="connsiteY2" fmla="*/ 420074 h 606713"/>
                <a:gd name="connsiteX3" fmla="*/ 50644 w 607639"/>
                <a:gd name="connsiteY3" fmla="*/ 480332 h 606713"/>
                <a:gd name="connsiteX4" fmla="*/ 303775 w 607639"/>
                <a:gd name="connsiteY4" fmla="*/ 556143 h 606713"/>
                <a:gd name="connsiteX5" fmla="*/ 556995 w 607639"/>
                <a:gd name="connsiteY5" fmla="*/ 480332 h 606713"/>
                <a:gd name="connsiteX6" fmla="*/ 449833 w 607639"/>
                <a:gd name="connsiteY6" fmla="*/ 420074 h 606713"/>
                <a:gd name="connsiteX7" fmla="*/ 431053 w 607639"/>
                <a:gd name="connsiteY7" fmla="*/ 389678 h 606713"/>
                <a:gd name="connsiteX8" fmla="*/ 461492 w 607639"/>
                <a:gd name="connsiteY8" fmla="*/ 370925 h 606713"/>
                <a:gd name="connsiteX9" fmla="*/ 607639 w 607639"/>
                <a:gd name="connsiteY9" fmla="*/ 480332 h 606713"/>
                <a:gd name="connsiteX10" fmla="*/ 303775 w 607639"/>
                <a:gd name="connsiteY10" fmla="*/ 606713 h 606713"/>
                <a:gd name="connsiteX11" fmla="*/ 0 w 607639"/>
                <a:gd name="connsiteY11" fmla="*/ 480332 h 606713"/>
                <a:gd name="connsiteX12" fmla="*/ 146058 w 607639"/>
                <a:gd name="connsiteY12" fmla="*/ 370925 h 606713"/>
                <a:gd name="connsiteX13" fmla="*/ 303820 w 607639"/>
                <a:gd name="connsiteY13" fmla="*/ 151707 h 606713"/>
                <a:gd name="connsiteX14" fmla="*/ 329118 w 607639"/>
                <a:gd name="connsiteY14" fmla="*/ 176970 h 606713"/>
                <a:gd name="connsiteX15" fmla="*/ 303820 w 607639"/>
                <a:gd name="connsiteY15" fmla="*/ 202233 h 606713"/>
                <a:gd name="connsiteX16" fmla="*/ 278522 w 607639"/>
                <a:gd name="connsiteY16" fmla="*/ 176970 h 606713"/>
                <a:gd name="connsiteX17" fmla="*/ 303820 w 607639"/>
                <a:gd name="connsiteY17" fmla="*/ 151707 h 606713"/>
                <a:gd name="connsiteX18" fmla="*/ 303849 w 607639"/>
                <a:gd name="connsiteY18" fmla="*/ 101116 h 606713"/>
                <a:gd name="connsiteX19" fmla="*/ 227845 w 607639"/>
                <a:gd name="connsiteY19" fmla="*/ 176928 h 606713"/>
                <a:gd name="connsiteX20" fmla="*/ 303849 w 607639"/>
                <a:gd name="connsiteY20" fmla="*/ 252828 h 606713"/>
                <a:gd name="connsiteX21" fmla="*/ 379765 w 607639"/>
                <a:gd name="connsiteY21" fmla="*/ 176928 h 606713"/>
                <a:gd name="connsiteX22" fmla="*/ 303849 w 607639"/>
                <a:gd name="connsiteY22" fmla="*/ 101116 h 606713"/>
                <a:gd name="connsiteX23" fmla="*/ 320773 w 607639"/>
                <a:gd name="connsiteY23" fmla="*/ 813 h 606713"/>
                <a:gd name="connsiteX24" fmla="*/ 421772 w 607639"/>
                <a:gd name="connsiteY24" fmla="*/ 44857 h 606713"/>
                <a:gd name="connsiteX25" fmla="*/ 481045 w 607639"/>
                <a:gd name="connsiteY25" fmla="*/ 176928 h 606713"/>
                <a:gd name="connsiteX26" fmla="*/ 453723 w 607639"/>
                <a:gd name="connsiteY26" fmla="*/ 271226 h 606713"/>
                <a:gd name="connsiteX27" fmla="*/ 439305 w 607639"/>
                <a:gd name="connsiteY27" fmla="*/ 293889 h 606713"/>
                <a:gd name="connsiteX28" fmla="*/ 348260 w 607639"/>
                <a:gd name="connsiteY28" fmla="*/ 448001 h 606713"/>
                <a:gd name="connsiteX29" fmla="*/ 326455 w 607639"/>
                <a:gd name="connsiteY29" fmla="*/ 491639 h 606713"/>
                <a:gd name="connsiteX30" fmla="*/ 303849 w 607639"/>
                <a:gd name="connsiteY30" fmla="*/ 505593 h 606713"/>
                <a:gd name="connsiteX31" fmla="*/ 281155 w 607639"/>
                <a:gd name="connsiteY31" fmla="*/ 491639 h 606713"/>
                <a:gd name="connsiteX32" fmla="*/ 270831 w 607639"/>
                <a:gd name="connsiteY32" fmla="*/ 471020 h 606713"/>
                <a:gd name="connsiteX33" fmla="*/ 161007 w 607639"/>
                <a:gd name="connsiteY33" fmla="*/ 281624 h 606713"/>
                <a:gd name="connsiteX34" fmla="*/ 128345 w 607639"/>
                <a:gd name="connsiteY34" fmla="*/ 151776 h 606713"/>
                <a:gd name="connsiteX35" fmla="*/ 283113 w 607639"/>
                <a:gd name="connsiteY35" fmla="*/ 1219 h 606713"/>
                <a:gd name="connsiteX36" fmla="*/ 320773 w 607639"/>
                <a:gd name="connsiteY36" fmla="*/ 813 h 606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7639" h="606713">
                  <a:moveTo>
                    <a:pt x="146058" y="370925"/>
                  </a:moveTo>
                  <a:cubicBezTo>
                    <a:pt x="159675" y="367637"/>
                    <a:pt x="173293" y="376080"/>
                    <a:pt x="176497" y="389678"/>
                  </a:cubicBezTo>
                  <a:cubicBezTo>
                    <a:pt x="179791" y="403276"/>
                    <a:pt x="171335" y="416874"/>
                    <a:pt x="157717" y="420074"/>
                  </a:cubicBezTo>
                  <a:cubicBezTo>
                    <a:pt x="79215" y="438738"/>
                    <a:pt x="50644" y="466289"/>
                    <a:pt x="50644" y="480332"/>
                  </a:cubicBezTo>
                  <a:cubicBezTo>
                    <a:pt x="50644" y="510460"/>
                    <a:pt x="151665" y="556143"/>
                    <a:pt x="303775" y="556143"/>
                  </a:cubicBezTo>
                  <a:cubicBezTo>
                    <a:pt x="455974" y="556143"/>
                    <a:pt x="556995" y="510460"/>
                    <a:pt x="556995" y="480332"/>
                  </a:cubicBezTo>
                  <a:cubicBezTo>
                    <a:pt x="556995" y="466289"/>
                    <a:pt x="528513" y="438738"/>
                    <a:pt x="449833" y="420074"/>
                  </a:cubicBezTo>
                  <a:cubicBezTo>
                    <a:pt x="436215" y="416874"/>
                    <a:pt x="427848" y="403276"/>
                    <a:pt x="431053" y="389678"/>
                  </a:cubicBezTo>
                  <a:cubicBezTo>
                    <a:pt x="434257" y="376080"/>
                    <a:pt x="447964" y="367637"/>
                    <a:pt x="461492" y="370925"/>
                  </a:cubicBezTo>
                  <a:cubicBezTo>
                    <a:pt x="555749" y="393233"/>
                    <a:pt x="607639" y="432072"/>
                    <a:pt x="607639" y="480332"/>
                  </a:cubicBezTo>
                  <a:cubicBezTo>
                    <a:pt x="607639" y="563253"/>
                    <a:pt x="454817" y="606713"/>
                    <a:pt x="303775" y="606713"/>
                  </a:cubicBezTo>
                  <a:cubicBezTo>
                    <a:pt x="152911" y="606713"/>
                    <a:pt x="0" y="563253"/>
                    <a:pt x="0" y="480332"/>
                  </a:cubicBezTo>
                  <a:cubicBezTo>
                    <a:pt x="0" y="432072"/>
                    <a:pt x="51890" y="393233"/>
                    <a:pt x="146058" y="370925"/>
                  </a:cubicBezTo>
                  <a:close/>
                  <a:moveTo>
                    <a:pt x="303820" y="151707"/>
                  </a:moveTo>
                  <a:cubicBezTo>
                    <a:pt x="317792" y="151707"/>
                    <a:pt x="329118" y="163018"/>
                    <a:pt x="329118" y="176970"/>
                  </a:cubicBezTo>
                  <a:cubicBezTo>
                    <a:pt x="329118" y="190922"/>
                    <a:pt x="317792" y="202233"/>
                    <a:pt x="303820" y="202233"/>
                  </a:cubicBezTo>
                  <a:cubicBezTo>
                    <a:pt x="289848" y="202233"/>
                    <a:pt x="278522" y="190922"/>
                    <a:pt x="278522" y="176970"/>
                  </a:cubicBezTo>
                  <a:cubicBezTo>
                    <a:pt x="278522" y="163018"/>
                    <a:pt x="289848" y="151707"/>
                    <a:pt x="303820" y="151707"/>
                  </a:cubicBezTo>
                  <a:close/>
                  <a:moveTo>
                    <a:pt x="303849" y="101116"/>
                  </a:moveTo>
                  <a:cubicBezTo>
                    <a:pt x="261931" y="101116"/>
                    <a:pt x="227845" y="135156"/>
                    <a:pt x="227845" y="176928"/>
                  </a:cubicBezTo>
                  <a:cubicBezTo>
                    <a:pt x="227845" y="218788"/>
                    <a:pt x="261931" y="252828"/>
                    <a:pt x="303849" y="252828"/>
                  </a:cubicBezTo>
                  <a:cubicBezTo>
                    <a:pt x="345679" y="252828"/>
                    <a:pt x="379765" y="218788"/>
                    <a:pt x="379765" y="176928"/>
                  </a:cubicBezTo>
                  <a:cubicBezTo>
                    <a:pt x="379765" y="135156"/>
                    <a:pt x="345679" y="101116"/>
                    <a:pt x="303849" y="101116"/>
                  </a:cubicBezTo>
                  <a:close/>
                  <a:moveTo>
                    <a:pt x="320773" y="813"/>
                  </a:moveTo>
                  <a:cubicBezTo>
                    <a:pt x="358044" y="4396"/>
                    <a:pt x="393538" y="19728"/>
                    <a:pt x="421772" y="44857"/>
                  </a:cubicBezTo>
                  <a:cubicBezTo>
                    <a:pt x="459418" y="78452"/>
                    <a:pt x="481045" y="126623"/>
                    <a:pt x="481045" y="176928"/>
                  </a:cubicBezTo>
                  <a:cubicBezTo>
                    <a:pt x="481045" y="210434"/>
                    <a:pt x="471611" y="242963"/>
                    <a:pt x="453723" y="271226"/>
                  </a:cubicBezTo>
                  <a:lnTo>
                    <a:pt x="439305" y="293889"/>
                  </a:lnTo>
                  <a:cubicBezTo>
                    <a:pt x="407621" y="343571"/>
                    <a:pt x="374870" y="394942"/>
                    <a:pt x="348260" y="448001"/>
                  </a:cubicBezTo>
                  <a:lnTo>
                    <a:pt x="326455" y="491639"/>
                  </a:lnTo>
                  <a:cubicBezTo>
                    <a:pt x="322183" y="500172"/>
                    <a:pt x="313372" y="505593"/>
                    <a:pt x="303849" y="505593"/>
                  </a:cubicBezTo>
                  <a:cubicBezTo>
                    <a:pt x="294238" y="505593"/>
                    <a:pt x="285427" y="500172"/>
                    <a:pt x="281155" y="491639"/>
                  </a:cubicBezTo>
                  <a:lnTo>
                    <a:pt x="270831" y="471020"/>
                  </a:lnTo>
                  <a:cubicBezTo>
                    <a:pt x="237457" y="404363"/>
                    <a:pt x="203993" y="339749"/>
                    <a:pt x="161007" y="281624"/>
                  </a:cubicBezTo>
                  <a:cubicBezTo>
                    <a:pt x="133507" y="244296"/>
                    <a:pt x="121937" y="198258"/>
                    <a:pt x="128345" y="151776"/>
                  </a:cubicBezTo>
                  <a:cubicBezTo>
                    <a:pt x="139292" y="73475"/>
                    <a:pt x="204349" y="10106"/>
                    <a:pt x="283113" y="1219"/>
                  </a:cubicBezTo>
                  <a:cubicBezTo>
                    <a:pt x="295729" y="-270"/>
                    <a:pt x="308350" y="-381"/>
                    <a:pt x="320773" y="813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23" name="任意多边形: 形状 22"/>
            <p:cNvSpPr/>
            <p:nvPr/>
          </p:nvSpPr>
          <p:spPr>
            <a:xfrm>
              <a:off x="6274239" y="3013057"/>
              <a:ext cx="569282" cy="501108"/>
            </a:xfrm>
            <a:custGeom>
              <a:avLst/>
              <a:gdLst>
                <a:gd name="connsiteX0" fmla="*/ 18335 w 604256"/>
                <a:gd name="connsiteY0" fmla="*/ 334272 h 531895"/>
                <a:gd name="connsiteX1" fmla="*/ 37988 w 604256"/>
                <a:gd name="connsiteY1" fmla="*/ 336249 h 531895"/>
                <a:gd name="connsiteX2" fmla="*/ 302130 w 604256"/>
                <a:gd name="connsiteY2" fmla="*/ 476833 h 531895"/>
                <a:gd name="connsiteX3" fmla="*/ 566126 w 604256"/>
                <a:gd name="connsiteY3" fmla="*/ 336249 h 531895"/>
                <a:gd name="connsiteX4" fmla="*/ 601178 w 604256"/>
                <a:gd name="connsiteY4" fmla="*/ 346793 h 531895"/>
                <a:gd name="connsiteX5" fmla="*/ 590619 w 604256"/>
                <a:gd name="connsiteY5" fmla="*/ 381793 h 531895"/>
                <a:gd name="connsiteX6" fmla="*/ 314303 w 604256"/>
                <a:gd name="connsiteY6" fmla="*/ 528820 h 531895"/>
                <a:gd name="connsiteX7" fmla="*/ 302130 w 604256"/>
                <a:gd name="connsiteY7" fmla="*/ 531895 h 531895"/>
                <a:gd name="connsiteX8" fmla="*/ 289957 w 604256"/>
                <a:gd name="connsiteY8" fmla="*/ 528820 h 531895"/>
                <a:gd name="connsiteX9" fmla="*/ 13641 w 604256"/>
                <a:gd name="connsiteY9" fmla="*/ 381793 h 531895"/>
                <a:gd name="connsiteX10" fmla="*/ 3082 w 604256"/>
                <a:gd name="connsiteY10" fmla="*/ 346793 h 531895"/>
                <a:gd name="connsiteX11" fmla="*/ 18335 w 604256"/>
                <a:gd name="connsiteY11" fmla="*/ 334272 h 531895"/>
                <a:gd name="connsiteX12" fmla="*/ 18335 w 604256"/>
                <a:gd name="connsiteY12" fmla="*/ 233364 h 531895"/>
                <a:gd name="connsiteX13" fmla="*/ 37988 w 604256"/>
                <a:gd name="connsiteY13" fmla="*/ 235341 h 531895"/>
                <a:gd name="connsiteX14" fmla="*/ 302130 w 604256"/>
                <a:gd name="connsiteY14" fmla="*/ 375925 h 531895"/>
                <a:gd name="connsiteX15" fmla="*/ 566126 w 604256"/>
                <a:gd name="connsiteY15" fmla="*/ 235341 h 531895"/>
                <a:gd name="connsiteX16" fmla="*/ 601178 w 604256"/>
                <a:gd name="connsiteY16" fmla="*/ 245885 h 531895"/>
                <a:gd name="connsiteX17" fmla="*/ 590619 w 604256"/>
                <a:gd name="connsiteY17" fmla="*/ 280885 h 531895"/>
                <a:gd name="connsiteX18" fmla="*/ 314303 w 604256"/>
                <a:gd name="connsiteY18" fmla="*/ 428058 h 531895"/>
                <a:gd name="connsiteX19" fmla="*/ 302130 w 604256"/>
                <a:gd name="connsiteY19" fmla="*/ 430987 h 531895"/>
                <a:gd name="connsiteX20" fmla="*/ 289957 w 604256"/>
                <a:gd name="connsiteY20" fmla="*/ 428058 h 531895"/>
                <a:gd name="connsiteX21" fmla="*/ 13641 w 604256"/>
                <a:gd name="connsiteY21" fmla="*/ 280885 h 531895"/>
                <a:gd name="connsiteX22" fmla="*/ 3082 w 604256"/>
                <a:gd name="connsiteY22" fmla="*/ 245885 h 531895"/>
                <a:gd name="connsiteX23" fmla="*/ 18335 w 604256"/>
                <a:gd name="connsiteY23" fmla="*/ 233364 h 531895"/>
                <a:gd name="connsiteX24" fmla="*/ 291571 w 604256"/>
                <a:gd name="connsiteY24" fmla="*/ 2196 h 531895"/>
                <a:gd name="connsiteX25" fmla="*/ 312689 w 604256"/>
                <a:gd name="connsiteY25" fmla="*/ 2196 h 531895"/>
                <a:gd name="connsiteX26" fmla="*/ 588846 w 604256"/>
                <a:gd name="connsiteY26" fmla="*/ 125214 h 531895"/>
                <a:gd name="connsiteX27" fmla="*/ 604245 w 604256"/>
                <a:gd name="connsiteY27" fmla="*/ 147914 h 531895"/>
                <a:gd name="connsiteX28" fmla="*/ 590605 w 604256"/>
                <a:gd name="connsiteY28" fmla="*/ 171639 h 531895"/>
                <a:gd name="connsiteX29" fmla="*/ 314303 w 604256"/>
                <a:gd name="connsiteY29" fmla="*/ 318676 h 531895"/>
                <a:gd name="connsiteX30" fmla="*/ 302130 w 604256"/>
                <a:gd name="connsiteY30" fmla="*/ 321751 h 531895"/>
                <a:gd name="connsiteX31" fmla="*/ 289957 w 604256"/>
                <a:gd name="connsiteY31" fmla="*/ 318676 h 531895"/>
                <a:gd name="connsiteX32" fmla="*/ 13654 w 604256"/>
                <a:gd name="connsiteY32" fmla="*/ 171639 h 531895"/>
                <a:gd name="connsiteX33" fmla="*/ 15 w 604256"/>
                <a:gd name="connsiteY33" fmla="*/ 147914 h 531895"/>
                <a:gd name="connsiteX34" fmla="*/ 15414 w 604256"/>
                <a:gd name="connsiteY34" fmla="*/ 125214 h 531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04256" h="531895">
                  <a:moveTo>
                    <a:pt x="18335" y="334272"/>
                  </a:moveTo>
                  <a:cubicBezTo>
                    <a:pt x="24642" y="332369"/>
                    <a:pt x="31682" y="332881"/>
                    <a:pt x="37988" y="336249"/>
                  </a:cubicBezTo>
                  <a:lnTo>
                    <a:pt x="302130" y="476833"/>
                  </a:lnTo>
                  <a:lnTo>
                    <a:pt x="566126" y="336249"/>
                  </a:lnTo>
                  <a:cubicBezTo>
                    <a:pt x="578739" y="329513"/>
                    <a:pt x="594432" y="334199"/>
                    <a:pt x="601178" y="346793"/>
                  </a:cubicBezTo>
                  <a:cubicBezTo>
                    <a:pt x="607925" y="359387"/>
                    <a:pt x="603085" y="375056"/>
                    <a:pt x="590619" y="381793"/>
                  </a:cubicBezTo>
                  <a:lnTo>
                    <a:pt x="314303" y="528820"/>
                  </a:lnTo>
                  <a:cubicBezTo>
                    <a:pt x="310490" y="530870"/>
                    <a:pt x="306383" y="531895"/>
                    <a:pt x="302130" y="531895"/>
                  </a:cubicBezTo>
                  <a:cubicBezTo>
                    <a:pt x="297877" y="531895"/>
                    <a:pt x="293770" y="530870"/>
                    <a:pt x="289957" y="528820"/>
                  </a:cubicBezTo>
                  <a:lnTo>
                    <a:pt x="13641" y="381793"/>
                  </a:lnTo>
                  <a:cubicBezTo>
                    <a:pt x="1028" y="375056"/>
                    <a:pt x="-3665" y="359387"/>
                    <a:pt x="3082" y="346793"/>
                  </a:cubicBezTo>
                  <a:cubicBezTo>
                    <a:pt x="6455" y="340496"/>
                    <a:pt x="12028" y="336176"/>
                    <a:pt x="18335" y="334272"/>
                  </a:cubicBezTo>
                  <a:close/>
                  <a:moveTo>
                    <a:pt x="18335" y="233364"/>
                  </a:moveTo>
                  <a:cubicBezTo>
                    <a:pt x="24642" y="231461"/>
                    <a:pt x="31682" y="231973"/>
                    <a:pt x="37988" y="235341"/>
                  </a:cubicBezTo>
                  <a:lnTo>
                    <a:pt x="302130" y="375925"/>
                  </a:lnTo>
                  <a:lnTo>
                    <a:pt x="566126" y="235341"/>
                  </a:lnTo>
                  <a:cubicBezTo>
                    <a:pt x="578739" y="228605"/>
                    <a:pt x="594432" y="233291"/>
                    <a:pt x="601178" y="245885"/>
                  </a:cubicBezTo>
                  <a:cubicBezTo>
                    <a:pt x="607925" y="258479"/>
                    <a:pt x="603085" y="274148"/>
                    <a:pt x="590619" y="280885"/>
                  </a:cubicBezTo>
                  <a:lnTo>
                    <a:pt x="314303" y="428058"/>
                  </a:lnTo>
                  <a:cubicBezTo>
                    <a:pt x="310490" y="430108"/>
                    <a:pt x="306383" y="430987"/>
                    <a:pt x="302130" y="430987"/>
                  </a:cubicBezTo>
                  <a:cubicBezTo>
                    <a:pt x="297877" y="430987"/>
                    <a:pt x="293770" y="430108"/>
                    <a:pt x="289957" y="428058"/>
                  </a:cubicBezTo>
                  <a:lnTo>
                    <a:pt x="13641" y="280885"/>
                  </a:lnTo>
                  <a:cubicBezTo>
                    <a:pt x="1028" y="274148"/>
                    <a:pt x="-3665" y="258479"/>
                    <a:pt x="3082" y="245885"/>
                  </a:cubicBezTo>
                  <a:cubicBezTo>
                    <a:pt x="6455" y="239588"/>
                    <a:pt x="12028" y="235268"/>
                    <a:pt x="18335" y="233364"/>
                  </a:cubicBezTo>
                  <a:close/>
                  <a:moveTo>
                    <a:pt x="291571" y="2196"/>
                  </a:moveTo>
                  <a:cubicBezTo>
                    <a:pt x="298317" y="-733"/>
                    <a:pt x="305943" y="-733"/>
                    <a:pt x="312689" y="2196"/>
                  </a:cubicBezTo>
                  <a:lnTo>
                    <a:pt x="588846" y="125214"/>
                  </a:lnTo>
                  <a:cubicBezTo>
                    <a:pt x="597938" y="129315"/>
                    <a:pt x="603805" y="138102"/>
                    <a:pt x="604245" y="147914"/>
                  </a:cubicBezTo>
                  <a:cubicBezTo>
                    <a:pt x="604538" y="157726"/>
                    <a:pt x="599258" y="166953"/>
                    <a:pt x="590605" y="171639"/>
                  </a:cubicBezTo>
                  <a:lnTo>
                    <a:pt x="314303" y="318676"/>
                  </a:lnTo>
                  <a:cubicBezTo>
                    <a:pt x="310489" y="320726"/>
                    <a:pt x="306383" y="321751"/>
                    <a:pt x="302130" y="321751"/>
                  </a:cubicBezTo>
                  <a:cubicBezTo>
                    <a:pt x="297877" y="321751"/>
                    <a:pt x="293771" y="320726"/>
                    <a:pt x="289957" y="318676"/>
                  </a:cubicBezTo>
                  <a:lnTo>
                    <a:pt x="13654" y="171639"/>
                  </a:lnTo>
                  <a:cubicBezTo>
                    <a:pt x="5002" y="166953"/>
                    <a:pt x="-278" y="157726"/>
                    <a:pt x="15" y="147914"/>
                  </a:cubicBezTo>
                  <a:cubicBezTo>
                    <a:pt x="309" y="138102"/>
                    <a:pt x="6322" y="129315"/>
                    <a:pt x="15414" y="125214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24" name="任意多边形: 形状 23"/>
            <p:cNvSpPr/>
            <p:nvPr/>
          </p:nvSpPr>
          <p:spPr>
            <a:xfrm>
              <a:off x="7687847" y="3591844"/>
              <a:ext cx="488894" cy="397450"/>
            </a:xfrm>
            <a:custGeom>
              <a:avLst/>
              <a:gdLst>
                <a:gd name="connsiteX0" fmla="*/ 390482 w 564166"/>
                <a:gd name="connsiteY0" fmla="*/ 307997 h 458643"/>
                <a:gd name="connsiteX1" fmla="*/ 403395 w 564166"/>
                <a:gd name="connsiteY1" fmla="*/ 307997 h 458643"/>
                <a:gd name="connsiteX2" fmla="*/ 439265 w 564166"/>
                <a:gd name="connsiteY2" fmla="*/ 353908 h 458643"/>
                <a:gd name="connsiteX3" fmla="*/ 434961 w 564166"/>
                <a:gd name="connsiteY3" fmla="*/ 361082 h 458643"/>
                <a:gd name="connsiteX4" fmla="*/ 419178 w 564166"/>
                <a:gd name="connsiteY4" fmla="*/ 361082 h 458643"/>
                <a:gd name="connsiteX5" fmla="*/ 492353 w 564166"/>
                <a:gd name="connsiteY5" fmla="*/ 419905 h 458643"/>
                <a:gd name="connsiteX6" fmla="*/ 512440 w 564166"/>
                <a:gd name="connsiteY6" fmla="*/ 438557 h 458643"/>
                <a:gd name="connsiteX7" fmla="*/ 492353 w 564166"/>
                <a:gd name="connsiteY7" fmla="*/ 458643 h 458643"/>
                <a:gd name="connsiteX8" fmla="*/ 379004 w 564166"/>
                <a:gd name="connsiteY8" fmla="*/ 361082 h 458643"/>
                <a:gd name="connsiteX9" fmla="*/ 358916 w 564166"/>
                <a:gd name="connsiteY9" fmla="*/ 361082 h 458643"/>
                <a:gd name="connsiteX10" fmla="*/ 354612 w 564166"/>
                <a:gd name="connsiteY10" fmla="*/ 353908 h 458643"/>
                <a:gd name="connsiteX11" fmla="*/ 277051 w 564166"/>
                <a:gd name="connsiteY11" fmla="*/ 307997 h 458643"/>
                <a:gd name="connsiteX12" fmla="*/ 288553 w 564166"/>
                <a:gd name="connsiteY12" fmla="*/ 307997 h 458643"/>
                <a:gd name="connsiteX13" fmla="*/ 324497 w 564166"/>
                <a:gd name="connsiteY13" fmla="*/ 353908 h 458643"/>
                <a:gd name="connsiteX14" fmla="*/ 320183 w 564166"/>
                <a:gd name="connsiteY14" fmla="*/ 361082 h 458643"/>
                <a:gd name="connsiteX15" fmla="*/ 301493 w 564166"/>
                <a:gd name="connsiteY15" fmla="*/ 361082 h 458643"/>
                <a:gd name="connsiteX16" fmla="*/ 301493 w 564166"/>
                <a:gd name="connsiteY16" fmla="*/ 438557 h 458643"/>
                <a:gd name="connsiteX17" fmla="*/ 282802 w 564166"/>
                <a:gd name="connsiteY17" fmla="*/ 458643 h 458643"/>
                <a:gd name="connsiteX18" fmla="*/ 262673 w 564166"/>
                <a:gd name="connsiteY18" fmla="*/ 438557 h 458643"/>
                <a:gd name="connsiteX19" fmla="*/ 262673 w 564166"/>
                <a:gd name="connsiteY19" fmla="*/ 361082 h 458643"/>
                <a:gd name="connsiteX20" fmla="*/ 243982 w 564166"/>
                <a:gd name="connsiteY20" fmla="*/ 361082 h 458643"/>
                <a:gd name="connsiteX21" fmla="*/ 239669 w 564166"/>
                <a:gd name="connsiteY21" fmla="*/ 353908 h 458643"/>
                <a:gd name="connsiteX22" fmla="*/ 162189 w 564166"/>
                <a:gd name="connsiteY22" fmla="*/ 307997 h 458643"/>
                <a:gd name="connsiteX23" fmla="*/ 173671 w 564166"/>
                <a:gd name="connsiteY23" fmla="*/ 307997 h 458643"/>
                <a:gd name="connsiteX24" fmla="*/ 209554 w 564166"/>
                <a:gd name="connsiteY24" fmla="*/ 353908 h 458643"/>
                <a:gd name="connsiteX25" fmla="*/ 205248 w 564166"/>
                <a:gd name="connsiteY25" fmla="*/ 361082 h 458643"/>
                <a:gd name="connsiteX26" fmla="*/ 185154 w 564166"/>
                <a:gd name="connsiteY26" fmla="*/ 361082 h 458643"/>
                <a:gd name="connsiteX27" fmla="*/ 71765 w 564166"/>
                <a:gd name="connsiteY27" fmla="*/ 458643 h 458643"/>
                <a:gd name="connsiteX28" fmla="*/ 53106 w 564166"/>
                <a:gd name="connsiteY28" fmla="*/ 438557 h 458643"/>
                <a:gd name="connsiteX29" fmla="*/ 71765 w 564166"/>
                <a:gd name="connsiteY29" fmla="*/ 419905 h 458643"/>
                <a:gd name="connsiteX30" fmla="*/ 146401 w 564166"/>
                <a:gd name="connsiteY30" fmla="*/ 361082 h 458643"/>
                <a:gd name="connsiteX31" fmla="*/ 129177 w 564166"/>
                <a:gd name="connsiteY31" fmla="*/ 361082 h 458643"/>
                <a:gd name="connsiteX32" fmla="*/ 124871 w 564166"/>
                <a:gd name="connsiteY32" fmla="*/ 353908 h 458643"/>
                <a:gd name="connsiteX33" fmla="*/ 340222 w 564166"/>
                <a:gd name="connsiteY33" fmla="*/ 0 h 458643"/>
                <a:gd name="connsiteX34" fmla="*/ 453630 w 564166"/>
                <a:gd name="connsiteY34" fmla="*/ 118973 h 458643"/>
                <a:gd name="connsiteX35" fmla="*/ 525407 w 564166"/>
                <a:gd name="connsiteY35" fmla="*/ 179176 h 458643"/>
                <a:gd name="connsiteX36" fmla="*/ 564166 w 564166"/>
                <a:gd name="connsiteY36" fmla="*/ 232212 h 458643"/>
                <a:gd name="connsiteX37" fmla="*/ 518229 w 564166"/>
                <a:gd name="connsiteY37" fmla="*/ 286681 h 458643"/>
                <a:gd name="connsiteX38" fmla="*/ 45937 w 564166"/>
                <a:gd name="connsiteY38" fmla="*/ 286681 h 458643"/>
                <a:gd name="connsiteX39" fmla="*/ 0 w 564166"/>
                <a:gd name="connsiteY39" fmla="*/ 232212 h 458643"/>
                <a:gd name="connsiteX40" fmla="*/ 45937 w 564166"/>
                <a:gd name="connsiteY40" fmla="*/ 179176 h 458643"/>
                <a:gd name="connsiteX41" fmla="*/ 111972 w 564166"/>
                <a:gd name="connsiteY41" fmla="*/ 103205 h 458643"/>
                <a:gd name="connsiteX42" fmla="*/ 134941 w 564166"/>
                <a:gd name="connsiteY42" fmla="*/ 107505 h 458643"/>
                <a:gd name="connsiteX43" fmla="*/ 209589 w 564166"/>
                <a:gd name="connsiteY43" fmla="*/ 22934 h 458643"/>
                <a:gd name="connsiteX44" fmla="*/ 256961 w 564166"/>
                <a:gd name="connsiteY44" fmla="*/ 43002 h 458643"/>
                <a:gd name="connsiteX45" fmla="*/ 340222 w 564166"/>
                <a:gd name="connsiteY45" fmla="*/ 0 h 45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64166" h="458643">
                  <a:moveTo>
                    <a:pt x="390482" y="307997"/>
                  </a:moveTo>
                  <a:cubicBezTo>
                    <a:pt x="394786" y="303693"/>
                    <a:pt x="399091" y="303693"/>
                    <a:pt x="403395" y="307997"/>
                  </a:cubicBezTo>
                  <a:lnTo>
                    <a:pt x="439265" y="353908"/>
                  </a:lnTo>
                  <a:cubicBezTo>
                    <a:pt x="442135" y="358212"/>
                    <a:pt x="440700" y="361082"/>
                    <a:pt x="434961" y="361082"/>
                  </a:cubicBezTo>
                  <a:lnTo>
                    <a:pt x="419178" y="361082"/>
                  </a:lnTo>
                  <a:cubicBezTo>
                    <a:pt x="426352" y="394081"/>
                    <a:pt x="456483" y="419905"/>
                    <a:pt x="492353" y="419905"/>
                  </a:cubicBezTo>
                  <a:cubicBezTo>
                    <a:pt x="503831" y="419905"/>
                    <a:pt x="512440" y="428514"/>
                    <a:pt x="512440" y="438557"/>
                  </a:cubicBezTo>
                  <a:cubicBezTo>
                    <a:pt x="512440" y="450035"/>
                    <a:pt x="503831" y="458643"/>
                    <a:pt x="492353" y="458643"/>
                  </a:cubicBezTo>
                  <a:cubicBezTo>
                    <a:pt x="434961" y="458643"/>
                    <a:pt x="387612" y="415601"/>
                    <a:pt x="379004" y="361082"/>
                  </a:cubicBezTo>
                  <a:lnTo>
                    <a:pt x="358916" y="361082"/>
                  </a:lnTo>
                  <a:cubicBezTo>
                    <a:pt x="353177" y="361082"/>
                    <a:pt x="351742" y="358212"/>
                    <a:pt x="354612" y="353908"/>
                  </a:cubicBezTo>
                  <a:close/>
                  <a:moveTo>
                    <a:pt x="277051" y="307997"/>
                  </a:moveTo>
                  <a:cubicBezTo>
                    <a:pt x="279926" y="303693"/>
                    <a:pt x="285677" y="303693"/>
                    <a:pt x="288553" y="307997"/>
                  </a:cubicBezTo>
                  <a:lnTo>
                    <a:pt x="324497" y="353908"/>
                  </a:lnTo>
                  <a:cubicBezTo>
                    <a:pt x="327372" y="358212"/>
                    <a:pt x="325934" y="361082"/>
                    <a:pt x="320183" y="361082"/>
                  </a:cubicBezTo>
                  <a:lnTo>
                    <a:pt x="301493" y="361082"/>
                  </a:lnTo>
                  <a:lnTo>
                    <a:pt x="301493" y="438557"/>
                  </a:lnTo>
                  <a:cubicBezTo>
                    <a:pt x="301493" y="450035"/>
                    <a:pt x="292866" y="458643"/>
                    <a:pt x="282802" y="458643"/>
                  </a:cubicBezTo>
                  <a:cubicBezTo>
                    <a:pt x="271300" y="458643"/>
                    <a:pt x="262673" y="450035"/>
                    <a:pt x="262673" y="438557"/>
                  </a:cubicBezTo>
                  <a:lnTo>
                    <a:pt x="262673" y="361082"/>
                  </a:lnTo>
                  <a:lnTo>
                    <a:pt x="243982" y="361082"/>
                  </a:lnTo>
                  <a:cubicBezTo>
                    <a:pt x="238231" y="361082"/>
                    <a:pt x="236793" y="358212"/>
                    <a:pt x="239669" y="353908"/>
                  </a:cubicBezTo>
                  <a:close/>
                  <a:moveTo>
                    <a:pt x="162189" y="307997"/>
                  </a:moveTo>
                  <a:cubicBezTo>
                    <a:pt x="165059" y="303693"/>
                    <a:pt x="169365" y="303693"/>
                    <a:pt x="173671" y="307997"/>
                  </a:cubicBezTo>
                  <a:lnTo>
                    <a:pt x="209554" y="353908"/>
                  </a:lnTo>
                  <a:cubicBezTo>
                    <a:pt x="212424" y="358212"/>
                    <a:pt x="210989" y="361082"/>
                    <a:pt x="205248" y="361082"/>
                  </a:cubicBezTo>
                  <a:lnTo>
                    <a:pt x="185154" y="361082"/>
                  </a:lnTo>
                  <a:cubicBezTo>
                    <a:pt x="176542" y="415601"/>
                    <a:pt x="129177" y="458643"/>
                    <a:pt x="71765" y="458643"/>
                  </a:cubicBezTo>
                  <a:cubicBezTo>
                    <a:pt x="61718" y="458643"/>
                    <a:pt x="53106" y="450035"/>
                    <a:pt x="53106" y="438557"/>
                  </a:cubicBezTo>
                  <a:cubicBezTo>
                    <a:pt x="53106" y="428514"/>
                    <a:pt x="61718" y="419905"/>
                    <a:pt x="71765" y="419905"/>
                  </a:cubicBezTo>
                  <a:cubicBezTo>
                    <a:pt x="107648" y="419905"/>
                    <a:pt x="137789" y="394081"/>
                    <a:pt x="146401" y="361082"/>
                  </a:cubicBezTo>
                  <a:lnTo>
                    <a:pt x="129177" y="361082"/>
                  </a:lnTo>
                  <a:cubicBezTo>
                    <a:pt x="123436" y="361082"/>
                    <a:pt x="122001" y="358212"/>
                    <a:pt x="124871" y="353908"/>
                  </a:cubicBezTo>
                  <a:close/>
                  <a:moveTo>
                    <a:pt x="340222" y="0"/>
                  </a:moveTo>
                  <a:cubicBezTo>
                    <a:pt x="399079" y="0"/>
                    <a:pt x="447888" y="51603"/>
                    <a:pt x="453630" y="118973"/>
                  </a:cubicBezTo>
                  <a:cubicBezTo>
                    <a:pt x="488083" y="118973"/>
                    <a:pt x="515358" y="144774"/>
                    <a:pt x="525407" y="179176"/>
                  </a:cubicBezTo>
                  <a:cubicBezTo>
                    <a:pt x="546940" y="183476"/>
                    <a:pt x="564166" y="204977"/>
                    <a:pt x="564166" y="232212"/>
                  </a:cubicBezTo>
                  <a:cubicBezTo>
                    <a:pt x="564166" y="262313"/>
                    <a:pt x="544069" y="286681"/>
                    <a:pt x="518229" y="286681"/>
                  </a:cubicBezTo>
                  <a:lnTo>
                    <a:pt x="45937" y="286681"/>
                  </a:lnTo>
                  <a:cubicBezTo>
                    <a:pt x="20097" y="286681"/>
                    <a:pt x="0" y="262313"/>
                    <a:pt x="0" y="232212"/>
                  </a:cubicBezTo>
                  <a:cubicBezTo>
                    <a:pt x="0" y="202110"/>
                    <a:pt x="20097" y="179176"/>
                    <a:pt x="45937" y="179176"/>
                  </a:cubicBezTo>
                  <a:cubicBezTo>
                    <a:pt x="45937" y="136173"/>
                    <a:pt x="76084" y="103205"/>
                    <a:pt x="111972" y="103205"/>
                  </a:cubicBezTo>
                  <a:cubicBezTo>
                    <a:pt x="119150" y="103205"/>
                    <a:pt x="127763" y="104639"/>
                    <a:pt x="134941" y="107505"/>
                  </a:cubicBezTo>
                  <a:cubicBezTo>
                    <a:pt x="134941" y="60203"/>
                    <a:pt x="169394" y="22934"/>
                    <a:pt x="209589" y="22934"/>
                  </a:cubicBezTo>
                  <a:cubicBezTo>
                    <a:pt x="228251" y="22934"/>
                    <a:pt x="244042" y="30102"/>
                    <a:pt x="256961" y="43002"/>
                  </a:cubicBezTo>
                  <a:cubicBezTo>
                    <a:pt x="278494" y="15767"/>
                    <a:pt x="307205" y="0"/>
                    <a:pt x="340222" y="0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79436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如何有效防治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1097753" y="1511284"/>
            <a:ext cx="9983794" cy="4241831"/>
            <a:chOff x="1097753" y="1511284"/>
            <a:chExt cx="9983794" cy="4241831"/>
          </a:xfrm>
        </p:grpSpPr>
        <p:grpSp>
          <p:nvGrpSpPr>
            <p:cNvPr id="6" name="组合 5"/>
            <p:cNvGrpSpPr/>
            <p:nvPr/>
          </p:nvGrpSpPr>
          <p:grpSpPr>
            <a:xfrm>
              <a:off x="5184782" y="2337984"/>
              <a:ext cx="5896765" cy="935030"/>
              <a:chOff x="5184782" y="2346172"/>
              <a:chExt cx="5896765" cy="935030"/>
            </a:xfrm>
          </p:grpSpPr>
          <p:sp>
            <p:nvSpPr>
              <p:cNvPr id="23" name="箭头: 五边形 22">
                <a:extLst>
                  <a:ext uri="{FF2B5EF4-FFF2-40B4-BE49-F238E27FC236}">
                    <a16:creationId xmlns:a16="http://schemas.microsoft.com/office/drawing/2014/main" id="{F63845A4-3EEA-4685-9F4A-BC1F4728B026}"/>
                  </a:ext>
                </a:extLst>
              </p:cNvPr>
              <p:cNvSpPr/>
              <p:nvPr/>
            </p:nvSpPr>
            <p:spPr>
              <a:xfrm>
                <a:off x="5655471" y="2493012"/>
                <a:ext cx="5426076" cy="641350"/>
              </a:xfrm>
              <a:prstGeom prst="homePlate">
                <a:avLst>
                  <a:gd name="adj" fmla="val 47651"/>
                </a:avLst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defRPr/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Copy paste fonts. Choose the </a:t>
                </a:r>
                <a:r>
                  <a:rPr lang="en-US" altLang="zh-CN" sz="1200">
                    <a:solidFill>
                      <a:schemeClr val="tx1"/>
                    </a:solidFill>
                  </a:rPr>
                  <a:t>only op</a:t>
                </a:r>
                <a:r>
                  <a:rPr lang="en-US" altLang="zh-CN" sz="100">
                    <a:solidFill>
                      <a:schemeClr val="tx1"/>
                    </a:solidFill>
                  </a:rPr>
                  <a:t> </a:t>
                </a:r>
                <a:r>
                  <a:rPr lang="en-US" altLang="zh-CN" sz="1200">
                    <a:solidFill>
                      <a:schemeClr val="tx1"/>
                    </a:solidFill>
                  </a:rPr>
                  <a:t>tion 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to retain text.</a:t>
                </a:r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8BD61AB3-33CA-4CCB-A03F-C8A15BE912A7}"/>
                  </a:ext>
                </a:extLst>
              </p:cNvPr>
              <p:cNvSpPr/>
              <p:nvPr/>
            </p:nvSpPr>
            <p:spPr bwMode="auto">
              <a:xfrm>
                <a:off x="10379868" y="2656234"/>
                <a:ext cx="374650" cy="314906"/>
              </a:xfrm>
              <a:custGeom>
                <a:avLst/>
                <a:gdLst>
                  <a:gd name="connsiteX0" fmla="*/ 536415 w 607227"/>
                  <a:gd name="connsiteY0" fmla="*/ 12631 h 510399"/>
                  <a:gd name="connsiteX1" fmla="*/ 557192 w 607227"/>
                  <a:gd name="connsiteY1" fmla="*/ 21221 h 510399"/>
                  <a:gd name="connsiteX2" fmla="*/ 598584 w 607227"/>
                  <a:gd name="connsiteY2" fmla="*/ 62633 h 510399"/>
                  <a:gd name="connsiteX3" fmla="*/ 598584 w 607227"/>
                  <a:gd name="connsiteY3" fmla="*/ 104044 h 510399"/>
                  <a:gd name="connsiteX4" fmla="*/ 511175 w 607227"/>
                  <a:gd name="connsiteY4" fmla="*/ 191324 h 510399"/>
                  <a:gd name="connsiteX5" fmla="*/ 444948 w 607227"/>
                  <a:gd name="connsiteY5" fmla="*/ 257453 h 510399"/>
                  <a:gd name="connsiteX6" fmla="*/ 339441 w 607227"/>
                  <a:gd name="connsiteY6" fmla="*/ 362805 h 510399"/>
                  <a:gd name="connsiteX7" fmla="*/ 297968 w 607227"/>
                  <a:gd name="connsiteY7" fmla="*/ 404217 h 510399"/>
                  <a:gd name="connsiteX8" fmla="*/ 277191 w 607227"/>
                  <a:gd name="connsiteY8" fmla="*/ 412807 h 510399"/>
                  <a:gd name="connsiteX9" fmla="*/ 256495 w 607227"/>
                  <a:gd name="connsiteY9" fmla="*/ 404217 h 510399"/>
                  <a:gd name="connsiteX10" fmla="*/ 215023 w 607227"/>
                  <a:gd name="connsiteY10" fmla="*/ 362805 h 510399"/>
                  <a:gd name="connsiteX11" fmla="*/ 138814 w 607227"/>
                  <a:gd name="connsiteY11" fmla="*/ 286790 h 510399"/>
                  <a:gd name="connsiteX12" fmla="*/ 138814 w 607227"/>
                  <a:gd name="connsiteY12" fmla="*/ 245378 h 510399"/>
                  <a:gd name="connsiteX13" fmla="*/ 180286 w 607227"/>
                  <a:gd name="connsiteY13" fmla="*/ 203967 h 510399"/>
                  <a:gd name="connsiteX14" fmla="*/ 201063 w 607227"/>
                  <a:gd name="connsiteY14" fmla="*/ 195376 h 510399"/>
                  <a:gd name="connsiteX15" fmla="*/ 221759 w 607227"/>
                  <a:gd name="connsiteY15" fmla="*/ 203967 h 510399"/>
                  <a:gd name="connsiteX16" fmla="*/ 277191 w 607227"/>
                  <a:gd name="connsiteY16" fmla="*/ 259317 h 510399"/>
                  <a:gd name="connsiteX17" fmla="*/ 444948 w 607227"/>
                  <a:gd name="connsiteY17" fmla="*/ 91807 h 510399"/>
                  <a:gd name="connsiteX18" fmla="*/ 503951 w 607227"/>
                  <a:gd name="connsiteY18" fmla="*/ 32891 h 510399"/>
                  <a:gd name="connsiteX19" fmla="*/ 515719 w 607227"/>
                  <a:gd name="connsiteY19" fmla="*/ 21221 h 510399"/>
                  <a:gd name="connsiteX20" fmla="*/ 536415 w 607227"/>
                  <a:gd name="connsiteY20" fmla="*/ 12631 h 510399"/>
                  <a:gd name="connsiteX21" fmla="*/ 61847 w 607227"/>
                  <a:gd name="connsiteY21" fmla="*/ 0 h 510399"/>
                  <a:gd name="connsiteX22" fmla="*/ 449328 w 607227"/>
                  <a:gd name="connsiteY22" fmla="*/ 0 h 510399"/>
                  <a:gd name="connsiteX23" fmla="*/ 491858 w 607227"/>
                  <a:gd name="connsiteY23" fmla="*/ 17019 h 510399"/>
                  <a:gd name="connsiteX24" fmla="*/ 442591 w 607227"/>
                  <a:gd name="connsiteY24" fmla="*/ 66130 h 510399"/>
                  <a:gd name="connsiteX25" fmla="*/ 66230 w 607227"/>
                  <a:gd name="connsiteY25" fmla="*/ 66130 h 510399"/>
                  <a:gd name="connsiteX26" fmla="*/ 66230 w 607227"/>
                  <a:gd name="connsiteY26" fmla="*/ 444269 h 510399"/>
                  <a:gd name="connsiteX27" fmla="*/ 444945 w 607227"/>
                  <a:gd name="connsiteY27" fmla="*/ 444269 h 510399"/>
                  <a:gd name="connsiteX28" fmla="*/ 444945 w 607227"/>
                  <a:gd name="connsiteY28" fmla="*/ 285590 h 510399"/>
                  <a:gd name="connsiteX29" fmla="*/ 511175 w 607227"/>
                  <a:gd name="connsiteY29" fmla="*/ 219460 h 510399"/>
                  <a:gd name="connsiteX30" fmla="*/ 511175 w 607227"/>
                  <a:gd name="connsiteY30" fmla="*/ 448645 h 510399"/>
                  <a:gd name="connsiteX31" fmla="*/ 449328 w 607227"/>
                  <a:gd name="connsiteY31" fmla="*/ 510399 h 510399"/>
                  <a:gd name="connsiteX32" fmla="*/ 61847 w 607227"/>
                  <a:gd name="connsiteY32" fmla="*/ 510399 h 510399"/>
                  <a:gd name="connsiteX33" fmla="*/ 0 w 607227"/>
                  <a:gd name="connsiteY33" fmla="*/ 448645 h 510399"/>
                  <a:gd name="connsiteX34" fmla="*/ 0 w 607227"/>
                  <a:gd name="connsiteY34" fmla="*/ 61673 h 510399"/>
                  <a:gd name="connsiteX35" fmla="*/ 61847 w 607227"/>
                  <a:gd name="connsiteY35" fmla="*/ 0 h 510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607227" h="510399">
                    <a:moveTo>
                      <a:pt x="536415" y="12631"/>
                    </a:moveTo>
                    <a:cubicBezTo>
                      <a:pt x="543882" y="12631"/>
                      <a:pt x="551430" y="15467"/>
                      <a:pt x="557192" y="21221"/>
                    </a:cubicBezTo>
                    <a:lnTo>
                      <a:pt x="598584" y="62633"/>
                    </a:lnTo>
                    <a:cubicBezTo>
                      <a:pt x="610108" y="74059"/>
                      <a:pt x="610108" y="92618"/>
                      <a:pt x="598584" y="104044"/>
                    </a:cubicBezTo>
                    <a:lnTo>
                      <a:pt x="511175" y="191324"/>
                    </a:lnTo>
                    <a:lnTo>
                      <a:pt x="444948" y="257453"/>
                    </a:lnTo>
                    <a:lnTo>
                      <a:pt x="339441" y="362805"/>
                    </a:lnTo>
                    <a:lnTo>
                      <a:pt x="297968" y="404217"/>
                    </a:lnTo>
                    <a:cubicBezTo>
                      <a:pt x="292206" y="409971"/>
                      <a:pt x="284739" y="412807"/>
                      <a:pt x="277191" y="412807"/>
                    </a:cubicBezTo>
                    <a:cubicBezTo>
                      <a:pt x="269724" y="412807"/>
                      <a:pt x="262177" y="409971"/>
                      <a:pt x="256495" y="404217"/>
                    </a:cubicBezTo>
                    <a:lnTo>
                      <a:pt x="215023" y="362805"/>
                    </a:lnTo>
                    <a:lnTo>
                      <a:pt x="138814" y="286790"/>
                    </a:lnTo>
                    <a:cubicBezTo>
                      <a:pt x="127370" y="275363"/>
                      <a:pt x="127370" y="256805"/>
                      <a:pt x="138814" y="245378"/>
                    </a:cubicBezTo>
                    <a:lnTo>
                      <a:pt x="180286" y="203967"/>
                    </a:lnTo>
                    <a:cubicBezTo>
                      <a:pt x="186049" y="198213"/>
                      <a:pt x="193515" y="195376"/>
                      <a:pt x="201063" y="195376"/>
                    </a:cubicBezTo>
                    <a:cubicBezTo>
                      <a:pt x="208530" y="195376"/>
                      <a:pt x="215997" y="198213"/>
                      <a:pt x="221759" y="203967"/>
                    </a:cubicBezTo>
                    <a:lnTo>
                      <a:pt x="277191" y="259317"/>
                    </a:lnTo>
                    <a:lnTo>
                      <a:pt x="444948" y="91807"/>
                    </a:lnTo>
                    <a:lnTo>
                      <a:pt x="503951" y="32891"/>
                    </a:lnTo>
                    <a:lnTo>
                      <a:pt x="515719" y="21221"/>
                    </a:lnTo>
                    <a:cubicBezTo>
                      <a:pt x="521401" y="15467"/>
                      <a:pt x="528949" y="12631"/>
                      <a:pt x="536415" y="12631"/>
                    </a:cubicBezTo>
                    <a:close/>
                    <a:moveTo>
                      <a:pt x="61847" y="0"/>
                    </a:moveTo>
                    <a:lnTo>
                      <a:pt x="449328" y="0"/>
                    </a:lnTo>
                    <a:cubicBezTo>
                      <a:pt x="465804" y="0"/>
                      <a:pt x="480738" y="6483"/>
                      <a:pt x="491858" y="17019"/>
                    </a:cubicBezTo>
                    <a:lnTo>
                      <a:pt x="442591" y="66130"/>
                    </a:lnTo>
                    <a:lnTo>
                      <a:pt x="66230" y="66130"/>
                    </a:lnTo>
                    <a:lnTo>
                      <a:pt x="66230" y="444269"/>
                    </a:lnTo>
                    <a:lnTo>
                      <a:pt x="444945" y="444269"/>
                    </a:lnTo>
                    <a:lnTo>
                      <a:pt x="444945" y="285590"/>
                    </a:lnTo>
                    <a:lnTo>
                      <a:pt x="511175" y="219460"/>
                    </a:lnTo>
                    <a:lnTo>
                      <a:pt x="511175" y="448645"/>
                    </a:lnTo>
                    <a:cubicBezTo>
                      <a:pt x="511175" y="482683"/>
                      <a:pt x="483417" y="510399"/>
                      <a:pt x="449328" y="510399"/>
                    </a:cubicBezTo>
                    <a:lnTo>
                      <a:pt x="61847" y="510399"/>
                    </a:lnTo>
                    <a:cubicBezTo>
                      <a:pt x="27758" y="510399"/>
                      <a:pt x="0" y="482683"/>
                      <a:pt x="0" y="448645"/>
                    </a:cubicBezTo>
                    <a:lnTo>
                      <a:pt x="0" y="61673"/>
                    </a:lnTo>
                    <a:cubicBezTo>
                      <a:pt x="0" y="27635"/>
                      <a:pt x="27758" y="0"/>
                      <a:pt x="61847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92500" lnSpcReduction="20000"/>
              </a:bodyPr>
              <a:lstStyle/>
              <a:p>
                <a:endParaRPr lang="zh-CN" altLang="en-US"/>
              </a:p>
            </p:txBody>
          </p:sp>
          <p:sp>
            <p:nvSpPr>
              <p:cNvPr id="25" name="椭圆 24"/>
              <p:cNvSpPr/>
              <p:nvPr/>
            </p:nvSpPr>
            <p:spPr>
              <a:xfrm>
                <a:off x="5184782" y="2346172"/>
                <a:ext cx="935030" cy="935030"/>
              </a:xfrm>
              <a:prstGeom prst="ellipse">
                <a:avLst/>
              </a:prstGeom>
              <a:solidFill>
                <a:schemeClr val="accent2"/>
              </a:solidFill>
              <a:ln w="571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b="1" i="1">
                    <a:solidFill>
                      <a:schemeClr val="bg1"/>
                    </a:solidFill>
                  </a:rPr>
                  <a:t>Te</a:t>
                </a:r>
                <a:r>
                  <a:rPr lang="en-US" altLang="zh-CN" sz="100" b="1" i="1">
                    <a:solidFill>
                      <a:schemeClr val="bg1"/>
                    </a:solidFill>
                  </a:rPr>
                  <a:t> </a:t>
                </a:r>
                <a:r>
                  <a:rPr lang="en-US" altLang="zh-CN" b="1" i="1">
                    <a:solidFill>
                      <a:schemeClr val="bg1"/>
                    </a:solidFill>
                  </a:rPr>
                  <a:t>xt</a:t>
                </a:r>
                <a:endParaRPr lang="zh-CN" altLang="en-US" b="1" i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" name="组合 6"/>
            <p:cNvGrpSpPr/>
            <p:nvPr/>
          </p:nvGrpSpPr>
          <p:grpSpPr>
            <a:xfrm>
              <a:off x="4491040" y="3991384"/>
              <a:ext cx="5896765" cy="935030"/>
              <a:chOff x="5184782" y="3983198"/>
              <a:chExt cx="5896765" cy="935030"/>
            </a:xfrm>
          </p:grpSpPr>
          <p:sp>
            <p:nvSpPr>
              <p:cNvPr id="20" name="箭头: 五边形 19">
                <a:extLst>
                  <a:ext uri="{FF2B5EF4-FFF2-40B4-BE49-F238E27FC236}">
                    <a16:creationId xmlns:a16="http://schemas.microsoft.com/office/drawing/2014/main" id="{F63845A4-3EEA-4685-9F4A-BC1F4728B026}"/>
                  </a:ext>
                </a:extLst>
              </p:cNvPr>
              <p:cNvSpPr/>
              <p:nvPr/>
            </p:nvSpPr>
            <p:spPr>
              <a:xfrm>
                <a:off x="5655471" y="4130038"/>
                <a:ext cx="5426076" cy="641350"/>
              </a:xfrm>
              <a:prstGeom prst="homePlate">
                <a:avLst>
                  <a:gd name="adj" fmla="val 47651"/>
                </a:avLst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>
                  <a:defRPr/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Copy paste fonts. Choose the </a:t>
                </a:r>
                <a:r>
                  <a:rPr lang="en-US" altLang="zh-CN" sz="1200">
                    <a:solidFill>
                      <a:schemeClr val="tx1"/>
                    </a:solidFill>
                  </a:rPr>
                  <a:t>only op</a:t>
                </a:r>
                <a:r>
                  <a:rPr lang="en-US" altLang="zh-CN" sz="100">
                    <a:solidFill>
                      <a:schemeClr val="tx1"/>
                    </a:solidFill>
                  </a:rPr>
                  <a:t> </a:t>
                </a:r>
                <a:r>
                  <a:rPr lang="en-US" altLang="zh-CN" sz="1200">
                    <a:solidFill>
                      <a:schemeClr val="tx1"/>
                    </a:solidFill>
                  </a:rPr>
                  <a:t>tion 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to retain text.</a:t>
                </a:r>
              </a:p>
            </p:txBody>
          </p:sp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8BD61AB3-33CA-4CCB-A03F-C8A15BE912A7}"/>
                  </a:ext>
                </a:extLst>
              </p:cNvPr>
              <p:cNvSpPr/>
              <p:nvPr/>
            </p:nvSpPr>
            <p:spPr bwMode="auto">
              <a:xfrm>
                <a:off x="10379868" y="4293260"/>
                <a:ext cx="374650" cy="314906"/>
              </a:xfrm>
              <a:custGeom>
                <a:avLst/>
                <a:gdLst>
                  <a:gd name="connsiteX0" fmla="*/ 536415 w 607227"/>
                  <a:gd name="connsiteY0" fmla="*/ 12631 h 510399"/>
                  <a:gd name="connsiteX1" fmla="*/ 557192 w 607227"/>
                  <a:gd name="connsiteY1" fmla="*/ 21221 h 510399"/>
                  <a:gd name="connsiteX2" fmla="*/ 598584 w 607227"/>
                  <a:gd name="connsiteY2" fmla="*/ 62633 h 510399"/>
                  <a:gd name="connsiteX3" fmla="*/ 598584 w 607227"/>
                  <a:gd name="connsiteY3" fmla="*/ 104044 h 510399"/>
                  <a:gd name="connsiteX4" fmla="*/ 511175 w 607227"/>
                  <a:gd name="connsiteY4" fmla="*/ 191324 h 510399"/>
                  <a:gd name="connsiteX5" fmla="*/ 444948 w 607227"/>
                  <a:gd name="connsiteY5" fmla="*/ 257453 h 510399"/>
                  <a:gd name="connsiteX6" fmla="*/ 339441 w 607227"/>
                  <a:gd name="connsiteY6" fmla="*/ 362805 h 510399"/>
                  <a:gd name="connsiteX7" fmla="*/ 297968 w 607227"/>
                  <a:gd name="connsiteY7" fmla="*/ 404217 h 510399"/>
                  <a:gd name="connsiteX8" fmla="*/ 277191 w 607227"/>
                  <a:gd name="connsiteY8" fmla="*/ 412807 h 510399"/>
                  <a:gd name="connsiteX9" fmla="*/ 256495 w 607227"/>
                  <a:gd name="connsiteY9" fmla="*/ 404217 h 510399"/>
                  <a:gd name="connsiteX10" fmla="*/ 215023 w 607227"/>
                  <a:gd name="connsiteY10" fmla="*/ 362805 h 510399"/>
                  <a:gd name="connsiteX11" fmla="*/ 138814 w 607227"/>
                  <a:gd name="connsiteY11" fmla="*/ 286790 h 510399"/>
                  <a:gd name="connsiteX12" fmla="*/ 138814 w 607227"/>
                  <a:gd name="connsiteY12" fmla="*/ 245378 h 510399"/>
                  <a:gd name="connsiteX13" fmla="*/ 180286 w 607227"/>
                  <a:gd name="connsiteY13" fmla="*/ 203967 h 510399"/>
                  <a:gd name="connsiteX14" fmla="*/ 201063 w 607227"/>
                  <a:gd name="connsiteY14" fmla="*/ 195376 h 510399"/>
                  <a:gd name="connsiteX15" fmla="*/ 221759 w 607227"/>
                  <a:gd name="connsiteY15" fmla="*/ 203967 h 510399"/>
                  <a:gd name="connsiteX16" fmla="*/ 277191 w 607227"/>
                  <a:gd name="connsiteY16" fmla="*/ 259317 h 510399"/>
                  <a:gd name="connsiteX17" fmla="*/ 444948 w 607227"/>
                  <a:gd name="connsiteY17" fmla="*/ 91807 h 510399"/>
                  <a:gd name="connsiteX18" fmla="*/ 503951 w 607227"/>
                  <a:gd name="connsiteY18" fmla="*/ 32891 h 510399"/>
                  <a:gd name="connsiteX19" fmla="*/ 515719 w 607227"/>
                  <a:gd name="connsiteY19" fmla="*/ 21221 h 510399"/>
                  <a:gd name="connsiteX20" fmla="*/ 536415 w 607227"/>
                  <a:gd name="connsiteY20" fmla="*/ 12631 h 510399"/>
                  <a:gd name="connsiteX21" fmla="*/ 61847 w 607227"/>
                  <a:gd name="connsiteY21" fmla="*/ 0 h 510399"/>
                  <a:gd name="connsiteX22" fmla="*/ 449328 w 607227"/>
                  <a:gd name="connsiteY22" fmla="*/ 0 h 510399"/>
                  <a:gd name="connsiteX23" fmla="*/ 491858 w 607227"/>
                  <a:gd name="connsiteY23" fmla="*/ 17019 h 510399"/>
                  <a:gd name="connsiteX24" fmla="*/ 442591 w 607227"/>
                  <a:gd name="connsiteY24" fmla="*/ 66130 h 510399"/>
                  <a:gd name="connsiteX25" fmla="*/ 66230 w 607227"/>
                  <a:gd name="connsiteY25" fmla="*/ 66130 h 510399"/>
                  <a:gd name="connsiteX26" fmla="*/ 66230 w 607227"/>
                  <a:gd name="connsiteY26" fmla="*/ 444269 h 510399"/>
                  <a:gd name="connsiteX27" fmla="*/ 444945 w 607227"/>
                  <a:gd name="connsiteY27" fmla="*/ 444269 h 510399"/>
                  <a:gd name="connsiteX28" fmla="*/ 444945 w 607227"/>
                  <a:gd name="connsiteY28" fmla="*/ 285590 h 510399"/>
                  <a:gd name="connsiteX29" fmla="*/ 511175 w 607227"/>
                  <a:gd name="connsiteY29" fmla="*/ 219460 h 510399"/>
                  <a:gd name="connsiteX30" fmla="*/ 511175 w 607227"/>
                  <a:gd name="connsiteY30" fmla="*/ 448645 h 510399"/>
                  <a:gd name="connsiteX31" fmla="*/ 449328 w 607227"/>
                  <a:gd name="connsiteY31" fmla="*/ 510399 h 510399"/>
                  <a:gd name="connsiteX32" fmla="*/ 61847 w 607227"/>
                  <a:gd name="connsiteY32" fmla="*/ 510399 h 510399"/>
                  <a:gd name="connsiteX33" fmla="*/ 0 w 607227"/>
                  <a:gd name="connsiteY33" fmla="*/ 448645 h 510399"/>
                  <a:gd name="connsiteX34" fmla="*/ 0 w 607227"/>
                  <a:gd name="connsiteY34" fmla="*/ 61673 h 510399"/>
                  <a:gd name="connsiteX35" fmla="*/ 61847 w 607227"/>
                  <a:gd name="connsiteY35" fmla="*/ 0 h 510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607227" h="510399">
                    <a:moveTo>
                      <a:pt x="536415" y="12631"/>
                    </a:moveTo>
                    <a:cubicBezTo>
                      <a:pt x="543882" y="12631"/>
                      <a:pt x="551430" y="15467"/>
                      <a:pt x="557192" y="21221"/>
                    </a:cubicBezTo>
                    <a:lnTo>
                      <a:pt x="598584" y="62633"/>
                    </a:lnTo>
                    <a:cubicBezTo>
                      <a:pt x="610108" y="74059"/>
                      <a:pt x="610108" y="92618"/>
                      <a:pt x="598584" y="104044"/>
                    </a:cubicBezTo>
                    <a:lnTo>
                      <a:pt x="511175" y="191324"/>
                    </a:lnTo>
                    <a:lnTo>
                      <a:pt x="444948" y="257453"/>
                    </a:lnTo>
                    <a:lnTo>
                      <a:pt x="339441" y="362805"/>
                    </a:lnTo>
                    <a:lnTo>
                      <a:pt x="297968" y="404217"/>
                    </a:lnTo>
                    <a:cubicBezTo>
                      <a:pt x="292206" y="409971"/>
                      <a:pt x="284739" y="412807"/>
                      <a:pt x="277191" y="412807"/>
                    </a:cubicBezTo>
                    <a:cubicBezTo>
                      <a:pt x="269724" y="412807"/>
                      <a:pt x="262177" y="409971"/>
                      <a:pt x="256495" y="404217"/>
                    </a:cubicBezTo>
                    <a:lnTo>
                      <a:pt x="215023" y="362805"/>
                    </a:lnTo>
                    <a:lnTo>
                      <a:pt x="138814" y="286790"/>
                    </a:lnTo>
                    <a:cubicBezTo>
                      <a:pt x="127370" y="275363"/>
                      <a:pt x="127370" y="256805"/>
                      <a:pt x="138814" y="245378"/>
                    </a:cubicBezTo>
                    <a:lnTo>
                      <a:pt x="180286" y="203967"/>
                    </a:lnTo>
                    <a:cubicBezTo>
                      <a:pt x="186049" y="198213"/>
                      <a:pt x="193515" y="195376"/>
                      <a:pt x="201063" y="195376"/>
                    </a:cubicBezTo>
                    <a:cubicBezTo>
                      <a:pt x="208530" y="195376"/>
                      <a:pt x="215997" y="198213"/>
                      <a:pt x="221759" y="203967"/>
                    </a:cubicBezTo>
                    <a:lnTo>
                      <a:pt x="277191" y="259317"/>
                    </a:lnTo>
                    <a:lnTo>
                      <a:pt x="444948" y="91807"/>
                    </a:lnTo>
                    <a:lnTo>
                      <a:pt x="503951" y="32891"/>
                    </a:lnTo>
                    <a:lnTo>
                      <a:pt x="515719" y="21221"/>
                    </a:lnTo>
                    <a:cubicBezTo>
                      <a:pt x="521401" y="15467"/>
                      <a:pt x="528949" y="12631"/>
                      <a:pt x="536415" y="12631"/>
                    </a:cubicBezTo>
                    <a:close/>
                    <a:moveTo>
                      <a:pt x="61847" y="0"/>
                    </a:moveTo>
                    <a:lnTo>
                      <a:pt x="449328" y="0"/>
                    </a:lnTo>
                    <a:cubicBezTo>
                      <a:pt x="465804" y="0"/>
                      <a:pt x="480738" y="6483"/>
                      <a:pt x="491858" y="17019"/>
                    </a:cubicBezTo>
                    <a:lnTo>
                      <a:pt x="442591" y="66130"/>
                    </a:lnTo>
                    <a:lnTo>
                      <a:pt x="66230" y="66130"/>
                    </a:lnTo>
                    <a:lnTo>
                      <a:pt x="66230" y="444269"/>
                    </a:lnTo>
                    <a:lnTo>
                      <a:pt x="444945" y="444269"/>
                    </a:lnTo>
                    <a:lnTo>
                      <a:pt x="444945" y="285590"/>
                    </a:lnTo>
                    <a:lnTo>
                      <a:pt x="511175" y="219460"/>
                    </a:lnTo>
                    <a:lnTo>
                      <a:pt x="511175" y="448645"/>
                    </a:lnTo>
                    <a:cubicBezTo>
                      <a:pt x="511175" y="482683"/>
                      <a:pt x="483417" y="510399"/>
                      <a:pt x="449328" y="510399"/>
                    </a:cubicBezTo>
                    <a:lnTo>
                      <a:pt x="61847" y="510399"/>
                    </a:lnTo>
                    <a:cubicBezTo>
                      <a:pt x="27758" y="510399"/>
                      <a:pt x="0" y="482683"/>
                      <a:pt x="0" y="448645"/>
                    </a:cubicBezTo>
                    <a:lnTo>
                      <a:pt x="0" y="61673"/>
                    </a:lnTo>
                    <a:cubicBezTo>
                      <a:pt x="0" y="27635"/>
                      <a:pt x="27758" y="0"/>
                      <a:pt x="61847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92500" lnSpcReduction="20000"/>
              </a:bodyPr>
              <a:lstStyle/>
              <a:p>
                <a:endParaRPr lang="zh-CN" altLang="en-US"/>
              </a:p>
            </p:txBody>
          </p:sp>
          <p:sp>
            <p:nvSpPr>
              <p:cNvPr id="22" name="椭圆 21"/>
              <p:cNvSpPr/>
              <p:nvPr/>
            </p:nvSpPr>
            <p:spPr>
              <a:xfrm>
                <a:off x="5184782" y="3983198"/>
                <a:ext cx="935030" cy="935030"/>
              </a:xfrm>
              <a:prstGeom prst="ellipse">
                <a:avLst/>
              </a:prstGeom>
              <a:solidFill>
                <a:schemeClr val="accent2"/>
              </a:solidFill>
              <a:ln w="571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b="1" i="1">
                    <a:solidFill>
                      <a:schemeClr val="bg1"/>
                    </a:solidFill>
                  </a:rPr>
                  <a:t>Te</a:t>
                </a:r>
                <a:r>
                  <a:rPr lang="en-US" altLang="zh-CN" sz="100" b="1" i="1">
                    <a:solidFill>
                      <a:schemeClr val="bg1"/>
                    </a:solidFill>
                  </a:rPr>
                  <a:t> </a:t>
                </a:r>
                <a:r>
                  <a:rPr lang="en-US" altLang="zh-CN" b="1" i="1">
                    <a:solidFill>
                      <a:schemeClr val="bg1"/>
                    </a:solidFill>
                  </a:rPr>
                  <a:t>xt</a:t>
                </a:r>
                <a:endParaRPr lang="zh-CN" altLang="en-US" b="1" i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1097753" y="1511284"/>
              <a:ext cx="5896767" cy="935030"/>
              <a:chOff x="1097753" y="1527659"/>
              <a:chExt cx="5896767" cy="935030"/>
            </a:xfrm>
          </p:grpSpPr>
          <p:sp>
            <p:nvSpPr>
              <p:cNvPr id="17" name="箭头: 五边形 16">
                <a:extLst>
                  <a:ext uri="{FF2B5EF4-FFF2-40B4-BE49-F238E27FC236}">
                    <a16:creationId xmlns:a16="http://schemas.microsoft.com/office/drawing/2014/main" id="{4291D6A9-814C-476C-8BC6-474AC64CB70D}"/>
                  </a:ext>
                </a:extLst>
              </p:cNvPr>
              <p:cNvSpPr/>
              <p:nvPr/>
            </p:nvSpPr>
            <p:spPr>
              <a:xfrm flipH="1">
                <a:off x="1097753" y="1674499"/>
                <a:ext cx="5426076" cy="641350"/>
              </a:xfrm>
              <a:prstGeom prst="homePlate">
                <a:avLst>
                  <a:gd name="adj" fmla="val 47651"/>
                </a:avLst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>
                  <a:defRPr/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Copy paste fonts. Choose the </a:t>
                </a:r>
                <a:r>
                  <a:rPr lang="en-US" altLang="zh-CN" sz="1200">
                    <a:solidFill>
                      <a:schemeClr val="tx1"/>
                    </a:solidFill>
                  </a:rPr>
                  <a:t>only op</a:t>
                </a:r>
                <a:r>
                  <a:rPr lang="en-US" altLang="zh-CN" sz="100">
                    <a:solidFill>
                      <a:schemeClr val="tx1"/>
                    </a:solidFill>
                  </a:rPr>
                  <a:t> </a:t>
                </a:r>
                <a:r>
                  <a:rPr lang="en-US" altLang="zh-CN" sz="1200">
                    <a:solidFill>
                      <a:schemeClr val="tx1"/>
                    </a:solidFill>
                  </a:rPr>
                  <a:t>tion 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to retain text.</a:t>
                </a:r>
              </a:p>
            </p:txBody>
          </p:sp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id="{8BD61AB3-33CA-4CCB-A03F-C8A15BE912A7}"/>
                  </a:ext>
                </a:extLst>
              </p:cNvPr>
              <p:cNvSpPr/>
              <p:nvPr/>
            </p:nvSpPr>
            <p:spPr bwMode="auto">
              <a:xfrm>
                <a:off x="1424784" y="1837721"/>
                <a:ext cx="374650" cy="314906"/>
              </a:xfrm>
              <a:custGeom>
                <a:avLst/>
                <a:gdLst>
                  <a:gd name="connsiteX0" fmla="*/ 536415 w 607227"/>
                  <a:gd name="connsiteY0" fmla="*/ 12631 h 510399"/>
                  <a:gd name="connsiteX1" fmla="*/ 557192 w 607227"/>
                  <a:gd name="connsiteY1" fmla="*/ 21221 h 510399"/>
                  <a:gd name="connsiteX2" fmla="*/ 598584 w 607227"/>
                  <a:gd name="connsiteY2" fmla="*/ 62633 h 510399"/>
                  <a:gd name="connsiteX3" fmla="*/ 598584 w 607227"/>
                  <a:gd name="connsiteY3" fmla="*/ 104044 h 510399"/>
                  <a:gd name="connsiteX4" fmla="*/ 511175 w 607227"/>
                  <a:gd name="connsiteY4" fmla="*/ 191324 h 510399"/>
                  <a:gd name="connsiteX5" fmla="*/ 444948 w 607227"/>
                  <a:gd name="connsiteY5" fmla="*/ 257453 h 510399"/>
                  <a:gd name="connsiteX6" fmla="*/ 339441 w 607227"/>
                  <a:gd name="connsiteY6" fmla="*/ 362805 h 510399"/>
                  <a:gd name="connsiteX7" fmla="*/ 297968 w 607227"/>
                  <a:gd name="connsiteY7" fmla="*/ 404217 h 510399"/>
                  <a:gd name="connsiteX8" fmla="*/ 277191 w 607227"/>
                  <a:gd name="connsiteY8" fmla="*/ 412807 h 510399"/>
                  <a:gd name="connsiteX9" fmla="*/ 256495 w 607227"/>
                  <a:gd name="connsiteY9" fmla="*/ 404217 h 510399"/>
                  <a:gd name="connsiteX10" fmla="*/ 215023 w 607227"/>
                  <a:gd name="connsiteY10" fmla="*/ 362805 h 510399"/>
                  <a:gd name="connsiteX11" fmla="*/ 138814 w 607227"/>
                  <a:gd name="connsiteY11" fmla="*/ 286790 h 510399"/>
                  <a:gd name="connsiteX12" fmla="*/ 138814 w 607227"/>
                  <a:gd name="connsiteY12" fmla="*/ 245378 h 510399"/>
                  <a:gd name="connsiteX13" fmla="*/ 180286 w 607227"/>
                  <a:gd name="connsiteY13" fmla="*/ 203967 h 510399"/>
                  <a:gd name="connsiteX14" fmla="*/ 201063 w 607227"/>
                  <a:gd name="connsiteY14" fmla="*/ 195376 h 510399"/>
                  <a:gd name="connsiteX15" fmla="*/ 221759 w 607227"/>
                  <a:gd name="connsiteY15" fmla="*/ 203967 h 510399"/>
                  <a:gd name="connsiteX16" fmla="*/ 277191 w 607227"/>
                  <a:gd name="connsiteY16" fmla="*/ 259317 h 510399"/>
                  <a:gd name="connsiteX17" fmla="*/ 444948 w 607227"/>
                  <a:gd name="connsiteY17" fmla="*/ 91807 h 510399"/>
                  <a:gd name="connsiteX18" fmla="*/ 503951 w 607227"/>
                  <a:gd name="connsiteY18" fmla="*/ 32891 h 510399"/>
                  <a:gd name="connsiteX19" fmla="*/ 515719 w 607227"/>
                  <a:gd name="connsiteY19" fmla="*/ 21221 h 510399"/>
                  <a:gd name="connsiteX20" fmla="*/ 536415 w 607227"/>
                  <a:gd name="connsiteY20" fmla="*/ 12631 h 510399"/>
                  <a:gd name="connsiteX21" fmla="*/ 61847 w 607227"/>
                  <a:gd name="connsiteY21" fmla="*/ 0 h 510399"/>
                  <a:gd name="connsiteX22" fmla="*/ 449328 w 607227"/>
                  <a:gd name="connsiteY22" fmla="*/ 0 h 510399"/>
                  <a:gd name="connsiteX23" fmla="*/ 491858 w 607227"/>
                  <a:gd name="connsiteY23" fmla="*/ 17019 h 510399"/>
                  <a:gd name="connsiteX24" fmla="*/ 442591 w 607227"/>
                  <a:gd name="connsiteY24" fmla="*/ 66130 h 510399"/>
                  <a:gd name="connsiteX25" fmla="*/ 66230 w 607227"/>
                  <a:gd name="connsiteY25" fmla="*/ 66130 h 510399"/>
                  <a:gd name="connsiteX26" fmla="*/ 66230 w 607227"/>
                  <a:gd name="connsiteY26" fmla="*/ 444269 h 510399"/>
                  <a:gd name="connsiteX27" fmla="*/ 444945 w 607227"/>
                  <a:gd name="connsiteY27" fmla="*/ 444269 h 510399"/>
                  <a:gd name="connsiteX28" fmla="*/ 444945 w 607227"/>
                  <a:gd name="connsiteY28" fmla="*/ 285590 h 510399"/>
                  <a:gd name="connsiteX29" fmla="*/ 511175 w 607227"/>
                  <a:gd name="connsiteY29" fmla="*/ 219460 h 510399"/>
                  <a:gd name="connsiteX30" fmla="*/ 511175 w 607227"/>
                  <a:gd name="connsiteY30" fmla="*/ 448645 h 510399"/>
                  <a:gd name="connsiteX31" fmla="*/ 449328 w 607227"/>
                  <a:gd name="connsiteY31" fmla="*/ 510399 h 510399"/>
                  <a:gd name="connsiteX32" fmla="*/ 61847 w 607227"/>
                  <a:gd name="connsiteY32" fmla="*/ 510399 h 510399"/>
                  <a:gd name="connsiteX33" fmla="*/ 0 w 607227"/>
                  <a:gd name="connsiteY33" fmla="*/ 448645 h 510399"/>
                  <a:gd name="connsiteX34" fmla="*/ 0 w 607227"/>
                  <a:gd name="connsiteY34" fmla="*/ 61673 h 510399"/>
                  <a:gd name="connsiteX35" fmla="*/ 61847 w 607227"/>
                  <a:gd name="connsiteY35" fmla="*/ 0 h 510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607227" h="510399">
                    <a:moveTo>
                      <a:pt x="536415" y="12631"/>
                    </a:moveTo>
                    <a:cubicBezTo>
                      <a:pt x="543882" y="12631"/>
                      <a:pt x="551430" y="15467"/>
                      <a:pt x="557192" y="21221"/>
                    </a:cubicBezTo>
                    <a:lnTo>
                      <a:pt x="598584" y="62633"/>
                    </a:lnTo>
                    <a:cubicBezTo>
                      <a:pt x="610108" y="74059"/>
                      <a:pt x="610108" y="92618"/>
                      <a:pt x="598584" y="104044"/>
                    </a:cubicBezTo>
                    <a:lnTo>
                      <a:pt x="511175" y="191324"/>
                    </a:lnTo>
                    <a:lnTo>
                      <a:pt x="444948" y="257453"/>
                    </a:lnTo>
                    <a:lnTo>
                      <a:pt x="339441" y="362805"/>
                    </a:lnTo>
                    <a:lnTo>
                      <a:pt x="297968" y="404217"/>
                    </a:lnTo>
                    <a:cubicBezTo>
                      <a:pt x="292206" y="409971"/>
                      <a:pt x="284739" y="412807"/>
                      <a:pt x="277191" y="412807"/>
                    </a:cubicBezTo>
                    <a:cubicBezTo>
                      <a:pt x="269724" y="412807"/>
                      <a:pt x="262177" y="409971"/>
                      <a:pt x="256495" y="404217"/>
                    </a:cubicBezTo>
                    <a:lnTo>
                      <a:pt x="215023" y="362805"/>
                    </a:lnTo>
                    <a:lnTo>
                      <a:pt x="138814" y="286790"/>
                    </a:lnTo>
                    <a:cubicBezTo>
                      <a:pt x="127370" y="275363"/>
                      <a:pt x="127370" y="256805"/>
                      <a:pt x="138814" y="245378"/>
                    </a:cubicBezTo>
                    <a:lnTo>
                      <a:pt x="180286" y="203967"/>
                    </a:lnTo>
                    <a:cubicBezTo>
                      <a:pt x="186049" y="198213"/>
                      <a:pt x="193515" y="195376"/>
                      <a:pt x="201063" y="195376"/>
                    </a:cubicBezTo>
                    <a:cubicBezTo>
                      <a:pt x="208530" y="195376"/>
                      <a:pt x="215997" y="198213"/>
                      <a:pt x="221759" y="203967"/>
                    </a:cubicBezTo>
                    <a:lnTo>
                      <a:pt x="277191" y="259317"/>
                    </a:lnTo>
                    <a:lnTo>
                      <a:pt x="444948" y="91807"/>
                    </a:lnTo>
                    <a:lnTo>
                      <a:pt x="503951" y="32891"/>
                    </a:lnTo>
                    <a:lnTo>
                      <a:pt x="515719" y="21221"/>
                    </a:lnTo>
                    <a:cubicBezTo>
                      <a:pt x="521401" y="15467"/>
                      <a:pt x="528949" y="12631"/>
                      <a:pt x="536415" y="12631"/>
                    </a:cubicBezTo>
                    <a:close/>
                    <a:moveTo>
                      <a:pt x="61847" y="0"/>
                    </a:moveTo>
                    <a:lnTo>
                      <a:pt x="449328" y="0"/>
                    </a:lnTo>
                    <a:cubicBezTo>
                      <a:pt x="465804" y="0"/>
                      <a:pt x="480738" y="6483"/>
                      <a:pt x="491858" y="17019"/>
                    </a:cubicBezTo>
                    <a:lnTo>
                      <a:pt x="442591" y="66130"/>
                    </a:lnTo>
                    <a:lnTo>
                      <a:pt x="66230" y="66130"/>
                    </a:lnTo>
                    <a:lnTo>
                      <a:pt x="66230" y="444269"/>
                    </a:lnTo>
                    <a:lnTo>
                      <a:pt x="444945" y="444269"/>
                    </a:lnTo>
                    <a:lnTo>
                      <a:pt x="444945" y="285590"/>
                    </a:lnTo>
                    <a:lnTo>
                      <a:pt x="511175" y="219460"/>
                    </a:lnTo>
                    <a:lnTo>
                      <a:pt x="511175" y="448645"/>
                    </a:lnTo>
                    <a:cubicBezTo>
                      <a:pt x="511175" y="482683"/>
                      <a:pt x="483417" y="510399"/>
                      <a:pt x="449328" y="510399"/>
                    </a:cubicBezTo>
                    <a:lnTo>
                      <a:pt x="61847" y="510399"/>
                    </a:lnTo>
                    <a:cubicBezTo>
                      <a:pt x="27758" y="510399"/>
                      <a:pt x="0" y="482683"/>
                      <a:pt x="0" y="448645"/>
                    </a:cubicBezTo>
                    <a:lnTo>
                      <a:pt x="0" y="61673"/>
                    </a:lnTo>
                    <a:cubicBezTo>
                      <a:pt x="0" y="27635"/>
                      <a:pt x="27758" y="0"/>
                      <a:pt x="6184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92500" lnSpcReduction="20000"/>
              </a:bodyPr>
              <a:lstStyle/>
              <a:p>
                <a:endParaRPr lang="zh-CN" altLang="en-US"/>
              </a:p>
            </p:txBody>
          </p:sp>
          <p:sp>
            <p:nvSpPr>
              <p:cNvPr id="19" name="椭圆 18"/>
              <p:cNvSpPr/>
              <p:nvPr/>
            </p:nvSpPr>
            <p:spPr>
              <a:xfrm>
                <a:off x="6059490" y="1527659"/>
                <a:ext cx="935030" cy="935030"/>
              </a:xfrm>
              <a:prstGeom prst="ellipse">
                <a:avLst/>
              </a:prstGeom>
              <a:solidFill>
                <a:schemeClr val="accent1"/>
              </a:solidFill>
              <a:ln w="571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b="1" i="1">
                    <a:solidFill>
                      <a:schemeClr val="bg1"/>
                    </a:solidFill>
                  </a:rPr>
                  <a:t>Te</a:t>
                </a:r>
                <a:r>
                  <a:rPr lang="en-US" altLang="zh-CN" sz="100" b="1" i="1">
                    <a:solidFill>
                      <a:schemeClr val="bg1"/>
                    </a:solidFill>
                  </a:rPr>
                  <a:t> </a:t>
                </a:r>
                <a:r>
                  <a:rPr lang="en-US" altLang="zh-CN" b="1" i="1">
                    <a:solidFill>
                      <a:schemeClr val="bg1"/>
                    </a:solidFill>
                  </a:rPr>
                  <a:t>xt</a:t>
                </a:r>
                <a:endParaRPr lang="zh-CN" altLang="en-US" b="1" i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1791493" y="3164684"/>
              <a:ext cx="5896767" cy="935030"/>
              <a:chOff x="1791493" y="3164685"/>
              <a:chExt cx="5896767" cy="935030"/>
            </a:xfrm>
          </p:grpSpPr>
          <p:sp>
            <p:nvSpPr>
              <p:cNvPr id="14" name="箭头: 五边形 13">
                <a:extLst>
                  <a:ext uri="{FF2B5EF4-FFF2-40B4-BE49-F238E27FC236}">
                    <a16:creationId xmlns:a16="http://schemas.microsoft.com/office/drawing/2014/main" id="{4291D6A9-814C-476C-8BC6-474AC64CB70D}"/>
                  </a:ext>
                </a:extLst>
              </p:cNvPr>
              <p:cNvSpPr/>
              <p:nvPr/>
            </p:nvSpPr>
            <p:spPr>
              <a:xfrm flipH="1">
                <a:off x="1791493" y="3311525"/>
                <a:ext cx="5426076" cy="641350"/>
              </a:xfrm>
              <a:prstGeom prst="homePlate">
                <a:avLst>
                  <a:gd name="adj" fmla="val 47651"/>
                </a:avLst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>
                  <a:defRPr/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Copy paste fonts. Choose the </a:t>
                </a:r>
                <a:r>
                  <a:rPr lang="en-US" altLang="zh-CN" sz="1200">
                    <a:solidFill>
                      <a:schemeClr val="tx1"/>
                    </a:solidFill>
                  </a:rPr>
                  <a:t>only op</a:t>
                </a:r>
                <a:r>
                  <a:rPr lang="en-US" altLang="zh-CN" sz="100">
                    <a:solidFill>
                      <a:schemeClr val="tx1"/>
                    </a:solidFill>
                  </a:rPr>
                  <a:t> </a:t>
                </a:r>
                <a:r>
                  <a:rPr lang="en-US" altLang="zh-CN" sz="1200">
                    <a:solidFill>
                      <a:schemeClr val="tx1"/>
                    </a:solidFill>
                  </a:rPr>
                  <a:t>tion 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to retain text.</a:t>
                </a:r>
              </a:p>
            </p:txBody>
          </p:sp>
          <p:sp>
            <p:nvSpPr>
              <p:cNvPr id="15" name="任意多边形: 形状 14">
                <a:extLst>
                  <a:ext uri="{FF2B5EF4-FFF2-40B4-BE49-F238E27FC236}">
                    <a16:creationId xmlns:a16="http://schemas.microsoft.com/office/drawing/2014/main" id="{8BD61AB3-33CA-4CCB-A03F-C8A15BE912A7}"/>
                  </a:ext>
                </a:extLst>
              </p:cNvPr>
              <p:cNvSpPr/>
              <p:nvPr/>
            </p:nvSpPr>
            <p:spPr bwMode="auto">
              <a:xfrm>
                <a:off x="2118524" y="3474747"/>
                <a:ext cx="374650" cy="314906"/>
              </a:xfrm>
              <a:custGeom>
                <a:avLst/>
                <a:gdLst>
                  <a:gd name="connsiteX0" fmla="*/ 536415 w 607227"/>
                  <a:gd name="connsiteY0" fmla="*/ 12631 h 510399"/>
                  <a:gd name="connsiteX1" fmla="*/ 557192 w 607227"/>
                  <a:gd name="connsiteY1" fmla="*/ 21221 h 510399"/>
                  <a:gd name="connsiteX2" fmla="*/ 598584 w 607227"/>
                  <a:gd name="connsiteY2" fmla="*/ 62633 h 510399"/>
                  <a:gd name="connsiteX3" fmla="*/ 598584 w 607227"/>
                  <a:gd name="connsiteY3" fmla="*/ 104044 h 510399"/>
                  <a:gd name="connsiteX4" fmla="*/ 511175 w 607227"/>
                  <a:gd name="connsiteY4" fmla="*/ 191324 h 510399"/>
                  <a:gd name="connsiteX5" fmla="*/ 444948 w 607227"/>
                  <a:gd name="connsiteY5" fmla="*/ 257453 h 510399"/>
                  <a:gd name="connsiteX6" fmla="*/ 339441 w 607227"/>
                  <a:gd name="connsiteY6" fmla="*/ 362805 h 510399"/>
                  <a:gd name="connsiteX7" fmla="*/ 297968 w 607227"/>
                  <a:gd name="connsiteY7" fmla="*/ 404217 h 510399"/>
                  <a:gd name="connsiteX8" fmla="*/ 277191 w 607227"/>
                  <a:gd name="connsiteY8" fmla="*/ 412807 h 510399"/>
                  <a:gd name="connsiteX9" fmla="*/ 256495 w 607227"/>
                  <a:gd name="connsiteY9" fmla="*/ 404217 h 510399"/>
                  <a:gd name="connsiteX10" fmla="*/ 215023 w 607227"/>
                  <a:gd name="connsiteY10" fmla="*/ 362805 h 510399"/>
                  <a:gd name="connsiteX11" fmla="*/ 138814 w 607227"/>
                  <a:gd name="connsiteY11" fmla="*/ 286790 h 510399"/>
                  <a:gd name="connsiteX12" fmla="*/ 138814 w 607227"/>
                  <a:gd name="connsiteY12" fmla="*/ 245378 h 510399"/>
                  <a:gd name="connsiteX13" fmla="*/ 180286 w 607227"/>
                  <a:gd name="connsiteY13" fmla="*/ 203967 h 510399"/>
                  <a:gd name="connsiteX14" fmla="*/ 201063 w 607227"/>
                  <a:gd name="connsiteY14" fmla="*/ 195376 h 510399"/>
                  <a:gd name="connsiteX15" fmla="*/ 221759 w 607227"/>
                  <a:gd name="connsiteY15" fmla="*/ 203967 h 510399"/>
                  <a:gd name="connsiteX16" fmla="*/ 277191 w 607227"/>
                  <a:gd name="connsiteY16" fmla="*/ 259317 h 510399"/>
                  <a:gd name="connsiteX17" fmla="*/ 444948 w 607227"/>
                  <a:gd name="connsiteY17" fmla="*/ 91807 h 510399"/>
                  <a:gd name="connsiteX18" fmla="*/ 503951 w 607227"/>
                  <a:gd name="connsiteY18" fmla="*/ 32891 h 510399"/>
                  <a:gd name="connsiteX19" fmla="*/ 515719 w 607227"/>
                  <a:gd name="connsiteY19" fmla="*/ 21221 h 510399"/>
                  <a:gd name="connsiteX20" fmla="*/ 536415 w 607227"/>
                  <a:gd name="connsiteY20" fmla="*/ 12631 h 510399"/>
                  <a:gd name="connsiteX21" fmla="*/ 61847 w 607227"/>
                  <a:gd name="connsiteY21" fmla="*/ 0 h 510399"/>
                  <a:gd name="connsiteX22" fmla="*/ 449328 w 607227"/>
                  <a:gd name="connsiteY22" fmla="*/ 0 h 510399"/>
                  <a:gd name="connsiteX23" fmla="*/ 491858 w 607227"/>
                  <a:gd name="connsiteY23" fmla="*/ 17019 h 510399"/>
                  <a:gd name="connsiteX24" fmla="*/ 442591 w 607227"/>
                  <a:gd name="connsiteY24" fmla="*/ 66130 h 510399"/>
                  <a:gd name="connsiteX25" fmla="*/ 66230 w 607227"/>
                  <a:gd name="connsiteY25" fmla="*/ 66130 h 510399"/>
                  <a:gd name="connsiteX26" fmla="*/ 66230 w 607227"/>
                  <a:gd name="connsiteY26" fmla="*/ 444269 h 510399"/>
                  <a:gd name="connsiteX27" fmla="*/ 444945 w 607227"/>
                  <a:gd name="connsiteY27" fmla="*/ 444269 h 510399"/>
                  <a:gd name="connsiteX28" fmla="*/ 444945 w 607227"/>
                  <a:gd name="connsiteY28" fmla="*/ 285590 h 510399"/>
                  <a:gd name="connsiteX29" fmla="*/ 511175 w 607227"/>
                  <a:gd name="connsiteY29" fmla="*/ 219460 h 510399"/>
                  <a:gd name="connsiteX30" fmla="*/ 511175 w 607227"/>
                  <a:gd name="connsiteY30" fmla="*/ 448645 h 510399"/>
                  <a:gd name="connsiteX31" fmla="*/ 449328 w 607227"/>
                  <a:gd name="connsiteY31" fmla="*/ 510399 h 510399"/>
                  <a:gd name="connsiteX32" fmla="*/ 61847 w 607227"/>
                  <a:gd name="connsiteY32" fmla="*/ 510399 h 510399"/>
                  <a:gd name="connsiteX33" fmla="*/ 0 w 607227"/>
                  <a:gd name="connsiteY33" fmla="*/ 448645 h 510399"/>
                  <a:gd name="connsiteX34" fmla="*/ 0 w 607227"/>
                  <a:gd name="connsiteY34" fmla="*/ 61673 h 510399"/>
                  <a:gd name="connsiteX35" fmla="*/ 61847 w 607227"/>
                  <a:gd name="connsiteY35" fmla="*/ 0 h 510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607227" h="510399">
                    <a:moveTo>
                      <a:pt x="536415" y="12631"/>
                    </a:moveTo>
                    <a:cubicBezTo>
                      <a:pt x="543882" y="12631"/>
                      <a:pt x="551430" y="15467"/>
                      <a:pt x="557192" y="21221"/>
                    </a:cubicBezTo>
                    <a:lnTo>
                      <a:pt x="598584" y="62633"/>
                    </a:lnTo>
                    <a:cubicBezTo>
                      <a:pt x="610108" y="74059"/>
                      <a:pt x="610108" y="92618"/>
                      <a:pt x="598584" y="104044"/>
                    </a:cubicBezTo>
                    <a:lnTo>
                      <a:pt x="511175" y="191324"/>
                    </a:lnTo>
                    <a:lnTo>
                      <a:pt x="444948" y="257453"/>
                    </a:lnTo>
                    <a:lnTo>
                      <a:pt x="339441" y="362805"/>
                    </a:lnTo>
                    <a:lnTo>
                      <a:pt x="297968" y="404217"/>
                    </a:lnTo>
                    <a:cubicBezTo>
                      <a:pt x="292206" y="409971"/>
                      <a:pt x="284739" y="412807"/>
                      <a:pt x="277191" y="412807"/>
                    </a:cubicBezTo>
                    <a:cubicBezTo>
                      <a:pt x="269724" y="412807"/>
                      <a:pt x="262177" y="409971"/>
                      <a:pt x="256495" y="404217"/>
                    </a:cubicBezTo>
                    <a:lnTo>
                      <a:pt x="215023" y="362805"/>
                    </a:lnTo>
                    <a:lnTo>
                      <a:pt x="138814" y="286790"/>
                    </a:lnTo>
                    <a:cubicBezTo>
                      <a:pt x="127370" y="275363"/>
                      <a:pt x="127370" y="256805"/>
                      <a:pt x="138814" y="245378"/>
                    </a:cubicBezTo>
                    <a:lnTo>
                      <a:pt x="180286" y="203967"/>
                    </a:lnTo>
                    <a:cubicBezTo>
                      <a:pt x="186049" y="198213"/>
                      <a:pt x="193515" y="195376"/>
                      <a:pt x="201063" y="195376"/>
                    </a:cubicBezTo>
                    <a:cubicBezTo>
                      <a:pt x="208530" y="195376"/>
                      <a:pt x="215997" y="198213"/>
                      <a:pt x="221759" y="203967"/>
                    </a:cubicBezTo>
                    <a:lnTo>
                      <a:pt x="277191" y="259317"/>
                    </a:lnTo>
                    <a:lnTo>
                      <a:pt x="444948" y="91807"/>
                    </a:lnTo>
                    <a:lnTo>
                      <a:pt x="503951" y="32891"/>
                    </a:lnTo>
                    <a:lnTo>
                      <a:pt x="515719" y="21221"/>
                    </a:lnTo>
                    <a:cubicBezTo>
                      <a:pt x="521401" y="15467"/>
                      <a:pt x="528949" y="12631"/>
                      <a:pt x="536415" y="12631"/>
                    </a:cubicBezTo>
                    <a:close/>
                    <a:moveTo>
                      <a:pt x="61847" y="0"/>
                    </a:moveTo>
                    <a:lnTo>
                      <a:pt x="449328" y="0"/>
                    </a:lnTo>
                    <a:cubicBezTo>
                      <a:pt x="465804" y="0"/>
                      <a:pt x="480738" y="6483"/>
                      <a:pt x="491858" y="17019"/>
                    </a:cubicBezTo>
                    <a:lnTo>
                      <a:pt x="442591" y="66130"/>
                    </a:lnTo>
                    <a:lnTo>
                      <a:pt x="66230" y="66130"/>
                    </a:lnTo>
                    <a:lnTo>
                      <a:pt x="66230" y="444269"/>
                    </a:lnTo>
                    <a:lnTo>
                      <a:pt x="444945" y="444269"/>
                    </a:lnTo>
                    <a:lnTo>
                      <a:pt x="444945" y="285590"/>
                    </a:lnTo>
                    <a:lnTo>
                      <a:pt x="511175" y="219460"/>
                    </a:lnTo>
                    <a:lnTo>
                      <a:pt x="511175" y="448645"/>
                    </a:lnTo>
                    <a:cubicBezTo>
                      <a:pt x="511175" y="482683"/>
                      <a:pt x="483417" y="510399"/>
                      <a:pt x="449328" y="510399"/>
                    </a:cubicBezTo>
                    <a:lnTo>
                      <a:pt x="61847" y="510399"/>
                    </a:lnTo>
                    <a:cubicBezTo>
                      <a:pt x="27758" y="510399"/>
                      <a:pt x="0" y="482683"/>
                      <a:pt x="0" y="448645"/>
                    </a:cubicBezTo>
                    <a:lnTo>
                      <a:pt x="0" y="61673"/>
                    </a:lnTo>
                    <a:cubicBezTo>
                      <a:pt x="0" y="27635"/>
                      <a:pt x="27758" y="0"/>
                      <a:pt x="6184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92500" lnSpcReduction="20000"/>
              </a:bodyPr>
              <a:lstStyle/>
              <a:p>
                <a:endParaRPr lang="zh-CN" altLang="en-US"/>
              </a:p>
            </p:txBody>
          </p:sp>
          <p:sp>
            <p:nvSpPr>
              <p:cNvPr id="16" name="椭圆 15"/>
              <p:cNvSpPr/>
              <p:nvPr/>
            </p:nvSpPr>
            <p:spPr>
              <a:xfrm>
                <a:off x="6753230" y="3164685"/>
                <a:ext cx="935030" cy="935030"/>
              </a:xfrm>
              <a:prstGeom prst="ellipse">
                <a:avLst/>
              </a:prstGeom>
              <a:solidFill>
                <a:schemeClr val="accent1"/>
              </a:solidFill>
              <a:ln w="571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b="1" i="1">
                    <a:solidFill>
                      <a:schemeClr val="bg1"/>
                    </a:solidFill>
                  </a:rPr>
                  <a:t>Te</a:t>
                </a:r>
                <a:r>
                  <a:rPr lang="en-US" altLang="zh-CN" sz="100" b="1" i="1">
                    <a:solidFill>
                      <a:schemeClr val="bg1"/>
                    </a:solidFill>
                  </a:rPr>
                  <a:t> </a:t>
                </a:r>
                <a:r>
                  <a:rPr lang="en-US" altLang="zh-CN" b="1" i="1">
                    <a:solidFill>
                      <a:schemeClr val="bg1"/>
                    </a:solidFill>
                  </a:rPr>
                  <a:t>xt</a:t>
                </a:r>
                <a:endParaRPr lang="zh-CN" altLang="en-US" b="1" i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2485233" y="4818085"/>
              <a:ext cx="5896767" cy="935030"/>
              <a:chOff x="2485233" y="4801711"/>
              <a:chExt cx="5896767" cy="935030"/>
            </a:xfrm>
          </p:grpSpPr>
          <p:sp>
            <p:nvSpPr>
              <p:cNvPr id="11" name="箭头: 五边形 10">
                <a:extLst>
                  <a:ext uri="{FF2B5EF4-FFF2-40B4-BE49-F238E27FC236}">
                    <a16:creationId xmlns:a16="http://schemas.microsoft.com/office/drawing/2014/main" id="{4291D6A9-814C-476C-8BC6-474AC64CB70D}"/>
                  </a:ext>
                </a:extLst>
              </p:cNvPr>
              <p:cNvSpPr/>
              <p:nvPr/>
            </p:nvSpPr>
            <p:spPr>
              <a:xfrm flipH="1">
                <a:off x="2485233" y="4948551"/>
                <a:ext cx="5426076" cy="641350"/>
              </a:xfrm>
              <a:prstGeom prst="homePlate">
                <a:avLst>
                  <a:gd name="adj" fmla="val 47651"/>
                </a:avLst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>
                  <a:defRPr/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Copy paste fonts. </a:t>
                </a:r>
                <a:r>
                  <a:rPr lang="en-US" altLang="zh-CN" sz="1200">
                    <a:solidFill>
                      <a:schemeClr val="tx1"/>
                    </a:solidFill>
                  </a:rPr>
                  <a:t>Choose th</a:t>
                </a:r>
                <a:r>
                  <a:rPr lang="en-US" altLang="zh-CN" sz="100">
                    <a:solidFill>
                      <a:schemeClr val="tx1"/>
                    </a:solidFill>
                  </a:rPr>
                  <a:t> </a:t>
                </a:r>
                <a:r>
                  <a:rPr lang="en-US" altLang="zh-CN" sz="1200">
                    <a:solidFill>
                      <a:schemeClr val="tx1"/>
                    </a:solidFill>
                  </a:rPr>
                  <a:t>e </a:t>
                </a:r>
                <a:r>
                  <a:rPr lang="en-US" altLang="zh-CN" sz="1200" dirty="0">
                    <a:solidFill>
                      <a:schemeClr val="tx1"/>
                    </a:solidFill>
                  </a:rPr>
                  <a:t>only option to retain text.</a:t>
                </a:r>
              </a:p>
            </p:txBody>
          </p:sp>
          <p:sp>
            <p:nvSpPr>
              <p:cNvPr id="12" name="任意多边形: 形状 11">
                <a:extLst>
                  <a:ext uri="{FF2B5EF4-FFF2-40B4-BE49-F238E27FC236}">
                    <a16:creationId xmlns:a16="http://schemas.microsoft.com/office/drawing/2014/main" id="{8BD61AB3-33CA-4CCB-A03F-C8A15BE912A7}"/>
                  </a:ext>
                </a:extLst>
              </p:cNvPr>
              <p:cNvSpPr/>
              <p:nvPr/>
            </p:nvSpPr>
            <p:spPr bwMode="auto">
              <a:xfrm>
                <a:off x="2812264" y="5111773"/>
                <a:ext cx="374650" cy="314906"/>
              </a:xfrm>
              <a:custGeom>
                <a:avLst/>
                <a:gdLst>
                  <a:gd name="connsiteX0" fmla="*/ 536415 w 607227"/>
                  <a:gd name="connsiteY0" fmla="*/ 12631 h 510399"/>
                  <a:gd name="connsiteX1" fmla="*/ 557192 w 607227"/>
                  <a:gd name="connsiteY1" fmla="*/ 21221 h 510399"/>
                  <a:gd name="connsiteX2" fmla="*/ 598584 w 607227"/>
                  <a:gd name="connsiteY2" fmla="*/ 62633 h 510399"/>
                  <a:gd name="connsiteX3" fmla="*/ 598584 w 607227"/>
                  <a:gd name="connsiteY3" fmla="*/ 104044 h 510399"/>
                  <a:gd name="connsiteX4" fmla="*/ 511175 w 607227"/>
                  <a:gd name="connsiteY4" fmla="*/ 191324 h 510399"/>
                  <a:gd name="connsiteX5" fmla="*/ 444948 w 607227"/>
                  <a:gd name="connsiteY5" fmla="*/ 257453 h 510399"/>
                  <a:gd name="connsiteX6" fmla="*/ 339441 w 607227"/>
                  <a:gd name="connsiteY6" fmla="*/ 362805 h 510399"/>
                  <a:gd name="connsiteX7" fmla="*/ 297968 w 607227"/>
                  <a:gd name="connsiteY7" fmla="*/ 404217 h 510399"/>
                  <a:gd name="connsiteX8" fmla="*/ 277191 w 607227"/>
                  <a:gd name="connsiteY8" fmla="*/ 412807 h 510399"/>
                  <a:gd name="connsiteX9" fmla="*/ 256495 w 607227"/>
                  <a:gd name="connsiteY9" fmla="*/ 404217 h 510399"/>
                  <a:gd name="connsiteX10" fmla="*/ 215023 w 607227"/>
                  <a:gd name="connsiteY10" fmla="*/ 362805 h 510399"/>
                  <a:gd name="connsiteX11" fmla="*/ 138814 w 607227"/>
                  <a:gd name="connsiteY11" fmla="*/ 286790 h 510399"/>
                  <a:gd name="connsiteX12" fmla="*/ 138814 w 607227"/>
                  <a:gd name="connsiteY12" fmla="*/ 245378 h 510399"/>
                  <a:gd name="connsiteX13" fmla="*/ 180286 w 607227"/>
                  <a:gd name="connsiteY13" fmla="*/ 203967 h 510399"/>
                  <a:gd name="connsiteX14" fmla="*/ 201063 w 607227"/>
                  <a:gd name="connsiteY14" fmla="*/ 195376 h 510399"/>
                  <a:gd name="connsiteX15" fmla="*/ 221759 w 607227"/>
                  <a:gd name="connsiteY15" fmla="*/ 203967 h 510399"/>
                  <a:gd name="connsiteX16" fmla="*/ 277191 w 607227"/>
                  <a:gd name="connsiteY16" fmla="*/ 259317 h 510399"/>
                  <a:gd name="connsiteX17" fmla="*/ 444948 w 607227"/>
                  <a:gd name="connsiteY17" fmla="*/ 91807 h 510399"/>
                  <a:gd name="connsiteX18" fmla="*/ 503951 w 607227"/>
                  <a:gd name="connsiteY18" fmla="*/ 32891 h 510399"/>
                  <a:gd name="connsiteX19" fmla="*/ 515719 w 607227"/>
                  <a:gd name="connsiteY19" fmla="*/ 21221 h 510399"/>
                  <a:gd name="connsiteX20" fmla="*/ 536415 w 607227"/>
                  <a:gd name="connsiteY20" fmla="*/ 12631 h 510399"/>
                  <a:gd name="connsiteX21" fmla="*/ 61847 w 607227"/>
                  <a:gd name="connsiteY21" fmla="*/ 0 h 510399"/>
                  <a:gd name="connsiteX22" fmla="*/ 449328 w 607227"/>
                  <a:gd name="connsiteY22" fmla="*/ 0 h 510399"/>
                  <a:gd name="connsiteX23" fmla="*/ 491858 w 607227"/>
                  <a:gd name="connsiteY23" fmla="*/ 17019 h 510399"/>
                  <a:gd name="connsiteX24" fmla="*/ 442591 w 607227"/>
                  <a:gd name="connsiteY24" fmla="*/ 66130 h 510399"/>
                  <a:gd name="connsiteX25" fmla="*/ 66230 w 607227"/>
                  <a:gd name="connsiteY25" fmla="*/ 66130 h 510399"/>
                  <a:gd name="connsiteX26" fmla="*/ 66230 w 607227"/>
                  <a:gd name="connsiteY26" fmla="*/ 444269 h 510399"/>
                  <a:gd name="connsiteX27" fmla="*/ 444945 w 607227"/>
                  <a:gd name="connsiteY27" fmla="*/ 444269 h 510399"/>
                  <a:gd name="connsiteX28" fmla="*/ 444945 w 607227"/>
                  <a:gd name="connsiteY28" fmla="*/ 285590 h 510399"/>
                  <a:gd name="connsiteX29" fmla="*/ 511175 w 607227"/>
                  <a:gd name="connsiteY29" fmla="*/ 219460 h 510399"/>
                  <a:gd name="connsiteX30" fmla="*/ 511175 w 607227"/>
                  <a:gd name="connsiteY30" fmla="*/ 448645 h 510399"/>
                  <a:gd name="connsiteX31" fmla="*/ 449328 w 607227"/>
                  <a:gd name="connsiteY31" fmla="*/ 510399 h 510399"/>
                  <a:gd name="connsiteX32" fmla="*/ 61847 w 607227"/>
                  <a:gd name="connsiteY32" fmla="*/ 510399 h 510399"/>
                  <a:gd name="connsiteX33" fmla="*/ 0 w 607227"/>
                  <a:gd name="connsiteY33" fmla="*/ 448645 h 510399"/>
                  <a:gd name="connsiteX34" fmla="*/ 0 w 607227"/>
                  <a:gd name="connsiteY34" fmla="*/ 61673 h 510399"/>
                  <a:gd name="connsiteX35" fmla="*/ 61847 w 607227"/>
                  <a:gd name="connsiteY35" fmla="*/ 0 h 510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607227" h="510399">
                    <a:moveTo>
                      <a:pt x="536415" y="12631"/>
                    </a:moveTo>
                    <a:cubicBezTo>
                      <a:pt x="543882" y="12631"/>
                      <a:pt x="551430" y="15467"/>
                      <a:pt x="557192" y="21221"/>
                    </a:cubicBezTo>
                    <a:lnTo>
                      <a:pt x="598584" y="62633"/>
                    </a:lnTo>
                    <a:cubicBezTo>
                      <a:pt x="610108" y="74059"/>
                      <a:pt x="610108" y="92618"/>
                      <a:pt x="598584" y="104044"/>
                    </a:cubicBezTo>
                    <a:lnTo>
                      <a:pt x="511175" y="191324"/>
                    </a:lnTo>
                    <a:lnTo>
                      <a:pt x="444948" y="257453"/>
                    </a:lnTo>
                    <a:lnTo>
                      <a:pt x="339441" y="362805"/>
                    </a:lnTo>
                    <a:lnTo>
                      <a:pt x="297968" y="404217"/>
                    </a:lnTo>
                    <a:cubicBezTo>
                      <a:pt x="292206" y="409971"/>
                      <a:pt x="284739" y="412807"/>
                      <a:pt x="277191" y="412807"/>
                    </a:cubicBezTo>
                    <a:cubicBezTo>
                      <a:pt x="269724" y="412807"/>
                      <a:pt x="262177" y="409971"/>
                      <a:pt x="256495" y="404217"/>
                    </a:cubicBezTo>
                    <a:lnTo>
                      <a:pt x="215023" y="362805"/>
                    </a:lnTo>
                    <a:lnTo>
                      <a:pt x="138814" y="286790"/>
                    </a:lnTo>
                    <a:cubicBezTo>
                      <a:pt x="127370" y="275363"/>
                      <a:pt x="127370" y="256805"/>
                      <a:pt x="138814" y="245378"/>
                    </a:cubicBezTo>
                    <a:lnTo>
                      <a:pt x="180286" y="203967"/>
                    </a:lnTo>
                    <a:cubicBezTo>
                      <a:pt x="186049" y="198213"/>
                      <a:pt x="193515" y="195376"/>
                      <a:pt x="201063" y="195376"/>
                    </a:cubicBezTo>
                    <a:cubicBezTo>
                      <a:pt x="208530" y="195376"/>
                      <a:pt x="215997" y="198213"/>
                      <a:pt x="221759" y="203967"/>
                    </a:cubicBezTo>
                    <a:lnTo>
                      <a:pt x="277191" y="259317"/>
                    </a:lnTo>
                    <a:lnTo>
                      <a:pt x="444948" y="91807"/>
                    </a:lnTo>
                    <a:lnTo>
                      <a:pt x="503951" y="32891"/>
                    </a:lnTo>
                    <a:lnTo>
                      <a:pt x="515719" y="21221"/>
                    </a:lnTo>
                    <a:cubicBezTo>
                      <a:pt x="521401" y="15467"/>
                      <a:pt x="528949" y="12631"/>
                      <a:pt x="536415" y="12631"/>
                    </a:cubicBezTo>
                    <a:close/>
                    <a:moveTo>
                      <a:pt x="61847" y="0"/>
                    </a:moveTo>
                    <a:lnTo>
                      <a:pt x="449328" y="0"/>
                    </a:lnTo>
                    <a:cubicBezTo>
                      <a:pt x="465804" y="0"/>
                      <a:pt x="480738" y="6483"/>
                      <a:pt x="491858" y="17019"/>
                    </a:cubicBezTo>
                    <a:lnTo>
                      <a:pt x="442591" y="66130"/>
                    </a:lnTo>
                    <a:lnTo>
                      <a:pt x="66230" y="66130"/>
                    </a:lnTo>
                    <a:lnTo>
                      <a:pt x="66230" y="444269"/>
                    </a:lnTo>
                    <a:lnTo>
                      <a:pt x="444945" y="444269"/>
                    </a:lnTo>
                    <a:lnTo>
                      <a:pt x="444945" y="285590"/>
                    </a:lnTo>
                    <a:lnTo>
                      <a:pt x="511175" y="219460"/>
                    </a:lnTo>
                    <a:lnTo>
                      <a:pt x="511175" y="448645"/>
                    </a:lnTo>
                    <a:cubicBezTo>
                      <a:pt x="511175" y="482683"/>
                      <a:pt x="483417" y="510399"/>
                      <a:pt x="449328" y="510399"/>
                    </a:cubicBezTo>
                    <a:lnTo>
                      <a:pt x="61847" y="510399"/>
                    </a:lnTo>
                    <a:cubicBezTo>
                      <a:pt x="27758" y="510399"/>
                      <a:pt x="0" y="482683"/>
                      <a:pt x="0" y="448645"/>
                    </a:cubicBezTo>
                    <a:lnTo>
                      <a:pt x="0" y="61673"/>
                    </a:lnTo>
                    <a:cubicBezTo>
                      <a:pt x="0" y="27635"/>
                      <a:pt x="27758" y="0"/>
                      <a:pt x="6184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92500" lnSpcReduction="20000"/>
              </a:bodyPr>
              <a:lstStyle/>
              <a:p>
                <a:endParaRPr lang="zh-CN" altLang="en-US"/>
              </a:p>
            </p:txBody>
          </p:sp>
          <p:sp>
            <p:nvSpPr>
              <p:cNvPr id="13" name="椭圆 12"/>
              <p:cNvSpPr/>
              <p:nvPr/>
            </p:nvSpPr>
            <p:spPr>
              <a:xfrm>
                <a:off x="7446970" y="4801711"/>
                <a:ext cx="935030" cy="935030"/>
              </a:xfrm>
              <a:prstGeom prst="ellipse">
                <a:avLst/>
              </a:prstGeom>
              <a:solidFill>
                <a:schemeClr val="accent1"/>
              </a:solidFill>
              <a:ln w="571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b="1" i="1">
                    <a:solidFill>
                      <a:schemeClr val="bg1"/>
                    </a:solidFill>
                  </a:rPr>
                  <a:t>T</a:t>
                </a:r>
                <a:r>
                  <a:rPr lang="en-US" altLang="zh-CN" sz="100" b="1" i="1">
                    <a:solidFill>
                      <a:schemeClr val="bg1"/>
                    </a:solidFill>
                  </a:rPr>
                  <a:t> </a:t>
                </a:r>
                <a:r>
                  <a:rPr lang="en-US" altLang="zh-CN" b="1" i="1">
                    <a:solidFill>
                      <a:schemeClr val="bg1"/>
                    </a:solidFill>
                  </a:rPr>
                  <a:t>ext</a:t>
                </a:r>
                <a:endParaRPr lang="zh-CN" altLang="en-US" b="1" i="1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3699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6351814" y="1943101"/>
            <a:ext cx="5167086" cy="2083472"/>
          </a:xfrm>
        </p:spPr>
        <p:txBody>
          <a:bodyPr>
            <a:normAutofit/>
          </a:bodyPr>
          <a:lstStyle/>
          <a:p>
            <a:r>
              <a:rPr lang="en-US" altLang="zh-CN" sz="8800" dirty="0"/>
              <a:t>Thanks</a:t>
            </a:r>
            <a:br>
              <a:rPr lang="en-US" altLang="zh-CN" sz="3600" dirty="0"/>
            </a:br>
            <a:r>
              <a:rPr lang="en-US" altLang="zh-CN" sz="3600" dirty="0"/>
              <a:t>And Your </a:t>
            </a:r>
            <a:r>
              <a:rPr lang="en-US" altLang="zh-CN" sz="200" dirty="0"/>
              <a:t> </a:t>
            </a:r>
            <a:r>
              <a:rPr lang="en-US" altLang="zh-CN" sz="3600" dirty="0"/>
              <a:t>Slogan Here</a:t>
            </a:r>
            <a:endParaRPr lang="zh-CN" altLang="en-US" sz="360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 err="1">
                <a:solidFill>
                  <a:schemeClr val="accent2"/>
                </a:solidFill>
              </a:rPr>
              <a:t>OfficePLUS</a:t>
            </a:r>
            <a:endParaRPr lang="en-US" altLang="en-US" dirty="0">
              <a:solidFill>
                <a:schemeClr val="accent2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>
                <a:solidFill>
                  <a:schemeClr val="accent2"/>
                </a:solidFill>
              </a:rPr>
              <a:t>Speaker name </a:t>
            </a:r>
            <a:r>
              <a:rPr lang="en-US" altLang="zh-CN" sz="100">
                <a:solidFill>
                  <a:schemeClr val="accent2"/>
                </a:solidFill>
              </a:rPr>
              <a:t> </a:t>
            </a:r>
            <a:r>
              <a:rPr lang="en-US" altLang="zh-CN">
                <a:solidFill>
                  <a:schemeClr val="accent2"/>
                </a:solidFill>
              </a:rPr>
              <a:t>and title</a:t>
            </a:r>
            <a:endParaRPr lang="en-US" altLang="zh-CN" dirty="0">
              <a:solidFill>
                <a:schemeClr val="accent2"/>
              </a:solidFill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8851107" y="833065"/>
            <a:ext cx="26677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14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众志成城 抗击疫情</a:t>
            </a:r>
            <a:endParaRPr lang="en-US" altLang="zh-CN" sz="1400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  <a:p>
            <a:pPr algn="r"/>
            <a:r>
              <a:rPr lang="en-US" altLang="zh-CN" sz="14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_</a:t>
            </a:r>
            <a:endParaRPr lang="zh-CN" altLang="en-US" sz="14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399" y="1297353"/>
            <a:ext cx="10858501" cy="3916484"/>
            <a:chOff x="660399" y="1297353"/>
            <a:chExt cx="10858501" cy="3916484"/>
          </a:xfrm>
        </p:grpSpPr>
        <p:grpSp>
          <p:nvGrpSpPr>
            <p:cNvPr id="6" name="组合 5"/>
            <p:cNvGrpSpPr/>
            <p:nvPr/>
          </p:nvGrpSpPr>
          <p:grpSpPr>
            <a:xfrm>
              <a:off x="660399" y="1297353"/>
              <a:ext cx="2120123" cy="1256720"/>
              <a:chOff x="660399" y="1130300"/>
              <a:chExt cx="2120123" cy="1256720"/>
            </a:xfrm>
          </p:grpSpPr>
          <p:sp>
            <p:nvSpPr>
              <p:cNvPr id="31" name="文本框 30">
                <a:extLst>
                  <a:ext uri="{FF2B5EF4-FFF2-40B4-BE49-F238E27FC236}">
                    <a16:creationId xmlns:a16="http://schemas.microsoft.com/office/drawing/2014/main" id="{FCBCE448-A746-45FC-ABE2-27B64D489326}"/>
                  </a:ext>
                </a:extLst>
              </p:cNvPr>
              <p:cNvSpPr txBox="1"/>
              <p:nvPr/>
            </p:nvSpPr>
            <p:spPr bwMode="auto">
              <a:xfrm>
                <a:off x="660399" y="1130300"/>
                <a:ext cx="2120123" cy="9556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800">
                    <a:solidFill>
                      <a:schemeClr val="accent1"/>
                    </a:solidFill>
                  </a:rPr>
                  <a:t>Cont</a:t>
                </a:r>
                <a:r>
                  <a:rPr lang="en-US" altLang="zh-CN" sz="100">
                    <a:solidFill>
                      <a:schemeClr val="accent1"/>
                    </a:solidFill>
                  </a:rPr>
                  <a:t> </a:t>
                </a:r>
                <a:r>
                  <a:rPr lang="en-US" altLang="zh-CN" sz="2800">
                    <a:solidFill>
                      <a:schemeClr val="accent1"/>
                    </a:solidFill>
                  </a:rPr>
                  <a:t>ents </a:t>
                </a:r>
                <a:endParaRPr lang="en-US" altLang="zh-CN" sz="28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2" name="矩形 31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746124" y="2085975"/>
                <a:ext cx="1958975" cy="301045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en-US" altLang="zh-CN" sz="1100" u="sng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Supporting</a:t>
                </a:r>
                <a:r>
                  <a:rPr lang="en-US" altLang="zh-CN" sz="100" u="sng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  <a:r>
                  <a:rPr lang="en-US" altLang="zh-CN" sz="1100" u="sng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  <a:r>
                  <a:rPr lang="en-US" altLang="zh-CN" sz="1100" u="sng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text here.</a:t>
                </a:r>
              </a:p>
            </p:txBody>
          </p:sp>
        </p:grpSp>
        <p:grpSp>
          <p:nvGrpSpPr>
            <p:cNvPr id="7" name="组合 6"/>
            <p:cNvGrpSpPr/>
            <p:nvPr/>
          </p:nvGrpSpPr>
          <p:grpSpPr>
            <a:xfrm>
              <a:off x="3640016" y="2253028"/>
              <a:ext cx="1855176" cy="2960809"/>
              <a:chOff x="3640016" y="2253028"/>
              <a:chExt cx="1855176" cy="2960809"/>
            </a:xfrm>
          </p:grpSpPr>
          <p:sp>
            <p:nvSpPr>
              <p:cNvPr id="26" name="矩形 25"/>
              <p:cNvSpPr/>
              <p:nvPr/>
            </p:nvSpPr>
            <p:spPr>
              <a:xfrm>
                <a:off x="3640016" y="2253028"/>
                <a:ext cx="1855176" cy="2960809"/>
              </a:xfrm>
              <a:prstGeom prst="rect">
                <a:avLst/>
              </a:pr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5400000" scaled="1"/>
              </a:gradFill>
              <a:ln w="6350" cap="rnd">
                <a:solidFill>
                  <a:schemeClr val="bg1">
                    <a:lumMod val="9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3683459" y="2423332"/>
                <a:ext cx="753458" cy="57389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3200">
                    <a:solidFill>
                      <a:schemeClr val="accent1"/>
                    </a:solidFill>
                  </a:rPr>
                  <a:t>0</a:t>
                </a:r>
                <a:r>
                  <a:rPr lang="en-US" altLang="zh-CN" sz="100">
                    <a:solidFill>
                      <a:schemeClr val="accent1"/>
                    </a:solidFill>
                  </a:rPr>
                  <a:t> </a:t>
                </a:r>
                <a:r>
                  <a:rPr lang="en-US" altLang="zh-CN" sz="3200">
                    <a:solidFill>
                      <a:schemeClr val="accent1"/>
                    </a:solidFill>
                  </a:rPr>
                  <a:t>1</a:t>
                </a:r>
                <a:endParaRPr lang="en-US" altLang="zh-CN" sz="32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0" name="文本框 29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3683459" y="3414197"/>
                <a:ext cx="1768290" cy="109862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en-US" b="1" dirty="0"/>
                  <a:t>什么是</a:t>
                </a:r>
                <a:endParaRPr lang="en-US" altLang="zh-CN" b="1" dirty="0"/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en-US" b="1" dirty="0"/>
                  <a:t>新型肺炎</a:t>
                </a:r>
                <a:endParaRPr lang="en-US" altLang="zh-CN" b="1" dirty="0"/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5647919" y="2253028"/>
              <a:ext cx="1855176" cy="2960809"/>
              <a:chOff x="5647919" y="2253028"/>
              <a:chExt cx="1855176" cy="2960809"/>
            </a:xfrm>
          </p:grpSpPr>
          <p:sp>
            <p:nvSpPr>
              <p:cNvPr id="21" name="矩形 20"/>
              <p:cNvSpPr/>
              <p:nvPr/>
            </p:nvSpPr>
            <p:spPr>
              <a:xfrm>
                <a:off x="5647919" y="2253028"/>
                <a:ext cx="1855176" cy="2960809"/>
              </a:xfrm>
              <a:prstGeom prst="rect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lumMod val="95000"/>
                    </a:schemeClr>
                  </a:gs>
                </a:gsLst>
                <a:lin ang="5400000" scaled="1"/>
              </a:gradFill>
              <a:ln w="6350" cap="rnd">
                <a:solidFill>
                  <a:schemeClr val="bg1">
                    <a:lumMod val="9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6706194" y="4469641"/>
                <a:ext cx="753458" cy="57389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3200">
                    <a:solidFill>
                      <a:schemeClr val="accent1"/>
                    </a:solidFill>
                  </a:rPr>
                  <a:t>0</a:t>
                </a:r>
                <a:r>
                  <a:rPr lang="en-US" altLang="zh-CN" sz="100">
                    <a:solidFill>
                      <a:schemeClr val="accent1"/>
                    </a:solidFill>
                  </a:rPr>
                  <a:t> </a:t>
                </a:r>
                <a:r>
                  <a:rPr lang="en-US" altLang="zh-CN" sz="3200">
                    <a:solidFill>
                      <a:schemeClr val="accent1"/>
                    </a:solidFill>
                  </a:rPr>
                  <a:t>2</a:t>
                </a:r>
                <a:endParaRPr lang="en-US" altLang="zh-CN" sz="32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5691362" y="2921829"/>
                <a:ext cx="1768290" cy="109862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en-US" b="1" dirty="0"/>
                  <a:t>社区防控</a:t>
                </a:r>
                <a:endParaRPr lang="en-US" altLang="zh-CN" b="1" dirty="0"/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en-US" b="1" dirty="0"/>
                  <a:t>工作的通知</a:t>
                </a:r>
                <a:endParaRPr lang="en-US" altLang="zh-CN" b="1" dirty="0"/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7655822" y="2253028"/>
              <a:ext cx="1855176" cy="2960809"/>
              <a:chOff x="7655822" y="2253028"/>
              <a:chExt cx="1855176" cy="2960809"/>
            </a:xfrm>
          </p:grpSpPr>
          <p:sp>
            <p:nvSpPr>
              <p:cNvPr id="16" name="矩形 15"/>
              <p:cNvSpPr/>
              <p:nvPr/>
            </p:nvSpPr>
            <p:spPr>
              <a:xfrm>
                <a:off x="7655822" y="2253028"/>
                <a:ext cx="1855176" cy="2960809"/>
              </a:xfrm>
              <a:prstGeom prst="rect">
                <a:avLst/>
              </a:pr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5400000" scaled="1"/>
              </a:gradFill>
              <a:ln w="6350" cap="rnd">
                <a:solidFill>
                  <a:schemeClr val="bg1">
                    <a:lumMod val="9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7699265" y="2423332"/>
                <a:ext cx="753458" cy="57389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3200">
                    <a:solidFill>
                      <a:schemeClr val="accent1"/>
                    </a:solidFill>
                  </a:rPr>
                  <a:t>0</a:t>
                </a:r>
                <a:r>
                  <a:rPr lang="en-US" altLang="zh-CN" sz="100">
                    <a:solidFill>
                      <a:schemeClr val="accent1"/>
                    </a:solidFill>
                  </a:rPr>
                  <a:t> </a:t>
                </a:r>
                <a:r>
                  <a:rPr lang="en-US" altLang="zh-CN" sz="3200">
                    <a:solidFill>
                      <a:schemeClr val="accent1"/>
                    </a:solidFill>
                  </a:rPr>
                  <a:t>3</a:t>
                </a:r>
                <a:endParaRPr lang="en-US" altLang="zh-CN" sz="32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7699265" y="3414197"/>
                <a:ext cx="1768290" cy="109862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en-US" b="1" dirty="0"/>
                  <a:t>社区防控</a:t>
                </a:r>
                <a:endParaRPr lang="en-US" altLang="zh-CN" b="1" dirty="0"/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en-US" b="1" dirty="0"/>
                  <a:t>工作方案</a:t>
                </a:r>
                <a:endParaRPr lang="en-US" altLang="zh-CN" b="1" dirty="0"/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en-US" b="1" dirty="0"/>
                  <a:t>（试行）</a:t>
                </a:r>
                <a:endParaRPr lang="en-US" altLang="zh-CN" b="1" dirty="0"/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9663724" y="2253028"/>
              <a:ext cx="1855176" cy="2960809"/>
              <a:chOff x="9663724" y="2253028"/>
              <a:chExt cx="1855176" cy="2960809"/>
            </a:xfrm>
          </p:grpSpPr>
          <p:sp>
            <p:nvSpPr>
              <p:cNvPr id="11" name="矩形 10"/>
              <p:cNvSpPr/>
              <p:nvPr/>
            </p:nvSpPr>
            <p:spPr>
              <a:xfrm>
                <a:off x="9663724" y="2253028"/>
                <a:ext cx="1855176" cy="2960809"/>
              </a:xfrm>
              <a:prstGeom prst="rect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lumMod val="95000"/>
                    </a:schemeClr>
                  </a:gs>
                </a:gsLst>
                <a:lin ang="5400000" scaled="1"/>
              </a:gradFill>
              <a:ln w="6350" cap="rnd">
                <a:solidFill>
                  <a:schemeClr val="bg1">
                    <a:lumMod val="9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10721999" y="4469641"/>
                <a:ext cx="753458" cy="57389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3200">
                    <a:solidFill>
                      <a:schemeClr val="accent1"/>
                    </a:solidFill>
                  </a:rPr>
                  <a:t>0</a:t>
                </a:r>
                <a:r>
                  <a:rPr lang="en-US" altLang="zh-CN" sz="100">
                    <a:solidFill>
                      <a:schemeClr val="accent1"/>
                    </a:solidFill>
                  </a:rPr>
                  <a:t> </a:t>
                </a:r>
                <a:r>
                  <a:rPr lang="en-US" altLang="zh-CN" sz="3200">
                    <a:solidFill>
                      <a:schemeClr val="accent1"/>
                    </a:solidFill>
                  </a:rPr>
                  <a:t>4</a:t>
                </a:r>
                <a:endParaRPr lang="en-US" altLang="zh-CN" sz="32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9707167" y="2921829"/>
                <a:ext cx="1768290" cy="109862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en-US" b="1" dirty="0"/>
                  <a:t>如何有</a:t>
                </a:r>
                <a:endParaRPr lang="en-US" altLang="zh-CN" b="1" dirty="0"/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CN" altLang="en-US" b="1" dirty="0"/>
                  <a:t>效防治</a:t>
                </a:r>
                <a:endParaRPr lang="en-US" altLang="zh-CN" b="1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463707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什么是新型肺炎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047991" y="311664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什么是新型肺炎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1" y="1954498"/>
            <a:ext cx="10858499" cy="3355404"/>
            <a:chOff x="660401" y="1954498"/>
            <a:chExt cx="10858499" cy="3355404"/>
          </a:xfrm>
        </p:grpSpPr>
        <p:sp>
          <p:nvSpPr>
            <p:cNvPr id="6" name="任意多边形: 形状 5"/>
            <p:cNvSpPr/>
            <p:nvPr/>
          </p:nvSpPr>
          <p:spPr bwMode="auto">
            <a:xfrm>
              <a:off x="660401" y="2575858"/>
              <a:ext cx="10858499" cy="2112682"/>
            </a:xfrm>
            <a:custGeom>
              <a:avLst/>
              <a:gdLst>
                <a:gd name="connsiteX0" fmla="*/ 1046871 w 10858499"/>
                <a:gd name="connsiteY0" fmla="*/ 0 h 2112682"/>
                <a:gd name="connsiteX1" fmla="*/ 2085811 w 10858499"/>
                <a:gd name="connsiteY1" fmla="*/ 1056341 h 2112682"/>
                <a:gd name="connsiteX2" fmla="*/ 2079702 w 10858499"/>
                <a:gd name="connsiteY2" fmla="*/ 1056341 h 2112682"/>
                <a:gd name="connsiteX3" fmla="*/ 2793477 w 10858499"/>
                <a:gd name="connsiteY3" fmla="*/ 1784576 h 2112682"/>
                <a:gd name="connsiteX4" fmla="*/ 3515184 w 10858499"/>
                <a:gd name="connsiteY4" fmla="*/ 1056341 h 2112682"/>
                <a:gd name="connsiteX5" fmla="*/ 3514157 w 10858499"/>
                <a:gd name="connsiteY5" fmla="*/ 1056341 h 2112682"/>
                <a:gd name="connsiteX6" fmla="*/ 3509076 w 10858499"/>
                <a:gd name="connsiteY6" fmla="*/ 1056341 h 2112682"/>
                <a:gd name="connsiteX7" fmla="*/ 4555946 w 10858499"/>
                <a:gd name="connsiteY7" fmla="*/ 0 h 2112682"/>
                <a:gd name="connsiteX8" fmla="*/ 5594886 w 10858499"/>
                <a:gd name="connsiteY8" fmla="*/ 1056341 h 2112682"/>
                <a:gd name="connsiteX9" fmla="*/ 5588778 w 10858499"/>
                <a:gd name="connsiteY9" fmla="*/ 1056341 h 2112682"/>
                <a:gd name="connsiteX10" fmla="*/ 6302553 w 10858499"/>
                <a:gd name="connsiteY10" fmla="*/ 1784576 h 2112682"/>
                <a:gd name="connsiteX11" fmla="*/ 7024260 w 10858499"/>
                <a:gd name="connsiteY11" fmla="*/ 1056341 h 2112682"/>
                <a:gd name="connsiteX12" fmla="*/ 7023232 w 10858499"/>
                <a:gd name="connsiteY12" fmla="*/ 1056341 h 2112682"/>
                <a:gd name="connsiteX13" fmla="*/ 7018151 w 10858499"/>
                <a:gd name="connsiteY13" fmla="*/ 1056341 h 2112682"/>
                <a:gd name="connsiteX14" fmla="*/ 8065022 w 10858499"/>
                <a:gd name="connsiteY14" fmla="*/ 0 h 2112682"/>
                <a:gd name="connsiteX15" fmla="*/ 9103962 w 10858499"/>
                <a:gd name="connsiteY15" fmla="*/ 1056341 h 2112682"/>
                <a:gd name="connsiteX16" fmla="*/ 9097852 w 10858499"/>
                <a:gd name="connsiteY16" fmla="*/ 1056341 h 2112682"/>
                <a:gd name="connsiteX17" fmla="*/ 9811628 w 10858499"/>
                <a:gd name="connsiteY17" fmla="*/ 1784576 h 2112682"/>
                <a:gd name="connsiteX18" fmla="*/ 10533335 w 10858499"/>
                <a:gd name="connsiteY18" fmla="*/ 1056341 h 2112682"/>
                <a:gd name="connsiteX19" fmla="*/ 10858499 w 10858499"/>
                <a:gd name="connsiteY19" fmla="*/ 1056341 h 2112682"/>
                <a:gd name="connsiteX20" fmla="*/ 9811628 w 10858499"/>
                <a:gd name="connsiteY20" fmla="*/ 2112682 h 2112682"/>
                <a:gd name="connsiteX21" fmla="*/ 8772688 w 10858499"/>
                <a:gd name="connsiteY21" fmla="*/ 1056341 h 2112682"/>
                <a:gd name="connsiteX22" fmla="*/ 8777769 w 10858499"/>
                <a:gd name="connsiteY22" fmla="*/ 1056341 h 2112682"/>
                <a:gd name="connsiteX23" fmla="*/ 8778797 w 10858499"/>
                <a:gd name="connsiteY23" fmla="*/ 1056341 h 2112682"/>
                <a:gd name="connsiteX24" fmla="*/ 8065022 w 10858499"/>
                <a:gd name="connsiteY24" fmla="*/ 330611 h 2112682"/>
                <a:gd name="connsiteX25" fmla="*/ 7343316 w 10858499"/>
                <a:gd name="connsiteY25" fmla="*/ 1056341 h 2112682"/>
                <a:gd name="connsiteX26" fmla="*/ 7349424 w 10858499"/>
                <a:gd name="connsiteY26" fmla="*/ 1056341 h 2112682"/>
                <a:gd name="connsiteX27" fmla="*/ 6302553 w 10858499"/>
                <a:gd name="connsiteY27" fmla="*/ 2112682 h 2112682"/>
                <a:gd name="connsiteX28" fmla="*/ 5263613 w 10858499"/>
                <a:gd name="connsiteY28" fmla="*/ 1056341 h 2112682"/>
                <a:gd name="connsiteX29" fmla="*/ 5268694 w 10858499"/>
                <a:gd name="connsiteY29" fmla="*/ 1056341 h 2112682"/>
                <a:gd name="connsiteX30" fmla="*/ 5269722 w 10858499"/>
                <a:gd name="connsiteY30" fmla="*/ 1056341 h 2112682"/>
                <a:gd name="connsiteX31" fmla="*/ 4555946 w 10858499"/>
                <a:gd name="connsiteY31" fmla="*/ 330611 h 2112682"/>
                <a:gd name="connsiteX32" fmla="*/ 3834240 w 10858499"/>
                <a:gd name="connsiteY32" fmla="*/ 1056341 h 2112682"/>
                <a:gd name="connsiteX33" fmla="*/ 3840348 w 10858499"/>
                <a:gd name="connsiteY33" fmla="*/ 1056341 h 2112682"/>
                <a:gd name="connsiteX34" fmla="*/ 2793477 w 10858499"/>
                <a:gd name="connsiteY34" fmla="*/ 2112682 h 2112682"/>
                <a:gd name="connsiteX35" fmla="*/ 1754538 w 10858499"/>
                <a:gd name="connsiteY35" fmla="*/ 1056341 h 2112682"/>
                <a:gd name="connsiteX36" fmla="*/ 1759618 w 10858499"/>
                <a:gd name="connsiteY36" fmla="*/ 1056341 h 2112682"/>
                <a:gd name="connsiteX37" fmla="*/ 1760646 w 10858499"/>
                <a:gd name="connsiteY37" fmla="*/ 1056341 h 2112682"/>
                <a:gd name="connsiteX38" fmla="*/ 1046871 w 10858499"/>
                <a:gd name="connsiteY38" fmla="*/ 330611 h 2112682"/>
                <a:gd name="connsiteX39" fmla="*/ 325164 w 10858499"/>
                <a:gd name="connsiteY39" fmla="*/ 1056341 h 2112682"/>
                <a:gd name="connsiteX40" fmla="*/ 0 w 10858499"/>
                <a:gd name="connsiteY40" fmla="*/ 1056341 h 2112682"/>
                <a:gd name="connsiteX41" fmla="*/ 1046871 w 10858499"/>
                <a:gd name="connsiteY41" fmla="*/ 0 h 2112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0858499" h="2112682">
                  <a:moveTo>
                    <a:pt x="1046871" y="0"/>
                  </a:moveTo>
                  <a:cubicBezTo>
                    <a:pt x="1617891" y="0"/>
                    <a:pt x="2085811" y="475757"/>
                    <a:pt x="2085811" y="1056341"/>
                  </a:cubicBezTo>
                  <a:lnTo>
                    <a:pt x="2079702" y="1056341"/>
                  </a:lnTo>
                  <a:cubicBezTo>
                    <a:pt x="2079702" y="1456470"/>
                    <a:pt x="2396936" y="1784576"/>
                    <a:pt x="2793477" y="1784576"/>
                  </a:cubicBezTo>
                  <a:cubicBezTo>
                    <a:pt x="3190019" y="1784576"/>
                    <a:pt x="3515184" y="1456470"/>
                    <a:pt x="3515184" y="1056341"/>
                  </a:cubicBezTo>
                  <a:lnTo>
                    <a:pt x="3514157" y="1056341"/>
                  </a:lnTo>
                  <a:cubicBezTo>
                    <a:pt x="3509076" y="1056341"/>
                    <a:pt x="3509076" y="1056341"/>
                    <a:pt x="3509076" y="1056341"/>
                  </a:cubicBezTo>
                  <a:cubicBezTo>
                    <a:pt x="3509076" y="475757"/>
                    <a:pt x="3976995" y="0"/>
                    <a:pt x="4555946" y="0"/>
                  </a:cubicBezTo>
                  <a:cubicBezTo>
                    <a:pt x="5126967" y="0"/>
                    <a:pt x="5594886" y="475757"/>
                    <a:pt x="5594886" y="1056341"/>
                  </a:cubicBezTo>
                  <a:lnTo>
                    <a:pt x="5588778" y="1056341"/>
                  </a:lnTo>
                  <a:cubicBezTo>
                    <a:pt x="5588778" y="1456470"/>
                    <a:pt x="5906011" y="1784576"/>
                    <a:pt x="6302553" y="1784576"/>
                  </a:cubicBezTo>
                  <a:cubicBezTo>
                    <a:pt x="6699095" y="1784576"/>
                    <a:pt x="7024260" y="1456470"/>
                    <a:pt x="7024260" y="1056341"/>
                  </a:cubicBezTo>
                  <a:lnTo>
                    <a:pt x="7023232" y="1056341"/>
                  </a:lnTo>
                  <a:cubicBezTo>
                    <a:pt x="7018151" y="1056341"/>
                    <a:pt x="7018151" y="1056341"/>
                    <a:pt x="7018151" y="1056341"/>
                  </a:cubicBezTo>
                  <a:cubicBezTo>
                    <a:pt x="7018151" y="475757"/>
                    <a:pt x="7486071" y="0"/>
                    <a:pt x="8065022" y="0"/>
                  </a:cubicBezTo>
                  <a:cubicBezTo>
                    <a:pt x="8636042" y="0"/>
                    <a:pt x="9103962" y="475757"/>
                    <a:pt x="9103962" y="1056341"/>
                  </a:cubicBezTo>
                  <a:lnTo>
                    <a:pt x="9097852" y="1056341"/>
                  </a:lnTo>
                  <a:cubicBezTo>
                    <a:pt x="9097852" y="1456470"/>
                    <a:pt x="9415086" y="1784576"/>
                    <a:pt x="9811628" y="1784576"/>
                  </a:cubicBezTo>
                  <a:cubicBezTo>
                    <a:pt x="10208170" y="1784576"/>
                    <a:pt x="10533335" y="1456470"/>
                    <a:pt x="10533335" y="1056341"/>
                  </a:cubicBezTo>
                  <a:cubicBezTo>
                    <a:pt x="10533335" y="1056341"/>
                    <a:pt x="10533335" y="1056341"/>
                    <a:pt x="10858499" y="1056341"/>
                  </a:cubicBezTo>
                  <a:cubicBezTo>
                    <a:pt x="10858499" y="1640530"/>
                    <a:pt x="10390579" y="2112682"/>
                    <a:pt x="9811628" y="2112682"/>
                  </a:cubicBezTo>
                  <a:cubicBezTo>
                    <a:pt x="9240608" y="2112682"/>
                    <a:pt x="8772688" y="1640530"/>
                    <a:pt x="8772688" y="1056341"/>
                  </a:cubicBezTo>
                  <a:cubicBezTo>
                    <a:pt x="8772688" y="1056341"/>
                    <a:pt x="8772688" y="1056341"/>
                    <a:pt x="8777769" y="1056341"/>
                  </a:cubicBezTo>
                  <a:lnTo>
                    <a:pt x="8778797" y="1056341"/>
                  </a:lnTo>
                  <a:cubicBezTo>
                    <a:pt x="8778797" y="653158"/>
                    <a:pt x="8461564" y="330611"/>
                    <a:pt x="8065022" y="330611"/>
                  </a:cubicBezTo>
                  <a:cubicBezTo>
                    <a:pt x="7660549" y="330611"/>
                    <a:pt x="7343316" y="653158"/>
                    <a:pt x="7343316" y="1056341"/>
                  </a:cubicBezTo>
                  <a:lnTo>
                    <a:pt x="7349424" y="1056341"/>
                  </a:lnTo>
                  <a:cubicBezTo>
                    <a:pt x="7349424" y="1640530"/>
                    <a:pt x="6881505" y="2112682"/>
                    <a:pt x="6302553" y="2112682"/>
                  </a:cubicBezTo>
                  <a:cubicBezTo>
                    <a:pt x="5731533" y="2112682"/>
                    <a:pt x="5263613" y="1640530"/>
                    <a:pt x="5263613" y="1056341"/>
                  </a:cubicBezTo>
                  <a:cubicBezTo>
                    <a:pt x="5263613" y="1056341"/>
                    <a:pt x="5263613" y="1056341"/>
                    <a:pt x="5268694" y="1056341"/>
                  </a:cubicBezTo>
                  <a:lnTo>
                    <a:pt x="5269722" y="1056341"/>
                  </a:lnTo>
                  <a:cubicBezTo>
                    <a:pt x="5269722" y="653158"/>
                    <a:pt x="4952488" y="330611"/>
                    <a:pt x="4555946" y="330611"/>
                  </a:cubicBezTo>
                  <a:cubicBezTo>
                    <a:pt x="4151473" y="330611"/>
                    <a:pt x="3834240" y="653158"/>
                    <a:pt x="3834240" y="1056341"/>
                  </a:cubicBezTo>
                  <a:lnTo>
                    <a:pt x="3840348" y="1056341"/>
                  </a:lnTo>
                  <a:cubicBezTo>
                    <a:pt x="3840348" y="1640530"/>
                    <a:pt x="3372429" y="2112682"/>
                    <a:pt x="2793477" y="2112682"/>
                  </a:cubicBezTo>
                  <a:cubicBezTo>
                    <a:pt x="2222457" y="2112682"/>
                    <a:pt x="1754538" y="1640530"/>
                    <a:pt x="1754538" y="1056341"/>
                  </a:cubicBezTo>
                  <a:cubicBezTo>
                    <a:pt x="1754538" y="1056341"/>
                    <a:pt x="1754538" y="1056341"/>
                    <a:pt x="1759618" y="1056341"/>
                  </a:cubicBezTo>
                  <a:lnTo>
                    <a:pt x="1760646" y="1056341"/>
                  </a:lnTo>
                  <a:cubicBezTo>
                    <a:pt x="1760646" y="653158"/>
                    <a:pt x="1443412" y="330611"/>
                    <a:pt x="1046871" y="330611"/>
                  </a:cubicBezTo>
                  <a:cubicBezTo>
                    <a:pt x="642398" y="330611"/>
                    <a:pt x="325164" y="653158"/>
                    <a:pt x="325164" y="1056341"/>
                  </a:cubicBezTo>
                  <a:cubicBezTo>
                    <a:pt x="0" y="1056341"/>
                    <a:pt x="0" y="1056341"/>
                    <a:pt x="0" y="1056341"/>
                  </a:cubicBezTo>
                  <a:cubicBezTo>
                    <a:pt x="0" y="475757"/>
                    <a:pt x="467919" y="0"/>
                    <a:pt x="1046871" y="0"/>
                  </a:cubicBezTo>
                  <a:close/>
                </a:path>
              </a:pathLst>
            </a:custGeom>
            <a:pattFill prst="dk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7" name="椭圆 6"/>
            <p:cNvSpPr/>
            <p:nvPr/>
          </p:nvSpPr>
          <p:spPr>
            <a:xfrm>
              <a:off x="3135124" y="4205194"/>
              <a:ext cx="645438" cy="64543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/>
            </a:bodyPr>
            <a:lstStyle/>
            <a:p>
              <a:pPr algn="ctr" defTabSz="914354"/>
              <a:r>
                <a:rPr lang="en-US" altLang="zh-CN" sz="2000">
                  <a:solidFill>
                    <a:schemeClr val="bg1"/>
                  </a:solidFill>
                </a:rPr>
                <a:t>0</a:t>
              </a:r>
              <a:r>
                <a:rPr lang="en-US" altLang="zh-CN" sz="100">
                  <a:solidFill>
                    <a:schemeClr val="bg1"/>
                  </a:solidFill>
                </a:rPr>
                <a:t> </a:t>
              </a:r>
              <a:r>
                <a:rPr lang="en-US" altLang="zh-CN" sz="2000">
                  <a:solidFill>
                    <a:schemeClr val="bg1"/>
                  </a:solidFill>
                </a:rPr>
                <a:t>2</a:t>
              </a:r>
              <a:endParaRPr lang="zh-CN" alt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8" name="椭圆 7"/>
            <p:cNvSpPr/>
            <p:nvPr/>
          </p:nvSpPr>
          <p:spPr>
            <a:xfrm>
              <a:off x="6644200" y="4205194"/>
              <a:ext cx="645438" cy="64543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/>
            </a:bodyPr>
            <a:lstStyle/>
            <a:p>
              <a:pPr algn="ctr" defTabSz="914354"/>
              <a:r>
                <a:rPr lang="en-US" altLang="zh-CN" sz="2000">
                  <a:solidFill>
                    <a:schemeClr val="bg1"/>
                  </a:solidFill>
                </a:rPr>
                <a:t>0</a:t>
              </a:r>
              <a:r>
                <a:rPr lang="en-US" altLang="zh-CN" sz="100">
                  <a:solidFill>
                    <a:schemeClr val="bg1"/>
                  </a:solidFill>
                </a:rPr>
                <a:t> </a:t>
              </a:r>
              <a:r>
                <a:rPr lang="en-US" altLang="zh-CN" sz="2000">
                  <a:solidFill>
                    <a:schemeClr val="bg1"/>
                  </a:solidFill>
                </a:rPr>
                <a:t>4</a:t>
              </a:r>
              <a:endParaRPr lang="zh-CN" alt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9" name="椭圆 8"/>
            <p:cNvSpPr/>
            <p:nvPr/>
          </p:nvSpPr>
          <p:spPr>
            <a:xfrm>
              <a:off x="10153275" y="4205194"/>
              <a:ext cx="645438" cy="64543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/>
            </a:bodyPr>
            <a:lstStyle/>
            <a:p>
              <a:pPr algn="ctr" defTabSz="914354"/>
              <a:r>
                <a:rPr lang="en-US" altLang="zh-CN" sz="2000">
                  <a:solidFill>
                    <a:schemeClr val="bg1"/>
                  </a:solidFill>
                </a:rPr>
                <a:t>0</a:t>
              </a:r>
              <a:r>
                <a:rPr lang="en-US" altLang="zh-CN" sz="100">
                  <a:solidFill>
                    <a:schemeClr val="bg1"/>
                  </a:solidFill>
                </a:rPr>
                <a:t> </a:t>
              </a:r>
              <a:r>
                <a:rPr lang="en-US" altLang="zh-CN" sz="2000">
                  <a:solidFill>
                    <a:schemeClr val="bg1"/>
                  </a:solidFill>
                </a:rPr>
                <a:t>6</a:t>
              </a:r>
              <a:endParaRPr lang="zh-CN" alt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10" name="椭圆 9"/>
            <p:cNvSpPr/>
            <p:nvPr/>
          </p:nvSpPr>
          <p:spPr>
            <a:xfrm>
              <a:off x="1380586" y="2413768"/>
              <a:ext cx="645438" cy="645438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/>
            </a:bodyPr>
            <a:lstStyle/>
            <a:p>
              <a:pPr algn="ctr" defTabSz="914354"/>
              <a:r>
                <a:rPr lang="en-US" altLang="zh-CN" sz="2000">
                  <a:solidFill>
                    <a:schemeClr val="bg1"/>
                  </a:solidFill>
                </a:rPr>
                <a:t>0</a:t>
              </a:r>
              <a:r>
                <a:rPr lang="en-US" altLang="zh-CN" sz="100">
                  <a:solidFill>
                    <a:schemeClr val="bg1"/>
                  </a:solidFill>
                </a:rPr>
                <a:t> </a:t>
              </a:r>
              <a:r>
                <a:rPr lang="en-US" altLang="zh-CN" sz="2000">
                  <a:solidFill>
                    <a:schemeClr val="bg1"/>
                  </a:solidFill>
                </a:rPr>
                <a:t>1</a:t>
              </a:r>
              <a:endParaRPr lang="zh-CN" alt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11" name="椭圆 10"/>
            <p:cNvSpPr/>
            <p:nvPr/>
          </p:nvSpPr>
          <p:spPr>
            <a:xfrm>
              <a:off x="4889662" y="2413768"/>
              <a:ext cx="645438" cy="645438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/>
            </a:bodyPr>
            <a:lstStyle/>
            <a:p>
              <a:pPr algn="ctr" defTabSz="914354"/>
              <a:r>
                <a:rPr lang="en-US" altLang="zh-CN" sz="2000">
                  <a:solidFill>
                    <a:schemeClr val="bg1"/>
                  </a:solidFill>
                </a:rPr>
                <a:t>0</a:t>
              </a:r>
              <a:r>
                <a:rPr lang="en-US" altLang="zh-CN" sz="100">
                  <a:solidFill>
                    <a:schemeClr val="bg1"/>
                  </a:solidFill>
                </a:rPr>
                <a:t> </a:t>
              </a:r>
              <a:r>
                <a:rPr lang="en-US" altLang="zh-CN" sz="2000">
                  <a:solidFill>
                    <a:schemeClr val="bg1"/>
                  </a:solidFill>
                </a:rPr>
                <a:t>3</a:t>
              </a:r>
              <a:endParaRPr lang="zh-CN" altLang="en-US" sz="2000" dirty="0">
                <a:solidFill>
                  <a:schemeClr val="bg1"/>
                </a:solidFill>
              </a:endParaRPr>
            </a:p>
          </p:txBody>
        </p:sp>
        <p:sp>
          <p:nvSpPr>
            <p:cNvPr id="12" name="椭圆 11"/>
            <p:cNvSpPr/>
            <p:nvPr/>
          </p:nvSpPr>
          <p:spPr>
            <a:xfrm>
              <a:off x="8398738" y="2413768"/>
              <a:ext cx="645438" cy="645438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/>
            </a:bodyPr>
            <a:lstStyle/>
            <a:p>
              <a:pPr algn="ctr" defTabSz="914354"/>
              <a:r>
                <a:rPr lang="en-US" altLang="zh-CN" sz="2000">
                  <a:solidFill>
                    <a:schemeClr val="bg1"/>
                  </a:solidFill>
                </a:rPr>
                <a:t>0</a:t>
              </a:r>
              <a:r>
                <a:rPr lang="en-US" altLang="zh-CN" sz="100">
                  <a:solidFill>
                    <a:schemeClr val="bg1"/>
                  </a:solidFill>
                </a:rPr>
                <a:t> </a:t>
              </a:r>
              <a:r>
                <a:rPr lang="en-US" altLang="zh-CN" sz="2000">
                  <a:solidFill>
                    <a:schemeClr val="bg1"/>
                  </a:solidFill>
                </a:rPr>
                <a:t>5</a:t>
              </a:r>
              <a:endParaRPr lang="zh-CN" altLang="en-US" sz="2000" dirty="0">
                <a:solidFill>
                  <a:schemeClr val="bg1"/>
                </a:solidFill>
              </a:endParaRPr>
            </a:p>
          </p:txBody>
        </p:sp>
        <p:grpSp>
          <p:nvGrpSpPr>
            <p:cNvPr id="13" name="组合 12"/>
            <p:cNvGrpSpPr/>
            <p:nvPr/>
          </p:nvGrpSpPr>
          <p:grpSpPr>
            <a:xfrm>
              <a:off x="826037" y="3592325"/>
              <a:ext cx="1754537" cy="1717577"/>
              <a:chOff x="660400" y="4027305"/>
              <a:chExt cx="1754537" cy="1717577"/>
            </a:xfrm>
          </p:grpSpPr>
          <p:sp>
            <p:nvSpPr>
              <p:cNvPr id="29" name="文本框 28">
                <a:extLst>
                  <a:ext uri="{FF2B5EF4-FFF2-40B4-BE49-F238E27FC236}">
                    <a16:creationId xmlns:a16="http://schemas.microsoft.com/office/drawing/2014/main" id="{921D2456-A6A6-43F5-AD86-0A010D24A2F0}"/>
                  </a:ext>
                </a:extLst>
              </p:cNvPr>
              <p:cNvSpPr txBox="1"/>
              <p:nvPr/>
            </p:nvSpPr>
            <p:spPr>
              <a:xfrm>
                <a:off x="660400" y="4027305"/>
                <a:ext cx="1754537" cy="44669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/>
                  <a:t>Text h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ere</a:t>
                </a:r>
                <a:endParaRPr lang="id-ID" sz="1600" b="1" dirty="0"/>
              </a:p>
            </p:txBody>
          </p:sp>
          <p:sp>
            <p:nvSpPr>
              <p:cNvPr id="30" name="矩形 29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660400" y="4474003"/>
                <a:ext cx="1754537" cy="1270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Supporting text </a:t>
                </a:r>
                <a:r>
                  <a:rPr lang="en-US" altLang="zh-CN" sz="1100"/>
                  <a:t>here.</a:t>
                </a:r>
                <a:r>
                  <a:rPr lang="en-US" altLang="zh-CN" sz="100"/>
                  <a:t> </a:t>
                </a:r>
                <a:endParaRPr lang="en-US" altLang="zh-CN" sz="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4" name="组合 13"/>
            <p:cNvGrpSpPr/>
            <p:nvPr/>
          </p:nvGrpSpPr>
          <p:grpSpPr>
            <a:xfrm>
              <a:off x="4335113" y="3592325"/>
              <a:ext cx="1754537" cy="1717577"/>
              <a:chOff x="660400" y="4027305"/>
              <a:chExt cx="1754537" cy="1717577"/>
            </a:xfrm>
          </p:grpSpPr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921D2456-A6A6-43F5-AD86-0A010D24A2F0}"/>
                  </a:ext>
                </a:extLst>
              </p:cNvPr>
              <p:cNvSpPr txBox="1"/>
              <p:nvPr/>
            </p:nvSpPr>
            <p:spPr>
              <a:xfrm>
                <a:off x="660400" y="4027305"/>
                <a:ext cx="1754537" cy="44669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/>
                  <a:t>Text h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ere</a:t>
                </a:r>
                <a:endParaRPr lang="id-ID" sz="1600" b="1" dirty="0"/>
              </a:p>
            </p:txBody>
          </p:sp>
          <p:sp>
            <p:nvSpPr>
              <p:cNvPr id="28" name="矩形 27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660400" y="4474003"/>
                <a:ext cx="1754537" cy="1270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Supporting text </a:t>
                </a:r>
                <a:r>
                  <a:rPr lang="en-US" altLang="zh-CN" sz="1100"/>
                  <a:t>here.</a:t>
                </a:r>
                <a:r>
                  <a:rPr lang="en-US" altLang="zh-CN" sz="100"/>
                  <a:t> </a:t>
                </a:r>
                <a:endParaRPr lang="en-US" altLang="zh-CN" sz="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5" name="组合 14"/>
            <p:cNvGrpSpPr/>
            <p:nvPr/>
          </p:nvGrpSpPr>
          <p:grpSpPr>
            <a:xfrm>
              <a:off x="7844189" y="3592325"/>
              <a:ext cx="1754537" cy="1717577"/>
              <a:chOff x="660400" y="4027305"/>
              <a:chExt cx="1754537" cy="1717577"/>
            </a:xfrm>
          </p:grpSpPr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921D2456-A6A6-43F5-AD86-0A010D24A2F0}"/>
                  </a:ext>
                </a:extLst>
              </p:cNvPr>
              <p:cNvSpPr txBox="1"/>
              <p:nvPr/>
            </p:nvSpPr>
            <p:spPr>
              <a:xfrm>
                <a:off x="660400" y="4027305"/>
                <a:ext cx="1754537" cy="44669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/>
                  <a:t>Text h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ere</a:t>
                </a:r>
                <a:endParaRPr lang="id-ID" sz="1600" b="1" dirty="0"/>
              </a:p>
            </p:txBody>
          </p:sp>
          <p:sp>
            <p:nvSpPr>
              <p:cNvPr id="26" name="矩形 25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660400" y="4474003"/>
                <a:ext cx="1754537" cy="1270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Supporting text </a:t>
                </a:r>
                <a:r>
                  <a:rPr lang="en-US" altLang="zh-CN" sz="1100"/>
                  <a:t>here.</a:t>
                </a:r>
                <a:r>
                  <a:rPr lang="en-US" altLang="zh-CN" sz="100"/>
                  <a:t> </a:t>
                </a:r>
                <a:endParaRPr lang="en-US" altLang="zh-CN" sz="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580575" y="1954498"/>
              <a:ext cx="1754537" cy="1717577"/>
              <a:chOff x="660400" y="4027305"/>
              <a:chExt cx="1754537" cy="1717577"/>
            </a:xfrm>
          </p:grpSpPr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921D2456-A6A6-43F5-AD86-0A010D24A2F0}"/>
                  </a:ext>
                </a:extLst>
              </p:cNvPr>
              <p:cNvSpPr txBox="1"/>
              <p:nvPr/>
            </p:nvSpPr>
            <p:spPr>
              <a:xfrm>
                <a:off x="660400" y="4027305"/>
                <a:ext cx="1754537" cy="44669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/>
                  <a:t>Text h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ere</a:t>
                </a:r>
                <a:endParaRPr lang="id-ID" sz="1600" b="1" dirty="0"/>
              </a:p>
            </p:txBody>
          </p:sp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660400" y="4474003"/>
                <a:ext cx="1754537" cy="1270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Supporting text </a:t>
                </a:r>
                <a:r>
                  <a:rPr lang="en-US" altLang="zh-CN" sz="1100"/>
                  <a:t>here.</a:t>
                </a:r>
                <a:r>
                  <a:rPr lang="en-US" altLang="zh-CN" sz="100"/>
                  <a:t> </a:t>
                </a:r>
                <a:endParaRPr lang="en-US" altLang="zh-CN" sz="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7" name="组合 16"/>
            <p:cNvGrpSpPr/>
            <p:nvPr/>
          </p:nvGrpSpPr>
          <p:grpSpPr>
            <a:xfrm>
              <a:off x="6089651" y="1954498"/>
              <a:ext cx="1754537" cy="1717577"/>
              <a:chOff x="660400" y="4027305"/>
              <a:chExt cx="1754537" cy="1717577"/>
            </a:xfrm>
          </p:grpSpPr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921D2456-A6A6-43F5-AD86-0A010D24A2F0}"/>
                  </a:ext>
                </a:extLst>
              </p:cNvPr>
              <p:cNvSpPr txBox="1"/>
              <p:nvPr/>
            </p:nvSpPr>
            <p:spPr>
              <a:xfrm>
                <a:off x="660400" y="4027305"/>
                <a:ext cx="1754537" cy="44669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/>
                  <a:t>Text h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ere</a:t>
                </a:r>
                <a:endParaRPr lang="id-ID" sz="1600" b="1" dirty="0"/>
              </a:p>
            </p:txBody>
          </p:sp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660400" y="4474003"/>
                <a:ext cx="1754537" cy="1270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Supporting text </a:t>
                </a:r>
                <a:r>
                  <a:rPr lang="en-US" altLang="zh-CN" sz="1100"/>
                  <a:t>here.</a:t>
                </a:r>
                <a:r>
                  <a:rPr lang="en-US" altLang="zh-CN" sz="100"/>
                  <a:t> </a:t>
                </a:r>
                <a:endParaRPr lang="en-US" altLang="zh-CN" sz="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8" name="组合 17"/>
            <p:cNvGrpSpPr/>
            <p:nvPr/>
          </p:nvGrpSpPr>
          <p:grpSpPr>
            <a:xfrm>
              <a:off x="9598726" y="1954498"/>
              <a:ext cx="1754537" cy="1717577"/>
              <a:chOff x="660400" y="4027305"/>
              <a:chExt cx="1754537" cy="1717577"/>
            </a:xfrm>
          </p:grpSpPr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921D2456-A6A6-43F5-AD86-0A010D24A2F0}"/>
                  </a:ext>
                </a:extLst>
              </p:cNvPr>
              <p:cNvSpPr txBox="1"/>
              <p:nvPr/>
            </p:nvSpPr>
            <p:spPr>
              <a:xfrm>
                <a:off x="660400" y="4027305"/>
                <a:ext cx="1754537" cy="44669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/>
                  <a:t>Text h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ere</a:t>
                </a:r>
                <a:endParaRPr lang="id-ID" sz="1600" b="1" dirty="0"/>
              </a:p>
            </p:txBody>
          </p:sp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660400" y="4474003"/>
                <a:ext cx="1754537" cy="1270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Supporting text </a:t>
                </a:r>
                <a:r>
                  <a:rPr lang="en-US" altLang="zh-CN" sz="1100"/>
                  <a:t>here.</a:t>
                </a:r>
                <a:r>
                  <a:rPr lang="en-US" altLang="zh-CN" sz="100"/>
                  <a:t> </a:t>
                </a:r>
                <a:endParaRPr lang="en-US" altLang="zh-CN" sz="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749387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什么是新型肺炎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349375"/>
            <a:ext cx="10858500" cy="4789490"/>
            <a:chOff x="660400" y="1349375"/>
            <a:chExt cx="10858500" cy="4789490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40E15328-2373-4770-8E98-271D01CDDDAE}"/>
                </a:ext>
              </a:extLst>
            </p:cNvPr>
            <p:cNvGrpSpPr/>
            <p:nvPr/>
          </p:nvGrpSpPr>
          <p:grpSpPr>
            <a:xfrm>
              <a:off x="1714156" y="1349375"/>
              <a:ext cx="3193773" cy="2851149"/>
              <a:chOff x="4066831" y="1603030"/>
              <a:chExt cx="4058338" cy="4058340"/>
            </a:xfrm>
          </p:grpSpPr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1E806444-B911-4272-BD4D-498319F6C0CC}"/>
                  </a:ext>
                </a:extLst>
              </p:cNvPr>
              <p:cNvSpPr/>
              <p:nvPr/>
            </p:nvSpPr>
            <p:spPr>
              <a:xfrm>
                <a:off x="5419610" y="1603030"/>
                <a:ext cx="1352781" cy="1352780"/>
              </a:xfrm>
              <a:custGeom>
                <a:avLst/>
                <a:gdLst>
                  <a:gd name="connsiteX0" fmla="*/ 825501 w 1651002"/>
                  <a:gd name="connsiteY0" fmla="*/ 0 h 1651002"/>
                  <a:gd name="connsiteX1" fmla="*/ 1651002 w 1651002"/>
                  <a:gd name="connsiteY1" fmla="*/ 1651002 h 1651002"/>
                  <a:gd name="connsiteX2" fmla="*/ 0 w 1651002"/>
                  <a:gd name="connsiteY2" fmla="*/ 1651002 h 1651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51002" h="1651002">
                    <a:moveTo>
                      <a:pt x="825501" y="0"/>
                    </a:moveTo>
                    <a:lnTo>
                      <a:pt x="1651002" y="1651002"/>
                    </a:lnTo>
                    <a:lnTo>
                      <a:pt x="0" y="1651002"/>
                    </a:lnTo>
                    <a:close/>
                  </a:path>
                </a:pathLst>
              </a:custGeom>
              <a:solidFill>
                <a:schemeClr val="accent1"/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en-US" altLang="zh-CN" sz="1600" dirty="0"/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B571B06D-DEBF-4E1C-8343-5C4809816FC6}"/>
                  </a:ext>
                </a:extLst>
              </p:cNvPr>
              <p:cNvSpPr/>
              <p:nvPr/>
            </p:nvSpPr>
            <p:spPr>
              <a:xfrm>
                <a:off x="4743221" y="2955810"/>
                <a:ext cx="2705559" cy="1352780"/>
              </a:xfrm>
              <a:custGeom>
                <a:avLst/>
                <a:gdLst>
                  <a:gd name="connsiteX0" fmla="*/ 825500 w 3302003"/>
                  <a:gd name="connsiteY0" fmla="*/ 0 h 1651002"/>
                  <a:gd name="connsiteX1" fmla="*/ 2476502 w 3302003"/>
                  <a:gd name="connsiteY1" fmla="*/ 0 h 1651002"/>
                  <a:gd name="connsiteX2" fmla="*/ 3302003 w 3302003"/>
                  <a:gd name="connsiteY2" fmla="*/ 1651002 h 1651002"/>
                  <a:gd name="connsiteX3" fmla="*/ 0 w 3302003"/>
                  <a:gd name="connsiteY3" fmla="*/ 1651002 h 1651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02003" h="1651002">
                    <a:moveTo>
                      <a:pt x="825500" y="0"/>
                    </a:moveTo>
                    <a:lnTo>
                      <a:pt x="2476502" y="0"/>
                    </a:lnTo>
                    <a:lnTo>
                      <a:pt x="3302003" y="1651002"/>
                    </a:lnTo>
                    <a:lnTo>
                      <a:pt x="0" y="1651002"/>
                    </a:lnTo>
                    <a:close/>
                  </a:path>
                </a:pathLst>
              </a:custGeom>
              <a:solidFill>
                <a:schemeClr val="accent2"/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en-US" altLang="zh-CN" dirty="0"/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6BEC8ACA-FF52-4745-99A8-044B30729E2E}"/>
                  </a:ext>
                </a:extLst>
              </p:cNvPr>
              <p:cNvSpPr/>
              <p:nvPr/>
            </p:nvSpPr>
            <p:spPr>
              <a:xfrm>
                <a:off x="4066831" y="4308590"/>
                <a:ext cx="4058338" cy="1352780"/>
              </a:xfrm>
              <a:custGeom>
                <a:avLst/>
                <a:gdLst>
                  <a:gd name="connsiteX0" fmla="*/ 825501 w 4953004"/>
                  <a:gd name="connsiteY0" fmla="*/ 0 h 1651002"/>
                  <a:gd name="connsiteX1" fmla="*/ 4127504 w 4953004"/>
                  <a:gd name="connsiteY1" fmla="*/ 0 h 1651002"/>
                  <a:gd name="connsiteX2" fmla="*/ 4953004 w 4953004"/>
                  <a:gd name="connsiteY2" fmla="*/ 1651002 h 1651002"/>
                  <a:gd name="connsiteX3" fmla="*/ 0 w 4953004"/>
                  <a:gd name="connsiteY3" fmla="*/ 1651002 h 1651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53004" h="1651002">
                    <a:moveTo>
                      <a:pt x="825501" y="0"/>
                    </a:moveTo>
                    <a:lnTo>
                      <a:pt x="4127504" y="0"/>
                    </a:lnTo>
                    <a:lnTo>
                      <a:pt x="4953004" y="1651002"/>
                    </a:lnTo>
                    <a:lnTo>
                      <a:pt x="0" y="1651002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en-US" altLang="zh-CN" sz="2000" dirty="0"/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EE14E508-042C-4F15-8491-8A6DFCD1AFBD}"/>
                </a:ext>
              </a:extLst>
            </p:cNvPr>
            <p:cNvGrpSpPr/>
            <p:nvPr/>
          </p:nvGrpSpPr>
          <p:grpSpPr>
            <a:xfrm>
              <a:off x="5019642" y="1349375"/>
              <a:ext cx="3193773" cy="2851149"/>
              <a:chOff x="4066831" y="1603030"/>
              <a:chExt cx="4058338" cy="4058340"/>
            </a:xfrm>
          </p:grpSpPr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696FB9EA-37CC-4CA4-A3B5-D40BF9235F44}"/>
                  </a:ext>
                </a:extLst>
              </p:cNvPr>
              <p:cNvSpPr/>
              <p:nvPr/>
            </p:nvSpPr>
            <p:spPr>
              <a:xfrm>
                <a:off x="5419610" y="1603030"/>
                <a:ext cx="1352781" cy="1352780"/>
              </a:xfrm>
              <a:custGeom>
                <a:avLst/>
                <a:gdLst>
                  <a:gd name="connsiteX0" fmla="*/ 825501 w 1651002"/>
                  <a:gd name="connsiteY0" fmla="*/ 0 h 1651002"/>
                  <a:gd name="connsiteX1" fmla="*/ 1651002 w 1651002"/>
                  <a:gd name="connsiteY1" fmla="*/ 1651002 h 1651002"/>
                  <a:gd name="connsiteX2" fmla="*/ 0 w 1651002"/>
                  <a:gd name="connsiteY2" fmla="*/ 1651002 h 1651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51002" h="1651002">
                    <a:moveTo>
                      <a:pt x="825501" y="0"/>
                    </a:moveTo>
                    <a:lnTo>
                      <a:pt x="1651002" y="1651002"/>
                    </a:lnTo>
                    <a:lnTo>
                      <a:pt x="0" y="1651002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en-US" altLang="zh-CN" sz="1600" dirty="0"/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2E1B97A9-6AF0-4E49-8EAA-5B884B335558}"/>
                  </a:ext>
                </a:extLst>
              </p:cNvPr>
              <p:cNvSpPr/>
              <p:nvPr/>
            </p:nvSpPr>
            <p:spPr>
              <a:xfrm>
                <a:off x="4743221" y="2955810"/>
                <a:ext cx="2705559" cy="1352780"/>
              </a:xfrm>
              <a:custGeom>
                <a:avLst/>
                <a:gdLst>
                  <a:gd name="connsiteX0" fmla="*/ 825500 w 3302003"/>
                  <a:gd name="connsiteY0" fmla="*/ 0 h 1651002"/>
                  <a:gd name="connsiteX1" fmla="*/ 2476502 w 3302003"/>
                  <a:gd name="connsiteY1" fmla="*/ 0 h 1651002"/>
                  <a:gd name="connsiteX2" fmla="*/ 3302003 w 3302003"/>
                  <a:gd name="connsiteY2" fmla="*/ 1651002 h 1651002"/>
                  <a:gd name="connsiteX3" fmla="*/ 0 w 3302003"/>
                  <a:gd name="connsiteY3" fmla="*/ 1651002 h 1651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02003" h="1651002">
                    <a:moveTo>
                      <a:pt x="825500" y="0"/>
                    </a:moveTo>
                    <a:lnTo>
                      <a:pt x="2476502" y="0"/>
                    </a:lnTo>
                    <a:lnTo>
                      <a:pt x="3302003" y="1651002"/>
                    </a:lnTo>
                    <a:lnTo>
                      <a:pt x="0" y="1651002"/>
                    </a:lnTo>
                    <a:close/>
                  </a:path>
                </a:pathLst>
              </a:custGeom>
              <a:solidFill>
                <a:schemeClr val="accent2"/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en-US" altLang="zh-CN" dirty="0"/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16DFF0A7-1D6F-4466-B538-61F2F9F011D5}"/>
                  </a:ext>
                </a:extLst>
              </p:cNvPr>
              <p:cNvSpPr/>
              <p:nvPr/>
            </p:nvSpPr>
            <p:spPr>
              <a:xfrm>
                <a:off x="4066831" y="4308590"/>
                <a:ext cx="4058338" cy="1352780"/>
              </a:xfrm>
              <a:custGeom>
                <a:avLst/>
                <a:gdLst>
                  <a:gd name="connsiteX0" fmla="*/ 825501 w 4953004"/>
                  <a:gd name="connsiteY0" fmla="*/ 0 h 1651002"/>
                  <a:gd name="connsiteX1" fmla="*/ 4127504 w 4953004"/>
                  <a:gd name="connsiteY1" fmla="*/ 0 h 1651002"/>
                  <a:gd name="connsiteX2" fmla="*/ 4953004 w 4953004"/>
                  <a:gd name="connsiteY2" fmla="*/ 1651002 h 1651002"/>
                  <a:gd name="connsiteX3" fmla="*/ 0 w 4953004"/>
                  <a:gd name="connsiteY3" fmla="*/ 1651002 h 1651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53004" h="1651002">
                    <a:moveTo>
                      <a:pt x="825501" y="0"/>
                    </a:moveTo>
                    <a:lnTo>
                      <a:pt x="4127504" y="0"/>
                    </a:lnTo>
                    <a:lnTo>
                      <a:pt x="4953004" y="1651002"/>
                    </a:lnTo>
                    <a:lnTo>
                      <a:pt x="0" y="1651002"/>
                    </a:lnTo>
                    <a:close/>
                  </a:path>
                </a:pathLst>
              </a:custGeom>
              <a:solidFill>
                <a:schemeClr val="accent1"/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en-US" altLang="zh-CN" sz="1600" dirty="0"/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67723AD5-BF1C-466F-8884-46D5CF96571B}"/>
                </a:ext>
              </a:extLst>
            </p:cNvPr>
            <p:cNvGrpSpPr/>
            <p:nvPr/>
          </p:nvGrpSpPr>
          <p:grpSpPr>
            <a:xfrm>
              <a:off x="8325127" y="1349375"/>
              <a:ext cx="3193773" cy="2851149"/>
              <a:chOff x="4066831" y="1603030"/>
              <a:chExt cx="4058338" cy="4058340"/>
            </a:xfrm>
          </p:grpSpPr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284748FA-8223-4F60-8CF6-504E222FE5AA}"/>
                  </a:ext>
                </a:extLst>
              </p:cNvPr>
              <p:cNvSpPr/>
              <p:nvPr/>
            </p:nvSpPr>
            <p:spPr>
              <a:xfrm>
                <a:off x="5419610" y="1603030"/>
                <a:ext cx="1352781" cy="1352780"/>
              </a:xfrm>
              <a:custGeom>
                <a:avLst/>
                <a:gdLst>
                  <a:gd name="connsiteX0" fmla="*/ 825501 w 1651002"/>
                  <a:gd name="connsiteY0" fmla="*/ 0 h 1651002"/>
                  <a:gd name="connsiteX1" fmla="*/ 1651002 w 1651002"/>
                  <a:gd name="connsiteY1" fmla="*/ 1651002 h 1651002"/>
                  <a:gd name="connsiteX2" fmla="*/ 0 w 1651002"/>
                  <a:gd name="connsiteY2" fmla="*/ 1651002 h 1651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51002" h="1651002">
                    <a:moveTo>
                      <a:pt x="825501" y="0"/>
                    </a:moveTo>
                    <a:lnTo>
                      <a:pt x="1651002" y="1651002"/>
                    </a:lnTo>
                    <a:lnTo>
                      <a:pt x="0" y="1651002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en-US" altLang="zh-CN" sz="1600" dirty="0"/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C17C3A8A-7C00-436D-A058-6B8A432CA0DA}"/>
                  </a:ext>
                </a:extLst>
              </p:cNvPr>
              <p:cNvSpPr/>
              <p:nvPr/>
            </p:nvSpPr>
            <p:spPr>
              <a:xfrm>
                <a:off x="4743221" y="2955810"/>
                <a:ext cx="2705559" cy="1352780"/>
              </a:xfrm>
              <a:custGeom>
                <a:avLst/>
                <a:gdLst>
                  <a:gd name="connsiteX0" fmla="*/ 825500 w 3302003"/>
                  <a:gd name="connsiteY0" fmla="*/ 0 h 1651002"/>
                  <a:gd name="connsiteX1" fmla="*/ 2476502 w 3302003"/>
                  <a:gd name="connsiteY1" fmla="*/ 0 h 1651002"/>
                  <a:gd name="connsiteX2" fmla="*/ 3302003 w 3302003"/>
                  <a:gd name="connsiteY2" fmla="*/ 1651002 h 1651002"/>
                  <a:gd name="connsiteX3" fmla="*/ 0 w 3302003"/>
                  <a:gd name="connsiteY3" fmla="*/ 1651002 h 1651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02003" h="1651002">
                    <a:moveTo>
                      <a:pt x="825500" y="0"/>
                    </a:moveTo>
                    <a:lnTo>
                      <a:pt x="2476502" y="0"/>
                    </a:lnTo>
                    <a:lnTo>
                      <a:pt x="3302003" y="1651002"/>
                    </a:lnTo>
                    <a:lnTo>
                      <a:pt x="0" y="1651002"/>
                    </a:lnTo>
                    <a:close/>
                  </a:path>
                </a:pathLst>
              </a:custGeom>
              <a:solidFill>
                <a:schemeClr val="accent1"/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en-US" altLang="zh-CN" sz="1600" dirty="0"/>
              </a:p>
            </p:txBody>
          </p:sp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77671EC2-8109-4DFF-813A-A58ADBF99D49}"/>
                  </a:ext>
                </a:extLst>
              </p:cNvPr>
              <p:cNvSpPr/>
              <p:nvPr/>
            </p:nvSpPr>
            <p:spPr>
              <a:xfrm>
                <a:off x="4066831" y="4308590"/>
                <a:ext cx="4058338" cy="1352780"/>
              </a:xfrm>
              <a:custGeom>
                <a:avLst/>
                <a:gdLst>
                  <a:gd name="connsiteX0" fmla="*/ 825501 w 4953004"/>
                  <a:gd name="connsiteY0" fmla="*/ 0 h 1651002"/>
                  <a:gd name="connsiteX1" fmla="*/ 4127504 w 4953004"/>
                  <a:gd name="connsiteY1" fmla="*/ 0 h 1651002"/>
                  <a:gd name="connsiteX2" fmla="*/ 4953004 w 4953004"/>
                  <a:gd name="connsiteY2" fmla="*/ 1651002 h 1651002"/>
                  <a:gd name="connsiteX3" fmla="*/ 0 w 4953004"/>
                  <a:gd name="connsiteY3" fmla="*/ 1651002 h 1651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53004" h="1651002">
                    <a:moveTo>
                      <a:pt x="825501" y="0"/>
                    </a:moveTo>
                    <a:lnTo>
                      <a:pt x="4127504" y="0"/>
                    </a:lnTo>
                    <a:lnTo>
                      <a:pt x="4953004" y="1651002"/>
                    </a:lnTo>
                    <a:lnTo>
                      <a:pt x="0" y="1651002"/>
                    </a:lnTo>
                    <a:close/>
                  </a:path>
                </a:pathLst>
              </a:custGeom>
              <a:solidFill>
                <a:schemeClr val="accent2"/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en-US" altLang="zh-CN" dirty="0"/>
              </a:p>
            </p:txBody>
          </p:sp>
        </p:grp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8C7D7DC0-194C-4B06-A9CE-126E40AA5F36}"/>
                </a:ext>
              </a:extLst>
            </p:cNvPr>
            <p:cNvSpPr txBox="1"/>
            <p:nvPr/>
          </p:nvSpPr>
          <p:spPr>
            <a:xfrm>
              <a:off x="660400" y="3407032"/>
              <a:ext cx="1187450" cy="482085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/>
            <a:p>
              <a:pPr lvl="0" defTabSz="913765">
                <a:buSzPct val="25000"/>
                <a:defRPr/>
              </a:pPr>
              <a:r>
                <a:rPr lang="en-US" altLang="zh-CN" sz="1200"/>
                <a:t>20</a:t>
              </a:r>
              <a:r>
                <a:rPr lang="en-US" altLang="zh-CN" sz="100"/>
                <a:t> </a:t>
              </a:r>
              <a:r>
                <a:rPr lang="en-US" altLang="zh-CN" sz="1200"/>
                <a:t>16</a:t>
              </a:r>
              <a:endParaRPr lang="de-DE" altLang="zh-CN" sz="1200" dirty="0"/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35D4ED8F-8F7E-4F7F-981D-AF6D98D79DE2}"/>
                </a:ext>
              </a:extLst>
            </p:cNvPr>
            <p:cNvSpPr txBox="1"/>
            <p:nvPr/>
          </p:nvSpPr>
          <p:spPr>
            <a:xfrm>
              <a:off x="660400" y="2456649"/>
              <a:ext cx="1187450" cy="482085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/>
            <a:p>
              <a:pPr lvl="0" defTabSz="913765">
                <a:buSzPct val="25000"/>
                <a:defRPr/>
              </a:pPr>
              <a:r>
                <a:rPr lang="en-US" altLang="zh-CN" sz="1200"/>
                <a:t>20</a:t>
              </a:r>
              <a:r>
                <a:rPr lang="en-US" altLang="zh-CN" sz="100"/>
                <a:t> </a:t>
              </a:r>
              <a:r>
                <a:rPr lang="en-US" altLang="zh-CN" sz="1200"/>
                <a:t>17</a:t>
              </a:r>
              <a:endParaRPr lang="de-DE" altLang="zh-CN" sz="1200" dirty="0"/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E9E7F390-D717-43C1-8352-0E612584515F}"/>
                </a:ext>
              </a:extLst>
            </p:cNvPr>
            <p:cNvSpPr txBox="1"/>
            <p:nvPr/>
          </p:nvSpPr>
          <p:spPr>
            <a:xfrm>
              <a:off x="660400" y="1577818"/>
              <a:ext cx="1187450" cy="482085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/>
            <a:p>
              <a:pPr lvl="0" defTabSz="913765">
                <a:buSzPct val="25000"/>
                <a:defRPr/>
              </a:pPr>
              <a:r>
                <a:rPr lang="en-US" altLang="zh-CN" sz="1200"/>
                <a:t>20</a:t>
              </a:r>
              <a:r>
                <a:rPr lang="en-US" altLang="zh-CN" sz="100"/>
                <a:t> </a:t>
              </a:r>
              <a:r>
                <a:rPr lang="en-US" altLang="zh-CN" sz="1200"/>
                <a:t>18</a:t>
              </a:r>
              <a:endParaRPr lang="de-DE" altLang="zh-CN" sz="1200" dirty="0"/>
            </a:p>
          </p:txBody>
        </p: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3E0321BB-F96B-422A-8A98-DA6D5B1B51F2}"/>
                </a:ext>
              </a:extLst>
            </p:cNvPr>
            <p:cNvGrpSpPr/>
            <p:nvPr/>
          </p:nvGrpSpPr>
          <p:grpSpPr>
            <a:xfrm>
              <a:off x="2022479" y="4295672"/>
              <a:ext cx="2577126" cy="1371703"/>
              <a:chOff x="1966299" y="4076597"/>
              <a:chExt cx="2577126" cy="1371703"/>
            </a:xfrm>
          </p:grpSpPr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7D0FD09E-171B-4C53-B26A-B21AD5D38200}"/>
                  </a:ext>
                </a:extLst>
              </p:cNvPr>
              <p:cNvSpPr txBox="1"/>
              <p:nvPr/>
            </p:nvSpPr>
            <p:spPr>
              <a:xfrm>
                <a:off x="1966299" y="4076597"/>
                <a:ext cx="2577126" cy="4325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/>
                  <a:t>Text 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here</a:t>
                </a:r>
                <a:endParaRPr lang="id-ID" sz="1600" b="1" dirty="0"/>
              </a:p>
            </p:txBody>
          </p:sp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35D7BA79-1D80-4E6F-9336-336EC77FB5CF}"/>
                  </a:ext>
                </a:extLst>
              </p:cNvPr>
              <p:cNvSpPr/>
              <p:nvPr/>
            </p:nvSpPr>
            <p:spPr bwMode="auto">
              <a:xfrm>
                <a:off x="1966299" y="4509120"/>
                <a:ext cx="2577126" cy="9391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</a:t>
                </a:r>
                <a:r>
                  <a:rPr lang="en-US" altLang="zh-CN" sz="1100"/>
                  <a:t>only 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option </a:t>
                </a:r>
                <a:r>
                  <a:rPr lang="en-US" altLang="zh-CN" sz="1100" dirty="0"/>
                  <a:t>to retain </a:t>
                </a:r>
                <a:r>
                  <a:rPr lang="en-US" altLang="zh-CN" sz="1100"/>
                  <a:t>text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/>
                  <a:t>… …</a:t>
                </a:r>
                <a:endParaRPr lang="en-US" altLang="zh-CN" sz="1100" dirty="0"/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C15622F9-D645-44B1-B16C-5CBD4B45009E}"/>
                </a:ext>
              </a:extLst>
            </p:cNvPr>
            <p:cNvGrpSpPr/>
            <p:nvPr/>
          </p:nvGrpSpPr>
          <p:grpSpPr>
            <a:xfrm>
              <a:off x="5327965" y="4295672"/>
              <a:ext cx="2577126" cy="1371703"/>
              <a:chOff x="1966299" y="4076597"/>
              <a:chExt cx="2577126" cy="1371703"/>
            </a:xfrm>
          </p:grpSpPr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1FB4EFAD-34D1-41F4-A70C-2B4F9B9E140B}"/>
                  </a:ext>
                </a:extLst>
              </p:cNvPr>
              <p:cNvSpPr txBox="1"/>
              <p:nvPr/>
            </p:nvSpPr>
            <p:spPr>
              <a:xfrm>
                <a:off x="1966299" y="4076597"/>
                <a:ext cx="2577126" cy="4325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/>
                  <a:t>Text 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here</a:t>
                </a:r>
                <a:endParaRPr lang="id-ID" sz="1600" b="1" dirty="0"/>
              </a:p>
            </p:txBody>
          </p:sp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D0823610-357F-45CD-B883-8BB000A586AC}"/>
                  </a:ext>
                </a:extLst>
              </p:cNvPr>
              <p:cNvSpPr/>
              <p:nvPr/>
            </p:nvSpPr>
            <p:spPr bwMode="auto">
              <a:xfrm>
                <a:off x="1966299" y="4509120"/>
                <a:ext cx="2577126" cy="9391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</a:t>
                </a:r>
                <a:r>
                  <a:rPr lang="en-US" altLang="zh-CN" sz="1100"/>
                  <a:t>only 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option </a:t>
                </a:r>
                <a:r>
                  <a:rPr lang="en-US" altLang="zh-CN" sz="1100" dirty="0"/>
                  <a:t>to retain </a:t>
                </a:r>
                <a:r>
                  <a:rPr lang="en-US" altLang="zh-CN" sz="1100"/>
                  <a:t>text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/>
                  <a:t>… …</a:t>
                </a:r>
                <a:endParaRPr lang="en-US" altLang="zh-CN" sz="1100" dirty="0"/>
              </a:p>
            </p:txBody>
          </p: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CCC012C5-0697-402C-9F05-4DE8B6445397}"/>
                </a:ext>
              </a:extLst>
            </p:cNvPr>
            <p:cNvGrpSpPr/>
            <p:nvPr/>
          </p:nvGrpSpPr>
          <p:grpSpPr>
            <a:xfrm>
              <a:off x="8633451" y="4295672"/>
              <a:ext cx="2577126" cy="1371703"/>
              <a:chOff x="1966299" y="4076597"/>
              <a:chExt cx="2577126" cy="1371703"/>
            </a:xfrm>
          </p:grpSpPr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799AB007-ADAA-4810-83C0-C1DF7C9945F7}"/>
                  </a:ext>
                </a:extLst>
              </p:cNvPr>
              <p:cNvSpPr txBox="1"/>
              <p:nvPr/>
            </p:nvSpPr>
            <p:spPr>
              <a:xfrm>
                <a:off x="1966299" y="4076597"/>
                <a:ext cx="2577126" cy="4325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/>
                  <a:t>Text </a:t>
                </a:r>
                <a:r>
                  <a:rPr lang="en-US" altLang="zh-CN" sz="100" b="1"/>
                  <a:t> </a:t>
                </a:r>
                <a:r>
                  <a:rPr lang="en-US" altLang="zh-CN" sz="1600" b="1"/>
                  <a:t>here</a:t>
                </a:r>
                <a:endParaRPr lang="id-ID" sz="1600" b="1" dirty="0"/>
              </a:p>
            </p:txBody>
          </p: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43B78EDA-548B-44AF-97FE-B4761A7A44E3}"/>
                  </a:ext>
                </a:extLst>
              </p:cNvPr>
              <p:cNvSpPr/>
              <p:nvPr/>
            </p:nvSpPr>
            <p:spPr bwMode="auto">
              <a:xfrm>
                <a:off x="1966299" y="4509120"/>
                <a:ext cx="2577126" cy="9391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</a:t>
                </a:r>
                <a:r>
                  <a:rPr lang="en-US" altLang="zh-CN" sz="1100"/>
                  <a:t>only 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option </a:t>
                </a:r>
                <a:r>
                  <a:rPr lang="en-US" altLang="zh-CN" sz="1100" dirty="0"/>
                  <a:t>to retain </a:t>
                </a:r>
                <a:r>
                  <a:rPr lang="en-US" altLang="zh-CN" sz="1100"/>
                  <a:t>text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/>
                  <a:t>… …</a:t>
                </a:r>
                <a:endParaRPr lang="en-US" altLang="zh-CN" sz="1100" dirty="0"/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3B050E51-404F-4F8D-8D0B-69FCBA16DF2E}"/>
                </a:ext>
              </a:extLst>
            </p:cNvPr>
            <p:cNvGrpSpPr/>
            <p:nvPr/>
          </p:nvGrpSpPr>
          <p:grpSpPr>
            <a:xfrm>
              <a:off x="4054475" y="5848351"/>
              <a:ext cx="1320800" cy="290514"/>
              <a:chOff x="660400" y="5360194"/>
              <a:chExt cx="1320800" cy="290514"/>
            </a:xfrm>
          </p:grpSpPr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A6E7B06D-2B65-4D10-B588-20F08737C40D}"/>
                  </a:ext>
                </a:extLst>
              </p:cNvPr>
              <p:cNvSpPr/>
              <p:nvPr/>
            </p:nvSpPr>
            <p:spPr>
              <a:xfrm>
                <a:off x="660400" y="5431631"/>
                <a:ext cx="147638" cy="147638"/>
              </a:xfrm>
              <a:prstGeom prst="rect">
                <a:avLst/>
              </a:pr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4101AE5E-4485-41D9-B842-0A825CB39583}"/>
                  </a:ext>
                </a:extLst>
              </p:cNvPr>
              <p:cNvSpPr txBox="1"/>
              <p:nvPr/>
            </p:nvSpPr>
            <p:spPr>
              <a:xfrm>
                <a:off x="793750" y="5360194"/>
                <a:ext cx="1187450" cy="29051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lvl="0" defTabSz="913765">
                  <a:buSzPct val="25000"/>
                  <a:defRPr/>
                </a:pPr>
                <a:r>
                  <a:rPr lang="en-US" altLang="zh-CN" sz="1200"/>
                  <a:t>Te</a:t>
                </a:r>
                <a:r>
                  <a:rPr lang="en-US" altLang="zh-CN" sz="100"/>
                  <a:t> </a:t>
                </a:r>
                <a:r>
                  <a:rPr lang="en-US" altLang="zh-CN" sz="1200"/>
                  <a:t>xt</a:t>
                </a: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F642509B-E14B-4A6C-8F5A-62E11F59CA0C}"/>
                </a:ext>
              </a:extLst>
            </p:cNvPr>
            <p:cNvGrpSpPr/>
            <p:nvPr/>
          </p:nvGrpSpPr>
          <p:grpSpPr>
            <a:xfrm>
              <a:off x="5435600" y="5848351"/>
              <a:ext cx="1320800" cy="290514"/>
              <a:chOff x="660400" y="5360194"/>
              <a:chExt cx="1320800" cy="290514"/>
            </a:xfrm>
          </p:grpSpPr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FCE92337-789B-423C-AEC7-30C7F0824258}"/>
                  </a:ext>
                </a:extLst>
              </p:cNvPr>
              <p:cNvSpPr/>
              <p:nvPr/>
            </p:nvSpPr>
            <p:spPr>
              <a:xfrm>
                <a:off x="660400" y="5431631"/>
                <a:ext cx="147638" cy="147638"/>
              </a:xfrm>
              <a:prstGeom prst="rect">
                <a:avLst/>
              </a:prstGeom>
              <a:solidFill>
                <a:schemeClr val="accent2"/>
              </a:solidFill>
              <a:ln w="285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pPr algn="ctr" defTabSz="914354"/>
                <a:endParaRPr lang="zh-CN" altLang="en-US" dirty="0"/>
              </a:p>
            </p:txBody>
          </p:sp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F7AFEE39-773A-4724-BD30-3A583D9E80E7}"/>
                  </a:ext>
                </a:extLst>
              </p:cNvPr>
              <p:cNvSpPr txBox="1"/>
              <p:nvPr/>
            </p:nvSpPr>
            <p:spPr>
              <a:xfrm>
                <a:off x="793750" y="5360194"/>
                <a:ext cx="1187450" cy="29051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lvl="0" defTabSz="913765">
                  <a:buSzPct val="25000"/>
                  <a:defRPr/>
                </a:pPr>
                <a:r>
                  <a:rPr lang="en-US" altLang="zh-CN" sz="1200"/>
                  <a:t>Te</a:t>
                </a:r>
                <a:r>
                  <a:rPr lang="en-US" altLang="zh-CN" sz="100"/>
                  <a:t> </a:t>
                </a:r>
                <a:r>
                  <a:rPr lang="en-US" altLang="zh-CN" sz="1200"/>
                  <a:t>xt</a:t>
                </a:r>
              </a:p>
            </p:txBody>
          </p: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835D26DE-BB19-4267-8AE4-847E079AC91E}"/>
                </a:ext>
              </a:extLst>
            </p:cNvPr>
            <p:cNvGrpSpPr/>
            <p:nvPr/>
          </p:nvGrpSpPr>
          <p:grpSpPr>
            <a:xfrm>
              <a:off x="6816725" y="5848351"/>
              <a:ext cx="1320800" cy="290514"/>
              <a:chOff x="660400" y="5360194"/>
              <a:chExt cx="1320800" cy="290514"/>
            </a:xfrm>
          </p:grpSpPr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33DFD14E-FAFD-4C9E-8A20-E38BB3FAFF99}"/>
                  </a:ext>
                </a:extLst>
              </p:cNvPr>
              <p:cNvSpPr/>
              <p:nvPr/>
            </p:nvSpPr>
            <p:spPr>
              <a:xfrm>
                <a:off x="660400" y="5431631"/>
                <a:ext cx="147638" cy="1476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285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pPr algn="ctr" defTabSz="914354"/>
                <a:endParaRPr lang="zh-CN" altLang="en-US" dirty="0"/>
              </a:p>
            </p:txBody>
          </p:sp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0D1CF927-BC2C-4DD0-837E-26EADEA55D87}"/>
                  </a:ext>
                </a:extLst>
              </p:cNvPr>
              <p:cNvSpPr txBox="1"/>
              <p:nvPr/>
            </p:nvSpPr>
            <p:spPr>
              <a:xfrm>
                <a:off x="793750" y="5360194"/>
                <a:ext cx="1187450" cy="29051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lvl="0" defTabSz="913765">
                  <a:buSzPct val="25000"/>
                  <a:defRPr/>
                </a:pPr>
                <a:r>
                  <a:rPr lang="en-US" altLang="zh-CN" sz="1200"/>
                  <a:t>Te</a:t>
                </a:r>
                <a:r>
                  <a:rPr lang="en-US" altLang="zh-CN" sz="100"/>
                  <a:t> </a:t>
                </a:r>
                <a:r>
                  <a:rPr lang="en-US" altLang="zh-CN" sz="1200"/>
                  <a:t>xt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29105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社区防控工作的通知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047991" y="311664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01299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社区防控工作的通知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130299"/>
            <a:ext cx="10858500" cy="4203012"/>
            <a:chOff x="660400" y="1130299"/>
            <a:chExt cx="10858500" cy="4203012"/>
          </a:xfrm>
        </p:grpSpPr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F6C0B8BD-8162-4FCA-B7AC-235FD87189C5}"/>
                </a:ext>
              </a:extLst>
            </p:cNvPr>
            <p:cNvSpPr txBox="1"/>
            <p:nvPr/>
          </p:nvSpPr>
          <p:spPr>
            <a:xfrm>
              <a:off x="660400" y="1130299"/>
              <a:ext cx="10858500" cy="93697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buSzPct val="25000"/>
              </a:pPr>
              <a:r>
                <a:rPr lang="en-US" sz="2400" b="1" dirty="0"/>
                <a:t>Unified fonts make </a:t>
              </a:r>
              <a:r>
                <a:rPr lang="en-US" sz="2400" b="1"/>
                <a:t>reading mor</a:t>
              </a:r>
              <a:r>
                <a:rPr lang="en-US" sz="100" b="1"/>
                <a:t> </a:t>
              </a:r>
              <a:r>
                <a:rPr lang="en-US" sz="2400" b="1"/>
                <a:t>e </a:t>
              </a:r>
              <a:r>
                <a:rPr lang="en-US" sz="2400" b="1" dirty="0"/>
                <a:t>fluent.</a:t>
              </a: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3735805" y="3015130"/>
              <a:ext cx="4707689" cy="2220258"/>
              <a:chOff x="3735805" y="2522071"/>
              <a:chExt cx="4707689" cy="2220258"/>
            </a:xfrm>
          </p:grpSpPr>
          <p:sp>
            <p:nvSpPr>
              <p:cNvPr id="16" name="椭圆 15"/>
              <p:cNvSpPr/>
              <p:nvPr/>
            </p:nvSpPr>
            <p:spPr>
              <a:xfrm>
                <a:off x="5829259" y="2522071"/>
                <a:ext cx="2220258" cy="2220258"/>
              </a:xfrm>
              <a:prstGeom prst="ellipse">
                <a:avLst/>
              </a:prstGeom>
              <a:solidFill>
                <a:schemeClr val="bg1">
                  <a:lumMod val="85000"/>
                  <a:alpha val="70000"/>
                </a:schemeClr>
              </a:solidFill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sz="2000">
                    <a:solidFill>
                      <a:schemeClr val="tx1"/>
                    </a:solidFill>
                  </a:rPr>
                  <a:t>…Te</a:t>
                </a:r>
                <a:r>
                  <a:rPr lang="en-US" altLang="zh-CN" sz="100">
                    <a:solidFill>
                      <a:schemeClr val="tx1"/>
                    </a:solidFill>
                  </a:rPr>
                  <a:t> </a:t>
                </a:r>
                <a:r>
                  <a:rPr lang="en-US" altLang="zh-CN" sz="2000">
                    <a:solidFill>
                      <a:schemeClr val="tx1"/>
                    </a:solidFill>
                  </a:rPr>
                  <a:t>xt</a:t>
                </a:r>
                <a:endParaRPr lang="zh-CN" altLang="en-US" sz="2000" b="1" i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椭圆 16"/>
              <p:cNvSpPr/>
              <p:nvPr/>
            </p:nvSpPr>
            <p:spPr>
              <a:xfrm>
                <a:off x="4129782" y="2522071"/>
                <a:ext cx="2220258" cy="2220258"/>
              </a:xfrm>
              <a:prstGeom prst="ellipse">
                <a:avLst/>
              </a:prstGeom>
              <a:solidFill>
                <a:schemeClr val="bg1">
                  <a:lumMod val="85000"/>
                  <a:alpha val="70000"/>
                </a:schemeClr>
              </a:solidFill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sz="2000">
                    <a:solidFill>
                      <a:schemeClr val="tx1"/>
                    </a:solidFill>
                  </a:rPr>
                  <a:t>…Te</a:t>
                </a:r>
                <a:r>
                  <a:rPr lang="en-US" altLang="zh-CN" sz="100">
                    <a:solidFill>
                      <a:schemeClr val="tx1"/>
                    </a:solidFill>
                  </a:rPr>
                  <a:t> </a:t>
                </a:r>
                <a:r>
                  <a:rPr lang="en-US" altLang="zh-CN" sz="2000">
                    <a:solidFill>
                      <a:schemeClr val="tx1"/>
                    </a:solidFill>
                  </a:rPr>
                  <a:t>xt</a:t>
                </a:r>
                <a:endParaRPr lang="zh-CN" altLang="en-US" sz="2000" b="1" i="1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" name="组合 17"/>
              <p:cNvGrpSpPr/>
              <p:nvPr/>
            </p:nvGrpSpPr>
            <p:grpSpPr>
              <a:xfrm>
                <a:off x="3735805" y="3238223"/>
                <a:ext cx="787954" cy="787954"/>
                <a:chOff x="3735805" y="3238223"/>
                <a:chExt cx="787954" cy="787954"/>
              </a:xfrm>
            </p:grpSpPr>
            <p:sp>
              <p:nvSpPr>
                <p:cNvPr id="22" name="椭圆 21"/>
                <p:cNvSpPr/>
                <p:nvPr/>
              </p:nvSpPr>
              <p:spPr>
                <a:xfrm>
                  <a:off x="3735805" y="3238223"/>
                  <a:ext cx="787954" cy="787954"/>
                </a:xfrm>
                <a:prstGeom prst="ellipse">
                  <a:avLst/>
                </a:prstGeom>
                <a:solidFill>
                  <a:schemeClr val="accent1"/>
                </a:solidFill>
                <a:ln w="28575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3" name="任意多边形: 形状 22"/>
                <p:cNvSpPr/>
                <p:nvPr/>
              </p:nvSpPr>
              <p:spPr>
                <a:xfrm>
                  <a:off x="3968203" y="3463054"/>
                  <a:ext cx="323156" cy="338292"/>
                </a:xfrm>
                <a:custGeom>
                  <a:avLst/>
                  <a:gdLst>
                    <a:gd name="T0" fmla="*/ 4199 w 4494"/>
                    <a:gd name="T1" fmla="*/ 3838 h 4712"/>
                    <a:gd name="T2" fmla="*/ 3932 w 4494"/>
                    <a:gd name="T3" fmla="*/ 2881 h 4712"/>
                    <a:gd name="T4" fmla="*/ 2447 w 4494"/>
                    <a:gd name="T5" fmla="*/ 2438 h 4712"/>
                    <a:gd name="T6" fmla="*/ 3263 w 4494"/>
                    <a:gd name="T7" fmla="*/ 2440 h 4712"/>
                    <a:gd name="T8" fmla="*/ 3263 w 4494"/>
                    <a:gd name="T9" fmla="*/ 897 h 4712"/>
                    <a:gd name="T10" fmla="*/ 2194 w 4494"/>
                    <a:gd name="T11" fmla="*/ 0 h 4712"/>
                    <a:gd name="T12" fmla="*/ 460 w 4494"/>
                    <a:gd name="T13" fmla="*/ 1619 h 4712"/>
                    <a:gd name="T14" fmla="*/ 2047 w 4494"/>
                    <a:gd name="T15" fmla="*/ 2438 h 4712"/>
                    <a:gd name="T16" fmla="*/ 562 w 4494"/>
                    <a:gd name="T17" fmla="*/ 2881 h 4712"/>
                    <a:gd name="T18" fmla="*/ 296 w 4494"/>
                    <a:gd name="T19" fmla="*/ 3838 h 4712"/>
                    <a:gd name="T20" fmla="*/ 0 w 4494"/>
                    <a:gd name="T21" fmla="*/ 3971 h 4712"/>
                    <a:gd name="T22" fmla="*/ 134 w 4494"/>
                    <a:gd name="T23" fmla="*/ 4712 h 4712"/>
                    <a:gd name="T24" fmla="*/ 991 w 4494"/>
                    <a:gd name="T25" fmla="*/ 4579 h 4712"/>
                    <a:gd name="T26" fmla="*/ 858 w 4494"/>
                    <a:gd name="T27" fmla="*/ 3838 h 4712"/>
                    <a:gd name="T28" fmla="*/ 696 w 4494"/>
                    <a:gd name="T29" fmla="*/ 3281 h 4712"/>
                    <a:gd name="T30" fmla="*/ 2047 w 4494"/>
                    <a:gd name="T31" fmla="*/ 3838 h 4712"/>
                    <a:gd name="T32" fmla="*/ 1752 w 4494"/>
                    <a:gd name="T33" fmla="*/ 3971 h 4712"/>
                    <a:gd name="T34" fmla="*/ 1885 w 4494"/>
                    <a:gd name="T35" fmla="*/ 4712 h 4712"/>
                    <a:gd name="T36" fmla="*/ 2742 w 4494"/>
                    <a:gd name="T37" fmla="*/ 4579 h 4712"/>
                    <a:gd name="T38" fmla="*/ 2609 w 4494"/>
                    <a:gd name="T39" fmla="*/ 3838 h 4712"/>
                    <a:gd name="T40" fmla="*/ 2447 w 4494"/>
                    <a:gd name="T41" fmla="*/ 3281 h 4712"/>
                    <a:gd name="T42" fmla="*/ 3799 w 4494"/>
                    <a:gd name="T43" fmla="*/ 3838 h 4712"/>
                    <a:gd name="T44" fmla="*/ 3503 w 4494"/>
                    <a:gd name="T45" fmla="*/ 3971 h 4712"/>
                    <a:gd name="T46" fmla="*/ 3637 w 4494"/>
                    <a:gd name="T47" fmla="*/ 4712 h 4712"/>
                    <a:gd name="T48" fmla="*/ 4494 w 4494"/>
                    <a:gd name="T49" fmla="*/ 4579 h 4712"/>
                    <a:gd name="T50" fmla="*/ 4360 w 4494"/>
                    <a:gd name="T51" fmla="*/ 3838 h 4712"/>
                    <a:gd name="T52" fmla="*/ 1278 w 4494"/>
                    <a:gd name="T53" fmla="*/ 1201 h 4712"/>
                    <a:gd name="T54" fmla="*/ 1288 w 4494"/>
                    <a:gd name="T55" fmla="*/ 1201 h 4712"/>
                    <a:gd name="T56" fmla="*/ 1311 w 4494"/>
                    <a:gd name="T57" fmla="*/ 1202 h 4712"/>
                    <a:gd name="T58" fmla="*/ 2194 w 4494"/>
                    <a:gd name="T59" fmla="*/ 400 h 4712"/>
                    <a:gd name="T60" fmla="*/ 2858 w 4494"/>
                    <a:gd name="T61" fmla="*/ 1073 h 4712"/>
                    <a:gd name="T62" fmla="*/ 2915 w 4494"/>
                    <a:gd name="T63" fmla="*/ 1252 h 4712"/>
                    <a:gd name="T64" fmla="*/ 3148 w 4494"/>
                    <a:gd name="T65" fmla="*/ 1315 h 4712"/>
                    <a:gd name="T66" fmla="*/ 3634 w 4494"/>
                    <a:gd name="T67" fmla="*/ 1668 h 4712"/>
                    <a:gd name="T68" fmla="*/ 2832 w 4494"/>
                    <a:gd name="T69" fmla="*/ 2039 h 4712"/>
                    <a:gd name="T70" fmla="*/ 1278 w 4494"/>
                    <a:gd name="T71" fmla="*/ 2038 h 47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494" h="4712">
                      <a:moveTo>
                        <a:pt x="4360" y="3838"/>
                      </a:moveTo>
                      <a:lnTo>
                        <a:pt x="4199" y="3838"/>
                      </a:lnTo>
                      <a:lnTo>
                        <a:pt x="4199" y="3148"/>
                      </a:lnTo>
                      <a:cubicBezTo>
                        <a:pt x="4199" y="3001"/>
                        <a:pt x="4079" y="2881"/>
                        <a:pt x="3932" y="2881"/>
                      </a:cubicBezTo>
                      <a:lnTo>
                        <a:pt x="2447" y="2881"/>
                      </a:lnTo>
                      <a:lnTo>
                        <a:pt x="2447" y="2438"/>
                      </a:lnTo>
                      <a:cubicBezTo>
                        <a:pt x="2520" y="2438"/>
                        <a:pt x="2675" y="2438"/>
                        <a:pt x="2831" y="2439"/>
                      </a:cubicBezTo>
                      <a:cubicBezTo>
                        <a:pt x="3043" y="2439"/>
                        <a:pt x="3256" y="2440"/>
                        <a:pt x="3263" y="2440"/>
                      </a:cubicBezTo>
                      <a:cubicBezTo>
                        <a:pt x="3688" y="2440"/>
                        <a:pt x="4034" y="2094"/>
                        <a:pt x="4034" y="1668"/>
                      </a:cubicBezTo>
                      <a:cubicBezTo>
                        <a:pt x="4034" y="1243"/>
                        <a:pt x="3688" y="897"/>
                        <a:pt x="3263" y="897"/>
                      </a:cubicBezTo>
                      <a:cubicBezTo>
                        <a:pt x="3257" y="897"/>
                        <a:pt x="3251" y="897"/>
                        <a:pt x="3245" y="897"/>
                      </a:cubicBezTo>
                      <a:cubicBezTo>
                        <a:pt x="3165" y="389"/>
                        <a:pt x="2724" y="0"/>
                        <a:pt x="2194" y="0"/>
                      </a:cubicBezTo>
                      <a:cubicBezTo>
                        <a:pt x="1698" y="0"/>
                        <a:pt x="1276" y="339"/>
                        <a:pt x="1161" y="809"/>
                      </a:cubicBezTo>
                      <a:cubicBezTo>
                        <a:pt x="765" y="866"/>
                        <a:pt x="460" y="1208"/>
                        <a:pt x="460" y="1619"/>
                      </a:cubicBezTo>
                      <a:cubicBezTo>
                        <a:pt x="460" y="2071"/>
                        <a:pt x="827" y="2438"/>
                        <a:pt x="1278" y="2438"/>
                      </a:cubicBezTo>
                      <a:lnTo>
                        <a:pt x="2047" y="2438"/>
                      </a:lnTo>
                      <a:lnTo>
                        <a:pt x="2047" y="2881"/>
                      </a:lnTo>
                      <a:lnTo>
                        <a:pt x="562" y="2881"/>
                      </a:lnTo>
                      <a:cubicBezTo>
                        <a:pt x="415" y="2881"/>
                        <a:pt x="296" y="3001"/>
                        <a:pt x="296" y="3148"/>
                      </a:cubicBezTo>
                      <a:lnTo>
                        <a:pt x="296" y="3838"/>
                      </a:lnTo>
                      <a:lnTo>
                        <a:pt x="134" y="3838"/>
                      </a:lnTo>
                      <a:cubicBezTo>
                        <a:pt x="60" y="3838"/>
                        <a:pt x="0" y="3897"/>
                        <a:pt x="0" y="3971"/>
                      </a:cubicBezTo>
                      <a:lnTo>
                        <a:pt x="0" y="4579"/>
                      </a:lnTo>
                      <a:cubicBezTo>
                        <a:pt x="0" y="4652"/>
                        <a:pt x="60" y="4712"/>
                        <a:pt x="134" y="4712"/>
                      </a:cubicBezTo>
                      <a:lnTo>
                        <a:pt x="858" y="4712"/>
                      </a:lnTo>
                      <a:cubicBezTo>
                        <a:pt x="931" y="4712"/>
                        <a:pt x="991" y="4652"/>
                        <a:pt x="991" y="4579"/>
                      </a:cubicBezTo>
                      <a:lnTo>
                        <a:pt x="991" y="3971"/>
                      </a:lnTo>
                      <a:cubicBezTo>
                        <a:pt x="991" y="3897"/>
                        <a:pt x="931" y="3838"/>
                        <a:pt x="858" y="3838"/>
                      </a:cubicBezTo>
                      <a:lnTo>
                        <a:pt x="696" y="3838"/>
                      </a:lnTo>
                      <a:lnTo>
                        <a:pt x="696" y="3281"/>
                      </a:lnTo>
                      <a:lnTo>
                        <a:pt x="2047" y="3281"/>
                      </a:lnTo>
                      <a:lnTo>
                        <a:pt x="2047" y="3838"/>
                      </a:lnTo>
                      <a:lnTo>
                        <a:pt x="1885" y="3838"/>
                      </a:lnTo>
                      <a:cubicBezTo>
                        <a:pt x="1812" y="3838"/>
                        <a:pt x="1752" y="3897"/>
                        <a:pt x="1752" y="3971"/>
                      </a:cubicBezTo>
                      <a:lnTo>
                        <a:pt x="1752" y="4579"/>
                      </a:lnTo>
                      <a:cubicBezTo>
                        <a:pt x="1752" y="4652"/>
                        <a:pt x="1812" y="4712"/>
                        <a:pt x="1885" y="4712"/>
                      </a:cubicBezTo>
                      <a:lnTo>
                        <a:pt x="2609" y="4712"/>
                      </a:lnTo>
                      <a:cubicBezTo>
                        <a:pt x="2682" y="4712"/>
                        <a:pt x="2742" y="4652"/>
                        <a:pt x="2742" y="4579"/>
                      </a:cubicBezTo>
                      <a:lnTo>
                        <a:pt x="2742" y="3971"/>
                      </a:lnTo>
                      <a:cubicBezTo>
                        <a:pt x="2742" y="3897"/>
                        <a:pt x="2682" y="3838"/>
                        <a:pt x="2609" y="3838"/>
                      </a:cubicBezTo>
                      <a:lnTo>
                        <a:pt x="2447" y="3838"/>
                      </a:lnTo>
                      <a:lnTo>
                        <a:pt x="2447" y="3281"/>
                      </a:lnTo>
                      <a:lnTo>
                        <a:pt x="3799" y="3281"/>
                      </a:lnTo>
                      <a:lnTo>
                        <a:pt x="3799" y="3838"/>
                      </a:lnTo>
                      <a:lnTo>
                        <a:pt x="3637" y="3838"/>
                      </a:lnTo>
                      <a:cubicBezTo>
                        <a:pt x="3563" y="3838"/>
                        <a:pt x="3503" y="3897"/>
                        <a:pt x="3503" y="3971"/>
                      </a:cubicBezTo>
                      <a:lnTo>
                        <a:pt x="3503" y="4579"/>
                      </a:lnTo>
                      <a:cubicBezTo>
                        <a:pt x="3503" y="4652"/>
                        <a:pt x="3563" y="4712"/>
                        <a:pt x="3637" y="4712"/>
                      </a:cubicBezTo>
                      <a:lnTo>
                        <a:pt x="4360" y="4712"/>
                      </a:lnTo>
                      <a:cubicBezTo>
                        <a:pt x="4434" y="4712"/>
                        <a:pt x="4494" y="4652"/>
                        <a:pt x="4494" y="4579"/>
                      </a:cubicBezTo>
                      <a:lnTo>
                        <a:pt x="4494" y="3971"/>
                      </a:lnTo>
                      <a:cubicBezTo>
                        <a:pt x="4494" y="3897"/>
                        <a:pt x="4434" y="3838"/>
                        <a:pt x="4360" y="3838"/>
                      </a:cubicBezTo>
                      <a:close/>
                      <a:moveTo>
                        <a:pt x="860" y="1619"/>
                      </a:moveTo>
                      <a:cubicBezTo>
                        <a:pt x="860" y="1389"/>
                        <a:pt x="1048" y="1201"/>
                        <a:pt x="1278" y="1201"/>
                      </a:cubicBezTo>
                      <a:lnTo>
                        <a:pt x="1283" y="1201"/>
                      </a:lnTo>
                      <a:cubicBezTo>
                        <a:pt x="1284" y="1201"/>
                        <a:pt x="1286" y="1201"/>
                        <a:pt x="1288" y="1201"/>
                      </a:cubicBezTo>
                      <a:cubicBezTo>
                        <a:pt x="1288" y="1201"/>
                        <a:pt x="1289" y="1201"/>
                        <a:pt x="1290" y="1201"/>
                      </a:cubicBezTo>
                      <a:cubicBezTo>
                        <a:pt x="1297" y="1202"/>
                        <a:pt x="1304" y="1202"/>
                        <a:pt x="1311" y="1202"/>
                      </a:cubicBezTo>
                      <a:cubicBezTo>
                        <a:pt x="1408" y="1202"/>
                        <a:pt x="1519" y="1136"/>
                        <a:pt x="1534" y="992"/>
                      </a:cubicBezTo>
                      <a:cubicBezTo>
                        <a:pt x="1571" y="654"/>
                        <a:pt x="1854" y="400"/>
                        <a:pt x="2194" y="400"/>
                      </a:cubicBezTo>
                      <a:cubicBezTo>
                        <a:pt x="2560" y="400"/>
                        <a:pt x="2858" y="698"/>
                        <a:pt x="2858" y="1064"/>
                      </a:cubicBezTo>
                      <a:lnTo>
                        <a:pt x="2858" y="1073"/>
                      </a:lnTo>
                      <a:cubicBezTo>
                        <a:pt x="2858" y="1074"/>
                        <a:pt x="2858" y="1076"/>
                        <a:pt x="2858" y="1078"/>
                      </a:cubicBezTo>
                      <a:cubicBezTo>
                        <a:pt x="2853" y="1144"/>
                        <a:pt x="2873" y="1205"/>
                        <a:pt x="2915" y="1252"/>
                      </a:cubicBezTo>
                      <a:cubicBezTo>
                        <a:pt x="2957" y="1299"/>
                        <a:pt x="3017" y="1325"/>
                        <a:pt x="3080" y="1325"/>
                      </a:cubicBezTo>
                      <a:cubicBezTo>
                        <a:pt x="3103" y="1325"/>
                        <a:pt x="3126" y="1322"/>
                        <a:pt x="3148" y="1315"/>
                      </a:cubicBezTo>
                      <a:cubicBezTo>
                        <a:pt x="3185" y="1303"/>
                        <a:pt x="3224" y="1297"/>
                        <a:pt x="3263" y="1297"/>
                      </a:cubicBezTo>
                      <a:cubicBezTo>
                        <a:pt x="3468" y="1297"/>
                        <a:pt x="3634" y="1463"/>
                        <a:pt x="3634" y="1668"/>
                      </a:cubicBezTo>
                      <a:cubicBezTo>
                        <a:pt x="3634" y="1873"/>
                        <a:pt x="3468" y="2040"/>
                        <a:pt x="3263" y="2040"/>
                      </a:cubicBezTo>
                      <a:cubicBezTo>
                        <a:pt x="3255" y="2040"/>
                        <a:pt x="3043" y="2039"/>
                        <a:pt x="2832" y="2039"/>
                      </a:cubicBezTo>
                      <a:cubicBezTo>
                        <a:pt x="2621" y="2038"/>
                        <a:pt x="2411" y="2038"/>
                        <a:pt x="2405" y="2038"/>
                      </a:cubicBezTo>
                      <a:lnTo>
                        <a:pt x="1278" y="2038"/>
                      </a:lnTo>
                      <a:cubicBezTo>
                        <a:pt x="1048" y="2038"/>
                        <a:pt x="860" y="1850"/>
                        <a:pt x="860" y="161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285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" name="组合 18"/>
              <p:cNvGrpSpPr/>
              <p:nvPr/>
            </p:nvGrpSpPr>
            <p:grpSpPr>
              <a:xfrm>
                <a:off x="7655540" y="3238223"/>
                <a:ext cx="787954" cy="787954"/>
                <a:chOff x="3735805" y="3238223"/>
                <a:chExt cx="787954" cy="787954"/>
              </a:xfrm>
            </p:grpSpPr>
            <p:sp>
              <p:nvSpPr>
                <p:cNvPr id="20" name="椭圆 19"/>
                <p:cNvSpPr/>
                <p:nvPr/>
              </p:nvSpPr>
              <p:spPr>
                <a:xfrm>
                  <a:off x="3735805" y="3238223"/>
                  <a:ext cx="787954" cy="787954"/>
                </a:xfrm>
                <a:prstGeom prst="ellipse">
                  <a:avLst/>
                </a:prstGeom>
                <a:solidFill>
                  <a:schemeClr val="accent2"/>
                </a:solidFill>
                <a:ln w="28575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任意多边形: 形状 20"/>
                <p:cNvSpPr/>
                <p:nvPr/>
              </p:nvSpPr>
              <p:spPr>
                <a:xfrm>
                  <a:off x="3968203" y="3463054"/>
                  <a:ext cx="323156" cy="338292"/>
                </a:xfrm>
                <a:custGeom>
                  <a:avLst/>
                  <a:gdLst>
                    <a:gd name="T0" fmla="*/ 4199 w 4494"/>
                    <a:gd name="T1" fmla="*/ 3838 h 4712"/>
                    <a:gd name="T2" fmla="*/ 3932 w 4494"/>
                    <a:gd name="T3" fmla="*/ 2881 h 4712"/>
                    <a:gd name="T4" fmla="*/ 2447 w 4494"/>
                    <a:gd name="T5" fmla="*/ 2438 h 4712"/>
                    <a:gd name="T6" fmla="*/ 3263 w 4494"/>
                    <a:gd name="T7" fmla="*/ 2440 h 4712"/>
                    <a:gd name="T8" fmla="*/ 3263 w 4494"/>
                    <a:gd name="T9" fmla="*/ 897 h 4712"/>
                    <a:gd name="T10" fmla="*/ 2194 w 4494"/>
                    <a:gd name="T11" fmla="*/ 0 h 4712"/>
                    <a:gd name="T12" fmla="*/ 460 w 4494"/>
                    <a:gd name="T13" fmla="*/ 1619 h 4712"/>
                    <a:gd name="T14" fmla="*/ 2047 w 4494"/>
                    <a:gd name="T15" fmla="*/ 2438 h 4712"/>
                    <a:gd name="T16" fmla="*/ 562 w 4494"/>
                    <a:gd name="T17" fmla="*/ 2881 h 4712"/>
                    <a:gd name="T18" fmla="*/ 296 w 4494"/>
                    <a:gd name="T19" fmla="*/ 3838 h 4712"/>
                    <a:gd name="T20" fmla="*/ 0 w 4494"/>
                    <a:gd name="T21" fmla="*/ 3971 h 4712"/>
                    <a:gd name="T22" fmla="*/ 134 w 4494"/>
                    <a:gd name="T23" fmla="*/ 4712 h 4712"/>
                    <a:gd name="T24" fmla="*/ 991 w 4494"/>
                    <a:gd name="T25" fmla="*/ 4579 h 4712"/>
                    <a:gd name="T26" fmla="*/ 858 w 4494"/>
                    <a:gd name="T27" fmla="*/ 3838 h 4712"/>
                    <a:gd name="T28" fmla="*/ 696 w 4494"/>
                    <a:gd name="T29" fmla="*/ 3281 h 4712"/>
                    <a:gd name="T30" fmla="*/ 2047 w 4494"/>
                    <a:gd name="T31" fmla="*/ 3838 h 4712"/>
                    <a:gd name="T32" fmla="*/ 1752 w 4494"/>
                    <a:gd name="T33" fmla="*/ 3971 h 4712"/>
                    <a:gd name="T34" fmla="*/ 1885 w 4494"/>
                    <a:gd name="T35" fmla="*/ 4712 h 4712"/>
                    <a:gd name="T36" fmla="*/ 2742 w 4494"/>
                    <a:gd name="T37" fmla="*/ 4579 h 4712"/>
                    <a:gd name="T38" fmla="*/ 2609 w 4494"/>
                    <a:gd name="T39" fmla="*/ 3838 h 4712"/>
                    <a:gd name="T40" fmla="*/ 2447 w 4494"/>
                    <a:gd name="T41" fmla="*/ 3281 h 4712"/>
                    <a:gd name="T42" fmla="*/ 3799 w 4494"/>
                    <a:gd name="T43" fmla="*/ 3838 h 4712"/>
                    <a:gd name="T44" fmla="*/ 3503 w 4494"/>
                    <a:gd name="T45" fmla="*/ 3971 h 4712"/>
                    <a:gd name="T46" fmla="*/ 3637 w 4494"/>
                    <a:gd name="T47" fmla="*/ 4712 h 4712"/>
                    <a:gd name="T48" fmla="*/ 4494 w 4494"/>
                    <a:gd name="T49" fmla="*/ 4579 h 4712"/>
                    <a:gd name="T50" fmla="*/ 4360 w 4494"/>
                    <a:gd name="T51" fmla="*/ 3838 h 4712"/>
                    <a:gd name="T52" fmla="*/ 1278 w 4494"/>
                    <a:gd name="T53" fmla="*/ 1201 h 4712"/>
                    <a:gd name="T54" fmla="*/ 1288 w 4494"/>
                    <a:gd name="T55" fmla="*/ 1201 h 4712"/>
                    <a:gd name="T56" fmla="*/ 1311 w 4494"/>
                    <a:gd name="T57" fmla="*/ 1202 h 4712"/>
                    <a:gd name="T58" fmla="*/ 2194 w 4494"/>
                    <a:gd name="T59" fmla="*/ 400 h 4712"/>
                    <a:gd name="T60" fmla="*/ 2858 w 4494"/>
                    <a:gd name="T61" fmla="*/ 1073 h 4712"/>
                    <a:gd name="T62" fmla="*/ 2915 w 4494"/>
                    <a:gd name="T63" fmla="*/ 1252 h 4712"/>
                    <a:gd name="T64" fmla="*/ 3148 w 4494"/>
                    <a:gd name="T65" fmla="*/ 1315 h 4712"/>
                    <a:gd name="T66" fmla="*/ 3634 w 4494"/>
                    <a:gd name="T67" fmla="*/ 1668 h 4712"/>
                    <a:gd name="T68" fmla="*/ 2832 w 4494"/>
                    <a:gd name="T69" fmla="*/ 2039 h 4712"/>
                    <a:gd name="T70" fmla="*/ 1278 w 4494"/>
                    <a:gd name="T71" fmla="*/ 2038 h 47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494" h="4712">
                      <a:moveTo>
                        <a:pt x="4360" y="3838"/>
                      </a:moveTo>
                      <a:lnTo>
                        <a:pt x="4199" y="3838"/>
                      </a:lnTo>
                      <a:lnTo>
                        <a:pt x="4199" y="3148"/>
                      </a:lnTo>
                      <a:cubicBezTo>
                        <a:pt x="4199" y="3001"/>
                        <a:pt x="4079" y="2881"/>
                        <a:pt x="3932" y="2881"/>
                      </a:cubicBezTo>
                      <a:lnTo>
                        <a:pt x="2447" y="2881"/>
                      </a:lnTo>
                      <a:lnTo>
                        <a:pt x="2447" y="2438"/>
                      </a:lnTo>
                      <a:cubicBezTo>
                        <a:pt x="2520" y="2438"/>
                        <a:pt x="2675" y="2438"/>
                        <a:pt x="2831" y="2439"/>
                      </a:cubicBezTo>
                      <a:cubicBezTo>
                        <a:pt x="3043" y="2439"/>
                        <a:pt x="3256" y="2440"/>
                        <a:pt x="3263" y="2440"/>
                      </a:cubicBezTo>
                      <a:cubicBezTo>
                        <a:pt x="3688" y="2440"/>
                        <a:pt x="4034" y="2094"/>
                        <a:pt x="4034" y="1668"/>
                      </a:cubicBezTo>
                      <a:cubicBezTo>
                        <a:pt x="4034" y="1243"/>
                        <a:pt x="3688" y="897"/>
                        <a:pt x="3263" y="897"/>
                      </a:cubicBezTo>
                      <a:cubicBezTo>
                        <a:pt x="3257" y="897"/>
                        <a:pt x="3251" y="897"/>
                        <a:pt x="3245" y="897"/>
                      </a:cubicBezTo>
                      <a:cubicBezTo>
                        <a:pt x="3165" y="389"/>
                        <a:pt x="2724" y="0"/>
                        <a:pt x="2194" y="0"/>
                      </a:cubicBezTo>
                      <a:cubicBezTo>
                        <a:pt x="1698" y="0"/>
                        <a:pt x="1276" y="339"/>
                        <a:pt x="1161" y="809"/>
                      </a:cubicBezTo>
                      <a:cubicBezTo>
                        <a:pt x="765" y="866"/>
                        <a:pt x="460" y="1208"/>
                        <a:pt x="460" y="1619"/>
                      </a:cubicBezTo>
                      <a:cubicBezTo>
                        <a:pt x="460" y="2071"/>
                        <a:pt x="827" y="2438"/>
                        <a:pt x="1278" y="2438"/>
                      </a:cubicBezTo>
                      <a:lnTo>
                        <a:pt x="2047" y="2438"/>
                      </a:lnTo>
                      <a:lnTo>
                        <a:pt x="2047" y="2881"/>
                      </a:lnTo>
                      <a:lnTo>
                        <a:pt x="562" y="2881"/>
                      </a:lnTo>
                      <a:cubicBezTo>
                        <a:pt x="415" y="2881"/>
                        <a:pt x="296" y="3001"/>
                        <a:pt x="296" y="3148"/>
                      </a:cubicBezTo>
                      <a:lnTo>
                        <a:pt x="296" y="3838"/>
                      </a:lnTo>
                      <a:lnTo>
                        <a:pt x="134" y="3838"/>
                      </a:lnTo>
                      <a:cubicBezTo>
                        <a:pt x="60" y="3838"/>
                        <a:pt x="0" y="3897"/>
                        <a:pt x="0" y="3971"/>
                      </a:cubicBezTo>
                      <a:lnTo>
                        <a:pt x="0" y="4579"/>
                      </a:lnTo>
                      <a:cubicBezTo>
                        <a:pt x="0" y="4652"/>
                        <a:pt x="60" y="4712"/>
                        <a:pt x="134" y="4712"/>
                      </a:cubicBezTo>
                      <a:lnTo>
                        <a:pt x="858" y="4712"/>
                      </a:lnTo>
                      <a:cubicBezTo>
                        <a:pt x="931" y="4712"/>
                        <a:pt x="991" y="4652"/>
                        <a:pt x="991" y="4579"/>
                      </a:cubicBezTo>
                      <a:lnTo>
                        <a:pt x="991" y="3971"/>
                      </a:lnTo>
                      <a:cubicBezTo>
                        <a:pt x="991" y="3897"/>
                        <a:pt x="931" y="3838"/>
                        <a:pt x="858" y="3838"/>
                      </a:cubicBezTo>
                      <a:lnTo>
                        <a:pt x="696" y="3838"/>
                      </a:lnTo>
                      <a:lnTo>
                        <a:pt x="696" y="3281"/>
                      </a:lnTo>
                      <a:lnTo>
                        <a:pt x="2047" y="3281"/>
                      </a:lnTo>
                      <a:lnTo>
                        <a:pt x="2047" y="3838"/>
                      </a:lnTo>
                      <a:lnTo>
                        <a:pt x="1885" y="3838"/>
                      </a:lnTo>
                      <a:cubicBezTo>
                        <a:pt x="1812" y="3838"/>
                        <a:pt x="1752" y="3897"/>
                        <a:pt x="1752" y="3971"/>
                      </a:cubicBezTo>
                      <a:lnTo>
                        <a:pt x="1752" y="4579"/>
                      </a:lnTo>
                      <a:cubicBezTo>
                        <a:pt x="1752" y="4652"/>
                        <a:pt x="1812" y="4712"/>
                        <a:pt x="1885" y="4712"/>
                      </a:cubicBezTo>
                      <a:lnTo>
                        <a:pt x="2609" y="4712"/>
                      </a:lnTo>
                      <a:cubicBezTo>
                        <a:pt x="2682" y="4712"/>
                        <a:pt x="2742" y="4652"/>
                        <a:pt x="2742" y="4579"/>
                      </a:cubicBezTo>
                      <a:lnTo>
                        <a:pt x="2742" y="3971"/>
                      </a:lnTo>
                      <a:cubicBezTo>
                        <a:pt x="2742" y="3897"/>
                        <a:pt x="2682" y="3838"/>
                        <a:pt x="2609" y="3838"/>
                      </a:cubicBezTo>
                      <a:lnTo>
                        <a:pt x="2447" y="3838"/>
                      </a:lnTo>
                      <a:lnTo>
                        <a:pt x="2447" y="3281"/>
                      </a:lnTo>
                      <a:lnTo>
                        <a:pt x="3799" y="3281"/>
                      </a:lnTo>
                      <a:lnTo>
                        <a:pt x="3799" y="3838"/>
                      </a:lnTo>
                      <a:lnTo>
                        <a:pt x="3637" y="3838"/>
                      </a:lnTo>
                      <a:cubicBezTo>
                        <a:pt x="3563" y="3838"/>
                        <a:pt x="3503" y="3897"/>
                        <a:pt x="3503" y="3971"/>
                      </a:cubicBezTo>
                      <a:lnTo>
                        <a:pt x="3503" y="4579"/>
                      </a:lnTo>
                      <a:cubicBezTo>
                        <a:pt x="3503" y="4652"/>
                        <a:pt x="3563" y="4712"/>
                        <a:pt x="3637" y="4712"/>
                      </a:cubicBezTo>
                      <a:lnTo>
                        <a:pt x="4360" y="4712"/>
                      </a:lnTo>
                      <a:cubicBezTo>
                        <a:pt x="4434" y="4712"/>
                        <a:pt x="4494" y="4652"/>
                        <a:pt x="4494" y="4579"/>
                      </a:cubicBezTo>
                      <a:lnTo>
                        <a:pt x="4494" y="3971"/>
                      </a:lnTo>
                      <a:cubicBezTo>
                        <a:pt x="4494" y="3897"/>
                        <a:pt x="4434" y="3838"/>
                        <a:pt x="4360" y="3838"/>
                      </a:cubicBezTo>
                      <a:close/>
                      <a:moveTo>
                        <a:pt x="860" y="1619"/>
                      </a:moveTo>
                      <a:cubicBezTo>
                        <a:pt x="860" y="1389"/>
                        <a:pt x="1048" y="1201"/>
                        <a:pt x="1278" y="1201"/>
                      </a:cubicBezTo>
                      <a:lnTo>
                        <a:pt x="1283" y="1201"/>
                      </a:lnTo>
                      <a:cubicBezTo>
                        <a:pt x="1284" y="1201"/>
                        <a:pt x="1286" y="1201"/>
                        <a:pt x="1288" y="1201"/>
                      </a:cubicBezTo>
                      <a:cubicBezTo>
                        <a:pt x="1288" y="1201"/>
                        <a:pt x="1289" y="1201"/>
                        <a:pt x="1290" y="1201"/>
                      </a:cubicBezTo>
                      <a:cubicBezTo>
                        <a:pt x="1297" y="1202"/>
                        <a:pt x="1304" y="1202"/>
                        <a:pt x="1311" y="1202"/>
                      </a:cubicBezTo>
                      <a:cubicBezTo>
                        <a:pt x="1408" y="1202"/>
                        <a:pt x="1519" y="1136"/>
                        <a:pt x="1534" y="992"/>
                      </a:cubicBezTo>
                      <a:cubicBezTo>
                        <a:pt x="1571" y="654"/>
                        <a:pt x="1854" y="400"/>
                        <a:pt x="2194" y="400"/>
                      </a:cubicBezTo>
                      <a:cubicBezTo>
                        <a:pt x="2560" y="400"/>
                        <a:pt x="2858" y="698"/>
                        <a:pt x="2858" y="1064"/>
                      </a:cubicBezTo>
                      <a:lnTo>
                        <a:pt x="2858" y="1073"/>
                      </a:lnTo>
                      <a:cubicBezTo>
                        <a:pt x="2858" y="1074"/>
                        <a:pt x="2858" y="1076"/>
                        <a:pt x="2858" y="1078"/>
                      </a:cubicBezTo>
                      <a:cubicBezTo>
                        <a:pt x="2853" y="1144"/>
                        <a:pt x="2873" y="1205"/>
                        <a:pt x="2915" y="1252"/>
                      </a:cubicBezTo>
                      <a:cubicBezTo>
                        <a:pt x="2957" y="1299"/>
                        <a:pt x="3017" y="1325"/>
                        <a:pt x="3080" y="1325"/>
                      </a:cubicBezTo>
                      <a:cubicBezTo>
                        <a:pt x="3103" y="1325"/>
                        <a:pt x="3126" y="1322"/>
                        <a:pt x="3148" y="1315"/>
                      </a:cubicBezTo>
                      <a:cubicBezTo>
                        <a:pt x="3185" y="1303"/>
                        <a:pt x="3224" y="1297"/>
                        <a:pt x="3263" y="1297"/>
                      </a:cubicBezTo>
                      <a:cubicBezTo>
                        <a:pt x="3468" y="1297"/>
                        <a:pt x="3634" y="1463"/>
                        <a:pt x="3634" y="1668"/>
                      </a:cubicBezTo>
                      <a:cubicBezTo>
                        <a:pt x="3634" y="1873"/>
                        <a:pt x="3468" y="2040"/>
                        <a:pt x="3263" y="2040"/>
                      </a:cubicBezTo>
                      <a:cubicBezTo>
                        <a:pt x="3255" y="2040"/>
                        <a:pt x="3043" y="2039"/>
                        <a:pt x="2832" y="2039"/>
                      </a:cubicBezTo>
                      <a:cubicBezTo>
                        <a:pt x="2621" y="2038"/>
                        <a:pt x="2411" y="2038"/>
                        <a:pt x="2405" y="2038"/>
                      </a:cubicBezTo>
                      <a:lnTo>
                        <a:pt x="1278" y="2038"/>
                      </a:lnTo>
                      <a:cubicBezTo>
                        <a:pt x="1048" y="2038"/>
                        <a:pt x="860" y="1850"/>
                        <a:pt x="860" y="161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285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8" name="组合 7"/>
            <p:cNvGrpSpPr/>
            <p:nvPr/>
          </p:nvGrpSpPr>
          <p:grpSpPr>
            <a:xfrm>
              <a:off x="660400" y="2917207"/>
              <a:ext cx="3075405" cy="2416104"/>
              <a:chOff x="660400" y="2522071"/>
              <a:chExt cx="3075405" cy="2416104"/>
            </a:xfrm>
          </p:grpSpPr>
          <p:sp>
            <p:nvSpPr>
              <p:cNvPr id="13" name="矩形 12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660400" y="2522071"/>
                <a:ext cx="2746188" cy="11540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</a:t>
                </a:r>
                <a:r>
                  <a:rPr lang="en-US" altLang="zh-CN" sz="1100"/>
                  <a:t>to reta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in </a:t>
                </a:r>
                <a:r>
                  <a:rPr lang="en-US" altLang="zh-CN" sz="1100" dirty="0"/>
                  <a:t>text.</a:t>
                </a:r>
              </a:p>
              <a:p>
                <a:pPr algn="r">
                  <a:lnSpc>
                    <a:spcPct val="150000"/>
                  </a:lnSpc>
                </a:pPr>
                <a:endParaRPr lang="en-US" altLang="zh-CN" sz="1100" dirty="0"/>
              </a:p>
              <a:p>
                <a:pPr algn="r">
                  <a:lnSpc>
                    <a:spcPct val="150000"/>
                  </a:lnSpc>
                </a:pPr>
                <a:r>
                  <a:rPr lang="en-US" altLang="zh-CN" sz="1100" dirty="0"/>
                  <a:t>.……</a:t>
                </a:r>
              </a:p>
            </p:txBody>
          </p:sp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660400" y="3784086"/>
                <a:ext cx="2746188" cy="11540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</a:t>
                </a:r>
                <a:r>
                  <a:rPr lang="en-US" altLang="zh-CN" sz="1100"/>
                  <a:t>to reta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in </a:t>
                </a:r>
                <a:r>
                  <a:rPr lang="en-US" altLang="zh-CN" sz="1100" dirty="0"/>
                  <a:t>text.</a:t>
                </a:r>
              </a:p>
              <a:p>
                <a:pPr algn="r">
                  <a:lnSpc>
                    <a:spcPct val="150000"/>
                  </a:lnSpc>
                </a:pPr>
                <a:endParaRPr lang="en-US" altLang="zh-CN" sz="1100" dirty="0"/>
              </a:p>
              <a:p>
                <a:pPr algn="r">
                  <a:lnSpc>
                    <a:spcPct val="150000"/>
                  </a:lnSpc>
                </a:pPr>
                <a:r>
                  <a:rPr lang="en-US" altLang="zh-CN" sz="1100" dirty="0"/>
                  <a:t>.……</a:t>
                </a:r>
              </a:p>
            </p:txBody>
          </p:sp>
          <p:cxnSp>
            <p:nvCxnSpPr>
              <p:cNvPr id="15" name="直接连接符 14"/>
              <p:cNvCxnSpPr>
                <a:endCxn id="22" idx="2"/>
              </p:cNvCxnSpPr>
              <p:nvPr/>
            </p:nvCxnSpPr>
            <p:spPr>
              <a:xfrm>
                <a:off x="660400" y="3730123"/>
                <a:ext cx="3075405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组合 8"/>
            <p:cNvGrpSpPr/>
            <p:nvPr/>
          </p:nvGrpSpPr>
          <p:grpSpPr>
            <a:xfrm>
              <a:off x="8443494" y="2917207"/>
              <a:ext cx="3075406" cy="2416104"/>
              <a:chOff x="660399" y="2522071"/>
              <a:chExt cx="3075406" cy="2416104"/>
            </a:xfrm>
          </p:grpSpPr>
          <p:sp>
            <p:nvSpPr>
              <p:cNvPr id="10" name="矩形 9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660400" y="2522071"/>
                <a:ext cx="2746188" cy="11540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</a:t>
                </a:r>
                <a:r>
                  <a:rPr lang="en-US" altLang="zh-CN" sz="1100"/>
                  <a:t>to reta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in </a:t>
                </a:r>
                <a:r>
                  <a:rPr lang="en-US" altLang="zh-CN" sz="1100" dirty="0"/>
                  <a:t>text.</a:t>
                </a:r>
              </a:p>
              <a:p>
                <a:pPr>
                  <a:lnSpc>
                    <a:spcPct val="150000"/>
                  </a:lnSpc>
                </a:pPr>
                <a:endParaRPr lang="en-US" altLang="zh-CN" sz="1100" dirty="0"/>
              </a:p>
              <a:p>
                <a:pPr>
                  <a:lnSpc>
                    <a:spcPct val="150000"/>
                  </a:lnSpc>
                </a:pPr>
                <a:r>
                  <a:rPr lang="en-US" altLang="zh-CN" sz="1100" dirty="0"/>
                  <a:t>.……</a:t>
                </a:r>
              </a:p>
            </p:txBody>
          </p:sp>
          <p:sp>
            <p:nvSpPr>
              <p:cNvPr id="11" name="矩形 10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660400" y="3784086"/>
                <a:ext cx="2746188" cy="11540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</a:t>
                </a:r>
                <a:r>
                  <a:rPr lang="en-US" altLang="zh-CN" sz="1100"/>
                  <a:t>to reta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in </a:t>
                </a:r>
                <a:r>
                  <a:rPr lang="en-US" altLang="zh-CN" sz="1100" dirty="0"/>
                  <a:t>text.</a:t>
                </a:r>
              </a:p>
              <a:p>
                <a:pPr>
                  <a:lnSpc>
                    <a:spcPct val="150000"/>
                  </a:lnSpc>
                </a:pPr>
                <a:endParaRPr lang="en-US" altLang="zh-CN" sz="1100" dirty="0"/>
              </a:p>
              <a:p>
                <a:pPr>
                  <a:lnSpc>
                    <a:spcPct val="150000"/>
                  </a:lnSpc>
                </a:pPr>
                <a:r>
                  <a:rPr lang="en-US" altLang="zh-CN" sz="1100" dirty="0"/>
                  <a:t>.……</a:t>
                </a:r>
              </a:p>
            </p:txBody>
          </p:sp>
          <p:cxnSp>
            <p:nvCxnSpPr>
              <p:cNvPr id="12" name="直接连接符 11"/>
              <p:cNvCxnSpPr>
                <a:stCxn id="20" idx="6"/>
              </p:cNvCxnSpPr>
              <p:nvPr/>
            </p:nvCxnSpPr>
            <p:spPr>
              <a:xfrm>
                <a:off x="660399" y="3730123"/>
                <a:ext cx="3075406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281326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社区防控工作的通知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6750" y="1591806"/>
            <a:ext cx="10858500" cy="4080788"/>
            <a:chOff x="666750" y="1591806"/>
            <a:chExt cx="10858500" cy="4080788"/>
          </a:xfrm>
        </p:grpSpPr>
        <p:sp>
          <p:nvSpPr>
            <p:cNvPr id="6" name="矩形 5"/>
            <p:cNvSpPr/>
            <p:nvPr/>
          </p:nvSpPr>
          <p:spPr bwMode="auto">
            <a:xfrm>
              <a:off x="666750" y="3409524"/>
              <a:ext cx="10858500" cy="4453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sz="2160"/>
            </a:p>
          </p:txBody>
        </p:sp>
        <p:sp>
          <p:nvSpPr>
            <p:cNvPr id="7" name="任意多边形: 形状 6"/>
            <p:cNvSpPr/>
            <p:nvPr/>
          </p:nvSpPr>
          <p:spPr bwMode="auto">
            <a:xfrm>
              <a:off x="1529424" y="3407811"/>
              <a:ext cx="1579289" cy="448778"/>
            </a:xfrm>
            <a:custGeom>
              <a:avLst/>
              <a:gdLst/>
              <a:ahLst/>
              <a:cxnLst>
                <a:cxn ang="0">
                  <a:pos x="75" y="125"/>
                </a:cxn>
                <a:cxn ang="0">
                  <a:pos x="5" y="18"/>
                </a:cxn>
                <a:cxn ang="0">
                  <a:pos x="14" y="0"/>
                </a:cxn>
                <a:cxn ang="0">
                  <a:pos x="382" y="0"/>
                </a:cxn>
                <a:cxn ang="0">
                  <a:pos x="392" y="6"/>
                </a:cxn>
                <a:cxn ang="0">
                  <a:pos x="462" y="113"/>
                </a:cxn>
                <a:cxn ang="0">
                  <a:pos x="453" y="131"/>
                </a:cxn>
                <a:cxn ang="0">
                  <a:pos x="85" y="131"/>
                </a:cxn>
                <a:cxn ang="0">
                  <a:pos x="75" y="125"/>
                </a:cxn>
              </a:cxnLst>
              <a:rect l="0" t="0" r="r" b="b"/>
              <a:pathLst>
                <a:path w="467" h="131">
                  <a:moveTo>
                    <a:pt x="75" y="125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0" y="10"/>
                    <a:pt x="5" y="0"/>
                    <a:pt x="14" y="0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386" y="0"/>
                    <a:pt x="390" y="2"/>
                    <a:pt x="392" y="6"/>
                  </a:cubicBezTo>
                  <a:cubicBezTo>
                    <a:pt x="462" y="113"/>
                    <a:pt x="462" y="113"/>
                    <a:pt x="462" y="113"/>
                  </a:cubicBezTo>
                  <a:cubicBezTo>
                    <a:pt x="467" y="121"/>
                    <a:pt x="462" y="131"/>
                    <a:pt x="453" y="131"/>
                  </a:cubicBezTo>
                  <a:cubicBezTo>
                    <a:pt x="85" y="131"/>
                    <a:pt x="85" y="131"/>
                    <a:pt x="85" y="131"/>
                  </a:cubicBezTo>
                  <a:cubicBezTo>
                    <a:pt x="81" y="131"/>
                    <a:pt x="77" y="129"/>
                    <a:pt x="75" y="125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01</a:t>
              </a:r>
            </a:p>
          </p:txBody>
        </p:sp>
        <p:sp>
          <p:nvSpPr>
            <p:cNvPr id="8" name="任意多边形: 形状 7"/>
            <p:cNvSpPr/>
            <p:nvPr/>
          </p:nvSpPr>
          <p:spPr bwMode="auto">
            <a:xfrm>
              <a:off x="3040197" y="3407811"/>
              <a:ext cx="1579289" cy="448778"/>
            </a:xfrm>
            <a:custGeom>
              <a:avLst/>
              <a:gdLst/>
              <a:ahLst/>
              <a:cxnLst>
                <a:cxn ang="0">
                  <a:pos x="75" y="125"/>
                </a:cxn>
                <a:cxn ang="0">
                  <a:pos x="5" y="18"/>
                </a:cxn>
                <a:cxn ang="0">
                  <a:pos x="14" y="0"/>
                </a:cxn>
                <a:cxn ang="0">
                  <a:pos x="382" y="0"/>
                </a:cxn>
                <a:cxn ang="0">
                  <a:pos x="392" y="6"/>
                </a:cxn>
                <a:cxn ang="0">
                  <a:pos x="462" y="113"/>
                </a:cxn>
                <a:cxn ang="0">
                  <a:pos x="453" y="131"/>
                </a:cxn>
                <a:cxn ang="0">
                  <a:pos x="85" y="131"/>
                </a:cxn>
                <a:cxn ang="0">
                  <a:pos x="75" y="125"/>
                </a:cxn>
              </a:cxnLst>
              <a:rect l="0" t="0" r="r" b="b"/>
              <a:pathLst>
                <a:path w="467" h="131">
                  <a:moveTo>
                    <a:pt x="75" y="125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0" y="10"/>
                    <a:pt x="5" y="0"/>
                    <a:pt x="14" y="0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386" y="0"/>
                    <a:pt x="390" y="2"/>
                    <a:pt x="392" y="6"/>
                  </a:cubicBezTo>
                  <a:cubicBezTo>
                    <a:pt x="462" y="113"/>
                    <a:pt x="462" y="113"/>
                    <a:pt x="462" y="113"/>
                  </a:cubicBezTo>
                  <a:cubicBezTo>
                    <a:pt x="467" y="121"/>
                    <a:pt x="462" y="131"/>
                    <a:pt x="453" y="131"/>
                  </a:cubicBezTo>
                  <a:cubicBezTo>
                    <a:pt x="85" y="131"/>
                    <a:pt x="85" y="131"/>
                    <a:pt x="85" y="131"/>
                  </a:cubicBezTo>
                  <a:cubicBezTo>
                    <a:pt x="81" y="131"/>
                    <a:pt x="77" y="129"/>
                    <a:pt x="75" y="12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02</a:t>
              </a:r>
            </a:p>
          </p:txBody>
        </p:sp>
        <p:sp>
          <p:nvSpPr>
            <p:cNvPr id="9" name="任意多边形: 形状 8"/>
            <p:cNvSpPr/>
            <p:nvPr/>
          </p:nvSpPr>
          <p:spPr bwMode="auto">
            <a:xfrm>
              <a:off x="4550970" y="3407811"/>
              <a:ext cx="1579289" cy="448778"/>
            </a:xfrm>
            <a:custGeom>
              <a:avLst/>
              <a:gdLst/>
              <a:ahLst/>
              <a:cxnLst>
                <a:cxn ang="0">
                  <a:pos x="75" y="125"/>
                </a:cxn>
                <a:cxn ang="0">
                  <a:pos x="5" y="18"/>
                </a:cxn>
                <a:cxn ang="0">
                  <a:pos x="14" y="0"/>
                </a:cxn>
                <a:cxn ang="0">
                  <a:pos x="382" y="0"/>
                </a:cxn>
                <a:cxn ang="0">
                  <a:pos x="392" y="6"/>
                </a:cxn>
                <a:cxn ang="0">
                  <a:pos x="462" y="113"/>
                </a:cxn>
                <a:cxn ang="0">
                  <a:pos x="453" y="131"/>
                </a:cxn>
                <a:cxn ang="0">
                  <a:pos x="85" y="131"/>
                </a:cxn>
                <a:cxn ang="0">
                  <a:pos x="75" y="125"/>
                </a:cxn>
              </a:cxnLst>
              <a:rect l="0" t="0" r="r" b="b"/>
              <a:pathLst>
                <a:path w="467" h="131">
                  <a:moveTo>
                    <a:pt x="75" y="125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0" y="10"/>
                    <a:pt x="5" y="0"/>
                    <a:pt x="14" y="0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386" y="0"/>
                    <a:pt x="390" y="2"/>
                    <a:pt x="392" y="6"/>
                  </a:cubicBezTo>
                  <a:cubicBezTo>
                    <a:pt x="462" y="113"/>
                    <a:pt x="462" y="113"/>
                    <a:pt x="462" y="113"/>
                  </a:cubicBezTo>
                  <a:cubicBezTo>
                    <a:pt x="467" y="121"/>
                    <a:pt x="462" y="131"/>
                    <a:pt x="453" y="131"/>
                  </a:cubicBezTo>
                  <a:cubicBezTo>
                    <a:pt x="85" y="131"/>
                    <a:pt x="85" y="131"/>
                    <a:pt x="85" y="131"/>
                  </a:cubicBezTo>
                  <a:cubicBezTo>
                    <a:pt x="81" y="131"/>
                    <a:pt x="77" y="129"/>
                    <a:pt x="75" y="125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03</a:t>
              </a:r>
            </a:p>
          </p:txBody>
        </p:sp>
        <p:sp>
          <p:nvSpPr>
            <p:cNvPr id="10" name="任意多边形: 形状 9"/>
            <p:cNvSpPr/>
            <p:nvPr/>
          </p:nvSpPr>
          <p:spPr bwMode="auto">
            <a:xfrm>
              <a:off x="6061743" y="3407811"/>
              <a:ext cx="1579289" cy="448778"/>
            </a:xfrm>
            <a:custGeom>
              <a:avLst/>
              <a:gdLst/>
              <a:ahLst/>
              <a:cxnLst>
                <a:cxn ang="0">
                  <a:pos x="75" y="125"/>
                </a:cxn>
                <a:cxn ang="0">
                  <a:pos x="5" y="18"/>
                </a:cxn>
                <a:cxn ang="0">
                  <a:pos x="14" y="0"/>
                </a:cxn>
                <a:cxn ang="0">
                  <a:pos x="382" y="0"/>
                </a:cxn>
                <a:cxn ang="0">
                  <a:pos x="392" y="6"/>
                </a:cxn>
                <a:cxn ang="0">
                  <a:pos x="462" y="113"/>
                </a:cxn>
                <a:cxn ang="0">
                  <a:pos x="453" y="131"/>
                </a:cxn>
                <a:cxn ang="0">
                  <a:pos x="85" y="131"/>
                </a:cxn>
                <a:cxn ang="0">
                  <a:pos x="75" y="125"/>
                </a:cxn>
              </a:cxnLst>
              <a:rect l="0" t="0" r="r" b="b"/>
              <a:pathLst>
                <a:path w="467" h="131">
                  <a:moveTo>
                    <a:pt x="75" y="125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0" y="10"/>
                    <a:pt x="5" y="0"/>
                    <a:pt x="14" y="0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386" y="0"/>
                    <a:pt x="390" y="2"/>
                    <a:pt x="392" y="6"/>
                  </a:cubicBezTo>
                  <a:cubicBezTo>
                    <a:pt x="462" y="113"/>
                    <a:pt x="462" y="113"/>
                    <a:pt x="462" y="113"/>
                  </a:cubicBezTo>
                  <a:cubicBezTo>
                    <a:pt x="467" y="121"/>
                    <a:pt x="462" y="131"/>
                    <a:pt x="453" y="131"/>
                  </a:cubicBezTo>
                  <a:cubicBezTo>
                    <a:pt x="85" y="131"/>
                    <a:pt x="85" y="131"/>
                    <a:pt x="85" y="131"/>
                  </a:cubicBezTo>
                  <a:cubicBezTo>
                    <a:pt x="81" y="131"/>
                    <a:pt x="77" y="129"/>
                    <a:pt x="75" y="12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04</a:t>
              </a:r>
            </a:p>
          </p:txBody>
        </p:sp>
        <p:sp>
          <p:nvSpPr>
            <p:cNvPr id="11" name="任意多边形: 形状 10"/>
            <p:cNvSpPr/>
            <p:nvPr/>
          </p:nvSpPr>
          <p:spPr bwMode="auto">
            <a:xfrm>
              <a:off x="7572516" y="3407811"/>
              <a:ext cx="1579289" cy="448778"/>
            </a:xfrm>
            <a:custGeom>
              <a:avLst/>
              <a:gdLst/>
              <a:ahLst/>
              <a:cxnLst>
                <a:cxn ang="0">
                  <a:pos x="75" y="125"/>
                </a:cxn>
                <a:cxn ang="0">
                  <a:pos x="5" y="18"/>
                </a:cxn>
                <a:cxn ang="0">
                  <a:pos x="14" y="0"/>
                </a:cxn>
                <a:cxn ang="0">
                  <a:pos x="382" y="0"/>
                </a:cxn>
                <a:cxn ang="0">
                  <a:pos x="392" y="6"/>
                </a:cxn>
                <a:cxn ang="0">
                  <a:pos x="462" y="113"/>
                </a:cxn>
                <a:cxn ang="0">
                  <a:pos x="453" y="131"/>
                </a:cxn>
                <a:cxn ang="0">
                  <a:pos x="85" y="131"/>
                </a:cxn>
                <a:cxn ang="0">
                  <a:pos x="75" y="125"/>
                </a:cxn>
              </a:cxnLst>
              <a:rect l="0" t="0" r="r" b="b"/>
              <a:pathLst>
                <a:path w="467" h="131">
                  <a:moveTo>
                    <a:pt x="75" y="125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0" y="10"/>
                    <a:pt x="5" y="0"/>
                    <a:pt x="14" y="0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386" y="0"/>
                    <a:pt x="390" y="2"/>
                    <a:pt x="392" y="6"/>
                  </a:cubicBezTo>
                  <a:cubicBezTo>
                    <a:pt x="462" y="113"/>
                    <a:pt x="462" y="113"/>
                    <a:pt x="462" y="113"/>
                  </a:cubicBezTo>
                  <a:cubicBezTo>
                    <a:pt x="467" y="121"/>
                    <a:pt x="462" y="131"/>
                    <a:pt x="453" y="131"/>
                  </a:cubicBezTo>
                  <a:cubicBezTo>
                    <a:pt x="85" y="131"/>
                    <a:pt x="85" y="131"/>
                    <a:pt x="85" y="131"/>
                  </a:cubicBezTo>
                  <a:cubicBezTo>
                    <a:pt x="81" y="131"/>
                    <a:pt x="77" y="129"/>
                    <a:pt x="75" y="125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05</a:t>
              </a:r>
            </a:p>
          </p:txBody>
        </p:sp>
        <p:sp>
          <p:nvSpPr>
            <p:cNvPr id="12" name="任意多边形: 形状 11"/>
            <p:cNvSpPr/>
            <p:nvPr/>
          </p:nvSpPr>
          <p:spPr bwMode="auto">
            <a:xfrm>
              <a:off x="9083287" y="3407811"/>
              <a:ext cx="1579289" cy="448778"/>
            </a:xfrm>
            <a:custGeom>
              <a:avLst/>
              <a:gdLst/>
              <a:ahLst/>
              <a:cxnLst>
                <a:cxn ang="0">
                  <a:pos x="70" y="123"/>
                </a:cxn>
                <a:cxn ang="0">
                  <a:pos x="7" y="27"/>
                </a:cxn>
                <a:cxn ang="0">
                  <a:pos x="22" y="0"/>
                </a:cxn>
                <a:cxn ang="0">
                  <a:pos x="376" y="0"/>
                </a:cxn>
                <a:cxn ang="0">
                  <a:pos x="391" y="8"/>
                </a:cxn>
                <a:cxn ang="0">
                  <a:pos x="453" y="104"/>
                </a:cxn>
                <a:cxn ang="0">
                  <a:pos x="439" y="131"/>
                </a:cxn>
                <a:cxn ang="0">
                  <a:pos x="85" y="131"/>
                </a:cxn>
                <a:cxn ang="0">
                  <a:pos x="70" y="123"/>
                </a:cxn>
              </a:cxnLst>
              <a:rect l="0" t="0" r="r" b="b"/>
              <a:pathLst>
                <a:path w="461" h="131">
                  <a:moveTo>
                    <a:pt x="70" y="123"/>
                  </a:moveTo>
                  <a:cubicBezTo>
                    <a:pt x="7" y="27"/>
                    <a:pt x="7" y="27"/>
                    <a:pt x="7" y="27"/>
                  </a:cubicBezTo>
                  <a:cubicBezTo>
                    <a:pt x="0" y="16"/>
                    <a:pt x="8" y="0"/>
                    <a:pt x="22" y="0"/>
                  </a:cubicBezTo>
                  <a:cubicBezTo>
                    <a:pt x="376" y="0"/>
                    <a:pt x="376" y="0"/>
                    <a:pt x="376" y="0"/>
                  </a:cubicBezTo>
                  <a:cubicBezTo>
                    <a:pt x="382" y="0"/>
                    <a:pt x="387" y="3"/>
                    <a:pt x="391" y="8"/>
                  </a:cubicBezTo>
                  <a:cubicBezTo>
                    <a:pt x="453" y="104"/>
                    <a:pt x="453" y="104"/>
                    <a:pt x="453" y="104"/>
                  </a:cubicBezTo>
                  <a:cubicBezTo>
                    <a:pt x="461" y="116"/>
                    <a:pt x="453" y="131"/>
                    <a:pt x="439" y="131"/>
                  </a:cubicBezTo>
                  <a:cubicBezTo>
                    <a:pt x="85" y="131"/>
                    <a:pt x="85" y="131"/>
                    <a:pt x="85" y="131"/>
                  </a:cubicBezTo>
                  <a:cubicBezTo>
                    <a:pt x="79" y="131"/>
                    <a:pt x="73" y="128"/>
                    <a:pt x="70" y="123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06</a:t>
              </a:r>
            </a:p>
          </p:txBody>
        </p:sp>
        <p:grpSp>
          <p:nvGrpSpPr>
            <p:cNvPr id="13" name="组合 12"/>
            <p:cNvGrpSpPr/>
            <p:nvPr/>
          </p:nvGrpSpPr>
          <p:grpSpPr>
            <a:xfrm>
              <a:off x="2319068" y="1591806"/>
              <a:ext cx="1469575" cy="1816005"/>
              <a:chOff x="2312718" y="1591806"/>
              <a:chExt cx="1469575" cy="1816005"/>
            </a:xfrm>
          </p:grpSpPr>
          <p:grpSp>
            <p:nvGrpSpPr>
              <p:cNvPr id="39" name="组合 38"/>
              <p:cNvGrpSpPr/>
              <p:nvPr/>
            </p:nvGrpSpPr>
            <p:grpSpPr>
              <a:xfrm>
                <a:off x="2312718" y="1591806"/>
                <a:ext cx="1469575" cy="1321547"/>
                <a:chOff x="2312718" y="1798172"/>
                <a:chExt cx="1469575" cy="1321547"/>
              </a:xfrm>
            </p:grpSpPr>
            <p:sp>
              <p:nvSpPr>
                <p:cNvPr id="41" name="矩形 40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312719" y="1798172"/>
                  <a:ext cx="1469573" cy="4736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20000"/>
                    </a:lnSpc>
                  </a:pPr>
                  <a:r>
                    <a:rPr lang="en-US" altLang="zh-CN" sz="1600" b="1">
                      <a:solidFill>
                        <a:schemeClr val="tx1"/>
                      </a:solidFill>
                    </a:rPr>
                    <a:t>Text </a:t>
                  </a:r>
                  <a:r>
                    <a:rPr lang="en-US" altLang="zh-CN" sz="100" b="1">
                      <a:solidFill>
                        <a:schemeClr val="tx1"/>
                      </a:solidFill>
                    </a:rPr>
                    <a:t> </a:t>
                  </a:r>
                  <a:r>
                    <a:rPr lang="en-US" altLang="zh-CN" sz="1600" b="1">
                      <a:solidFill>
                        <a:schemeClr val="tx1"/>
                      </a:solidFill>
                    </a:rPr>
                    <a:t>here</a:t>
                  </a:r>
                  <a:endParaRPr lang="zh-CN" altLang="en-US" sz="1600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2" name="文本框 41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312718" y="2271861"/>
                  <a:ext cx="1469575" cy="847858"/>
                </a:xfrm>
                <a:prstGeom prst="rect">
                  <a:avLst/>
                </a:prstGeom>
                <a:noFill/>
                <a:ln w="3175"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algn="ctr" defTabSz="609585">
                    <a:lnSpc>
                      <a:spcPct val="150000"/>
                    </a:lnSpc>
                    <a:spcBef>
                      <a:spcPct val="0"/>
                    </a:spcBef>
                    <a:defRPr sz="1100"/>
                  </a:lvl1pPr>
                  <a:lvl2pPr marL="609585" defTabSz="609585">
                    <a:defRPr sz="2400"/>
                  </a:lvl2pPr>
                  <a:lvl3pPr marL="1219170" defTabSz="609585">
                    <a:defRPr sz="2400"/>
                  </a:lvl3pPr>
                  <a:lvl4pPr marL="1828754" defTabSz="609585">
                    <a:defRPr sz="2400"/>
                  </a:lvl4pPr>
                  <a:lvl5pPr marL="2438339" defTabSz="609585">
                    <a:defRPr sz="2400"/>
                  </a:lvl5pPr>
                  <a:lvl6pPr marL="3047924" defTabSz="609585">
                    <a:defRPr sz="2400"/>
                  </a:lvl6pPr>
                  <a:lvl7pPr marL="3657509" defTabSz="609585">
                    <a:defRPr sz="2400"/>
                  </a:lvl7pPr>
                  <a:lvl8pPr marL="4267093" defTabSz="609585">
                    <a:defRPr sz="2400"/>
                  </a:lvl8pPr>
                  <a:lvl9pPr marL="4876678" defTabSz="609585">
                    <a:defRPr sz="2400"/>
                  </a:lvl9pPr>
                </a:lstStyle>
                <a:p>
                  <a:pPr algn="l"/>
                  <a:r>
                    <a:rPr lang="en-US" altLang="zh-CN"/>
                    <a:t>Supporting text</a:t>
                  </a:r>
                  <a:r>
                    <a:rPr lang="en-US" altLang="zh-CN" sz="100"/>
                    <a:t> </a:t>
                  </a:r>
                  <a:r>
                    <a:rPr lang="en-US" altLang="zh-CN"/>
                    <a:t> </a:t>
                  </a:r>
                  <a:r>
                    <a:rPr lang="en-US" altLang="zh-CN" dirty="0"/>
                    <a:t>here.</a:t>
                  </a:r>
                </a:p>
                <a:p>
                  <a:pPr algn="l"/>
                  <a:endParaRPr lang="en-US" altLang="zh-CN" dirty="0"/>
                </a:p>
                <a:p>
                  <a:pPr algn="l"/>
                  <a:r>
                    <a:rPr lang="en-US" altLang="zh-CN" dirty="0"/>
                    <a:t>……</a:t>
                  </a:r>
                </a:p>
              </p:txBody>
            </p:sp>
          </p:grpSp>
          <p:cxnSp>
            <p:nvCxnSpPr>
              <p:cNvPr id="40" name="直接连接符 39"/>
              <p:cNvCxnSpPr/>
              <p:nvPr/>
            </p:nvCxnSpPr>
            <p:spPr>
              <a:xfrm flipV="1">
                <a:off x="2312718" y="2035015"/>
                <a:ext cx="0" cy="1372796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组合 13"/>
            <p:cNvGrpSpPr/>
            <p:nvPr/>
          </p:nvGrpSpPr>
          <p:grpSpPr>
            <a:xfrm>
              <a:off x="5340614" y="1591806"/>
              <a:ext cx="1469575" cy="1816005"/>
              <a:chOff x="5334264" y="1591806"/>
              <a:chExt cx="1469575" cy="1816005"/>
            </a:xfrm>
          </p:grpSpPr>
          <p:grpSp>
            <p:nvGrpSpPr>
              <p:cNvPr id="35" name="组合 34"/>
              <p:cNvGrpSpPr/>
              <p:nvPr/>
            </p:nvGrpSpPr>
            <p:grpSpPr>
              <a:xfrm>
                <a:off x="5334264" y="1591806"/>
                <a:ext cx="1469575" cy="1321547"/>
                <a:chOff x="2312718" y="1798172"/>
                <a:chExt cx="1469575" cy="1321547"/>
              </a:xfrm>
            </p:grpSpPr>
            <p:sp>
              <p:nvSpPr>
                <p:cNvPr id="37" name="矩形 36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312719" y="1798172"/>
                  <a:ext cx="1469573" cy="4736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20000"/>
                    </a:lnSpc>
                  </a:pPr>
                  <a:r>
                    <a:rPr lang="en-US" altLang="zh-CN" sz="1600" b="1">
                      <a:solidFill>
                        <a:schemeClr val="tx1"/>
                      </a:solidFill>
                    </a:rPr>
                    <a:t>Text </a:t>
                  </a:r>
                  <a:r>
                    <a:rPr lang="en-US" altLang="zh-CN" sz="100" b="1">
                      <a:solidFill>
                        <a:schemeClr val="tx1"/>
                      </a:solidFill>
                    </a:rPr>
                    <a:t> </a:t>
                  </a:r>
                  <a:r>
                    <a:rPr lang="en-US" altLang="zh-CN" sz="1600" b="1">
                      <a:solidFill>
                        <a:schemeClr val="tx1"/>
                      </a:solidFill>
                    </a:rPr>
                    <a:t>here</a:t>
                  </a:r>
                  <a:endParaRPr lang="zh-CN" altLang="en-US" sz="1600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8" name="文本框 37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312718" y="2271861"/>
                  <a:ext cx="1469575" cy="847858"/>
                </a:xfrm>
                <a:prstGeom prst="rect">
                  <a:avLst/>
                </a:prstGeom>
                <a:noFill/>
                <a:ln w="3175"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algn="ctr" defTabSz="609585">
                    <a:lnSpc>
                      <a:spcPct val="150000"/>
                    </a:lnSpc>
                    <a:spcBef>
                      <a:spcPct val="0"/>
                    </a:spcBef>
                    <a:defRPr sz="1100"/>
                  </a:lvl1pPr>
                  <a:lvl2pPr marL="609585" defTabSz="609585">
                    <a:defRPr sz="2400"/>
                  </a:lvl2pPr>
                  <a:lvl3pPr marL="1219170" defTabSz="609585">
                    <a:defRPr sz="2400"/>
                  </a:lvl3pPr>
                  <a:lvl4pPr marL="1828754" defTabSz="609585">
                    <a:defRPr sz="2400"/>
                  </a:lvl4pPr>
                  <a:lvl5pPr marL="2438339" defTabSz="609585">
                    <a:defRPr sz="2400"/>
                  </a:lvl5pPr>
                  <a:lvl6pPr marL="3047924" defTabSz="609585">
                    <a:defRPr sz="2400"/>
                  </a:lvl6pPr>
                  <a:lvl7pPr marL="3657509" defTabSz="609585">
                    <a:defRPr sz="2400"/>
                  </a:lvl7pPr>
                  <a:lvl8pPr marL="4267093" defTabSz="609585">
                    <a:defRPr sz="2400"/>
                  </a:lvl8pPr>
                  <a:lvl9pPr marL="4876678" defTabSz="609585">
                    <a:defRPr sz="2400"/>
                  </a:lvl9pPr>
                </a:lstStyle>
                <a:p>
                  <a:pPr algn="l"/>
                  <a:r>
                    <a:rPr lang="en-US" altLang="zh-CN"/>
                    <a:t>Supporting text</a:t>
                  </a:r>
                  <a:r>
                    <a:rPr lang="en-US" altLang="zh-CN" sz="100"/>
                    <a:t> </a:t>
                  </a:r>
                  <a:r>
                    <a:rPr lang="en-US" altLang="zh-CN"/>
                    <a:t> </a:t>
                  </a:r>
                  <a:r>
                    <a:rPr lang="en-US" altLang="zh-CN" dirty="0"/>
                    <a:t>here.</a:t>
                  </a:r>
                </a:p>
                <a:p>
                  <a:pPr algn="l"/>
                  <a:endParaRPr lang="en-US" altLang="zh-CN" dirty="0"/>
                </a:p>
                <a:p>
                  <a:pPr algn="l"/>
                  <a:r>
                    <a:rPr lang="en-US" altLang="zh-CN" dirty="0"/>
                    <a:t>……</a:t>
                  </a:r>
                </a:p>
              </p:txBody>
            </p:sp>
          </p:grpSp>
          <p:cxnSp>
            <p:nvCxnSpPr>
              <p:cNvPr id="36" name="直接连接符 35"/>
              <p:cNvCxnSpPr/>
              <p:nvPr/>
            </p:nvCxnSpPr>
            <p:spPr>
              <a:xfrm flipV="1">
                <a:off x="5334264" y="2035015"/>
                <a:ext cx="0" cy="1372796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组合 14"/>
            <p:cNvGrpSpPr/>
            <p:nvPr/>
          </p:nvGrpSpPr>
          <p:grpSpPr>
            <a:xfrm>
              <a:off x="8362160" y="1591806"/>
              <a:ext cx="1469575" cy="1816005"/>
              <a:chOff x="8355810" y="1591806"/>
              <a:chExt cx="1469575" cy="1816005"/>
            </a:xfrm>
          </p:grpSpPr>
          <p:grpSp>
            <p:nvGrpSpPr>
              <p:cNvPr id="31" name="组合 30"/>
              <p:cNvGrpSpPr/>
              <p:nvPr/>
            </p:nvGrpSpPr>
            <p:grpSpPr>
              <a:xfrm>
                <a:off x="8355810" y="1591806"/>
                <a:ext cx="1469575" cy="1321547"/>
                <a:chOff x="2312718" y="1798172"/>
                <a:chExt cx="1469575" cy="1321547"/>
              </a:xfrm>
            </p:grpSpPr>
            <p:sp>
              <p:nvSpPr>
                <p:cNvPr id="33" name="矩形 32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312719" y="1798172"/>
                  <a:ext cx="1469573" cy="4736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20000"/>
                    </a:lnSpc>
                  </a:pPr>
                  <a:r>
                    <a:rPr lang="en-US" altLang="zh-CN" sz="1600" b="1">
                      <a:solidFill>
                        <a:schemeClr val="tx1"/>
                      </a:solidFill>
                    </a:rPr>
                    <a:t>Text </a:t>
                  </a:r>
                  <a:r>
                    <a:rPr lang="en-US" altLang="zh-CN" sz="100" b="1">
                      <a:solidFill>
                        <a:schemeClr val="tx1"/>
                      </a:solidFill>
                    </a:rPr>
                    <a:t> </a:t>
                  </a:r>
                  <a:r>
                    <a:rPr lang="en-US" altLang="zh-CN" sz="1600" b="1">
                      <a:solidFill>
                        <a:schemeClr val="tx1"/>
                      </a:solidFill>
                    </a:rPr>
                    <a:t>here</a:t>
                  </a:r>
                  <a:endParaRPr lang="zh-CN" altLang="en-US" sz="1600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4" name="文本框 33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312718" y="2271861"/>
                  <a:ext cx="1469575" cy="847858"/>
                </a:xfrm>
                <a:prstGeom prst="rect">
                  <a:avLst/>
                </a:prstGeom>
                <a:noFill/>
                <a:ln w="3175"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algn="ctr" defTabSz="609585">
                    <a:lnSpc>
                      <a:spcPct val="150000"/>
                    </a:lnSpc>
                    <a:spcBef>
                      <a:spcPct val="0"/>
                    </a:spcBef>
                    <a:defRPr sz="1100"/>
                  </a:lvl1pPr>
                  <a:lvl2pPr marL="609585" defTabSz="609585">
                    <a:defRPr sz="2400"/>
                  </a:lvl2pPr>
                  <a:lvl3pPr marL="1219170" defTabSz="609585">
                    <a:defRPr sz="2400"/>
                  </a:lvl3pPr>
                  <a:lvl4pPr marL="1828754" defTabSz="609585">
                    <a:defRPr sz="2400"/>
                  </a:lvl4pPr>
                  <a:lvl5pPr marL="2438339" defTabSz="609585">
                    <a:defRPr sz="2400"/>
                  </a:lvl5pPr>
                  <a:lvl6pPr marL="3047924" defTabSz="609585">
                    <a:defRPr sz="2400"/>
                  </a:lvl6pPr>
                  <a:lvl7pPr marL="3657509" defTabSz="609585">
                    <a:defRPr sz="2400"/>
                  </a:lvl7pPr>
                  <a:lvl8pPr marL="4267093" defTabSz="609585">
                    <a:defRPr sz="2400"/>
                  </a:lvl8pPr>
                  <a:lvl9pPr marL="4876678" defTabSz="609585">
                    <a:defRPr sz="2400"/>
                  </a:lvl9pPr>
                </a:lstStyle>
                <a:p>
                  <a:pPr algn="l"/>
                  <a:r>
                    <a:rPr lang="en-US" altLang="zh-CN"/>
                    <a:t>Supporting text</a:t>
                  </a:r>
                  <a:r>
                    <a:rPr lang="en-US" altLang="zh-CN" sz="100"/>
                    <a:t> </a:t>
                  </a:r>
                  <a:r>
                    <a:rPr lang="en-US" altLang="zh-CN"/>
                    <a:t> </a:t>
                  </a:r>
                  <a:r>
                    <a:rPr lang="en-US" altLang="zh-CN" dirty="0"/>
                    <a:t>here.</a:t>
                  </a:r>
                </a:p>
                <a:p>
                  <a:pPr algn="l"/>
                  <a:endParaRPr lang="en-US" altLang="zh-CN" dirty="0"/>
                </a:p>
                <a:p>
                  <a:pPr algn="l"/>
                  <a:r>
                    <a:rPr lang="en-US" altLang="zh-CN" dirty="0"/>
                    <a:t>……</a:t>
                  </a:r>
                </a:p>
              </p:txBody>
            </p:sp>
          </p:grpSp>
          <p:cxnSp>
            <p:nvCxnSpPr>
              <p:cNvPr id="32" name="直接连接符 31"/>
              <p:cNvCxnSpPr/>
              <p:nvPr/>
            </p:nvCxnSpPr>
            <p:spPr>
              <a:xfrm flipV="1">
                <a:off x="8355810" y="2035015"/>
                <a:ext cx="0" cy="1372796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组合 15"/>
            <p:cNvGrpSpPr/>
            <p:nvPr/>
          </p:nvGrpSpPr>
          <p:grpSpPr>
            <a:xfrm>
              <a:off x="8403356" y="3856589"/>
              <a:ext cx="1469575" cy="1816005"/>
              <a:chOff x="8397006" y="3856589"/>
              <a:chExt cx="1469575" cy="1816005"/>
            </a:xfrm>
          </p:grpSpPr>
          <p:grpSp>
            <p:nvGrpSpPr>
              <p:cNvPr id="27" name="组合 26"/>
              <p:cNvGrpSpPr/>
              <p:nvPr/>
            </p:nvGrpSpPr>
            <p:grpSpPr>
              <a:xfrm>
                <a:off x="8397006" y="4351047"/>
                <a:ext cx="1469575" cy="1321547"/>
                <a:chOff x="2312718" y="1798172"/>
                <a:chExt cx="1469575" cy="1321547"/>
              </a:xfrm>
            </p:grpSpPr>
            <p:sp>
              <p:nvSpPr>
                <p:cNvPr id="29" name="矩形 28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312719" y="1798172"/>
                  <a:ext cx="1469573" cy="4736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20000"/>
                    </a:lnSpc>
                  </a:pPr>
                  <a:r>
                    <a:rPr lang="en-US" altLang="zh-CN" sz="1600" b="1">
                      <a:solidFill>
                        <a:schemeClr val="tx1"/>
                      </a:solidFill>
                    </a:rPr>
                    <a:t>Text </a:t>
                  </a:r>
                  <a:r>
                    <a:rPr lang="en-US" altLang="zh-CN" sz="100" b="1">
                      <a:solidFill>
                        <a:schemeClr val="tx1"/>
                      </a:solidFill>
                    </a:rPr>
                    <a:t> </a:t>
                  </a:r>
                  <a:r>
                    <a:rPr lang="en-US" altLang="zh-CN" sz="1600" b="1">
                      <a:solidFill>
                        <a:schemeClr val="tx1"/>
                      </a:solidFill>
                    </a:rPr>
                    <a:t>here</a:t>
                  </a:r>
                  <a:endParaRPr lang="zh-CN" altLang="en-US" sz="1600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" name="文本框 29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312718" y="2271861"/>
                  <a:ext cx="1469575" cy="847858"/>
                </a:xfrm>
                <a:prstGeom prst="rect">
                  <a:avLst/>
                </a:prstGeom>
                <a:noFill/>
                <a:ln w="3175"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algn="ctr" defTabSz="609585">
                    <a:lnSpc>
                      <a:spcPct val="150000"/>
                    </a:lnSpc>
                    <a:spcBef>
                      <a:spcPct val="0"/>
                    </a:spcBef>
                    <a:defRPr sz="1100"/>
                  </a:lvl1pPr>
                  <a:lvl2pPr marL="609585" defTabSz="609585">
                    <a:defRPr sz="2400"/>
                  </a:lvl2pPr>
                  <a:lvl3pPr marL="1219170" defTabSz="609585">
                    <a:defRPr sz="2400"/>
                  </a:lvl3pPr>
                  <a:lvl4pPr marL="1828754" defTabSz="609585">
                    <a:defRPr sz="2400"/>
                  </a:lvl4pPr>
                  <a:lvl5pPr marL="2438339" defTabSz="609585">
                    <a:defRPr sz="2400"/>
                  </a:lvl5pPr>
                  <a:lvl6pPr marL="3047924" defTabSz="609585">
                    <a:defRPr sz="2400"/>
                  </a:lvl6pPr>
                  <a:lvl7pPr marL="3657509" defTabSz="609585">
                    <a:defRPr sz="2400"/>
                  </a:lvl7pPr>
                  <a:lvl8pPr marL="4267093" defTabSz="609585">
                    <a:defRPr sz="2400"/>
                  </a:lvl8pPr>
                  <a:lvl9pPr marL="4876678" defTabSz="609585">
                    <a:defRPr sz="2400"/>
                  </a:lvl9pPr>
                </a:lstStyle>
                <a:p>
                  <a:pPr algn="r"/>
                  <a:r>
                    <a:rPr lang="en-US" altLang="zh-CN"/>
                    <a:t>Supporting text</a:t>
                  </a:r>
                  <a:r>
                    <a:rPr lang="en-US" altLang="zh-CN" sz="100"/>
                    <a:t> </a:t>
                  </a:r>
                  <a:r>
                    <a:rPr lang="en-US" altLang="zh-CN"/>
                    <a:t> </a:t>
                  </a:r>
                  <a:r>
                    <a:rPr lang="en-US" altLang="zh-CN" dirty="0"/>
                    <a:t>here.</a:t>
                  </a:r>
                </a:p>
                <a:p>
                  <a:pPr algn="r"/>
                  <a:endParaRPr lang="en-US" altLang="zh-CN" dirty="0"/>
                </a:p>
                <a:p>
                  <a:pPr algn="r"/>
                  <a:r>
                    <a:rPr lang="en-US" altLang="zh-CN" dirty="0"/>
                    <a:t>……</a:t>
                  </a:r>
                </a:p>
              </p:txBody>
            </p:sp>
          </p:grpSp>
          <p:cxnSp>
            <p:nvCxnSpPr>
              <p:cNvPr id="28" name="直接连接符 27"/>
              <p:cNvCxnSpPr/>
              <p:nvPr/>
            </p:nvCxnSpPr>
            <p:spPr>
              <a:xfrm flipV="1">
                <a:off x="9866581" y="3856589"/>
                <a:ext cx="0" cy="1372796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  <a:headEnd type="oval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组合 16"/>
            <p:cNvGrpSpPr/>
            <p:nvPr/>
          </p:nvGrpSpPr>
          <p:grpSpPr>
            <a:xfrm>
              <a:off x="5381812" y="3856589"/>
              <a:ext cx="1469575" cy="1816005"/>
              <a:chOff x="5375462" y="3856589"/>
              <a:chExt cx="1469575" cy="1816005"/>
            </a:xfrm>
          </p:grpSpPr>
          <p:grpSp>
            <p:nvGrpSpPr>
              <p:cNvPr id="23" name="组合 22"/>
              <p:cNvGrpSpPr/>
              <p:nvPr/>
            </p:nvGrpSpPr>
            <p:grpSpPr>
              <a:xfrm>
                <a:off x="5375462" y="4351047"/>
                <a:ext cx="1469575" cy="1321547"/>
                <a:chOff x="2312718" y="1798172"/>
                <a:chExt cx="1469575" cy="1321547"/>
              </a:xfrm>
            </p:grpSpPr>
            <p:sp>
              <p:nvSpPr>
                <p:cNvPr id="25" name="矩形 24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312719" y="1798172"/>
                  <a:ext cx="1469573" cy="4736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20000"/>
                    </a:lnSpc>
                  </a:pPr>
                  <a:r>
                    <a:rPr lang="en-US" altLang="zh-CN" sz="1600" b="1">
                      <a:solidFill>
                        <a:schemeClr val="tx1"/>
                      </a:solidFill>
                    </a:rPr>
                    <a:t>Text </a:t>
                  </a:r>
                  <a:r>
                    <a:rPr lang="en-US" altLang="zh-CN" sz="100" b="1">
                      <a:solidFill>
                        <a:schemeClr val="tx1"/>
                      </a:solidFill>
                    </a:rPr>
                    <a:t> </a:t>
                  </a:r>
                  <a:r>
                    <a:rPr lang="en-US" altLang="zh-CN" sz="1600" b="1">
                      <a:solidFill>
                        <a:schemeClr val="tx1"/>
                      </a:solidFill>
                    </a:rPr>
                    <a:t>here</a:t>
                  </a:r>
                  <a:endParaRPr lang="zh-CN" altLang="en-US" sz="1600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6" name="文本框 25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312718" y="2271861"/>
                  <a:ext cx="1469575" cy="847858"/>
                </a:xfrm>
                <a:prstGeom prst="rect">
                  <a:avLst/>
                </a:prstGeom>
                <a:noFill/>
                <a:ln w="3175"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algn="ctr" defTabSz="609585">
                    <a:lnSpc>
                      <a:spcPct val="150000"/>
                    </a:lnSpc>
                    <a:spcBef>
                      <a:spcPct val="0"/>
                    </a:spcBef>
                    <a:defRPr sz="1100"/>
                  </a:lvl1pPr>
                  <a:lvl2pPr marL="609585" defTabSz="609585">
                    <a:defRPr sz="2400"/>
                  </a:lvl2pPr>
                  <a:lvl3pPr marL="1219170" defTabSz="609585">
                    <a:defRPr sz="2400"/>
                  </a:lvl3pPr>
                  <a:lvl4pPr marL="1828754" defTabSz="609585">
                    <a:defRPr sz="2400"/>
                  </a:lvl4pPr>
                  <a:lvl5pPr marL="2438339" defTabSz="609585">
                    <a:defRPr sz="2400"/>
                  </a:lvl5pPr>
                  <a:lvl6pPr marL="3047924" defTabSz="609585">
                    <a:defRPr sz="2400"/>
                  </a:lvl6pPr>
                  <a:lvl7pPr marL="3657509" defTabSz="609585">
                    <a:defRPr sz="2400"/>
                  </a:lvl7pPr>
                  <a:lvl8pPr marL="4267093" defTabSz="609585">
                    <a:defRPr sz="2400"/>
                  </a:lvl8pPr>
                  <a:lvl9pPr marL="4876678" defTabSz="609585">
                    <a:defRPr sz="2400"/>
                  </a:lvl9pPr>
                </a:lstStyle>
                <a:p>
                  <a:pPr algn="r"/>
                  <a:r>
                    <a:rPr lang="en-US" altLang="zh-CN"/>
                    <a:t>Supporting text</a:t>
                  </a:r>
                  <a:r>
                    <a:rPr lang="en-US" altLang="zh-CN" sz="100"/>
                    <a:t> </a:t>
                  </a:r>
                  <a:r>
                    <a:rPr lang="en-US" altLang="zh-CN"/>
                    <a:t> </a:t>
                  </a:r>
                  <a:r>
                    <a:rPr lang="en-US" altLang="zh-CN" dirty="0"/>
                    <a:t>here.</a:t>
                  </a:r>
                </a:p>
                <a:p>
                  <a:pPr algn="r"/>
                  <a:endParaRPr lang="en-US" altLang="zh-CN" dirty="0"/>
                </a:p>
                <a:p>
                  <a:pPr algn="r"/>
                  <a:r>
                    <a:rPr lang="en-US" altLang="zh-CN" dirty="0"/>
                    <a:t>……</a:t>
                  </a:r>
                </a:p>
              </p:txBody>
            </p:sp>
          </p:grpSp>
          <p:cxnSp>
            <p:nvCxnSpPr>
              <p:cNvPr id="24" name="直接连接符 23"/>
              <p:cNvCxnSpPr/>
              <p:nvPr/>
            </p:nvCxnSpPr>
            <p:spPr>
              <a:xfrm flipV="1">
                <a:off x="6845037" y="3856589"/>
                <a:ext cx="0" cy="1372796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  <a:headEnd type="oval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组合 17"/>
            <p:cNvGrpSpPr/>
            <p:nvPr/>
          </p:nvGrpSpPr>
          <p:grpSpPr>
            <a:xfrm>
              <a:off x="2360266" y="3856589"/>
              <a:ext cx="1469575" cy="1816005"/>
              <a:chOff x="2353916" y="3856589"/>
              <a:chExt cx="1469575" cy="1816005"/>
            </a:xfrm>
          </p:grpSpPr>
          <p:grpSp>
            <p:nvGrpSpPr>
              <p:cNvPr id="19" name="组合 18"/>
              <p:cNvGrpSpPr/>
              <p:nvPr/>
            </p:nvGrpSpPr>
            <p:grpSpPr>
              <a:xfrm>
                <a:off x="2353916" y="4351047"/>
                <a:ext cx="1469575" cy="1321547"/>
                <a:chOff x="2312718" y="1798172"/>
                <a:chExt cx="1469575" cy="1321547"/>
              </a:xfrm>
            </p:grpSpPr>
            <p:sp>
              <p:nvSpPr>
                <p:cNvPr id="21" name="矩形 20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312719" y="1798172"/>
                  <a:ext cx="1469573" cy="4736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20000"/>
                    </a:lnSpc>
                  </a:pPr>
                  <a:r>
                    <a:rPr lang="en-US" altLang="zh-CN" sz="1600" b="1">
                      <a:solidFill>
                        <a:schemeClr val="tx1"/>
                      </a:solidFill>
                    </a:rPr>
                    <a:t>Text </a:t>
                  </a:r>
                  <a:r>
                    <a:rPr lang="en-US" altLang="zh-CN" sz="100" b="1">
                      <a:solidFill>
                        <a:schemeClr val="tx1"/>
                      </a:solidFill>
                    </a:rPr>
                    <a:t> </a:t>
                  </a:r>
                  <a:r>
                    <a:rPr lang="en-US" altLang="zh-CN" sz="1600" b="1">
                      <a:solidFill>
                        <a:schemeClr val="tx1"/>
                      </a:solidFill>
                    </a:rPr>
                    <a:t>here</a:t>
                  </a:r>
                  <a:endParaRPr lang="zh-CN" altLang="en-US" sz="1600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" name="文本框 21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312718" y="2271861"/>
                  <a:ext cx="1469575" cy="847858"/>
                </a:xfrm>
                <a:prstGeom prst="rect">
                  <a:avLst/>
                </a:prstGeom>
                <a:noFill/>
                <a:ln w="3175"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algn="ctr" defTabSz="609585">
                    <a:lnSpc>
                      <a:spcPct val="150000"/>
                    </a:lnSpc>
                    <a:spcBef>
                      <a:spcPct val="0"/>
                    </a:spcBef>
                    <a:defRPr sz="1100"/>
                  </a:lvl1pPr>
                  <a:lvl2pPr marL="609585" defTabSz="609585">
                    <a:defRPr sz="2400"/>
                  </a:lvl2pPr>
                  <a:lvl3pPr marL="1219170" defTabSz="609585">
                    <a:defRPr sz="2400"/>
                  </a:lvl3pPr>
                  <a:lvl4pPr marL="1828754" defTabSz="609585">
                    <a:defRPr sz="2400"/>
                  </a:lvl4pPr>
                  <a:lvl5pPr marL="2438339" defTabSz="609585">
                    <a:defRPr sz="2400"/>
                  </a:lvl5pPr>
                  <a:lvl6pPr marL="3047924" defTabSz="609585">
                    <a:defRPr sz="2400"/>
                  </a:lvl6pPr>
                  <a:lvl7pPr marL="3657509" defTabSz="609585">
                    <a:defRPr sz="2400"/>
                  </a:lvl7pPr>
                  <a:lvl8pPr marL="4267093" defTabSz="609585">
                    <a:defRPr sz="2400"/>
                  </a:lvl8pPr>
                  <a:lvl9pPr marL="4876678" defTabSz="609585">
                    <a:defRPr sz="2400"/>
                  </a:lvl9pPr>
                </a:lstStyle>
                <a:p>
                  <a:pPr algn="r"/>
                  <a:r>
                    <a:rPr lang="en-US" altLang="zh-CN"/>
                    <a:t>Supporting text</a:t>
                  </a:r>
                  <a:r>
                    <a:rPr lang="en-US" altLang="zh-CN" sz="100"/>
                    <a:t> </a:t>
                  </a:r>
                  <a:r>
                    <a:rPr lang="en-US" altLang="zh-CN"/>
                    <a:t> </a:t>
                  </a:r>
                  <a:r>
                    <a:rPr lang="en-US" altLang="zh-CN" dirty="0"/>
                    <a:t>here.</a:t>
                  </a:r>
                </a:p>
                <a:p>
                  <a:pPr algn="r"/>
                  <a:endParaRPr lang="en-US" altLang="zh-CN" dirty="0"/>
                </a:p>
                <a:p>
                  <a:pPr algn="r"/>
                  <a:r>
                    <a:rPr lang="en-US" altLang="zh-CN" dirty="0"/>
                    <a:t>……</a:t>
                  </a:r>
                </a:p>
              </p:txBody>
            </p:sp>
          </p:grpSp>
          <p:cxnSp>
            <p:nvCxnSpPr>
              <p:cNvPr id="20" name="直接连接符 19"/>
              <p:cNvCxnSpPr/>
              <p:nvPr/>
            </p:nvCxnSpPr>
            <p:spPr>
              <a:xfrm flipV="1">
                <a:off x="3823491" y="3856589"/>
                <a:ext cx="0" cy="1372796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  <a:headEnd type="oval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130995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社区防控工作方案（试行）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047991" y="311664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30238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0abfcebc-4e97-493a-a8bc-351ab183543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2c1f8ed8-d74b-4f20-b0a4-8c478305dde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2c1f8ed8-d74b-4f20-b0a4-8c478305dde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2c1f8ed8-d74b-4f20-b0a4-8c478305dde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2c1f8ed8-d74b-4f20-b0a4-8c478305dde0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D40005"/>
      </a:accent1>
      <a:accent2>
        <a:srgbClr val="D8BD62"/>
      </a:accent2>
      <a:accent3>
        <a:srgbClr val="38DB99"/>
      </a:accent3>
      <a:accent4>
        <a:srgbClr val="002766"/>
      </a:accent4>
      <a:accent5>
        <a:srgbClr val="0024BD"/>
      </a:accent5>
      <a:accent6>
        <a:srgbClr val="AAB3BA"/>
      </a:accent6>
      <a:hlink>
        <a:srgbClr val="105CFB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D40005"/>
    </a:accent1>
    <a:accent2>
      <a:srgbClr val="D8BD62"/>
    </a:accent2>
    <a:accent3>
      <a:srgbClr val="38DB99"/>
    </a:accent3>
    <a:accent4>
      <a:srgbClr val="002766"/>
    </a:accent4>
    <a:accent5>
      <a:srgbClr val="0024BD"/>
    </a:accent5>
    <a:accent6>
      <a:srgbClr val="AAB3BA"/>
    </a:accent6>
    <a:hlink>
      <a:srgbClr val="105CFB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D40005"/>
    </a:accent1>
    <a:accent2>
      <a:srgbClr val="D8BD62"/>
    </a:accent2>
    <a:accent3>
      <a:srgbClr val="38DB99"/>
    </a:accent3>
    <a:accent4>
      <a:srgbClr val="002766"/>
    </a:accent4>
    <a:accent5>
      <a:srgbClr val="0024BD"/>
    </a:accent5>
    <a:accent6>
      <a:srgbClr val="AAB3BA"/>
    </a:accent6>
    <a:hlink>
      <a:srgbClr val="105CFB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D40005"/>
    </a:accent1>
    <a:accent2>
      <a:srgbClr val="D8BD62"/>
    </a:accent2>
    <a:accent3>
      <a:srgbClr val="38DB99"/>
    </a:accent3>
    <a:accent4>
      <a:srgbClr val="002766"/>
    </a:accent4>
    <a:accent5>
      <a:srgbClr val="0024BD"/>
    </a:accent5>
    <a:accent6>
      <a:srgbClr val="AAB3BA"/>
    </a:accent6>
    <a:hlink>
      <a:srgbClr val="105CFB"/>
    </a:hlink>
    <a:folHlink>
      <a:srgbClr val="BFBFBF"/>
    </a:folHlink>
  </a:clrScheme>
</a:themeOverrid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</TotalTime>
  <Words>939</Words>
  <Application>Microsoft Office PowerPoint</Application>
  <PresentationFormat>宽屏</PresentationFormat>
  <Paragraphs>224</Paragraphs>
  <Slides>1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22" baseType="lpstr">
      <vt:lpstr>等线</vt:lpstr>
      <vt:lpstr>Arial</vt:lpstr>
      <vt:lpstr>Calibri</vt:lpstr>
      <vt:lpstr>Impact</vt:lpstr>
      <vt:lpstr>主题5</vt:lpstr>
      <vt:lpstr>think-cell Slide</vt:lpstr>
      <vt:lpstr>[防控]新型冠状病毒感染—— 防/护/信/息/宣/传/手/册/</vt:lpstr>
      <vt:lpstr>PowerPoint 演示文稿</vt:lpstr>
      <vt:lpstr>什么是新型肺炎</vt:lpstr>
      <vt:lpstr>什么是新型肺炎</vt:lpstr>
      <vt:lpstr>什么是新型肺炎</vt:lpstr>
      <vt:lpstr>社区防控工作的通知</vt:lpstr>
      <vt:lpstr>社区防控工作的通知</vt:lpstr>
      <vt:lpstr>社区防控工作的通知</vt:lpstr>
      <vt:lpstr>社区防控工作方案（试行）</vt:lpstr>
      <vt:lpstr>社区防控工作方案（试行）</vt:lpstr>
      <vt:lpstr>社区防控工作方案（试行）</vt:lpstr>
      <vt:lpstr>如何有效防治</vt:lpstr>
      <vt:lpstr>如何有效防治</vt:lpstr>
      <vt:lpstr>如何有效防治</vt:lpstr>
      <vt:lpstr>如何有效防治</vt:lpstr>
      <vt:lpstr>Thanks And Your 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Soleil Yi</cp:lastModifiedBy>
  <cp:revision>1</cp:revision>
  <cp:lastPrinted>2020-02-12T16:00:00Z</cp:lastPrinted>
  <dcterms:created xsi:type="dcterms:W3CDTF">2020-02-12T16:00:00Z</dcterms:created>
  <dcterms:modified xsi:type="dcterms:W3CDTF">2022-09-13T10:04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